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9" r:id="rId2"/>
    <p:sldId id="258" r:id="rId3"/>
    <p:sldId id="290" r:id="rId4"/>
    <p:sldId id="260" r:id="rId5"/>
    <p:sldId id="307" r:id="rId6"/>
    <p:sldId id="288" r:id="rId7"/>
    <p:sldId id="308" r:id="rId8"/>
    <p:sldId id="310" r:id="rId9"/>
    <p:sldId id="272" r:id="rId10"/>
    <p:sldId id="313" r:id="rId11"/>
    <p:sldId id="269" r:id="rId12"/>
    <p:sldId id="306" r:id="rId13"/>
    <p:sldId id="270" r:id="rId14"/>
    <p:sldId id="291" r:id="rId15"/>
  </p:sldIdLst>
  <p:sldSz cx="12192000" cy="6858000"/>
  <p:notesSz cx="6858000" cy="9144000"/>
  <p:custDataLst>
    <p:tags r:id="rId18"/>
  </p:custData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4CE9F"/>
    <a:srgbClr val="A6EDB1"/>
    <a:srgbClr val="DDF9B8"/>
    <a:srgbClr val="BBBAC6"/>
    <a:srgbClr val="5D5B6F"/>
    <a:srgbClr val="F2F2F2"/>
    <a:srgbClr val="F6F6F9"/>
    <a:srgbClr val="C0BAA7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999" autoAdjust="0"/>
    <p:restoredTop sz="88836" autoAdjust="0"/>
  </p:normalViewPr>
  <p:slideViewPr>
    <p:cSldViewPr snapToGrid="0" showGuides="1">
      <p:cViewPr varScale="1">
        <p:scale>
          <a:sx n="76" d="100"/>
          <a:sy n="76" d="100"/>
        </p:scale>
        <p:origin x="576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829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8.jpeg"/></Relationships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9.png"/></Relationships>
</file>

<file path=ppt/diagrams/_rels/data3.xml.rels><?xml version="1.0" encoding="UTF-8" standalone="yes"?>
<Relationships xmlns="http://schemas.openxmlformats.org/package/2006/relationships"><Relationship Id="rId1" Type="http://schemas.openxmlformats.org/officeDocument/2006/relationships/image" Target="../media/image20.jpeg"/></Relationships>
</file>

<file path=ppt/diagrams/_rels/data4.xml.rels><?xml version="1.0" encoding="UTF-8" standalone="yes"?>
<Relationships xmlns="http://schemas.openxmlformats.org/package/2006/relationships"><Relationship Id="rId1" Type="http://schemas.openxmlformats.org/officeDocument/2006/relationships/image" Target="../media/image21.jpeg"/></Relationships>
</file>

<file path=ppt/diagrams/_rels/data5.xml.rels><?xml version="1.0" encoding="UTF-8" standalone="yes"?>
<Relationships xmlns="http://schemas.openxmlformats.org/package/2006/relationships"><Relationship Id="rId1" Type="http://schemas.openxmlformats.org/officeDocument/2006/relationships/image" Target="../media/image22.png"/></Relationships>
</file>

<file path=ppt/diagrams/_rels/data7.xml.rels><?xml version="1.0" encoding="UTF-8" standalone="yes"?>
<Relationships xmlns="http://schemas.openxmlformats.org/package/2006/relationships"><Relationship Id="rId1" Type="http://schemas.openxmlformats.org/officeDocument/2006/relationships/image" Target="../media/image23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8.jpeg"/></Relationships>
</file>

<file path=ppt/diagram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9.png"/></Relationships>
</file>

<file path=ppt/diagrams/_rels/drawing3.xml.rels><?xml version="1.0" encoding="UTF-8" standalone="yes"?>
<Relationships xmlns="http://schemas.openxmlformats.org/package/2006/relationships"><Relationship Id="rId1" Type="http://schemas.openxmlformats.org/officeDocument/2006/relationships/image" Target="../media/image20.jpeg"/></Relationships>
</file>

<file path=ppt/diagrams/_rels/drawing4.xml.rels><?xml version="1.0" encoding="UTF-8" standalone="yes"?>
<Relationships xmlns="http://schemas.openxmlformats.org/package/2006/relationships"><Relationship Id="rId1" Type="http://schemas.openxmlformats.org/officeDocument/2006/relationships/image" Target="../media/image21.jpeg"/></Relationships>
</file>

<file path=ppt/diagrams/_rels/drawing5.xml.rels><?xml version="1.0" encoding="UTF-8" standalone="yes"?>
<Relationships xmlns="http://schemas.openxmlformats.org/package/2006/relationships"><Relationship Id="rId1" Type="http://schemas.openxmlformats.org/officeDocument/2006/relationships/image" Target="../media/image22.png"/></Relationships>
</file>

<file path=ppt/diagrams/_rels/drawing7.xml.rels><?xml version="1.0" encoding="UTF-8" standalone="yes"?>
<Relationships xmlns="http://schemas.openxmlformats.org/package/2006/relationships"><Relationship Id="rId1" Type="http://schemas.openxmlformats.org/officeDocument/2006/relationships/image" Target="../media/image2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3CB2AC0-3A7B-4624-982C-68DE76C82953}" type="doc">
      <dgm:prSet loTypeId="urn:microsoft.com/office/officeart/2008/layout/CircularPictureCallout" loCatId="picture" qsTypeId="urn:microsoft.com/office/officeart/2005/8/quickstyle/simple1" qsCatId="simple" csTypeId="urn:microsoft.com/office/officeart/2005/8/colors/accent1_2" csCatId="accent1" phldr="1"/>
      <dgm:spPr/>
    </dgm:pt>
    <dgm:pt modelId="{2E74F533-2BC5-4FC6-BE2D-4A2FD06F4650}">
      <dgm:prSet phldrT="[Текст]"/>
      <dgm:spPr/>
      <dgm:t>
        <a:bodyPr/>
        <a:lstStyle/>
        <a:p>
          <a:endParaRPr lang="ru-RU" dirty="0"/>
        </a:p>
      </dgm:t>
    </dgm:pt>
    <dgm:pt modelId="{4D9DFD79-0A95-45B0-A63E-726CB344F679}" type="parTrans" cxnId="{B9832F80-7B4B-43FD-8660-836C44DA7F9C}">
      <dgm:prSet/>
      <dgm:spPr/>
      <dgm:t>
        <a:bodyPr/>
        <a:lstStyle/>
        <a:p>
          <a:endParaRPr lang="ru-RU"/>
        </a:p>
      </dgm:t>
    </dgm:pt>
    <dgm:pt modelId="{AAFA05DF-193F-4293-9870-7373B1EE3594}" type="sibTrans" cxnId="{B9832F80-7B4B-43FD-8660-836C44DA7F9C}">
      <dgm:prSet/>
      <dgm:spPr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  <dgm:t>
        <a:bodyPr/>
        <a:lstStyle/>
        <a:p>
          <a:endParaRPr lang="ru-RU"/>
        </a:p>
      </dgm:t>
      <dgm:extLst>
        <a:ext uri="{E40237B7-FDA0-4F09-8148-C483321AD2D9}">
          <dgm14:cNvPr xmlns:dgm14="http://schemas.microsoft.com/office/drawing/2010/diagram" id="0" name="" descr="https://sun9-40.userapi.com/impg/6hr7YuuF-AGzJmHGMYTKgxByfAH4vtiWcgL6rg/46aoCyxcrOY.jpg?size=1280x960&amp;quality=95&amp;sign=7430e2bd4986454dea0ffe0ef5267a39&amp;type=album"/>
        </a:ext>
      </dgm:extLst>
    </dgm:pt>
    <dgm:pt modelId="{B807A919-F31A-4F2A-8925-6B16D298489F}" type="pres">
      <dgm:prSet presAssocID="{C3CB2AC0-3A7B-4624-982C-68DE76C82953}" presName="Name0" presStyleCnt="0">
        <dgm:presLayoutVars>
          <dgm:chMax val="7"/>
          <dgm:chPref val="7"/>
          <dgm:dir/>
        </dgm:presLayoutVars>
      </dgm:prSet>
      <dgm:spPr/>
    </dgm:pt>
    <dgm:pt modelId="{E8C4B5BD-2344-4006-969E-6FA68869DDF3}" type="pres">
      <dgm:prSet presAssocID="{C3CB2AC0-3A7B-4624-982C-68DE76C82953}" presName="Name1" presStyleCnt="0"/>
      <dgm:spPr/>
    </dgm:pt>
    <dgm:pt modelId="{F03905AE-A927-4B78-929B-8597322C44C1}" type="pres">
      <dgm:prSet presAssocID="{AAFA05DF-193F-4293-9870-7373B1EE3594}" presName="picture_1" presStyleCnt="0"/>
      <dgm:spPr/>
    </dgm:pt>
    <dgm:pt modelId="{FF9B7654-1908-456F-89A8-72C13EC44393}" type="pres">
      <dgm:prSet presAssocID="{AAFA05DF-193F-4293-9870-7373B1EE3594}" presName="pictureRepeatNode" presStyleLbl="alignImgPlace1" presStyleIdx="0" presStyleCnt="1" custLinFactNeighborX="-1196" custLinFactNeighborY="323"/>
      <dgm:spPr/>
    </dgm:pt>
    <dgm:pt modelId="{3A794F32-E691-4E59-A465-5061E3A30983}" type="pres">
      <dgm:prSet presAssocID="{2E74F533-2BC5-4FC6-BE2D-4A2FD06F4650}" presName="text_1" presStyleLbl="node1" presStyleIdx="0" presStyleCnt="0">
        <dgm:presLayoutVars>
          <dgm:bulletEnabled val="1"/>
        </dgm:presLayoutVars>
      </dgm:prSet>
      <dgm:spPr/>
    </dgm:pt>
  </dgm:ptLst>
  <dgm:cxnLst>
    <dgm:cxn modelId="{50435465-F234-4588-8624-3EBBF0E5C1E7}" type="presOf" srcId="{C3CB2AC0-3A7B-4624-982C-68DE76C82953}" destId="{B807A919-F31A-4F2A-8925-6B16D298489F}" srcOrd="0" destOrd="0" presId="urn:microsoft.com/office/officeart/2008/layout/CircularPictureCallout"/>
    <dgm:cxn modelId="{447B2954-7026-46BB-800E-644030DF904A}" type="presOf" srcId="{AAFA05DF-193F-4293-9870-7373B1EE3594}" destId="{FF9B7654-1908-456F-89A8-72C13EC44393}" srcOrd="0" destOrd="0" presId="urn:microsoft.com/office/officeart/2008/layout/CircularPictureCallout"/>
    <dgm:cxn modelId="{B9832F80-7B4B-43FD-8660-836C44DA7F9C}" srcId="{C3CB2AC0-3A7B-4624-982C-68DE76C82953}" destId="{2E74F533-2BC5-4FC6-BE2D-4A2FD06F4650}" srcOrd="0" destOrd="0" parTransId="{4D9DFD79-0A95-45B0-A63E-726CB344F679}" sibTransId="{AAFA05DF-193F-4293-9870-7373B1EE3594}"/>
    <dgm:cxn modelId="{6ACDDCE9-AF14-444A-80D7-E73C8AC97FE2}" type="presOf" srcId="{2E74F533-2BC5-4FC6-BE2D-4A2FD06F4650}" destId="{3A794F32-E691-4E59-A465-5061E3A30983}" srcOrd="0" destOrd="0" presId="urn:microsoft.com/office/officeart/2008/layout/CircularPictureCallout"/>
    <dgm:cxn modelId="{661781E2-D1A6-4DBF-A7D1-831E4C912AF1}" type="presParOf" srcId="{B807A919-F31A-4F2A-8925-6B16D298489F}" destId="{E8C4B5BD-2344-4006-969E-6FA68869DDF3}" srcOrd="0" destOrd="0" presId="urn:microsoft.com/office/officeart/2008/layout/CircularPictureCallout"/>
    <dgm:cxn modelId="{09275CF3-4191-4A93-B559-48EE326D23D8}" type="presParOf" srcId="{E8C4B5BD-2344-4006-969E-6FA68869DDF3}" destId="{F03905AE-A927-4B78-929B-8597322C44C1}" srcOrd="0" destOrd="0" presId="urn:microsoft.com/office/officeart/2008/layout/CircularPictureCallout"/>
    <dgm:cxn modelId="{0CAC4EF9-940B-459B-BA19-5657B2ABC0A1}" type="presParOf" srcId="{F03905AE-A927-4B78-929B-8597322C44C1}" destId="{FF9B7654-1908-456F-89A8-72C13EC44393}" srcOrd="0" destOrd="0" presId="urn:microsoft.com/office/officeart/2008/layout/CircularPictureCallout"/>
    <dgm:cxn modelId="{8BB449F7-1502-4C4F-9F9B-EC0C6A6715BC}" type="presParOf" srcId="{E8C4B5BD-2344-4006-969E-6FA68869DDF3}" destId="{3A794F32-E691-4E59-A465-5061E3A30983}" srcOrd="1" destOrd="0" presId="urn:microsoft.com/office/officeart/2008/layout/CircularPictureCallout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098BB96-27EE-494E-A226-6C4A1F311E9A}" type="doc">
      <dgm:prSet loTypeId="urn:microsoft.com/office/officeart/2008/layout/CircularPictureCallout" loCatId="picture" qsTypeId="urn:microsoft.com/office/officeart/2005/8/quickstyle/simple4" qsCatId="simple" csTypeId="urn:microsoft.com/office/officeart/2005/8/colors/accent1_2" csCatId="accent1" phldr="1"/>
      <dgm:spPr/>
    </dgm:pt>
    <dgm:pt modelId="{E6C0F4E6-D643-4EB4-A3AF-99DE60A9EA31}">
      <dgm:prSet phldrT="[Текст]"/>
      <dgm:spPr/>
      <dgm:t>
        <a:bodyPr/>
        <a:lstStyle/>
        <a:p>
          <a:endParaRPr lang="ru-RU" dirty="0"/>
        </a:p>
      </dgm:t>
    </dgm:pt>
    <dgm:pt modelId="{5A3736D9-20C1-40B8-8A03-33191BFD2263}" type="sibTrans" cxnId="{4118051A-0964-4D6D-89FD-08237D6FA260}">
      <dgm:prSet/>
      <dgm:spPr>
        <a:blipFill>
          <a:blip xmlns:r="http://schemas.openxmlformats.org/officeDocument/2006/relationships" r:embed="rId1"/>
          <a:srcRect/>
          <a:stretch>
            <a:fillRect t="-17000" b="-17000"/>
          </a:stretch>
        </a:blipFill>
      </dgm:spPr>
      <dgm:t>
        <a:bodyPr/>
        <a:lstStyle/>
        <a:p>
          <a:endParaRPr lang="ru-RU"/>
        </a:p>
      </dgm:t>
    </dgm:pt>
    <dgm:pt modelId="{C245AD8A-FF99-4870-881F-DE898C05AF93}" type="parTrans" cxnId="{4118051A-0964-4D6D-89FD-08237D6FA260}">
      <dgm:prSet/>
      <dgm:spPr/>
      <dgm:t>
        <a:bodyPr/>
        <a:lstStyle/>
        <a:p>
          <a:endParaRPr lang="ru-RU"/>
        </a:p>
      </dgm:t>
    </dgm:pt>
    <dgm:pt modelId="{D3A7450E-FD18-4F11-88EA-CA1CA6F506BF}" type="pres">
      <dgm:prSet presAssocID="{7098BB96-27EE-494E-A226-6C4A1F311E9A}" presName="Name0" presStyleCnt="0">
        <dgm:presLayoutVars>
          <dgm:chMax val="7"/>
          <dgm:chPref val="7"/>
          <dgm:dir/>
        </dgm:presLayoutVars>
      </dgm:prSet>
      <dgm:spPr/>
    </dgm:pt>
    <dgm:pt modelId="{1E8BA565-4515-493C-9A53-2A52C7545ED9}" type="pres">
      <dgm:prSet presAssocID="{7098BB96-27EE-494E-A226-6C4A1F311E9A}" presName="Name1" presStyleCnt="0"/>
      <dgm:spPr/>
    </dgm:pt>
    <dgm:pt modelId="{711346EF-2A99-450B-AB72-76CCDA34483C}" type="pres">
      <dgm:prSet presAssocID="{5A3736D9-20C1-40B8-8A03-33191BFD2263}" presName="picture_1" presStyleCnt="0"/>
      <dgm:spPr/>
    </dgm:pt>
    <dgm:pt modelId="{85415A4D-CBC6-41C9-9692-B067A761B0ED}" type="pres">
      <dgm:prSet presAssocID="{5A3736D9-20C1-40B8-8A03-33191BFD2263}" presName="pictureRepeatNode" presStyleLbl="alignImgPlace1" presStyleIdx="0" presStyleCnt="1"/>
      <dgm:spPr/>
    </dgm:pt>
    <dgm:pt modelId="{6AC9F65B-00C5-4E1A-B6F0-9D8FB8369177}" type="pres">
      <dgm:prSet presAssocID="{E6C0F4E6-D643-4EB4-A3AF-99DE60A9EA31}" presName="text_1" presStyleLbl="node1" presStyleIdx="0" presStyleCnt="0" custLinFactNeighborX="-33743" custLinFactNeighborY="3308">
        <dgm:presLayoutVars>
          <dgm:bulletEnabled val="1"/>
        </dgm:presLayoutVars>
      </dgm:prSet>
      <dgm:spPr/>
    </dgm:pt>
  </dgm:ptLst>
  <dgm:cxnLst>
    <dgm:cxn modelId="{4118051A-0964-4D6D-89FD-08237D6FA260}" srcId="{7098BB96-27EE-494E-A226-6C4A1F311E9A}" destId="{E6C0F4E6-D643-4EB4-A3AF-99DE60A9EA31}" srcOrd="0" destOrd="0" parTransId="{C245AD8A-FF99-4870-881F-DE898C05AF93}" sibTransId="{5A3736D9-20C1-40B8-8A03-33191BFD2263}"/>
    <dgm:cxn modelId="{B3AC4C43-DC2E-48A5-A872-F6EBEC9C3878}" type="presOf" srcId="{7098BB96-27EE-494E-A226-6C4A1F311E9A}" destId="{D3A7450E-FD18-4F11-88EA-CA1CA6F506BF}" srcOrd="0" destOrd="0" presId="urn:microsoft.com/office/officeart/2008/layout/CircularPictureCallout"/>
    <dgm:cxn modelId="{DD12227E-3AA2-402A-984C-5ACA7BEFBD25}" type="presOf" srcId="{E6C0F4E6-D643-4EB4-A3AF-99DE60A9EA31}" destId="{6AC9F65B-00C5-4E1A-B6F0-9D8FB8369177}" srcOrd="0" destOrd="0" presId="urn:microsoft.com/office/officeart/2008/layout/CircularPictureCallout"/>
    <dgm:cxn modelId="{CE0C9AB8-79E2-40CB-AD68-5AF17A78CECA}" type="presOf" srcId="{5A3736D9-20C1-40B8-8A03-33191BFD2263}" destId="{85415A4D-CBC6-41C9-9692-B067A761B0ED}" srcOrd="0" destOrd="0" presId="urn:microsoft.com/office/officeart/2008/layout/CircularPictureCallout"/>
    <dgm:cxn modelId="{FEC71730-D44A-425F-81DE-B363910D0AD6}" type="presParOf" srcId="{D3A7450E-FD18-4F11-88EA-CA1CA6F506BF}" destId="{1E8BA565-4515-493C-9A53-2A52C7545ED9}" srcOrd="0" destOrd="0" presId="urn:microsoft.com/office/officeart/2008/layout/CircularPictureCallout"/>
    <dgm:cxn modelId="{6AE7D3C8-0476-496E-9823-CBBBE59A9CBA}" type="presParOf" srcId="{1E8BA565-4515-493C-9A53-2A52C7545ED9}" destId="{711346EF-2A99-450B-AB72-76CCDA34483C}" srcOrd="0" destOrd="0" presId="urn:microsoft.com/office/officeart/2008/layout/CircularPictureCallout"/>
    <dgm:cxn modelId="{2EE48E95-399A-4120-8C0C-7A0DBF25557B}" type="presParOf" srcId="{711346EF-2A99-450B-AB72-76CCDA34483C}" destId="{85415A4D-CBC6-41C9-9692-B067A761B0ED}" srcOrd="0" destOrd="0" presId="urn:microsoft.com/office/officeart/2008/layout/CircularPictureCallout"/>
    <dgm:cxn modelId="{258604C6-7F2B-4992-A954-D05A33AF7998}" type="presParOf" srcId="{1E8BA565-4515-493C-9A53-2A52C7545ED9}" destId="{6AC9F65B-00C5-4E1A-B6F0-9D8FB8369177}" srcOrd="1" destOrd="0" presId="urn:microsoft.com/office/officeart/2008/layout/CircularPictureCallout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8D94B4B-3BB2-487D-8AFE-2673321271A6}" type="doc">
      <dgm:prSet loTypeId="urn:microsoft.com/office/officeart/2008/layout/CircularPictureCallout" loCatId="picture" qsTypeId="urn:microsoft.com/office/officeart/2005/8/quickstyle/simple5" qsCatId="simple" csTypeId="urn:microsoft.com/office/officeart/2005/8/colors/accent1_2" csCatId="accent1" phldr="1"/>
      <dgm:spPr/>
    </dgm:pt>
    <dgm:pt modelId="{91AFF578-8FE8-40D1-AEC4-FC7CFB08A0B2}">
      <dgm:prSet phldrT="[Текст]"/>
      <dgm:spPr/>
      <dgm:t>
        <a:bodyPr/>
        <a:lstStyle/>
        <a:p>
          <a:endParaRPr lang="ru-RU" dirty="0"/>
        </a:p>
      </dgm:t>
    </dgm:pt>
    <dgm:pt modelId="{13C4D30C-5887-4C97-AB9F-954A3B4FF4C9}" type="sibTrans" cxnId="{58AE51B1-581B-43DC-94D5-5B708E1119C8}">
      <dgm:prSet/>
      <dgm:spPr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9000" b="-29000"/>
          </a:stretch>
        </a:blipFill>
      </dgm:spPr>
      <dgm:t>
        <a:bodyPr/>
        <a:lstStyle/>
        <a:p>
          <a:endParaRPr lang="ru-RU"/>
        </a:p>
      </dgm:t>
      <dgm:extLst>
        <a:ext uri="{E40237B7-FDA0-4F09-8148-C483321AD2D9}">
          <dgm14:cNvPr xmlns:dgm14="http://schemas.microsoft.com/office/drawing/2010/diagram" id="0" name="" descr="https://sun9-61.userapi.com/impg/EJ5KSlO8tqnOd9c4ZclDRjUuk6bSMbT_MOFrnA/9F_VQ1NmHe0.jpg?size=1361x2160&amp;quality=95&amp;sign=f5a649b989c9909dfd95d32c2cb06239&amp;type=album"/>
        </a:ext>
      </dgm:extLst>
    </dgm:pt>
    <dgm:pt modelId="{DC48DF73-8503-4A99-AF2D-AF72FC929A64}" type="parTrans" cxnId="{58AE51B1-581B-43DC-94D5-5B708E1119C8}">
      <dgm:prSet/>
      <dgm:spPr/>
      <dgm:t>
        <a:bodyPr/>
        <a:lstStyle/>
        <a:p>
          <a:endParaRPr lang="ru-RU"/>
        </a:p>
      </dgm:t>
    </dgm:pt>
    <dgm:pt modelId="{66EAC84B-6072-424F-A9A4-43DDAA4C7F4F}" type="pres">
      <dgm:prSet presAssocID="{18D94B4B-3BB2-487D-8AFE-2673321271A6}" presName="Name0" presStyleCnt="0">
        <dgm:presLayoutVars>
          <dgm:chMax val="7"/>
          <dgm:chPref val="7"/>
          <dgm:dir/>
        </dgm:presLayoutVars>
      </dgm:prSet>
      <dgm:spPr/>
    </dgm:pt>
    <dgm:pt modelId="{DB43B88F-DE87-45BA-9E11-431A6941C11A}" type="pres">
      <dgm:prSet presAssocID="{18D94B4B-3BB2-487D-8AFE-2673321271A6}" presName="Name1" presStyleCnt="0"/>
      <dgm:spPr/>
    </dgm:pt>
    <dgm:pt modelId="{8DEF244B-4220-449A-9E45-B06E598BCD0E}" type="pres">
      <dgm:prSet presAssocID="{13C4D30C-5887-4C97-AB9F-954A3B4FF4C9}" presName="picture_1" presStyleCnt="0"/>
      <dgm:spPr/>
    </dgm:pt>
    <dgm:pt modelId="{BAD9F26F-5283-4C49-8199-667D0C587743}" type="pres">
      <dgm:prSet presAssocID="{13C4D30C-5887-4C97-AB9F-954A3B4FF4C9}" presName="pictureRepeatNode" presStyleLbl="alignImgPlace1" presStyleIdx="0" presStyleCnt="1" custLinFactNeighborX="-46976" custLinFactNeighborY="19436"/>
      <dgm:spPr/>
    </dgm:pt>
    <dgm:pt modelId="{449379B0-3EA5-4A0E-BB5C-BE0DBBA40763}" type="pres">
      <dgm:prSet presAssocID="{91AFF578-8FE8-40D1-AEC4-FC7CFB08A0B2}" presName="text_1" presStyleLbl="node1" presStyleIdx="0" presStyleCnt="0" custLinFactY="-100000" custLinFactNeighborX="79691" custLinFactNeighborY="-153448">
        <dgm:presLayoutVars>
          <dgm:bulletEnabled val="1"/>
        </dgm:presLayoutVars>
      </dgm:prSet>
      <dgm:spPr/>
    </dgm:pt>
  </dgm:ptLst>
  <dgm:cxnLst>
    <dgm:cxn modelId="{A37C4552-7596-42EB-9C8C-18C9DBC7D112}" type="presOf" srcId="{18D94B4B-3BB2-487D-8AFE-2673321271A6}" destId="{66EAC84B-6072-424F-A9A4-43DDAA4C7F4F}" srcOrd="0" destOrd="0" presId="urn:microsoft.com/office/officeart/2008/layout/CircularPictureCallout"/>
    <dgm:cxn modelId="{58AE51B1-581B-43DC-94D5-5B708E1119C8}" srcId="{18D94B4B-3BB2-487D-8AFE-2673321271A6}" destId="{91AFF578-8FE8-40D1-AEC4-FC7CFB08A0B2}" srcOrd="0" destOrd="0" parTransId="{DC48DF73-8503-4A99-AF2D-AF72FC929A64}" sibTransId="{13C4D30C-5887-4C97-AB9F-954A3B4FF4C9}"/>
    <dgm:cxn modelId="{B76E7DC3-BCF5-4FA8-AFB2-FFF8DE6B90AD}" type="presOf" srcId="{13C4D30C-5887-4C97-AB9F-954A3B4FF4C9}" destId="{BAD9F26F-5283-4C49-8199-667D0C587743}" srcOrd="0" destOrd="0" presId="urn:microsoft.com/office/officeart/2008/layout/CircularPictureCallout"/>
    <dgm:cxn modelId="{115040D0-419C-4922-B33C-6D5C8CACD4BF}" type="presOf" srcId="{91AFF578-8FE8-40D1-AEC4-FC7CFB08A0B2}" destId="{449379B0-3EA5-4A0E-BB5C-BE0DBBA40763}" srcOrd="0" destOrd="0" presId="urn:microsoft.com/office/officeart/2008/layout/CircularPictureCallout"/>
    <dgm:cxn modelId="{BD3983BD-80DA-4939-9B6B-A03F441A60FD}" type="presParOf" srcId="{66EAC84B-6072-424F-A9A4-43DDAA4C7F4F}" destId="{DB43B88F-DE87-45BA-9E11-431A6941C11A}" srcOrd="0" destOrd="0" presId="urn:microsoft.com/office/officeart/2008/layout/CircularPictureCallout"/>
    <dgm:cxn modelId="{C3CDC97F-7CC9-4997-A118-4A03CBB30D33}" type="presParOf" srcId="{DB43B88F-DE87-45BA-9E11-431A6941C11A}" destId="{8DEF244B-4220-449A-9E45-B06E598BCD0E}" srcOrd="0" destOrd="0" presId="urn:microsoft.com/office/officeart/2008/layout/CircularPictureCallout"/>
    <dgm:cxn modelId="{C279C931-509E-4100-B31B-690183531DA3}" type="presParOf" srcId="{8DEF244B-4220-449A-9E45-B06E598BCD0E}" destId="{BAD9F26F-5283-4C49-8199-667D0C587743}" srcOrd="0" destOrd="0" presId="urn:microsoft.com/office/officeart/2008/layout/CircularPictureCallout"/>
    <dgm:cxn modelId="{26CD00A3-265D-4799-B6E6-AE66790852A9}" type="presParOf" srcId="{DB43B88F-DE87-45BA-9E11-431A6941C11A}" destId="{449379B0-3EA5-4A0E-BB5C-BE0DBBA40763}" srcOrd="1" destOrd="0" presId="urn:microsoft.com/office/officeart/2008/layout/CircularPictureCallout"/>
  </dgm:cxnLst>
  <dgm:bg/>
  <dgm:whole/>
  <dgm:extLst>
    <a:ext uri="http://schemas.microsoft.com/office/drawing/2008/diagram">
      <dsp:dataModelExt xmlns:dsp="http://schemas.microsoft.com/office/drawing/2008/diagram" relId="rId2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D6FB35C-E6A3-4808-801F-875A4F766F2F}" type="doc">
      <dgm:prSet loTypeId="urn:microsoft.com/office/officeart/2008/layout/CircularPictureCallout" loCatId="picture" qsTypeId="urn:microsoft.com/office/officeart/2005/8/quickstyle/simple1" qsCatId="simple" csTypeId="urn:microsoft.com/office/officeart/2005/8/colors/accent1_2" csCatId="accent1" phldr="1"/>
      <dgm:spPr/>
    </dgm:pt>
    <dgm:pt modelId="{F34A2AD1-B349-4A6E-9BC3-920113FB88CE}">
      <dgm:prSet phldrT="[Текст]"/>
      <dgm:spPr/>
      <dgm:t>
        <a:bodyPr/>
        <a:lstStyle/>
        <a:p>
          <a:endParaRPr lang="ru-RU" dirty="0"/>
        </a:p>
      </dgm:t>
    </dgm:pt>
    <dgm:pt modelId="{E25B8BFF-64E3-438F-A894-5080E0DFDDEB}" type="parTrans" cxnId="{9E6C17D9-52CA-4DA4-84CD-912B7A866273}">
      <dgm:prSet/>
      <dgm:spPr/>
      <dgm:t>
        <a:bodyPr/>
        <a:lstStyle/>
        <a:p>
          <a:endParaRPr lang="ru-RU"/>
        </a:p>
      </dgm:t>
    </dgm:pt>
    <dgm:pt modelId="{F937047C-BBE0-47C4-8AE3-5B4989597D6A}" type="sibTrans" cxnId="{9E6C17D9-52CA-4DA4-84CD-912B7A866273}">
      <dgm:prSet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7000" b="-17000"/>
          </a:stretch>
        </a:blipFill>
      </dgm:spPr>
      <dgm:t>
        <a:bodyPr/>
        <a:lstStyle/>
        <a:p>
          <a:endParaRPr lang="ru-RU"/>
        </a:p>
      </dgm:t>
      <dgm:extLst>
        <a:ext uri="{E40237B7-FDA0-4F09-8148-C483321AD2D9}">
          <dgm14:cNvPr xmlns:dgm14="http://schemas.microsoft.com/office/drawing/2010/diagram" id="0" name="" descr="https://sun59-2.userapi.com/impg/Hc5LAH_9-0TbB1le9Ug-PPLSMWqAdA6dgEe9Bg/PJV9W8lF3pA.jpg?size=1536x2048&amp;quality=96&amp;sign=b2bbac896fa30d10161d286187805ca6&amp;type=album"/>
        </a:ext>
      </dgm:extLst>
    </dgm:pt>
    <dgm:pt modelId="{F1E19DFD-E6DC-4148-81E7-7BF3EC855E3C}" type="pres">
      <dgm:prSet presAssocID="{2D6FB35C-E6A3-4808-801F-875A4F766F2F}" presName="Name0" presStyleCnt="0">
        <dgm:presLayoutVars>
          <dgm:chMax val="7"/>
          <dgm:chPref val="7"/>
          <dgm:dir/>
        </dgm:presLayoutVars>
      </dgm:prSet>
      <dgm:spPr/>
    </dgm:pt>
    <dgm:pt modelId="{5385DE52-B3BC-4841-B173-E5B3BB040920}" type="pres">
      <dgm:prSet presAssocID="{2D6FB35C-E6A3-4808-801F-875A4F766F2F}" presName="Name1" presStyleCnt="0"/>
      <dgm:spPr/>
    </dgm:pt>
    <dgm:pt modelId="{94D5FD98-8695-4D1F-A6D7-799E005BEE0C}" type="pres">
      <dgm:prSet presAssocID="{F937047C-BBE0-47C4-8AE3-5B4989597D6A}" presName="picture_1" presStyleCnt="0"/>
      <dgm:spPr/>
    </dgm:pt>
    <dgm:pt modelId="{E13FC0FF-FA5F-4CD1-8974-608E30AB00E7}" type="pres">
      <dgm:prSet presAssocID="{F937047C-BBE0-47C4-8AE3-5B4989597D6A}" presName="pictureRepeatNode" presStyleLbl="alignImgPlace1" presStyleIdx="0" presStyleCnt="1"/>
      <dgm:spPr/>
    </dgm:pt>
    <dgm:pt modelId="{865BD922-19D5-4472-AA8B-42274F7A3C4D}" type="pres">
      <dgm:prSet presAssocID="{F34A2AD1-B349-4A6E-9BC3-920113FB88CE}" presName="text_1" presStyleLbl="node1" presStyleIdx="0" presStyleCnt="0">
        <dgm:presLayoutVars>
          <dgm:bulletEnabled val="1"/>
        </dgm:presLayoutVars>
      </dgm:prSet>
      <dgm:spPr/>
    </dgm:pt>
  </dgm:ptLst>
  <dgm:cxnLst>
    <dgm:cxn modelId="{20A14107-8673-4602-A666-B5B8189F8337}" type="presOf" srcId="{F937047C-BBE0-47C4-8AE3-5B4989597D6A}" destId="{E13FC0FF-FA5F-4CD1-8974-608E30AB00E7}" srcOrd="0" destOrd="0" presId="urn:microsoft.com/office/officeart/2008/layout/CircularPictureCallout"/>
    <dgm:cxn modelId="{20D17B82-765C-4EF8-B2D1-DAAA471A9FBE}" type="presOf" srcId="{F34A2AD1-B349-4A6E-9BC3-920113FB88CE}" destId="{865BD922-19D5-4472-AA8B-42274F7A3C4D}" srcOrd="0" destOrd="0" presId="urn:microsoft.com/office/officeart/2008/layout/CircularPictureCallout"/>
    <dgm:cxn modelId="{F67DFD88-AF1B-4787-A91C-B562E16B2295}" type="presOf" srcId="{2D6FB35C-E6A3-4808-801F-875A4F766F2F}" destId="{F1E19DFD-E6DC-4148-81E7-7BF3EC855E3C}" srcOrd="0" destOrd="0" presId="urn:microsoft.com/office/officeart/2008/layout/CircularPictureCallout"/>
    <dgm:cxn modelId="{9E6C17D9-52CA-4DA4-84CD-912B7A866273}" srcId="{2D6FB35C-E6A3-4808-801F-875A4F766F2F}" destId="{F34A2AD1-B349-4A6E-9BC3-920113FB88CE}" srcOrd="0" destOrd="0" parTransId="{E25B8BFF-64E3-438F-A894-5080E0DFDDEB}" sibTransId="{F937047C-BBE0-47C4-8AE3-5B4989597D6A}"/>
    <dgm:cxn modelId="{5B803552-343B-4507-987A-D318742759A4}" type="presParOf" srcId="{F1E19DFD-E6DC-4148-81E7-7BF3EC855E3C}" destId="{5385DE52-B3BC-4841-B173-E5B3BB040920}" srcOrd="0" destOrd="0" presId="urn:microsoft.com/office/officeart/2008/layout/CircularPictureCallout"/>
    <dgm:cxn modelId="{A7E7520B-6B4F-4C21-8DB9-87000E62A864}" type="presParOf" srcId="{5385DE52-B3BC-4841-B173-E5B3BB040920}" destId="{94D5FD98-8695-4D1F-A6D7-799E005BEE0C}" srcOrd="0" destOrd="0" presId="urn:microsoft.com/office/officeart/2008/layout/CircularPictureCallout"/>
    <dgm:cxn modelId="{20EDCE5D-BF11-42B7-AD8F-D9787164FAEB}" type="presParOf" srcId="{94D5FD98-8695-4D1F-A6D7-799E005BEE0C}" destId="{E13FC0FF-FA5F-4CD1-8974-608E30AB00E7}" srcOrd="0" destOrd="0" presId="urn:microsoft.com/office/officeart/2008/layout/CircularPictureCallout"/>
    <dgm:cxn modelId="{FDC36179-780B-4AC2-A03A-269E635D4CA2}" type="presParOf" srcId="{5385DE52-B3BC-4841-B173-E5B3BB040920}" destId="{865BD922-19D5-4472-AA8B-42274F7A3C4D}" srcOrd="1" destOrd="0" presId="urn:microsoft.com/office/officeart/2008/layout/CircularPictureCallout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A51E944-E440-4E75-8DBE-BE90D9949111}" type="doc">
      <dgm:prSet loTypeId="urn:microsoft.com/office/officeart/2008/layout/CircularPictureCallout" loCatId="picture" qsTypeId="urn:microsoft.com/office/officeart/2005/8/quickstyle/simple1" qsCatId="simple" csTypeId="urn:microsoft.com/office/officeart/2005/8/colors/accent1_2" csCatId="accent1" phldr="1"/>
      <dgm:spPr/>
    </dgm:pt>
    <dgm:pt modelId="{4D1355F3-7C06-4177-B363-779209CCF27F}">
      <dgm:prSet phldrT="[Текст]"/>
      <dgm:spPr/>
      <dgm:t>
        <a:bodyPr/>
        <a:lstStyle/>
        <a:p>
          <a:endParaRPr lang="ru-RU" dirty="0"/>
        </a:p>
      </dgm:t>
    </dgm:pt>
    <dgm:pt modelId="{EC492E63-784D-46F5-99DB-7917FF4D8CD1}" type="parTrans" cxnId="{0395E41B-FB01-4698-80AA-4B5095ACF4A6}">
      <dgm:prSet/>
      <dgm:spPr/>
      <dgm:t>
        <a:bodyPr/>
        <a:lstStyle/>
        <a:p>
          <a:endParaRPr lang="ru-RU"/>
        </a:p>
      </dgm:t>
    </dgm:pt>
    <dgm:pt modelId="{282B69D4-21E3-4DD1-A594-B1C52060A3CD}" type="sibTrans" cxnId="{0395E41B-FB01-4698-80AA-4B5095ACF4A6}">
      <dgm:prSet/>
      <dgm:spPr>
        <a:blipFill>
          <a:blip xmlns:r="http://schemas.openxmlformats.org/officeDocument/2006/relationships" r:embed="rId1"/>
          <a:srcRect/>
          <a:stretch>
            <a:fillRect l="-25000" r="-25000"/>
          </a:stretch>
        </a:blipFill>
      </dgm:spPr>
      <dgm:t>
        <a:bodyPr/>
        <a:lstStyle/>
        <a:p>
          <a:endParaRPr lang="ru-RU"/>
        </a:p>
      </dgm:t>
    </dgm:pt>
    <dgm:pt modelId="{611A351E-7087-42DE-9750-E08F08DCE7B6}" type="pres">
      <dgm:prSet presAssocID="{EA51E944-E440-4E75-8DBE-BE90D9949111}" presName="Name0" presStyleCnt="0">
        <dgm:presLayoutVars>
          <dgm:chMax val="7"/>
          <dgm:chPref val="7"/>
          <dgm:dir/>
        </dgm:presLayoutVars>
      </dgm:prSet>
      <dgm:spPr/>
    </dgm:pt>
    <dgm:pt modelId="{B2E217C2-6D62-4CB3-A88C-86EF991374AD}" type="pres">
      <dgm:prSet presAssocID="{EA51E944-E440-4E75-8DBE-BE90D9949111}" presName="Name1" presStyleCnt="0"/>
      <dgm:spPr/>
    </dgm:pt>
    <dgm:pt modelId="{8D393D98-AE41-47BC-858C-CB4D36794E54}" type="pres">
      <dgm:prSet presAssocID="{282B69D4-21E3-4DD1-A594-B1C52060A3CD}" presName="picture_1" presStyleCnt="0"/>
      <dgm:spPr/>
    </dgm:pt>
    <dgm:pt modelId="{7DA642CF-6D68-4D2B-BB87-C9B21BCB7312}" type="pres">
      <dgm:prSet presAssocID="{282B69D4-21E3-4DD1-A594-B1C52060A3CD}" presName="pictureRepeatNode" presStyleLbl="alignImgPlace1" presStyleIdx="0" presStyleCnt="1"/>
      <dgm:spPr/>
    </dgm:pt>
    <dgm:pt modelId="{D43E749A-1E42-4ADF-91DE-CDF5D4561EE2}" type="pres">
      <dgm:prSet presAssocID="{4D1355F3-7C06-4177-B363-779209CCF27F}" presName="text_1" presStyleLbl="node1" presStyleIdx="0" presStyleCnt="0">
        <dgm:presLayoutVars>
          <dgm:bulletEnabled val="1"/>
        </dgm:presLayoutVars>
      </dgm:prSet>
      <dgm:spPr/>
    </dgm:pt>
  </dgm:ptLst>
  <dgm:cxnLst>
    <dgm:cxn modelId="{0395E41B-FB01-4698-80AA-4B5095ACF4A6}" srcId="{EA51E944-E440-4E75-8DBE-BE90D9949111}" destId="{4D1355F3-7C06-4177-B363-779209CCF27F}" srcOrd="0" destOrd="0" parTransId="{EC492E63-784D-46F5-99DB-7917FF4D8CD1}" sibTransId="{282B69D4-21E3-4DD1-A594-B1C52060A3CD}"/>
    <dgm:cxn modelId="{913FE838-CD40-45E2-80CB-5DE094B80DFF}" type="presOf" srcId="{282B69D4-21E3-4DD1-A594-B1C52060A3CD}" destId="{7DA642CF-6D68-4D2B-BB87-C9B21BCB7312}" srcOrd="0" destOrd="0" presId="urn:microsoft.com/office/officeart/2008/layout/CircularPictureCallout"/>
    <dgm:cxn modelId="{92E9549F-04B6-4F92-8D3C-B193967535DA}" type="presOf" srcId="{EA51E944-E440-4E75-8DBE-BE90D9949111}" destId="{611A351E-7087-42DE-9750-E08F08DCE7B6}" srcOrd="0" destOrd="0" presId="urn:microsoft.com/office/officeart/2008/layout/CircularPictureCallout"/>
    <dgm:cxn modelId="{C34E67D2-448A-4E10-A5D6-F60DD74B26F5}" type="presOf" srcId="{4D1355F3-7C06-4177-B363-779209CCF27F}" destId="{D43E749A-1E42-4ADF-91DE-CDF5D4561EE2}" srcOrd="0" destOrd="0" presId="urn:microsoft.com/office/officeart/2008/layout/CircularPictureCallout"/>
    <dgm:cxn modelId="{BD5025F9-CF8B-44AD-A2A8-A8B1B20D315B}" type="presParOf" srcId="{611A351E-7087-42DE-9750-E08F08DCE7B6}" destId="{B2E217C2-6D62-4CB3-A88C-86EF991374AD}" srcOrd="0" destOrd="0" presId="urn:microsoft.com/office/officeart/2008/layout/CircularPictureCallout"/>
    <dgm:cxn modelId="{138C08F7-94D3-44B5-9A4B-832B21451E9B}" type="presParOf" srcId="{B2E217C2-6D62-4CB3-A88C-86EF991374AD}" destId="{8D393D98-AE41-47BC-858C-CB4D36794E54}" srcOrd="0" destOrd="0" presId="urn:microsoft.com/office/officeart/2008/layout/CircularPictureCallout"/>
    <dgm:cxn modelId="{215EB7BD-4477-4516-A090-29AF61AFF178}" type="presParOf" srcId="{8D393D98-AE41-47BC-858C-CB4D36794E54}" destId="{7DA642CF-6D68-4D2B-BB87-C9B21BCB7312}" srcOrd="0" destOrd="0" presId="urn:microsoft.com/office/officeart/2008/layout/CircularPictureCallout"/>
    <dgm:cxn modelId="{E4011588-DB5C-4492-99A6-6D63DF49E4F0}" type="presParOf" srcId="{B2E217C2-6D62-4CB3-A88C-86EF991374AD}" destId="{D43E749A-1E42-4ADF-91DE-CDF5D4561EE2}" srcOrd="1" destOrd="0" presId="urn:microsoft.com/office/officeart/2008/layout/CircularPictureCallout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09B5D7A-7525-4142-865E-F1F9077F1341}" type="doc">
      <dgm:prSet loTypeId="urn:microsoft.com/office/officeart/2008/layout/CircularPictureCallout" loCatId="picture" qsTypeId="urn:microsoft.com/office/officeart/2005/8/quickstyle/simple1" qsCatId="simple" csTypeId="urn:microsoft.com/office/officeart/2005/8/colors/accent1_2" csCatId="accent1"/>
      <dgm:spPr/>
    </dgm:pt>
    <dgm:pt modelId="{2B6F2016-170F-4DD7-B666-AEA99721C8E1}" type="pres">
      <dgm:prSet presAssocID="{009B5D7A-7525-4142-865E-F1F9077F1341}" presName="Name0" presStyleCnt="0">
        <dgm:presLayoutVars>
          <dgm:chMax val="7"/>
          <dgm:chPref val="7"/>
          <dgm:dir/>
        </dgm:presLayoutVars>
      </dgm:prSet>
      <dgm:spPr/>
    </dgm:pt>
    <dgm:pt modelId="{FFCFF70E-623F-47BA-A69A-4FAB0D037C6B}" type="pres">
      <dgm:prSet presAssocID="{009B5D7A-7525-4142-865E-F1F9077F1341}" presName="Name1" presStyleCnt="0"/>
      <dgm:spPr/>
    </dgm:pt>
  </dgm:ptLst>
  <dgm:cxnLst>
    <dgm:cxn modelId="{1364DD7F-8988-47CC-AEDE-F62C3C95A17B}" type="presOf" srcId="{009B5D7A-7525-4142-865E-F1F9077F1341}" destId="{2B6F2016-170F-4DD7-B666-AEA99721C8E1}" srcOrd="0" destOrd="0" presId="urn:microsoft.com/office/officeart/2008/layout/CircularPictureCallout"/>
    <dgm:cxn modelId="{A7E52028-50FE-498D-BD70-61E8B8CFE48D}" type="presParOf" srcId="{2B6F2016-170F-4DD7-B666-AEA99721C8E1}" destId="{FFCFF70E-623F-47BA-A69A-4FAB0D037C6B}" srcOrd="0" destOrd="0" presId="urn:microsoft.com/office/officeart/2008/layout/CircularPictureCallout"/>
  </dgm:cxnLst>
  <dgm:bg/>
  <dgm:whole/>
  <dgm:extLst>
    <a:ext uri="http://schemas.microsoft.com/office/drawing/2008/diagram">
      <dsp:dataModelExt xmlns:dsp="http://schemas.microsoft.com/office/drawing/2008/diagram" relId="rId20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A0636C11-587D-4D72-8109-5366E9BC86F9}" type="doc">
      <dgm:prSet loTypeId="urn:microsoft.com/office/officeart/2008/layout/CircularPictureCallout" loCatId="picture" qsTypeId="urn:microsoft.com/office/officeart/2005/8/quickstyle/simple1" qsCatId="simple" csTypeId="urn:microsoft.com/office/officeart/2005/8/colors/accent1_2" csCatId="accent1" phldr="1"/>
      <dgm:spPr/>
    </dgm:pt>
    <dgm:pt modelId="{F2031075-4135-4473-AA68-A88E099A127D}">
      <dgm:prSet phldrT="[Текст]"/>
      <dgm:spPr/>
      <dgm:t>
        <a:bodyPr/>
        <a:lstStyle/>
        <a:p>
          <a:endParaRPr lang="ru-RU" dirty="0"/>
        </a:p>
      </dgm:t>
    </dgm:pt>
    <dgm:pt modelId="{AD7286EF-4D7F-4DF5-BDB4-3B8EA6607207}" type="parTrans" cxnId="{A4E34F7C-3F5F-492F-AD12-533FB63632E0}">
      <dgm:prSet/>
      <dgm:spPr/>
      <dgm:t>
        <a:bodyPr/>
        <a:lstStyle/>
        <a:p>
          <a:endParaRPr lang="ru-RU"/>
        </a:p>
      </dgm:t>
    </dgm:pt>
    <dgm:pt modelId="{208251E4-6A5C-4BD4-8D46-F72F68E65C77}" type="sibTrans" cxnId="{A4E34F7C-3F5F-492F-AD12-533FB63632E0}">
      <dgm:prSet/>
      <dgm:spPr>
        <a:blipFill>
          <a:blip xmlns:r="http://schemas.openxmlformats.org/officeDocument/2006/relationships" r:embed="rId1"/>
          <a:srcRect/>
          <a:stretch>
            <a:fillRect t="-17000" b="-17000"/>
          </a:stretch>
        </a:blipFill>
      </dgm:spPr>
      <dgm:t>
        <a:bodyPr/>
        <a:lstStyle/>
        <a:p>
          <a:endParaRPr lang="ru-RU"/>
        </a:p>
      </dgm:t>
    </dgm:pt>
    <dgm:pt modelId="{0572EE84-2EE9-45FB-AB42-BCD96E232E35}" type="pres">
      <dgm:prSet presAssocID="{A0636C11-587D-4D72-8109-5366E9BC86F9}" presName="Name0" presStyleCnt="0">
        <dgm:presLayoutVars>
          <dgm:chMax val="7"/>
          <dgm:chPref val="7"/>
          <dgm:dir/>
        </dgm:presLayoutVars>
      </dgm:prSet>
      <dgm:spPr/>
    </dgm:pt>
    <dgm:pt modelId="{75A1AB2F-074E-4BAE-B6C4-8635ED40B423}" type="pres">
      <dgm:prSet presAssocID="{A0636C11-587D-4D72-8109-5366E9BC86F9}" presName="Name1" presStyleCnt="0"/>
      <dgm:spPr/>
    </dgm:pt>
    <dgm:pt modelId="{DDD063BE-E4B1-4E90-B027-A0BCE08108F0}" type="pres">
      <dgm:prSet presAssocID="{208251E4-6A5C-4BD4-8D46-F72F68E65C77}" presName="picture_1" presStyleCnt="0"/>
      <dgm:spPr/>
    </dgm:pt>
    <dgm:pt modelId="{7239B390-355C-4D2B-9FE1-D371492C73CB}" type="pres">
      <dgm:prSet presAssocID="{208251E4-6A5C-4BD4-8D46-F72F68E65C77}" presName="pictureRepeatNode" presStyleLbl="alignImgPlace1" presStyleIdx="0" presStyleCnt="1" custScaleX="34615" custScaleY="33791" custLinFactNeighborX="43028" custLinFactNeighborY="-22771"/>
      <dgm:spPr/>
    </dgm:pt>
    <dgm:pt modelId="{FB710F3F-B341-4D84-89A6-F2374B53AD83}" type="pres">
      <dgm:prSet presAssocID="{F2031075-4135-4473-AA68-A88E099A127D}" presName="text_1" presStyleLbl="node1" presStyleIdx="0" presStyleCnt="0">
        <dgm:presLayoutVars>
          <dgm:bulletEnabled val="1"/>
        </dgm:presLayoutVars>
      </dgm:prSet>
      <dgm:spPr/>
    </dgm:pt>
  </dgm:ptLst>
  <dgm:cxnLst>
    <dgm:cxn modelId="{A4E34F7C-3F5F-492F-AD12-533FB63632E0}" srcId="{A0636C11-587D-4D72-8109-5366E9BC86F9}" destId="{F2031075-4135-4473-AA68-A88E099A127D}" srcOrd="0" destOrd="0" parTransId="{AD7286EF-4D7F-4DF5-BDB4-3B8EA6607207}" sibTransId="{208251E4-6A5C-4BD4-8D46-F72F68E65C77}"/>
    <dgm:cxn modelId="{56211394-E62D-4CBB-9BF6-09C7381AC974}" type="presOf" srcId="{A0636C11-587D-4D72-8109-5366E9BC86F9}" destId="{0572EE84-2EE9-45FB-AB42-BCD96E232E35}" srcOrd="0" destOrd="0" presId="urn:microsoft.com/office/officeart/2008/layout/CircularPictureCallout"/>
    <dgm:cxn modelId="{54E1469F-ACBA-48AB-B655-CF5D8CCA8EEE}" type="presOf" srcId="{208251E4-6A5C-4BD4-8D46-F72F68E65C77}" destId="{7239B390-355C-4D2B-9FE1-D371492C73CB}" srcOrd="0" destOrd="0" presId="urn:microsoft.com/office/officeart/2008/layout/CircularPictureCallout"/>
    <dgm:cxn modelId="{A908F5F3-5794-42F2-BB80-D4EFB86D95A5}" type="presOf" srcId="{F2031075-4135-4473-AA68-A88E099A127D}" destId="{FB710F3F-B341-4D84-89A6-F2374B53AD83}" srcOrd="0" destOrd="0" presId="urn:microsoft.com/office/officeart/2008/layout/CircularPictureCallout"/>
    <dgm:cxn modelId="{F4393F1D-7E6C-455B-A6A3-99E648EC8989}" type="presParOf" srcId="{0572EE84-2EE9-45FB-AB42-BCD96E232E35}" destId="{75A1AB2F-074E-4BAE-B6C4-8635ED40B423}" srcOrd="0" destOrd="0" presId="urn:microsoft.com/office/officeart/2008/layout/CircularPictureCallout"/>
    <dgm:cxn modelId="{7458616A-B924-4B45-90EB-FC58B347CED3}" type="presParOf" srcId="{75A1AB2F-074E-4BAE-B6C4-8635ED40B423}" destId="{DDD063BE-E4B1-4E90-B027-A0BCE08108F0}" srcOrd="0" destOrd="0" presId="urn:microsoft.com/office/officeart/2008/layout/CircularPictureCallout"/>
    <dgm:cxn modelId="{C137249B-51EE-437C-BA58-98DD4060BCFA}" type="presParOf" srcId="{DDD063BE-E4B1-4E90-B027-A0BCE08108F0}" destId="{7239B390-355C-4D2B-9FE1-D371492C73CB}" srcOrd="0" destOrd="0" presId="urn:microsoft.com/office/officeart/2008/layout/CircularPictureCallout"/>
    <dgm:cxn modelId="{9688688A-90A7-4337-83A8-3E32C3E041D0}" type="presParOf" srcId="{75A1AB2F-074E-4BAE-B6C4-8635ED40B423}" destId="{FB710F3F-B341-4D84-89A6-F2374B53AD83}" srcOrd="1" destOrd="0" presId="urn:microsoft.com/office/officeart/2008/layout/CircularPictureCallout"/>
  </dgm:cxnLst>
  <dgm:bg/>
  <dgm:whole/>
  <dgm:extLst>
    <a:ext uri="http://schemas.microsoft.com/office/drawing/2008/diagram">
      <dsp:dataModelExt xmlns:dsp="http://schemas.microsoft.com/office/drawing/2008/diagram" relId="rId2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9B7654-1908-456F-89A8-72C13EC44393}">
      <dsp:nvSpPr>
        <dsp:cNvPr id="0" name=""/>
        <dsp:cNvSpPr/>
      </dsp:nvSpPr>
      <dsp:spPr>
        <a:xfrm>
          <a:off x="1214638" y="682193"/>
          <a:ext cx="2488810" cy="2488810"/>
        </a:xfrm>
        <a:prstGeom prst="ellipse">
          <a:avLst/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794F32-E691-4E59-A465-5061E3A30983}">
      <dsp:nvSpPr>
        <dsp:cNvPr id="0" name=""/>
        <dsp:cNvSpPr/>
      </dsp:nvSpPr>
      <dsp:spPr>
        <a:xfrm>
          <a:off x="1692390" y="1995712"/>
          <a:ext cx="1592838" cy="821307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ctr" defTabSz="2578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5800" kern="1200" dirty="0"/>
        </a:p>
      </dsp:txBody>
      <dsp:txXfrm>
        <a:off x="1692390" y="1995712"/>
        <a:ext cx="1592838" cy="82130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415A4D-CBC6-41C9-9692-B067A761B0ED}">
      <dsp:nvSpPr>
        <dsp:cNvPr id="0" name=""/>
        <dsp:cNvSpPr/>
      </dsp:nvSpPr>
      <dsp:spPr>
        <a:xfrm>
          <a:off x="1241287" y="1962771"/>
          <a:ext cx="2482574" cy="2482574"/>
        </a:xfrm>
        <a:prstGeom prst="ellipse">
          <a:avLst/>
        </a:prstGeom>
        <a:blipFill>
          <a:blip xmlns:r="http://schemas.openxmlformats.org/officeDocument/2006/relationships" r:embed="rId1"/>
          <a:srcRect/>
          <a:stretch>
            <a:fillRect t="-17000" b="-17000"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6AC9F65B-00C5-4E1A-B6F0-9D8FB8369177}">
      <dsp:nvSpPr>
        <dsp:cNvPr id="0" name=""/>
        <dsp:cNvSpPr/>
      </dsp:nvSpPr>
      <dsp:spPr>
        <a:xfrm>
          <a:off x="1152026" y="3308119"/>
          <a:ext cx="1588848" cy="819249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ctr" defTabSz="2578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5800" kern="1200" dirty="0"/>
        </a:p>
      </dsp:txBody>
      <dsp:txXfrm>
        <a:off x="1152026" y="3308119"/>
        <a:ext cx="1588848" cy="81924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AD9F26F-5283-4C49-8199-667D0C587743}">
      <dsp:nvSpPr>
        <dsp:cNvPr id="0" name=""/>
        <dsp:cNvSpPr/>
      </dsp:nvSpPr>
      <dsp:spPr>
        <a:xfrm>
          <a:off x="74791" y="1396724"/>
          <a:ext cx="2473252" cy="2473252"/>
        </a:xfrm>
        <a:prstGeom prst="ellipse">
          <a:avLst/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9000" b="-29000"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449379B0-3EA5-4A0E-BB5C-BE0DBBA40763}">
      <dsp:nvSpPr>
        <dsp:cNvPr id="0" name=""/>
        <dsp:cNvSpPr/>
      </dsp:nvSpPr>
      <dsp:spPr>
        <a:xfrm>
          <a:off x="2943225" y="160745"/>
          <a:ext cx="1582881" cy="816173"/>
        </a:xfrm>
        <a:prstGeom prst="rect">
          <a:avLst/>
        </a:prstGeom>
        <a:noFill/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  <a:sp3d/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ctr" defTabSz="2578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5800" kern="1200" dirty="0"/>
        </a:p>
      </dsp:txBody>
      <dsp:txXfrm>
        <a:off x="2943225" y="160745"/>
        <a:ext cx="1582881" cy="81617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3FC0FF-FA5F-4CD1-8974-608E30AB00E7}">
      <dsp:nvSpPr>
        <dsp:cNvPr id="0" name=""/>
        <dsp:cNvSpPr/>
      </dsp:nvSpPr>
      <dsp:spPr>
        <a:xfrm>
          <a:off x="1240920" y="1802449"/>
          <a:ext cx="2481840" cy="2481840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7000" b="-1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5BD922-19D5-4472-AA8B-42274F7A3C4D}">
      <dsp:nvSpPr>
        <dsp:cNvPr id="0" name=""/>
        <dsp:cNvSpPr/>
      </dsp:nvSpPr>
      <dsp:spPr>
        <a:xfrm>
          <a:off x="1687651" y="3120306"/>
          <a:ext cx="1588377" cy="819007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ctr" defTabSz="2578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5800" kern="1200" dirty="0"/>
        </a:p>
      </dsp:txBody>
      <dsp:txXfrm>
        <a:off x="1687651" y="3120306"/>
        <a:ext cx="1588377" cy="81900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A642CF-6D68-4D2B-BB87-C9B21BCB7312}">
      <dsp:nvSpPr>
        <dsp:cNvPr id="0" name=""/>
        <dsp:cNvSpPr/>
      </dsp:nvSpPr>
      <dsp:spPr>
        <a:xfrm>
          <a:off x="1337996" y="720177"/>
          <a:ext cx="2675992" cy="2675992"/>
        </a:xfrm>
        <a:prstGeom prst="ellipse">
          <a:avLst/>
        </a:prstGeom>
        <a:blipFill>
          <a:blip xmlns:r="http://schemas.openxmlformats.org/officeDocument/2006/relationships" r:embed="rId1"/>
          <a:srcRect/>
          <a:stretch>
            <a:fillRect l="-25000" r="-2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43E749A-1E42-4ADF-91DE-CDF5D4561EE2}">
      <dsp:nvSpPr>
        <dsp:cNvPr id="0" name=""/>
        <dsp:cNvSpPr/>
      </dsp:nvSpPr>
      <dsp:spPr>
        <a:xfrm>
          <a:off x="1819674" y="2141129"/>
          <a:ext cx="1712635" cy="883077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ctr" defTabSz="2800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6300" kern="1200" dirty="0"/>
        </a:p>
      </dsp:txBody>
      <dsp:txXfrm>
        <a:off x="1819674" y="2141129"/>
        <a:ext cx="1712635" cy="88307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39B390-355C-4D2B-9FE1-D371492C73CB}">
      <dsp:nvSpPr>
        <dsp:cNvPr id="0" name=""/>
        <dsp:cNvSpPr/>
      </dsp:nvSpPr>
      <dsp:spPr>
        <a:xfrm>
          <a:off x="9699650" y="6485792"/>
          <a:ext cx="2670633" cy="2607060"/>
        </a:xfrm>
        <a:prstGeom prst="ellipse">
          <a:avLst/>
        </a:prstGeom>
        <a:blipFill>
          <a:blip xmlns:r="http://schemas.openxmlformats.org/officeDocument/2006/relationships" r:embed="rId1"/>
          <a:srcRect/>
          <a:stretch>
            <a:fillRect t="-17000" b="-1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B710F3F-B341-4D84-89A6-F2374B53AD83}">
      <dsp:nvSpPr>
        <dsp:cNvPr id="0" name=""/>
        <dsp:cNvSpPr/>
      </dsp:nvSpPr>
      <dsp:spPr>
        <a:xfrm>
          <a:off x="5246369" y="9785335"/>
          <a:ext cx="4937760" cy="2546032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6500" kern="1200" dirty="0"/>
        </a:p>
      </dsp:txBody>
      <dsp:txXfrm>
        <a:off x="5246369" y="9785335"/>
        <a:ext cx="4937760" cy="254603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CircularPictureCallout">
  <dgm:title val=""/>
  <dgm:desc val=""/>
  <dgm:catLst>
    <dgm:cat type="picture" pri="2000"/>
    <dgm:cat type="pictureconvert" pri="2000"/>
  </dgm:catLst>
  <dgm:sampData>
    <dgm:dataModel>
      <dgm:ptLst>
        <dgm:pt modelId="0" type="doc"/>
        <dgm:pt modelId="1"/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2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axis="ch" ptType="node" func="cnt" op="lte" val="1">
          <dgm:constrLst>
            <dgm:constr type="h" for="ch" forName="picture_1" refType="h"/>
            <dgm:constr type="w" for="ch" forName="picture_1" refType="h" refFor="ch" refForName="picture_1" op="equ"/>
            <dgm:constr type="l" for="ch" forName="picture_1"/>
            <dgm:constr type="t" for="ch" forName="picture_1"/>
            <dgm:constr type="w" for="ch" forName="text_1" refType="w" refFor="ch" refForName="picture_1" fact="0.64"/>
            <dgm:constr type="h" for="ch" forName="text_1" refType="h" refFor="ch" refForName="picture_1" fact="0.33"/>
            <dgm:constr type="l" for="ch" forName="text_1" refType="w" refFor="ch" refForName="picture_1" fact="0.18"/>
            <dgm:constr type="t" for="ch" forName="text_1" refType="h" refFor="ch" refForName="picture_1" fact="0.531"/>
          </dgm:constrLst>
        </dgm:if>
        <dgm:if name="Name4" axis="ch" ptType="node" func="cnt" op="lte" val="2">
          <dgm:choose name="Name5">
            <dgm:if name="Name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l" for="ch" forName="picture_2" refType="w" refFor="ch" refForName="picture_1" fact="1.21"/>
                <dgm:constr type="ctrY" for="ch" forName="picture_2" refType="h" refFor="ch" refForName="picture_1" fact="0.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if>
            <dgm:else name="Name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else>
          </dgm:choose>
        </dgm:if>
        <dgm:if name="Name8" axis="ch" ptType="node" func="cnt" op="lte" val="3">
          <dgm:choose name="Name9">
            <dgm:if name="Name10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l" for="ch" forName="picture_2" refType="w" refFor="ch" refForName="picture_1" fact="1.21"/>
                <dgm:constr type="ctrY" for="ch" forName="picture_2" refType="h" refFor="ch" refForName="picture_1" fact="0.18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l" for="ch" forName="picture_3" refType="w" refFor="ch" refForName="picture_1" fact="1.21"/>
                <dgm:constr type="ctrY" for="ch" forName="picture_3" refType="h" refFor="ch" refForName="picture_1" fact="0.812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if>
            <dgm:else name="Name11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18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812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else>
          </dgm:choose>
        </dgm:if>
        <dgm:if name="Name12" axis="ch" ptType="node" func="cnt" op="lte" val="4">
          <dgm:choose name="Name13">
            <dgm:if name="Name14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l" for="ch" forName="picture_2" refType="w" refFor="ch" refForName="picture_1" fact="1.354"/>
                <dgm:constr type="ctrY" for="ch" forName="picture_2" refType="h" refFor="ch" refForName="picture_1" fact="0.1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l" for="ch" forName="picture_3" refType="w" refFor="ch" refForName="picture_1" fact="1.21"/>
                <dgm:constr type="ctrY" for="ch" forName="picture_3" refType="h" refFor="ch" refForName="picture_1" fact="0.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l" for="ch" forName="picture_4" refType="w" refFor="ch" refForName="picture_1" fact="1.354"/>
                <dgm:constr type="ctrY" for="ch" forName="picture_4" refType="h" refFor="ch" refForName="picture_1" fact="0.8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if>
            <dgm:else name="Name15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r" for="ch" forName="picture_2" refType="w"/>
                <dgm:constr type="rOff" for="ch" forName="picture_2" refType="w" refFor="ch" refForName="picture_1" fact="-1.354"/>
                <dgm:constr type="ctrY" for="ch" forName="picture_2" refType="h" refFor="ch" refForName="picture_1" fact="0.1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r" for="ch" forName="picture_4" refType="w"/>
                <dgm:constr type="rOff" for="ch" forName="picture_4" refType="w" refFor="ch" refForName="picture_1" fact="-1.354"/>
                <dgm:constr type="ctrY" for="ch" forName="picture_4" refType="h" refFor="ch" refForName="picture_1" fact="0.8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else>
          </dgm:choose>
        </dgm:if>
        <dgm:if name="Name16" axis="ch" ptType="node" func="cnt" op="lte" val="5">
          <dgm:choose name="Name17">
            <dgm:if name="Name18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l" for="ch" forName="picture_2" refType="w" refFor="ch" refForName="picture_1" fact="1.375"/>
                <dgm:constr type="ctrY" for="ch" forName="picture_2" refType="h" refFor="ch" refForName="picture_1" fact="0.11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l" for="ch" forName="picture_3" refType="w" refFor="ch" refForName="picture_1" fact="1.21"/>
                <dgm:constr type="ctrY" for="ch" forName="picture_3" refType="h" refFor="ch" refForName="picture_1" fact="0.353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l" for="ch" forName="picture_4" refType="w" refFor="ch" refForName="picture_1" fact="1.21"/>
                <dgm:constr type="ctrY" for="ch" forName="picture_4" refType="h" refFor="ch" refForName="picture_1" fact="0.647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l" for="ch" forName="picture_5" refType="w" refFor="ch" refForName="picture_1" fact="1.375"/>
                <dgm:constr type="ctrY" for="ch" forName="picture_5" refType="h" refFor="ch" refForName="picture_1" fact="0.8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if>
            <dgm:else name="Name19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r" for="ch" forName="picture_2" refType="w"/>
                <dgm:constr type="rOff" for="ch" forName="picture_2" refType="w" refFor="ch" refForName="picture_1" fact="-1.375"/>
                <dgm:constr type="ctrY" for="ch" forName="picture_2" refType="h" refFor="ch" refForName="picture_1" fact="0.11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353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647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r" for="ch" forName="picture_5" refType="w"/>
                <dgm:constr type="rOff" for="ch" forName="picture_5" refType="w" refFor="ch" refForName="picture_1" fact="-1.375"/>
                <dgm:constr type="ctrY" for="ch" forName="picture_5" refType="h" refFor="ch" refForName="picture_1" fact="0.8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else>
          </dgm:choose>
        </dgm:if>
        <dgm:if name="Name20" axis="ch" ptType="node" func="cnt" op="lte" val="6">
          <dgm:choose name="Name21">
            <dgm:if name="Name22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l" for="ch" forName="picture_2" refType="w" refFor="ch" refForName="picture_1" fact="1.4238"/>
                <dgm:constr type="ctrY" for="ch" forName="picture_2" refType="h" refFor="ch" refForName="picture_1" fact="0.09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l" for="ch" forName="picture_3" refType="w" refFor="ch" refForName="picture_1" fact="1.2667"/>
                <dgm:constr type="ctrY" for="ch" forName="picture_3" refType="h" refFor="ch" refForName="picture_1" fact="0.261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l" for="ch" forName="picture_4" refType="w" refFor="ch" refForName="picture_1" fact="1.21"/>
                <dgm:constr type="ctrY" for="ch" forName="picture_4" refType="h" refFor="ch" refForName="picture_1" fact="0.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l" for="ch" forName="picture_5" refType="w" refFor="ch" refForName="picture_1" fact="1.2667"/>
                <dgm:constr type="ctrY" for="ch" forName="picture_5" refType="h" refFor="ch" refForName="picture_1" fact="0.73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l" for="ch" forName="picture_6" refType="w" refFor="ch" refForName="picture_1" fact="1.4238"/>
                <dgm:constr type="ctrY" for="ch" forName="picture_6" refType="h" refFor="ch" refForName="picture_1" fact="0.91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if>
            <dgm:else name="Name23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r" for="ch" forName="picture_2" refType="w"/>
                <dgm:constr type="rOff" for="ch" forName="picture_2" refType="w" refFor="ch" refForName="picture_1" fact="-1.4238"/>
                <dgm:constr type="ctrY" for="ch" forName="picture_2" refType="h" refFor="ch" refForName="picture_1" fact="0.09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r" for="ch" forName="picture_3" refType="w"/>
                <dgm:constr type="rOff" for="ch" forName="picture_3" refType="w" refFor="ch" refForName="picture_1" fact="-1.2667"/>
                <dgm:constr type="ctrY" for="ch" forName="picture_3" refType="h" refFor="ch" refForName="picture_1" fact="0.261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r" for="ch" forName="picture_5" refType="w"/>
                <dgm:constr type="rOff" for="ch" forName="picture_5" refType="w" refFor="ch" refForName="picture_1" fact="-1.2667"/>
                <dgm:constr type="ctrY" for="ch" forName="picture_5" refType="h" refFor="ch" refForName="picture_1" fact="0.73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r" for="ch" forName="picture_6" refType="w"/>
                <dgm:constr type="rOff" for="ch" forName="picture_6" refType="w" refFor="ch" refForName="picture_1" fact="-1.4238"/>
                <dgm:constr type="ctrY" for="ch" forName="picture_6" refType="h" refFor="ch" refForName="picture_1" fact="0.91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else>
          </dgm:choose>
        </dgm:if>
        <dgm:else name="Name24">
          <dgm:choose name="Name25">
            <dgm:if name="Name2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l" for="ch" forName="picture_2" refType="w" refFor="ch" refForName="picture_1" fact="1.4363"/>
                <dgm:constr type="ctrY" for="ch" forName="picture_2" refType="h" refFor="ch" refForName="picture_1" fact="0.0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l" for="ch" forName="picture_3" refType="w" refFor="ch" refForName="picture_1" fact="1.2898"/>
                <dgm:constr type="ctrY" for="ch" forName="picture_3" refType="h" refFor="ch" refForName="picture_1" fact="0.227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l" for="ch" forName="picture_4" refType="w" refFor="ch" refForName="picture_1" fact="1.21"/>
                <dgm:constr type="ctrY" for="ch" forName="picture_4" refType="h" refFor="ch" refForName="picture_1" fact="0.40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l" for="ch" forName="picture_5" refType="w" refFor="ch" refForName="picture_1" fact="1.21"/>
                <dgm:constr type="ctrY" for="ch" forName="picture_5" refType="h" refFor="ch" refForName="picture_1" fact="0.595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l" for="ch" forName="picture_6" refType="w" refFor="ch" refForName="picture_1" fact="1.2898"/>
                <dgm:constr type="ctrY" for="ch" forName="picture_6" refType="h" refFor="ch" refForName="picture_1" fact="0.773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l" for="ch" forName="picture_7" refType="w" refFor="ch" refForName="picture_1" fact="1.4363"/>
                <dgm:constr type="ctrY" for="ch" forName="picture_7" refType="h" refFor="ch" refForName="picture_1" fact="0.925"/>
                <dgm:constr type="l" for="ch" forName="line_7" refType="ctrX" refFor="ch" refForName="picture_1"/>
                <dgm:constr type="h" for="ch" forName="line_7"/>
                <dgm:constr type="r" for="ch" forName="line_7" refType="ctrX" refFor="ch" refForName="picture_7"/>
                <dgm:constr type="ctrY" for="ch" forName="line_7" refType="ctrY" refFor="ch" refForName="picture_7"/>
                <dgm:constr type="r" for="ch" forName="textparent_7" refType="w"/>
                <dgm:constr type="h" for="ch" forName="textparent_7" refType="h" refFor="ch" refForName="picture_7"/>
                <dgm:constr type="l" for="ch" forName="textparent_7" refType="r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if>
            <dgm:else name="Name2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r" for="ch" forName="picture_2" refType="w"/>
                <dgm:constr type="rOff" for="ch" forName="picture_2" refType="w" refFor="ch" refForName="picture_1" fact="-1.4363"/>
                <dgm:constr type="ctrY" for="ch" forName="picture_2" refType="h" refFor="ch" refForName="picture_1" fact="0.0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r" for="ch" forName="picture_3" refType="w"/>
                <dgm:constr type="rOff" for="ch" forName="picture_3" refType="w" refFor="ch" refForName="picture_1" fact="-1.2898"/>
                <dgm:constr type="ctrY" for="ch" forName="picture_3" refType="h" refFor="ch" refForName="picture_1" fact="0.227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40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r" for="ch" forName="picture_5" refType="w"/>
                <dgm:constr type="rOff" for="ch" forName="picture_5" refType="w" refFor="ch" refForName="picture_1" fact="-1.21"/>
                <dgm:constr type="ctrY" for="ch" forName="picture_5" refType="h" refFor="ch" refForName="picture_1" fact="0.595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r" for="ch" forName="picture_6" refType="w"/>
                <dgm:constr type="rOff" for="ch" forName="picture_6" refType="w" refFor="ch" refForName="picture_1" fact="-1.2898"/>
                <dgm:constr type="ctrY" for="ch" forName="picture_6" refType="h" refFor="ch" refForName="picture_1" fact="0.773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r" for="ch" forName="picture_7" refType="w"/>
                <dgm:constr type="rOff" for="ch" forName="picture_7" refType="w" refFor="ch" refForName="picture_1" fact="-1.4363"/>
                <dgm:constr type="ctrY" for="ch" forName="picture_7" refType="h" refFor="ch" refForName="picture_1" fact="0.925"/>
                <dgm:constr type="r" for="ch" forName="line_7" refType="ctrX" refFor="ch" refForName="picture_1"/>
                <dgm:constr type="h" for="ch" forName="line_7"/>
                <dgm:constr type="l" for="ch" forName="line_7" refType="ctrX" refFor="ch" refForName="picture_7"/>
                <dgm:constr type="ctrY" for="ch" forName="line_7" refType="ctrY" refFor="ch" refForName="picture_7"/>
                <dgm:constr type="l" for="ch" forName="textparent_7"/>
                <dgm:constr type="h" for="ch" forName="textparent_7" refType="h" refFor="ch" refForName="picture_7"/>
                <dgm:constr type="r" for="ch" forName="textparent_7" refType="l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else>
          </dgm:choose>
        </dgm:else>
      </dgm:choose>
      <dgm:forEach name="wrapper" axis="self" ptType="parTrans">
        <dgm:forEach name="wrapper2" axis="self" ptType="sibTrans" st="2">
          <dgm:forEach name="pictureRepeat" axis="self">
            <dgm:layoutNode name="pictureRepeatNode" styleLbl="alignImgPlace1">
              <dgm:alg type="sp"/>
              <dgm:shape xmlns:r="http://schemas.openxmlformats.org/officeDocument/2006/relationships" type="ellipse" r:blip="" blipPhldr="1">
                <dgm:adjLst/>
              </dgm:shape>
              <dgm:presOf axis="self"/>
            </dgm:layoutNode>
          </dgm:forEach>
        </dgm:forEach>
      </dgm:forEach>
      <dgm:forEach name="Name28" axis="ch" ptType="sibTrans" hideLastTrans="0" cnt="1">
        <dgm:layoutNode name="picture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9" ref="pictureRepeat"/>
        </dgm:layoutNode>
      </dgm:forEach>
      <dgm:forEach name="Name30" axis="ch" ptType="node" cnt="1">
        <dgm:layoutNode name="text_1" styleLbl="node1">
          <dgm:varLst>
            <dgm:bulletEnabled val="1"/>
          </dgm:varLst>
          <dgm:alg type="tx">
            <dgm:param type="txAnchorVert" val="b"/>
            <dgm:param type="txAnchorVertCh" val="b"/>
            <dgm:param type="parTxRTLAlign" val="r"/>
            <dgm:param type="shpTxRTLAlignCh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primFontSz" val="65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</dgm:forEach>
      <dgm:forEach name="Name31" axis="ch" ptType="sibTrans" hideLastTrans="0" st="2" cnt="1">
        <dgm:layoutNode name="picture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2" ref="pictureRepeat"/>
        </dgm:layoutNode>
      </dgm:forEach>
      <dgm:forEach name="Name33" axis="ch" ptType="node" st="2" cnt="1">
        <dgm:layoutNode name="line_2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2">
          <dgm:choose name="Name34">
            <dgm:if name="Name35" func="var" arg="dir" op="equ" val="norm">
              <dgm:alg type="lin">
                <dgm:param type="horzAlign" val="l"/>
              </dgm:alg>
            </dgm:if>
            <dgm:else name="Name36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2" refType="w"/>
            <dgm:constr type="h" for="ch" forName="text_2" refType="h"/>
          </dgm:constrLst>
          <dgm:presOf/>
          <dgm:layoutNode name="text_2" styleLbl="revTx">
            <dgm:varLst>
              <dgm:bulletEnabled val="1"/>
            </dgm:varLst>
            <dgm:choose name="Name37">
              <dgm:if name="Name38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39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0" axis="ch" ptType="sibTrans" hideLastTrans="0" st="3" cnt="1">
        <dgm:layoutNode name="picture_3">
          <dgm:alg type="sp"/>
          <dgm:shape xmlns:r="http://schemas.openxmlformats.org/officeDocument/2006/relationships" r:blip="">
            <dgm:adjLst/>
          </dgm:shape>
          <dgm:presOf/>
          <dgm:constrLst/>
          <dgm:forEach name="Name41" ref="pictureRepeat"/>
        </dgm:layoutNode>
      </dgm:forEach>
      <dgm:forEach name="Name42" axis="ch" ptType="node" st="3" cnt="1">
        <dgm:layoutNode name="line_3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3">
          <dgm:choose name="Name43">
            <dgm:if name="Name44" func="var" arg="dir" op="equ" val="norm">
              <dgm:alg type="lin">
                <dgm:param type="horzAlign" val="l"/>
              </dgm:alg>
            </dgm:if>
            <dgm:else name="Name45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3" refType="w"/>
            <dgm:constr type="h" for="ch" forName="text_3" refType="h"/>
          </dgm:constrLst>
          <dgm:presOf/>
          <dgm:layoutNode name="text_3" styleLbl="revTx">
            <dgm:varLst>
              <dgm:bulletEnabled val="1"/>
            </dgm:varLst>
            <dgm:choose name="Name46">
              <dgm:if name="Name47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48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9" axis="ch" ptType="sibTrans" hideLastTrans="0" st="4" cnt="1">
        <dgm:layoutNode name="picture_4">
          <dgm:alg type="sp"/>
          <dgm:shape xmlns:r="http://schemas.openxmlformats.org/officeDocument/2006/relationships" r:blip="">
            <dgm:adjLst/>
          </dgm:shape>
          <dgm:presOf/>
          <dgm:constrLst/>
          <dgm:forEach name="Name50" ref="pictureRepeat"/>
        </dgm:layoutNode>
      </dgm:forEach>
      <dgm:forEach name="Name51" axis="ch" ptType="node" st="4" cnt="1">
        <dgm:layoutNode name="line_4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4">
          <dgm:choose name="Name52">
            <dgm:if name="Name53" func="var" arg="dir" op="equ" val="norm">
              <dgm:alg type="lin">
                <dgm:param type="horzAlign" val="l"/>
              </dgm:alg>
            </dgm:if>
            <dgm:else name="Name54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4" refType="w"/>
            <dgm:constr type="h" for="ch" forName="text_4" refType="h"/>
          </dgm:constrLst>
          <dgm:presOf/>
          <dgm:layoutNode name="text_4" styleLbl="revTx">
            <dgm:varLst>
              <dgm:bulletEnabled val="1"/>
            </dgm:varLst>
            <dgm:choose name="Name55">
              <dgm:if name="Name56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57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58" axis="ch" ptType="sibTrans" hideLastTrans="0" st="5" cnt="1">
        <dgm:layoutNode name="picture_5">
          <dgm:alg type="sp"/>
          <dgm:shape xmlns:r="http://schemas.openxmlformats.org/officeDocument/2006/relationships" r:blip="">
            <dgm:adjLst/>
          </dgm:shape>
          <dgm:presOf/>
          <dgm:constrLst/>
          <dgm:forEach name="Name59" ref="pictureRepeat"/>
        </dgm:layoutNode>
      </dgm:forEach>
      <dgm:forEach name="Name60" axis="ch" ptType="node" st="5" cnt="1">
        <dgm:layoutNode name="line_5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5">
          <dgm:choose name="Name61">
            <dgm:if name="Name62" func="var" arg="dir" op="equ" val="norm">
              <dgm:alg type="lin">
                <dgm:param type="horzAlign" val="l"/>
              </dgm:alg>
            </dgm:if>
            <dgm:else name="Name63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5" refType="w"/>
            <dgm:constr type="h" for="ch" forName="text_5" refType="h"/>
          </dgm:constrLst>
          <dgm:presOf/>
          <dgm:layoutNode name="text_5" styleLbl="revTx">
            <dgm:varLst>
              <dgm:bulletEnabled val="1"/>
            </dgm:varLst>
            <dgm:choose name="Name64">
              <dgm:if name="Name65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66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67" axis="ch" ptType="sibTrans" hideLastTrans="0" st="6" cnt="1">
        <dgm:layoutNode name="picture_6">
          <dgm:alg type="sp"/>
          <dgm:shape xmlns:r="http://schemas.openxmlformats.org/officeDocument/2006/relationships" r:blip="">
            <dgm:adjLst/>
          </dgm:shape>
          <dgm:presOf/>
          <dgm:constrLst/>
          <dgm:forEach name="Name68" ref="pictureRepeat"/>
        </dgm:layoutNode>
      </dgm:forEach>
      <dgm:forEach name="Name69" axis="ch" ptType="node" st="6" cnt="1">
        <dgm:layoutNode name="line_6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6">
          <dgm:choose name="Name70">
            <dgm:if name="Name71" func="var" arg="dir" op="equ" val="norm">
              <dgm:alg type="lin">
                <dgm:param type="horzAlign" val="l"/>
              </dgm:alg>
            </dgm:if>
            <dgm:else name="Name72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6" refType="w"/>
            <dgm:constr type="h" for="ch" forName="text_6" refType="h"/>
          </dgm:constrLst>
          <dgm:presOf/>
          <dgm:layoutNode name="text_6" styleLbl="revTx">
            <dgm:varLst>
              <dgm:bulletEnabled val="1"/>
            </dgm:varLst>
            <dgm:choose name="Name73">
              <dgm:if name="Name74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75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76" axis="ch" ptType="sibTrans" hideLastTrans="0" st="7" cnt="1">
        <dgm:layoutNode name="picture_7">
          <dgm:alg type="sp"/>
          <dgm:shape xmlns:r="http://schemas.openxmlformats.org/officeDocument/2006/relationships" r:blip="">
            <dgm:adjLst/>
          </dgm:shape>
          <dgm:presOf/>
          <dgm:constrLst/>
          <dgm:forEach name="Name77" ref="pictureRepeat"/>
        </dgm:layoutNode>
      </dgm:forEach>
      <dgm:forEach name="Name78" axis="ch" ptType="node" st="7" cnt="1">
        <dgm:layoutNode name="line_7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7">
          <dgm:choose name="Name79">
            <dgm:if name="Name80" func="var" arg="dir" op="equ" val="norm">
              <dgm:alg type="lin">
                <dgm:param type="horzAlign" val="l"/>
              </dgm:alg>
            </dgm:if>
            <dgm:else name="Name81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7" refType="w"/>
            <dgm:constr type="h" for="ch" forName="text_7" refType="h"/>
          </dgm:constrLst>
          <dgm:presOf/>
          <dgm:layoutNode name="text_7" styleLbl="revTx">
            <dgm:varLst>
              <dgm:bulletEnabled val="1"/>
            </dgm:varLst>
            <dgm:choose name="Name82">
              <dgm:if name="Name83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84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CircularPictureCallout">
  <dgm:title val=""/>
  <dgm:desc val=""/>
  <dgm:catLst>
    <dgm:cat type="picture" pri="2000"/>
    <dgm:cat type="pictureconvert" pri="2000"/>
  </dgm:catLst>
  <dgm:sampData>
    <dgm:dataModel>
      <dgm:ptLst>
        <dgm:pt modelId="0" type="doc"/>
        <dgm:pt modelId="1"/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2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axis="ch" ptType="node" func="cnt" op="lte" val="1">
          <dgm:constrLst>
            <dgm:constr type="h" for="ch" forName="picture_1" refType="h"/>
            <dgm:constr type="w" for="ch" forName="picture_1" refType="h" refFor="ch" refForName="picture_1" op="equ"/>
            <dgm:constr type="l" for="ch" forName="picture_1"/>
            <dgm:constr type="t" for="ch" forName="picture_1"/>
            <dgm:constr type="w" for="ch" forName="text_1" refType="w" refFor="ch" refForName="picture_1" fact="0.64"/>
            <dgm:constr type="h" for="ch" forName="text_1" refType="h" refFor="ch" refForName="picture_1" fact="0.33"/>
            <dgm:constr type="l" for="ch" forName="text_1" refType="w" refFor="ch" refForName="picture_1" fact="0.18"/>
            <dgm:constr type="t" for="ch" forName="text_1" refType="h" refFor="ch" refForName="picture_1" fact="0.531"/>
          </dgm:constrLst>
        </dgm:if>
        <dgm:if name="Name4" axis="ch" ptType="node" func="cnt" op="lte" val="2">
          <dgm:choose name="Name5">
            <dgm:if name="Name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l" for="ch" forName="picture_2" refType="w" refFor="ch" refForName="picture_1" fact="1.21"/>
                <dgm:constr type="ctrY" for="ch" forName="picture_2" refType="h" refFor="ch" refForName="picture_1" fact="0.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if>
            <dgm:else name="Name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else>
          </dgm:choose>
        </dgm:if>
        <dgm:if name="Name8" axis="ch" ptType="node" func="cnt" op="lte" val="3">
          <dgm:choose name="Name9">
            <dgm:if name="Name10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l" for="ch" forName="picture_2" refType="w" refFor="ch" refForName="picture_1" fact="1.21"/>
                <dgm:constr type="ctrY" for="ch" forName="picture_2" refType="h" refFor="ch" refForName="picture_1" fact="0.18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l" for="ch" forName="picture_3" refType="w" refFor="ch" refForName="picture_1" fact="1.21"/>
                <dgm:constr type="ctrY" for="ch" forName="picture_3" refType="h" refFor="ch" refForName="picture_1" fact="0.812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if>
            <dgm:else name="Name11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18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812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else>
          </dgm:choose>
        </dgm:if>
        <dgm:if name="Name12" axis="ch" ptType="node" func="cnt" op="lte" val="4">
          <dgm:choose name="Name13">
            <dgm:if name="Name14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l" for="ch" forName="picture_2" refType="w" refFor="ch" refForName="picture_1" fact="1.354"/>
                <dgm:constr type="ctrY" for="ch" forName="picture_2" refType="h" refFor="ch" refForName="picture_1" fact="0.1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l" for="ch" forName="picture_3" refType="w" refFor="ch" refForName="picture_1" fact="1.21"/>
                <dgm:constr type="ctrY" for="ch" forName="picture_3" refType="h" refFor="ch" refForName="picture_1" fact="0.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l" for="ch" forName="picture_4" refType="w" refFor="ch" refForName="picture_1" fact="1.354"/>
                <dgm:constr type="ctrY" for="ch" forName="picture_4" refType="h" refFor="ch" refForName="picture_1" fact="0.8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if>
            <dgm:else name="Name15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r" for="ch" forName="picture_2" refType="w"/>
                <dgm:constr type="rOff" for="ch" forName="picture_2" refType="w" refFor="ch" refForName="picture_1" fact="-1.354"/>
                <dgm:constr type="ctrY" for="ch" forName="picture_2" refType="h" refFor="ch" refForName="picture_1" fact="0.1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r" for="ch" forName="picture_4" refType="w"/>
                <dgm:constr type="rOff" for="ch" forName="picture_4" refType="w" refFor="ch" refForName="picture_1" fact="-1.354"/>
                <dgm:constr type="ctrY" for="ch" forName="picture_4" refType="h" refFor="ch" refForName="picture_1" fact="0.8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else>
          </dgm:choose>
        </dgm:if>
        <dgm:if name="Name16" axis="ch" ptType="node" func="cnt" op="lte" val="5">
          <dgm:choose name="Name17">
            <dgm:if name="Name18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l" for="ch" forName="picture_2" refType="w" refFor="ch" refForName="picture_1" fact="1.375"/>
                <dgm:constr type="ctrY" for="ch" forName="picture_2" refType="h" refFor="ch" refForName="picture_1" fact="0.11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l" for="ch" forName="picture_3" refType="w" refFor="ch" refForName="picture_1" fact="1.21"/>
                <dgm:constr type="ctrY" for="ch" forName="picture_3" refType="h" refFor="ch" refForName="picture_1" fact="0.353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l" for="ch" forName="picture_4" refType="w" refFor="ch" refForName="picture_1" fact="1.21"/>
                <dgm:constr type="ctrY" for="ch" forName="picture_4" refType="h" refFor="ch" refForName="picture_1" fact="0.647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l" for="ch" forName="picture_5" refType="w" refFor="ch" refForName="picture_1" fact="1.375"/>
                <dgm:constr type="ctrY" for="ch" forName="picture_5" refType="h" refFor="ch" refForName="picture_1" fact="0.8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if>
            <dgm:else name="Name19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r" for="ch" forName="picture_2" refType="w"/>
                <dgm:constr type="rOff" for="ch" forName="picture_2" refType="w" refFor="ch" refForName="picture_1" fact="-1.375"/>
                <dgm:constr type="ctrY" for="ch" forName="picture_2" refType="h" refFor="ch" refForName="picture_1" fact="0.11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353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647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r" for="ch" forName="picture_5" refType="w"/>
                <dgm:constr type="rOff" for="ch" forName="picture_5" refType="w" refFor="ch" refForName="picture_1" fact="-1.375"/>
                <dgm:constr type="ctrY" for="ch" forName="picture_5" refType="h" refFor="ch" refForName="picture_1" fact="0.8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else>
          </dgm:choose>
        </dgm:if>
        <dgm:if name="Name20" axis="ch" ptType="node" func="cnt" op="lte" val="6">
          <dgm:choose name="Name21">
            <dgm:if name="Name22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l" for="ch" forName="picture_2" refType="w" refFor="ch" refForName="picture_1" fact="1.4238"/>
                <dgm:constr type="ctrY" for="ch" forName="picture_2" refType="h" refFor="ch" refForName="picture_1" fact="0.09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l" for="ch" forName="picture_3" refType="w" refFor="ch" refForName="picture_1" fact="1.2667"/>
                <dgm:constr type="ctrY" for="ch" forName="picture_3" refType="h" refFor="ch" refForName="picture_1" fact="0.261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l" for="ch" forName="picture_4" refType="w" refFor="ch" refForName="picture_1" fact="1.21"/>
                <dgm:constr type="ctrY" for="ch" forName="picture_4" refType="h" refFor="ch" refForName="picture_1" fact="0.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l" for="ch" forName="picture_5" refType="w" refFor="ch" refForName="picture_1" fact="1.2667"/>
                <dgm:constr type="ctrY" for="ch" forName="picture_5" refType="h" refFor="ch" refForName="picture_1" fact="0.73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l" for="ch" forName="picture_6" refType="w" refFor="ch" refForName="picture_1" fact="1.4238"/>
                <dgm:constr type="ctrY" for="ch" forName="picture_6" refType="h" refFor="ch" refForName="picture_1" fact="0.91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if>
            <dgm:else name="Name23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r" for="ch" forName="picture_2" refType="w"/>
                <dgm:constr type="rOff" for="ch" forName="picture_2" refType="w" refFor="ch" refForName="picture_1" fact="-1.4238"/>
                <dgm:constr type="ctrY" for="ch" forName="picture_2" refType="h" refFor="ch" refForName="picture_1" fact="0.09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r" for="ch" forName="picture_3" refType="w"/>
                <dgm:constr type="rOff" for="ch" forName="picture_3" refType="w" refFor="ch" refForName="picture_1" fact="-1.2667"/>
                <dgm:constr type="ctrY" for="ch" forName="picture_3" refType="h" refFor="ch" refForName="picture_1" fact="0.261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r" for="ch" forName="picture_5" refType="w"/>
                <dgm:constr type="rOff" for="ch" forName="picture_5" refType="w" refFor="ch" refForName="picture_1" fact="-1.2667"/>
                <dgm:constr type="ctrY" for="ch" forName="picture_5" refType="h" refFor="ch" refForName="picture_1" fact="0.73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r" for="ch" forName="picture_6" refType="w"/>
                <dgm:constr type="rOff" for="ch" forName="picture_6" refType="w" refFor="ch" refForName="picture_1" fact="-1.4238"/>
                <dgm:constr type="ctrY" for="ch" forName="picture_6" refType="h" refFor="ch" refForName="picture_1" fact="0.91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else>
          </dgm:choose>
        </dgm:if>
        <dgm:else name="Name24">
          <dgm:choose name="Name25">
            <dgm:if name="Name2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l" for="ch" forName="picture_2" refType="w" refFor="ch" refForName="picture_1" fact="1.4363"/>
                <dgm:constr type="ctrY" for="ch" forName="picture_2" refType="h" refFor="ch" refForName="picture_1" fact="0.0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l" for="ch" forName="picture_3" refType="w" refFor="ch" refForName="picture_1" fact="1.2898"/>
                <dgm:constr type="ctrY" for="ch" forName="picture_3" refType="h" refFor="ch" refForName="picture_1" fact="0.227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l" for="ch" forName="picture_4" refType="w" refFor="ch" refForName="picture_1" fact="1.21"/>
                <dgm:constr type="ctrY" for="ch" forName="picture_4" refType="h" refFor="ch" refForName="picture_1" fact="0.40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l" for="ch" forName="picture_5" refType="w" refFor="ch" refForName="picture_1" fact="1.21"/>
                <dgm:constr type="ctrY" for="ch" forName="picture_5" refType="h" refFor="ch" refForName="picture_1" fact="0.595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l" for="ch" forName="picture_6" refType="w" refFor="ch" refForName="picture_1" fact="1.2898"/>
                <dgm:constr type="ctrY" for="ch" forName="picture_6" refType="h" refFor="ch" refForName="picture_1" fact="0.773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l" for="ch" forName="picture_7" refType="w" refFor="ch" refForName="picture_1" fact="1.4363"/>
                <dgm:constr type="ctrY" for="ch" forName="picture_7" refType="h" refFor="ch" refForName="picture_1" fact="0.925"/>
                <dgm:constr type="l" for="ch" forName="line_7" refType="ctrX" refFor="ch" refForName="picture_1"/>
                <dgm:constr type="h" for="ch" forName="line_7"/>
                <dgm:constr type="r" for="ch" forName="line_7" refType="ctrX" refFor="ch" refForName="picture_7"/>
                <dgm:constr type="ctrY" for="ch" forName="line_7" refType="ctrY" refFor="ch" refForName="picture_7"/>
                <dgm:constr type="r" for="ch" forName="textparent_7" refType="w"/>
                <dgm:constr type="h" for="ch" forName="textparent_7" refType="h" refFor="ch" refForName="picture_7"/>
                <dgm:constr type="l" for="ch" forName="textparent_7" refType="r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if>
            <dgm:else name="Name2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r" for="ch" forName="picture_2" refType="w"/>
                <dgm:constr type="rOff" for="ch" forName="picture_2" refType="w" refFor="ch" refForName="picture_1" fact="-1.4363"/>
                <dgm:constr type="ctrY" for="ch" forName="picture_2" refType="h" refFor="ch" refForName="picture_1" fact="0.0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r" for="ch" forName="picture_3" refType="w"/>
                <dgm:constr type="rOff" for="ch" forName="picture_3" refType="w" refFor="ch" refForName="picture_1" fact="-1.2898"/>
                <dgm:constr type="ctrY" for="ch" forName="picture_3" refType="h" refFor="ch" refForName="picture_1" fact="0.227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40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r" for="ch" forName="picture_5" refType="w"/>
                <dgm:constr type="rOff" for="ch" forName="picture_5" refType="w" refFor="ch" refForName="picture_1" fact="-1.21"/>
                <dgm:constr type="ctrY" for="ch" forName="picture_5" refType="h" refFor="ch" refForName="picture_1" fact="0.595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r" for="ch" forName="picture_6" refType="w"/>
                <dgm:constr type="rOff" for="ch" forName="picture_6" refType="w" refFor="ch" refForName="picture_1" fact="-1.2898"/>
                <dgm:constr type="ctrY" for="ch" forName="picture_6" refType="h" refFor="ch" refForName="picture_1" fact="0.773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r" for="ch" forName="picture_7" refType="w"/>
                <dgm:constr type="rOff" for="ch" forName="picture_7" refType="w" refFor="ch" refForName="picture_1" fact="-1.4363"/>
                <dgm:constr type="ctrY" for="ch" forName="picture_7" refType="h" refFor="ch" refForName="picture_1" fact="0.925"/>
                <dgm:constr type="r" for="ch" forName="line_7" refType="ctrX" refFor="ch" refForName="picture_1"/>
                <dgm:constr type="h" for="ch" forName="line_7"/>
                <dgm:constr type="l" for="ch" forName="line_7" refType="ctrX" refFor="ch" refForName="picture_7"/>
                <dgm:constr type="ctrY" for="ch" forName="line_7" refType="ctrY" refFor="ch" refForName="picture_7"/>
                <dgm:constr type="l" for="ch" forName="textparent_7"/>
                <dgm:constr type="h" for="ch" forName="textparent_7" refType="h" refFor="ch" refForName="picture_7"/>
                <dgm:constr type="r" for="ch" forName="textparent_7" refType="l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else>
          </dgm:choose>
        </dgm:else>
      </dgm:choose>
      <dgm:forEach name="wrapper" axis="self" ptType="parTrans">
        <dgm:forEach name="wrapper2" axis="self" ptType="sibTrans" st="2">
          <dgm:forEach name="pictureRepeat" axis="self">
            <dgm:layoutNode name="pictureRepeatNode" styleLbl="alignImgPlace1">
              <dgm:alg type="sp"/>
              <dgm:shape xmlns:r="http://schemas.openxmlformats.org/officeDocument/2006/relationships" type="ellipse" r:blip="" blipPhldr="1">
                <dgm:adjLst/>
              </dgm:shape>
              <dgm:presOf axis="self"/>
            </dgm:layoutNode>
          </dgm:forEach>
        </dgm:forEach>
      </dgm:forEach>
      <dgm:forEach name="Name28" axis="ch" ptType="sibTrans" hideLastTrans="0" cnt="1">
        <dgm:layoutNode name="picture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9" ref="pictureRepeat"/>
        </dgm:layoutNode>
      </dgm:forEach>
      <dgm:forEach name="Name30" axis="ch" ptType="node" cnt="1">
        <dgm:layoutNode name="text_1" styleLbl="node1">
          <dgm:varLst>
            <dgm:bulletEnabled val="1"/>
          </dgm:varLst>
          <dgm:alg type="tx">
            <dgm:param type="txAnchorVert" val="b"/>
            <dgm:param type="txAnchorVertCh" val="b"/>
            <dgm:param type="parTxRTLAlign" val="r"/>
            <dgm:param type="shpTxRTLAlignCh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primFontSz" val="65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</dgm:forEach>
      <dgm:forEach name="Name31" axis="ch" ptType="sibTrans" hideLastTrans="0" st="2" cnt="1">
        <dgm:layoutNode name="picture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2" ref="pictureRepeat"/>
        </dgm:layoutNode>
      </dgm:forEach>
      <dgm:forEach name="Name33" axis="ch" ptType="node" st="2" cnt="1">
        <dgm:layoutNode name="line_2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2">
          <dgm:choose name="Name34">
            <dgm:if name="Name35" func="var" arg="dir" op="equ" val="norm">
              <dgm:alg type="lin">
                <dgm:param type="horzAlign" val="l"/>
              </dgm:alg>
            </dgm:if>
            <dgm:else name="Name36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2" refType="w"/>
            <dgm:constr type="h" for="ch" forName="text_2" refType="h"/>
          </dgm:constrLst>
          <dgm:presOf/>
          <dgm:layoutNode name="text_2" styleLbl="revTx">
            <dgm:varLst>
              <dgm:bulletEnabled val="1"/>
            </dgm:varLst>
            <dgm:choose name="Name37">
              <dgm:if name="Name38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39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0" axis="ch" ptType="sibTrans" hideLastTrans="0" st="3" cnt="1">
        <dgm:layoutNode name="picture_3">
          <dgm:alg type="sp"/>
          <dgm:shape xmlns:r="http://schemas.openxmlformats.org/officeDocument/2006/relationships" r:blip="">
            <dgm:adjLst/>
          </dgm:shape>
          <dgm:presOf/>
          <dgm:constrLst/>
          <dgm:forEach name="Name41" ref="pictureRepeat"/>
        </dgm:layoutNode>
      </dgm:forEach>
      <dgm:forEach name="Name42" axis="ch" ptType="node" st="3" cnt="1">
        <dgm:layoutNode name="line_3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3">
          <dgm:choose name="Name43">
            <dgm:if name="Name44" func="var" arg="dir" op="equ" val="norm">
              <dgm:alg type="lin">
                <dgm:param type="horzAlign" val="l"/>
              </dgm:alg>
            </dgm:if>
            <dgm:else name="Name45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3" refType="w"/>
            <dgm:constr type="h" for="ch" forName="text_3" refType="h"/>
          </dgm:constrLst>
          <dgm:presOf/>
          <dgm:layoutNode name="text_3" styleLbl="revTx">
            <dgm:varLst>
              <dgm:bulletEnabled val="1"/>
            </dgm:varLst>
            <dgm:choose name="Name46">
              <dgm:if name="Name47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48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9" axis="ch" ptType="sibTrans" hideLastTrans="0" st="4" cnt="1">
        <dgm:layoutNode name="picture_4">
          <dgm:alg type="sp"/>
          <dgm:shape xmlns:r="http://schemas.openxmlformats.org/officeDocument/2006/relationships" r:blip="">
            <dgm:adjLst/>
          </dgm:shape>
          <dgm:presOf/>
          <dgm:constrLst/>
          <dgm:forEach name="Name50" ref="pictureRepeat"/>
        </dgm:layoutNode>
      </dgm:forEach>
      <dgm:forEach name="Name51" axis="ch" ptType="node" st="4" cnt="1">
        <dgm:layoutNode name="line_4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4">
          <dgm:choose name="Name52">
            <dgm:if name="Name53" func="var" arg="dir" op="equ" val="norm">
              <dgm:alg type="lin">
                <dgm:param type="horzAlign" val="l"/>
              </dgm:alg>
            </dgm:if>
            <dgm:else name="Name54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4" refType="w"/>
            <dgm:constr type="h" for="ch" forName="text_4" refType="h"/>
          </dgm:constrLst>
          <dgm:presOf/>
          <dgm:layoutNode name="text_4" styleLbl="revTx">
            <dgm:varLst>
              <dgm:bulletEnabled val="1"/>
            </dgm:varLst>
            <dgm:choose name="Name55">
              <dgm:if name="Name56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57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58" axis="ch" ptType="sibTrans" hideLastTrans="0" st="5" cnt="1">
        <dgm:layoutNode name="picture_5">
          <dgm:alg type="sp"/>
          <dgm:shape xmlns:r="http://schemas.openxmlformats.org/officeDocument/2006/relationships" r:blip="">
            <dgm:adjLst/>
          </dgm:shape>
          <dgm:presOf/>
          <dgm:constrLst/>
          <dgm:forEach name="Name59" ref="pictureRepeat"/>
        </dgm:layoutNode>
      </dgm:forEach>
      <dgm:forEach name="Name60" axis="ch" ptType="node" st="5" cnt="1">
        <dgm:layoutNode name="line_5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5">
          <dgm:choose name="Name61">
            <dgm:if name="Name62" func="var" arg="dir" op="equ" val="norm">
              <dgm:alg type="lin">
                <dgm:param type="horzAlign" val="l"/>
              </dgm:alg>
            </dgm:if>
            <dgm:else name="Name63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5" refType="w"/>
            <dgm:constr type="h" for="ch" forName="text_5" refType="h"/>
          </dgm:constrLst>
          <dgm:presOf/>
          <dgm:layoutNode name="text_5" styleLbl="revTx">
            <dgm:varLst>
              <dgm:bulletEnabled val="1"/>
            </dgm:varLst>
            <dgm:choose name="Name64">
              <dgm:if name="Name65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66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67" axis="ch" ptType="sibTrans" hideLastTrans="0" st="6" cnt="1">
        <dgm:layoutNode name="picture_6">
          <dgm:alg type="sp"/>
          <dgm:shape xmlns:r="http://schemas.openxmlformats.org/officeDocument/2006/relationships" r:blip="">
            <dgm:adjLst/>
          </dgm:shape>
          <dgm:presOf/>
          <dgm:constrLst/>
          <dgm:forEach name="Name68" ref="pictureRepeat"/>
        </dgm:layoutNode>
      </dgm:forEach>
      <dgm:forEach name="Name69" axis="ch" ptType="node" st="6" cnt="1">
        <dgm:layoutNode name="line_6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6">
          <dgm:choose name="Name70">
            <dgm:if name="Name71" func="var" arg="dir" op="equ" val="norm">
              <dgm:alg type="lin">
                <dgm:param type="horzAlign" val="l"/>
              </dgm:alg>
            </dgm:if>
            <dgm:else name="Name72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6" refType="w"/>
            <dgm:constr type="h" for="ch" forName="text_6" refType="h"/>
          </dgm:constrLst>
          <dgm:presOf/>
          <dgm:layoutNode name="text_6" styleLbl="revTx">
            <dgm:varLst>
              <dgm:bulletEnabled val="1"/>
            </dgm:varLst>
            <dgm:choose name="Name73">
              <dgm:if name="Name74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75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76" axis="ch" ptType="sibTrans" hideLastTrans="0" st="7" cnt="1">
        <dgm:layoutNode name="picture_7">
          <dgm:alg type="sp"/>
          <dgm:shape xmlns:r="http://schemas.openxmlformats.org/officeDocument/2006/relationships" r:blip="">
            <dgm:adjLst/>
          </dgm:shape>
          <dgm:presOf/>
          <dgm:constrLst/>
          <dgm:forEach name="Name77" ref="pictureRepeat"/>
        </dgm:layoutNode>
      </dgm:forEach>
      <dgm:forEach name="Name78" axis="ch" ptType="node" st="7" cnt="1">
        <dgm:layoutNode name="line_7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7">
          <dgm:choose name="Name79">
            <dgm:if name="Name80" func="var" arg="dir" op="equ" val="norm">
              <dgm:alg type="lin">
                <dgm:param type="horzAlign" val="l"/>
              </dgm:alg>
            </dgm:if>
            <dgm:else name="Name81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7" refType="w"/>
            <dgm:constr type="h" for="ch" forName="text_7" refType="h"/>
          </dgm:constrLst>
          <dgm:presOf/>
          <dgm:layoutNode name="text_7" styleLbl="revTx">
            <dgm:varLst>
              <dgm:bulletEnabled val="1"/>
            </dgm:varLst>
            <dgm:choose name="Name82">
              <dgm:if name="Name83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84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CircularPictureCallout">
  <dgm:title val=""/>
  <dgm:desc val=""/>
  <dgm:catLst>
    <dgm:cat type="picture" pri="2000"/>
    <dgm:cat type="pictureconvert" pri="2000"/>
  </dgm:catLst>
  <dgm:sampData>
    <dgm:dataModel>
      <dgm:ptLst>
        <dgm:pt modelId="0" type="doc"/>
        <dgm:pt modelId="1"/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2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axis="ch" ptType="node" func="cnt" op="lte" val="1">
          <dgm:constrLst>
            <dgm:constr type="h" for="ch" forName="picture_1" refType="h"/>
            <dgm:constr type="w" for="ch" forName="picture_1" refType="h" refFor="ch" refForName="picture_1" op="equ"/>
            <dgm:constr type="l" for="ch" forName="picture_1"/>
            <dgm:constr type="t" for="ch" forName="picture_1"/>
            <dgm:constr type="w" for="ch" forName="text_1" refType="w" refFor="ch" refForName="picture_1" fact="0.64"/>
            <dgm:constr type="h" for="ch" forName="text_1" refType="h" refFor="ch" refForName="picture_1" fact="0.33"/>
            <dgm:constr type="l" for="ch" forName="text_1" refType="w" refFor="ch" refForName="picture_1" fact="0.18"/>
            <dgm:constr type="t" for="ch" forName="text_1" refType="h" refFor="ch" refForName="picture_1" fact="0.531"/>
          </dgm:constrLst>
        </dgm:if>
        <dgm:if name="Name4" axis="ch" ptType="node" func="cnt" op="lte" val="2">
          <dgm:choose name="Name5">
            <dgm:if name="Name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l" for="ch" forName="picture_2" refType="w" refFor="ch" refForName="picture_1" fact="1.21"/>
                <dgm:constr type="ctrY" for="ch" forName="picture_2" refType="h" refFor="ch" refForName="picture_1" fact="0.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if>
            <dgm:else name="Name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else>
          </dgm:choose>
        </dgm:if>
        <dgm:if name="Name8" axis="ch" ptType="node" func="cnt" op="lte" val="3">
          <dgm:choose name="Name9">
            <dgm:if name="Name10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l" for="ch" forName="picture_2" refType="w" refFor="ch" refForName="picture_1" fact="1.21"/>
                <dgm:constr type="ctrY" for="ch" forName="picture_2" refType="h" refFor="ch" refForName="picture_1" fact="0.18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l" for="ch" forName="picture_3" refType="w" refFor="ch" refForName="picture_1" fact="1.21"/>
                <dgm:constr type="ctrY" for="ch" forName="picture_3" refType="h" refFor="ch" refForName="picture_1" fact="0.812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if>
            <dgm:else name="Name11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18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812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else>
          </dgm:choose>
        </dgm:if>
        <dgm:if name="Name12" axis="ch" ptType="node" func="cnt" op="lte" val="4">
          <dgm:choose name="Name13">
            <dgm:if name="Name14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l" for="ch" forName="picture_2" refType="w" refFor="ch" refForName="picture_1" fact="1.354"/>
                <dgm:constr type="ctrY" for="ch" forName="picture_2" refType="h" refFor="ch" refForName="picture_1" fact="0.1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l" for="ch" forName="picture_3" refType="w" refFor="ch" refForName="picture_1" fact="1.21"/>
                <dgm:constr type="ctrY" for="ch" forName="picture_3" refType="h" refFor="ch" refForName="picture_1" fact="0.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l" for="ch" forName="picture_4" refType="w" refFor="ch" refForName="picture_1" fact="1.354"/>
                <dgm:constr type="ctrY" for="ch" forName="picture_4" refType="h" refFor="ch" refForName="picture_1" fact="0.8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if>
            <dgm:else name="Name15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r" for="ch" forName="picture_2" refType="w"/>
                <dgm:constr type="rOff" for="ch" forName="picture_2" refType="w" refFor="ch" refForName="picture_1" fact="-1.354"/>
                <dgm:constr type="ctrY" for="ch" forName="picture_2" refType="h" refFor="ch" refForName="picture_1" fact="0.1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r" for="ch" forName="picture_4" refType="w"/>
                <dgm:constr type="rOff" for="ch" forName="picture_4" refType="w" refFor="ch" refForName="picture_1" fact="-1.354"/>
                <dgm:constr type="ctrY" for="ch" forName="picture_4" refType="h" refFor="ch" refForName="picture_1" fact="0.8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else>
          </dgm:choose>
        </dgm:if>
        <dgm:if name="Name16" axis="ch" ptType="node" func="cnt" op="lte" val="5">
          <dgm:choose name="Name17">
            <dgm:if name="Name18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l" for="ch" forName="picture_2" refType="w" refFor="ch" refForName="picture_1" fact="1.375"/>
                <dgm:constr type="ctrY" for="ch" forName="picture_2" refType="h" refFor="ch" refForName="picture_1" fact="0.11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l" for="ch" forName="picture_3" refType="w" refFor="ch" refForName="picture_1" fact="1.21"/>
                <dgm:constr type="ctrY" for="ch" forName="picture_3" refType="h" refFor="ch" refForName="picture_1" fact="0.353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l" for="ch" forName="picture_4" refType="w" refFor="ch" refForName="picture_1" fact="1.21"/>
                <dgm:constr type="ctrY" for="ch" forName="picture_4" refType="h" refFor="ch" refForName="picture_1" fact="0.647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l" for="ch" forName="picture_5" refType="w" refFor="ch" refForName="picture_1" fact="1.375"/>
                <dgm:constr type="ctrY" for="ch" forName="picture_5" refType="h" refFor="ch" refForName="picture_1" fact="0.8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if>
            <dgm:else name="Name19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r" for="ch" forName="picture_2" refType="w"/>
                <dgm:constr type="rOff" for="ch" forName="picture_2" refType="w" refFor="ch" refForName="picture_1" fact="-1.375"/>
                <dgm:constr type="ctrY" for="ch" forName="picture_2" refType="h" refFor="ch" refForName="picture_1" fact="0.11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353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647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r" for="ch" forName="picture_5" refType="w"/>
                <dgm:constr type="rOff" for="ch" forName="picture_5" refType="w" refFor="ch" refForName="picture_1" fact="-1.375"/>
                <dgm:constr type="ctrY" for="ch" forName="picture_5" refType="h" refFor="ch" refForName="picture_1" fact="0.8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else>
          </dgm:choose>
        </dgm:if>
        <dgm:if name="Name20" axis="ch" ptType="node" func="cnt" op="lte" val="6">
          <dgm:choose name="Name21">
            <dgm:if name="Name22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l" for="ch" forName="picture_2" refType="w" refFor="ch" refForName="picture_1" fact="1.4238"/>
                <dgm:constr type="ctrY" for="ch" forName="picture_2" refType="h" refFor="ch" refForName="picture_1" fact="0.09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l" for="ch" forName="picture_3" refType="w" refFor="ch" refForName="picture_1" fact="1.2667"/>
                <dgm:constr type="ctrY" for="ch" forName="picture_3" refType="h" refFor="ch" refForName="picture_1" fact="0.261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l" for="ch" forName="picture_4" refType="w" refFor="ch" refForName="picture_1" fact="1.21"/>
                <dgm:constr type="ctrY" for="ch" forName="picture_4" refType="h" refFor="ch" refForName="picture_1" fact="0.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l" for="ch" forName="picture_5" refType="w" refFor="ch" refForName="picture_1" fact="1.2667"/>
                <dgm:constr type="ctrY" for="ch" forName="picture_5" refType="h" refFor="ch" refForName="picture_1" fact="0.73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l" for="ch" forName="picture_6" refType="w" refFor="ch" refForName="picture_1" fact="1.4238"/>
                <dgm:constr type="ctrY" for="ch" forName="picture_6" refType="h" refFor="ch" refForName="picture_1" fact="0.91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if>
            <dgm:else name="Name23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r" for="ch" forName="picture_2" refType="w"/>
                <dgm:constr type="rOff" for="ch" forName="picture_2" refType="w" refFor="ch" refForName="picture_1" fact="-1.4238"/>
                <dgm:constr type="ctrY" for="ch" forName="picture_2" refType="h" refFor="ch" refForName="picture_1" fact="0.09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r" for="ch" forName="picture_3" refType="w"/>
                <dgm:constr type="rOff" for="ch" forName="picture_3" refType="w" refFor="ch" refForName="picture_1" fact="-1.2667"/>
                <dgm:constr type="ctrY" for="ch" forName="picture_3" refType="h" refFor="ch" refForName="picture_1" fact="0.261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r" for="ch" forName="picture_5" refType="w"/>
                <dgm:constr type="rOff" for="ch" forName="picture_5" refType="w" refFor="ch" refForName="picture_1" fact="-1.2667"/>
                <dgm:constr type="ctrY" for="ch" forName="picture_5" refType="h" refFor="ch" refForName="picture_1" fact="0.73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r" for="ch" forName="picture_6" refType="w"/>
                <dgm:constr type="rOff" for="ch" forName="picture_6" refType="w" refFor="ch" refForName="picture_1" fact="-1.4238"/>
                <dgm:constr type="ctrY" for="ch" forName="picture_6" refType="h" refFor="ch" refForName="picture_1" fact="0.91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else>
          </dgm:choose>
        </dgm:if>
        <dgm:else name="Name24">
          <dgm:choose name="Name25">
            <dgm:if name="Name2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l" for="ch" forName="picture_2" refType="w" refFor="ch" refForName="picture_1" fact="1.4363"/>
                <dgm:constr type="ctrY" for="ch" forName="picture_2" refType="h" refFor="ch" refForName="picture_1" fact="0.0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l" for="ch" forName="picture_3" refType="w" refFor="ch" refForName="picture_1" fact="1.2898"/>
                <dgm:constr type="ctrY" for="ch" forName="picture_3" refType="h" refFor="ch" refForName="picture_1" fact="0.227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l" for="ch" forName="picture_4" refType="w" refFor="ch" refForName="picture_1" fact="1.21"/>
                <dgm:constr type="ctrY" for="ch" forName="picture_4" refType="h" refFor="ch" refForName="picture_1" fact="0.40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l" for="ch" forName="picture_5" refType="w" refFor="ch" refForName="picture_1" fact="1.21"/>
                <dgm:constr type="ctrY" for="ch" forName="picture_5" refType="h" refFor="ch" refForName="picture_1" fact="0.595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l" for="ch" forName="picture_6" refType="w" refFor="ch" refForName="picture_1" fact="1.2898"/>
                <dgm:constr type="ctrY" for="ch" forName="picture_6" refType="h" refFor="ch" refForName="picture_1" fact="0.773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l" for="ch" forName="picture_7" refType="w" refFor="ch" refForName="picture_1" fact="1.4363"/>
                <dgm:constr type="ctrY" for="ch" forName="picture_7" refType="h" refFor="ch" refForName="picture_1" fact="0.925"/>
                <dgm:constr type="l" for="ch" forName="line_7" refType="ctrX" refFor="ch" refForName="picture_1"/>
                <dgm:constr type="h" for="ch" forName="line_7"/>
                <dgm:constr type="r" for="ch" forName="line_7" refType="ctrX" refFor="ch" refForName="picture_7"/>
                <dgm:constr type="ctrY" for="ch" forName="line_7" refType="ctrY" refFor="ch" refForName="picture_7"/>
                <dgm:constr type="r" for="ch" forName="textparent_7" refType="w"/>
                <dgm:constr type="h" for="ch" forName="textparent_7" refType="h" refFor="ch" refForName="picture_7"/>
                <dgm:constr type="l" for="ch" forName="textparent_7" refType="r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if>
            <dgm:else name="Name2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r" for="ch" forName="picture_2" refType="w"/>
                <dgm:constr type="rOff" for="ch" forName="picture_2" refType="w" refFor="ch" refForName="picture_1" fact="-1.4363"/>
                <dgm:constr type="ctrY" for="ch" forName="picture_2" refType="h" refFor="ch" refForName="picture_1" fact="0.0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r" for="ch" forName="picture_3" refType="w"/>
                <dgm:constr type="rOff" for="ch" forName="picture_3" refType="w" refFor="ch" refForName="picture_1" fact="-1.2898"/>
                <dgm:constr type="ctrY" for="ch" forName="picture_3" refType="h" refFor="ch" refForName="picture_1" fact="0.227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40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r" for="ch" forName="picture_5" refType="w"/>
                <dgm:constr type="rOff" for="ch" forName="picture_5" refType="w" refFor="ch" refForName="picture_1" fact="-1.21"/>
                <dgm:constr type="ctrY" for="ch" forName="picture_5" refType="h" refFor="ch" refForName="picture_1" fact="0.595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r" for="ch" forName="picture_6" refType="w"/>
                <dgm:constr type="rOff" for="ch" forName="picture_6" refType="w" refFor="ch" refForName="picture_1" fact="-1.2898"/>
                <dgm:constr type="ctrY" for="ch" forName="picture_6" refType="h" refFor="ch" refForName="picture_1" fact="0.773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r" for="ch" forName="picture_7" refType="w"/>
                <dgm:constr type="rOff" for="ch" forName="picture_7" refType="w" refFor="ch" refForName="picture_1" fact="-1.4363"/>
                <dgm:constr type="ctrY" for="ch" forName="picture_7" refType="h" refFor="ch" refForName="picture_1" fact="0.925"/>
                <dgm:constr type="r" for="ch" forName="line_7" refType="ctrX" refFor="ch" refForName="picture_1"/>
                <dgm:constr type="h" for="ch" forName="line_7"/>
                <dgm:constr type="l" for="ch" forName="line_7" refType="ctrX" refFor="ch" refForName="picture_7"/>
                <dgm:constr type="ctrY" for="ch" forName="line_7" refType="ctrY" refFor="ch" refForName="picture_7"/>
                <dgm:constr type="l" for="ch" forName="textparent_7"/>
                <dgm:constr type="h" for="ch" forName="textparent_7" refType="h" refFor="ch" refForName="picture_7"/>
                <dgm:constr type="r" for="ch" forName="textparent_7" refType="l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else>
          </dgm:choose>
        </dgm:else>
      </dgm:choose>
      <dgm:forEach name="wrapper" axis="self" ptType="parTrans">
        <dgm:forEach name="wrapper2" axis="self" ptType="sibTrans" st="2">
          <dgm:forEach name="pictureRepeat" axis="self">
            <dgm:layoutNode name="pictureRepeatNode" styleLbl="alignImgPlace1">
              <dgm:alg type="sp"/>
              <dgm:shape xmlns:r="http://schemas.openxmlformats.org/officeDocument/2006/relationships" type="ellipse" r:blip="" blipPhldr="1">
                <dgm:adjLst/>
              </dgm:shape>
              <dgm:presOf axis="self"/>
            </dgm:layoutNode>
          </dgm:forEach>
        </dgm:forEach>
      </dgm:forEach>
      <dgm:forEach name="Name28" axis="ch" ptType="sibTrans" hideLastTrans="0" cnt="1">
        <dgm:layoutNode name="picture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9" ref="pictureRepeat"/>
        </dgm:layoutNode>
      </dgm:forEach>
      <dgm:forEach name="Name30" axis="ch" ptType="node" cnt="1">
        <dgm:layoutNode name="text_1" styleLbl="node1">
          <dgm:varLst>
            <dgm:bulletEnabled val="1"/>
          </dgm:varLst>
          <dgm:alg type="tx">
            <dgm:param type="txAnchorVert" val="b"/>
            <dgm:param type="txAnchorVertCh" val="b"/>
            <dgm:param type="parTxRTLAlign" val="r"/>
            <dgm:param type="shpTxRTLAlignCh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primFontSz" val="65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</dgm:forEach>
      <dgm:forEach name="Name31" axis="ch" ptType="sibTrans" hideLastTrans="0" st="2" cnt="1">
        <dgm:layoutNode name="picture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2" ref="pictureRepeat"/>
        </dgm:layoutNode>
      </dgm:forEach>
      <dgm:forEach name="Name33" axis="ch" ptType="node" st="2" cnt="1">
        <dgm:layoutNode name="line_2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2">
          <dgm:choose name="Name34">
            <dgm:if name="Name35" func="var" arg="dir" op="equ" val="norm">
              <dgm:alg type="lin">
                <dgm:param type="horzAlign" val="l"/>
              </dgm:alg>
            </dgm:if>
            <dgm:else name="Name36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2" refType="w"/>
            <dgm:constr type="h" for="ch" forName="text_2" refType="h"/>
          </dgm:constrLst>
          <dgm:presOf/>
          <dgm:layoutNode name="text_2" styleLbl="revTx">
            <dgm:varLst>
              <dgm:bulletEnabled val="1"/>
            </dgm:varLst>
            <dgm:choose name="Name37">
              <dgm:if name="Name38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39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0" axis="ch" ptType="sibTrans" hideLastTrans="0" st="3" cnt="1">
        <dgm:layoutNode name="picture_3">
          <dgm:alg type="sp"/>
          <dgm:shape xmlns:r="http://schemas.openxmlformats.org/officeDocument/2006/relationships" r:blip="">
            <dgm:adjLst/>
          </dgm:shape>
          <dgm:presOf/>
          <dgm:constrLst/>
          <dgm:forEach name="Name41" ref="pictureRepeat"/>
        </dgm:layoutNode>
      </dgm:forEach>
      <dgm:forEach name="Name42" axis="ch" ptType="node" st="3" cnt="1">
        <dgm:layoutNode name="line_3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3">
          <dgm:choose name="Name43">
            <dgm:if name="Name44" func="var" arg="dir" op="equ" val="norm">
              <dgm:alg type="lin">
                <dgm:param type="horzAlign" val="l"/>
              </dgm:alg>
            </dgm:if>
            <dgm:else name="Name45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3" refType="w"/>
            <dgm:constr type="h" for="ch" forName="text_3" refType="h"/>
          </dgm:constrLst>
          <dgm:presOf/>
          <dgm:layoutNode name="text_3" styleLbl="revTx">
            <dgm:varLst>
              <dgm:bulletEnabled val="1"/>
            </dgm:varLst>
            <dgm:choose name="Name46">
              <dgm:if name="Name47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48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9" axis="ch" ptType="sibTrans" hideLastTrans="0" st="4" cnt="1">
        <dgm:layoutNode name="picture_4">
          <dgm:alg type="sp"/>
          <dgm:shape xmlns:r="http://schemas.openxmlformats.org/officeDocument/2006/relationships" r:blip="">
            <dgm:adjLst/>
          </dgm:shape>
          <dgm:presOf/>
          <dgm:constrLst/>
          <dgm:forEach name="Name50" ref="pictureRepeat"/>
        </dgm:layoutNode>
      </dgm:forEach>
      <dgm:forEach name="Name51" axis="ch" ptType="node" st="4" cnt="1">
        <dgm:layoutNode name="line_4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4">
          <dgm:choose name="Name52">
            <dgm:if name="Name53" func="var" arg="dir" op="equ" val="norm">
              <dgm:alg type="lin">
                <dgm:param type="horzAlign" val="l"/>
              </dgm:alg>
            </dgm:if>
            <dgm:else name="Name54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4" refType="w"/>
            <dgm:constr type="h" for="ch" forName="text_4" refType="h"/>
          </dgm:constrLst>
          <dgm:presOf/>
          <dgm:layoutNode name="text_4" styleLbl="revTx">
            <dgm:varLst>
              <dgm:bulletEnabled val="1"/>
            </dgm:varLst>
            <dgm:choose name="Name55">
              <dgm:if name="Name56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57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58" axis="ch" ptType="sibTrans" hideLastTrans="0" st="5" cnt="1">
        <dgm:layoutNode name="picture_5">
          <dgm:alg type="sp"/>
          <dgm:shape xmlns:r="http://schemas.openxmlformats.org/officeDocument/2006/relationships" r:blip="">
            <dgm:adjLst/>
          </dgm:shape>
          <dgm:presOf/>
          <dgm:constrLst/>
          <dgm:forEach name="Name59" ref="pictureRepeat"/>
        </dgm:layoutNode>
      </dgm:forEach>
      <dgm:forEach name="Name60" axis="ch" ptType="node" st="5" cnt="1">
        <dgm:layoutNode name="line_5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5">
          <dgm:choose name="Name61">
            <dgm:if name="Name62" func="var" arg="dir" op="equ" val="norm">
              <dgm:alg type="lin">
                <dgm:param type="horzAlign" val="l"/>
              </dgm:alg>
            </dgm:if>
            <dgm:else name="Name63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5" refType="w"/>
            <dgm:constr type="h" for="ch" forName="text_5" refType="h"/>
          </dgm:constrLst>
          <dgm:presOf/>
          <dgm:layoutNode name="text_5" styleLbl="revTx">
            <dgm:varLst>
              <dgm:bulletEnabled val="1"/>
            </dgm:varLst>
            <dgm:choose name="Name64">
              <dgm:if name="Name65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66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67" axis="ch" ptType="sibTrans" hideLastTrans="0" st="6" cnt="1">
        <dgm:layoutNode name="picture_6">
          <dgm:alg type="sp"/>
          <dgm:shape xmlns:r="http://schemas.openxmlformats.org/officeDocument/2006/relationships" r:blip="">
            <dgm:adjLst/>
          </dgm:shape>
          <dgm:presOf/>
          <dgm:constrLst/>
          <dgm:forEach name="Name68" ref="pictureRepeat"/>
        </dgm:layoutNode>
      </dgm:forEach>
      <dgm:forEach name="Name69" axis="ch" ptType="node" st="6" cnt="1">
        <dgm:layoutNode name="line_6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6">
          <dgm:choose name="Name70">
            <dgm:if name="Name71" func="var" arg="dir" op="equ" val="norm">
              <dgm:alg type="lin">
                <dgm:param type="horzAlign" val="l"/>
              </dgm:alg>
            </dgm:if>
            <dgm:else name="Name72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6" refType="w"/>
            <dgm:constr type="h" for="ch" forName="text_6" refType="h"/>
          </dgm:constrLst>
          <dgm:presOf/>
          <dgm:layoutNode name="text_6" styleLbl="revTx">
            <dgm:varLst>
              <dgm:bulletEnabled val="1"/>
            </dgm:varLst>
            <dgm:choose name="Name73">
              <dgm:if name="Name74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75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76" axis="ch" ptType="sibTrans" hideLastTrans="0" st="7" cnt="1">
        <dgm:layoutNode name="picture_7">
          <dgm:alg type="sp"/>
          <dgm:shape xmlns:r="http://schemas.openxmlformats.org/officeDocument/2006/relationships" r:blip="">
            <dgm:adjLst/>
          </dgm:shape>
          <dgm:presOf/>
          <dgm:constrLst/>
          <dgm:forEach name="Name77" ref="pictureRepeat"/>
        </dgm:layoutNode>
      </dgm:forEach>
      <dgm:forEach name="Name78" axis="ch" ptType="node" st="7" cnt="1">
        <dgm:layoutNode name="line_7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7">
          <dgm:choose name="Name79">
            <dgm:if name="Name80" func="var" arg="dir" op="equ" val="norm">
              <dgm:alg type="lin">
                <dgm:param type="horzAlign" val="l"/>
              </dgm:alg>
            </dgm:if>
            <dgm:else name="Name81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7" refType="w"/>
            <dgm:constr type="h" for="ch" forName="text_7" refType="h"/>
          </dgm:constrLst>
          <dgm:presOf/>
          <dgm:layoutNode name="text_7" styleLbl="revTx">
            <dgm:varLst>
              <dgm:bulletEnabled val="1"/>
            </dgm:varLst>
            <dgm:choose name="Name82">
              <dgm:if name="Name83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84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CircularPictureCallout">
  <dgm:title val=""/>
  <dgm:desc val=""/>
  <dgm:catLst>
    <dgm:cat type="picture" pri="2000"/>
    <dgm:cat type="pictureconvert" pri="2000"/>
  </dgm:catLst>
  <dgm:sampData>
    <dgm:dataModel>
      <dgm:ptLst>
        <dgm:pt modelId="0" type="doc"/>
        <dgm:pt modelId="1"/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2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axis="ch" ptType="node" func="cnt" op="lte" val="1">
          <dgm:constrLst>
            <dgm:constr type="h" for="ch" forName="picture_1" refType="h"/>
            <dgm:constr type="w" for="ch" forName="picture_1" refType="h" refFor="ch" refForName="picture_1" op="equ"/>
            <dgm:constr type="l" for="ch" forName="picture_1"/>
            <dgm:constr type="t" for="ch" forName="picture_1"/>
            <dgm:constr type="w" for="ch" forName="text_1" refType="w" refFor="ch" refForName="picture_1" fact="0.64"/>
            <dgm:constr type="h" for="ch" forName="text_1" refType="h" refFor="ch" refForName="picture_1" fact="0.33"/>
            <dgm:constr type="l" for="ch" forName="text_1" refType="w" refFor="ch" refForName="picture_1" fact="0.18"/>
            <dgm:constr type="t" for="ch" forName="text_1" refType="h" refFor="ch" refForName="picture_1" fact="0.531"/>
          </dgm:constrLst>
        </dgm:if>
        <dgm:if name="Name4" axis="ch" ptType="node" func="cnt" op="lte" val="2">
          <dgm:choose name="Name5">
            <dgm:if name="Name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l" for="ch" forName="picture_2" refType="w" refFor="ch" refForName="picture_1" fact="1.21"/>
                <dgm:constr type="ctrY" for="ch" forName="picture_2" refType="h" refFor="ch" refForName="picture_1" fact="0.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if>
            <dgm:else name="Name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else>
          </dgm:choose>
        </dgm:if>
        <dgm:if name="Name8" axis="ch" ptType="node" func="cnt" op="lte" val="3">
          <dgm:choose name="Name9">
            <dgm:if name="Name10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l" for="ch" forName="picture_2" refType="w" refFor="ch" refForName="picture_1" fact="1.21"/>
                <dgm:constr type="ctrY" for="ch" forName="picture_2" refType="h" refFor="ch" refForName="picture_1" fact="0.18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l" for="ch" forName="picture_3" refType="w" refFor="ch" refForName="picture_1" fact="1.21"/>
                <dgm:constr type="ctrY" for="ch" forName="picture_3" refType="h" refFor="ch" refForName="picture_1" fact="0.812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if>
            <dgm:else name="Name11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18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812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else>
          </dgm:choose>
        </dgm:if>
        <dgm:if name="Name12" axis="ch" ptType="node" func="cnt" op="lte" val="4">
          <dgm:choose name="Name13">
            <dgm:if name="Name14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l" for="ch" forName="picture_2" refType="w" refFor="ch" refForName="picture_1" fact="1.354"/>
                <dgm:constr type="ctrY" for="ch" forName="picture_2" refType="h" refFor="ch" refForName="picture_1" fact="0.1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l" for="ch" forName="picture_3" refType="w" refFor="ch" refForName="picture_1" fact="1.21"/>
                <dgm:constr type="ctrY" for="ch" forName="picture_3" refType="h" refFor="ch" refForName="picture_1" fact="0.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l" for="ch" forName="picture_4" refType="w" refFor="ch" refForName="picture_1" fact="1.354"/>
                <dgm:constr type="ctrY" for="ch" forName="picture_4" refType="h" refFor="ch" refForName="picture_1" fact="0.8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if>
            <dgm:else name="Name15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r" for="ch" forName="picture_2" refType="w"/>
                <dgm:constr type="rOff" for="ch" forName="picture_2" refType="w" refFor="ch" refForName="picture_1" fact="-1.354"/>
                <dgm:constr type="ctrY" for="ch" forName="picture_2" refType="h" refFor="ch" refForName="picture_1" fact="0.1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r" for="ch" forName="picture_4" refType="w"/>
                <dgm:constr type="rOff" for="ch" forName="picture_4" refType="w" refFor="ch" refForName="picture_1" fact="-1.354"/>
                <dgm:constr type="ctrY" for="ch" forName="picture_4" refType="h" refFor="ch" refForName="picture_1" fact="0.8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else>
          </dgm:choose>
        </dgm:if>
        <dgm:if name="Name16" axis="ch" ptType="node" func="cnt" op="lte" val="5">
          <dgm:choose name="Name17">
            <dgm:if name="Name18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l" for="ch" forName="picture_2" refType="w" refFor="ch" refForName="picture_1" fact="1.375"/>
                <dgm:constr type="ctrY" for="ch" forName="picture_2" refType="h" refFor="ch" refForName="picture_1" fact="0.11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l" for="ch" forName="picture_3" refType="w" refFor="ch" refForName="picture_1" fact="1.21"/>
                <dgm:constr type="ctrY" for="ch" forName="picture_3" refType="h" refFor="ch" refForName="picture_1" fact="0.353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l" for="ch" forName="picture_4" refType="w" refFor="ch" refForName="picture_1" fact="1.21"/>
                <dgm:constr type="ctrY" for="ch" forName="picture_4" refType="h" refFor="ch" refForName="picture_1" fact="0.647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l" for="ch" forName="picture_5" refType="w" refFor="ch" refForName="picture_1" fact="1.375"/>
                <dgm:constr type="ctrY" for="ch" forName="picture_5" refType="h" refFor="ch" refForName="picture_1" fact="0.8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if>
            <dgm:else name="Name19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r" for="ch" forName="picture_2" refType="w"/>
                <dgm:constr type="rOff" for="ch" forName="picture_2" refType="w" refFor="ch" refForName="picture_1" fact="-1.375"/>
                <dgm:constr type="ctrY" for="ch" forName="picture_2" refType="h" refFor="ch" refForName="picture_1" fact="0.11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353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647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r" for="ch" forName="picture_5" refType="w"/>
                <dgm:constr type="rOff" for="ch" forName="picture_5" refType="w" refFor="ch" refForName="picture_1" fact="-1.375"/>
                <dgm:constr type="ctrY" for="ch" forName="picture_5" refType="h" refFor="ch" refForName="picture_1" fact="0.8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else>
          </dgm:choose>
        </dgm:if>
        <dgm:if name="Name20" axis="ch" ptType="node" func="cnt" op="lte" val="6">
          <dgm:choose name="Name21">
            <dgm:if name="Name22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l" for="ch" forName="picture_2" refType="w" refFor="ch" refForName="picture_1" fact="1.4238"/>
                <dgm:constr type="ctrY" for="ch" forName="picture_2" refType="h" refFor="ch" refForName="picture_1" fact="0.09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l" for="ch" forName="picture_3" refType="w" refFor="ch" refForName="picture_1" fact="1.2667"/>
                <dgm:constr type="ctrY" for="ch" forName="picture_3" refType="h" refFor="ch" refForName="picture_1" fact="0.261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l" for="ch" forName="picture_4" refType="w" refFor="ch" refForName="picture_1" fact="1.21"/>
                <dgm:constr type="ctrY" for="ch" forName="picture_4" refType="h" refFor="ch" refForName="picture_1" fact="0.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l" for="ch" forName="picture_5" refType="w" refFor="ch" refForName="picture_1" fact="1.2667"/>
                <dgm:constr type="ctrY" for="ch" forName="picture_5" refType="h" refFor="ch" refForName="picture_1" fact="0.73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l" for="ch" forName="picture_6" refType="w" refFor="ch" refForName="picture_1" fact="1.4238"/>
                <dgm:constr type="ctrY" for="ch" forName="picture_6" refType="h" refFor="ch" refForName="picture_1" fact="0.91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if>
            <dgm:else name="Name23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r" for="ch" forName="picture_2" refType="w"/>
                <dgm:constr type="rOff" for="ch" forName="picture_2" refType="w" refFor="ch" refForName="picture_1" fact="-1.4238"/>
                <dgm:constr type="ctrY" for="ch" forName="picture_2" refType="h" refFor="ch" refForName="picture_1" fact="0.09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r" for="ch" forName="picture_3" refType="w"/>
                <dgm:constr type="rOff" for="ch" forName="picture_3" refType="w" refFor="ch" refForName="picture_1" fact="-1.2667"/>
                <dgm:constr type="ctrY" for="ch" forName="picture_3" refType="h" refFor="ch" refForName="picture_1" fact="0.261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r" for="ch" forName="picture_5" refType="w"/>
                <dgm:constr type="rOff" for="ch" forName="picture_5" refType="w" refFor="ch" refForName="picture_1" fact="-1.2667"/>
                <dgm:constr type="ctrY" for="ch" forName="picture_5" refType="h" refFor="ch" refForName="picture_1" fact="0.73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r" for="ch" forName="picture_6" refType="w"/>
                <dgm:constr type="rOff" for="ch" forName="picture_6" refType="w" refFor="ch" refForName="picture_1" fact="-1.4238"/>
                <dgm:constr type="ctrY" for="ch" forName="picture_6" refType="h" refFor="ch" refForName="picture_1" fact="0.91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else>
          </dgm:choose>
        </dgm:if>
        <dgm:else name="Name24">
          <dgm:choose name="Name25">
            <dgm:if name="Name2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l" for="ch" forName="picture_2" refType="w" refFor="ch" refForName="picture_1" fact="1.4363"/>
                <dgm:constr type="ctrY" for="ch" forName="picture_2" refType="h" refFor="ch" refForName="picture_1" fact="0.0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l" for="ch" forName="picture_3" refType="w" refFor="ch" refForName="picture_1" fact="1.2898"/>
                <dgm:constr type="ctrY" for="ch" forName="picture_3" refType="h" refFor="ch" refForName="picture_1" fact="0.227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l" for="ch" forName="picture_4" refType="w" refFor="ch" refForName="picture_1" fact="1.21"/>
                <dgm:constr type="ctrY" for="ch" forName="picture_4" refType="h" refFor="ch" refForName="picture_1" fact="0.40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l" for="ch" forName="picture_5" refType="w" refFor="ch" refForName="picture_1" fact="1.21"/>
                <dgm:constr type="ctrY" for="ch" forName="picture_5" refType="h" refFor="ch" refForName="picture_1" fact="0.595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l" for="ch" forName="picture_6" refType="w" refFor="ch" refForName="picture_1" fact="1.2898"/>
                <dgm:constr type="ctrY" for="ch" forName="picture_6" refType="h" refFor="ch" refForName="picture_1" fact="0.773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l" for="ch" forName="picture_7" refType="w" refFor="ch" refForName="picture_1" fact="1.4363"/>
                <dgm:constr type="ctrY" for="ch" forName="picture_7" refType="h" refFor="ch" refForName="picture_1" fact="0.925"/>
                <dgm:constr type="l" for="ch" forName="line_7" refType="ctrX" refFor="ch" refForName="picture_1"/>
                <dgm:constr type="h" for="ch" forName="line_7"/>
                <dgm:constr type="r" for="ch" forName="line_7" refType="ctrX" refFor="ch" refForName="picture_7"/>
                <dgm:constr type="ctrY" for="ch" forName="line_7" refType="ctrY" refFor="ch" refForName="picture_7"/>
                <dgm:constr type="r" for="ch" forName="textparent_7" refType="w"/>
                <dgm:constr type="h" for="ch" forName="textparent_7" refType="h" refFor="ch" refForName="picture_7"/>
                <dgm:constr type="l" for="ch" forName="textparent_7" refType="r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if>
            <dgm:else name="Name2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r" for="ch" forName="picture_2" refType="w"/>
                <dgm:constr type="rOff" for="ch" forName="picture_2" refType="w" refFor="ch" refForName="picture_1" fact="-1.4363"/>
                <dgm:constr type="ctrY" for="ch" forName="picture_2" refType="h" refFor="ch" refForName="picture_1" fact="0.0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r" for="ch" forName="picture_3" refType="w"/>
                <dgm:constr type="rOff" for="ch" forName="picture_3" refType="w" refFor="ch" refForName="picture_1" fact="-1.2898"/>
                <dgm:constr type="ctrY" for="ch" forName="picture_3" refType="h" refFor="ch" refForName="picture_1" fact="0.227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40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r" for="ch" forName="picture_5" refType="w"/>
                <dgm:constr type="rOff" for="ch" forName="picture_5" refType="w" refFor="ch" refForName="picture_1" fact="-1.21"/>
                <dgm:constr type="ctrY" for="ch" forName="picture_5" refType="h" refFor="ch" refForName="picture_1" fact="0.595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r" for="ch" forName="picture_6" refType="w"/>
                <dgm:constr type="rOff" for="ch" forName="picture_6" refType="w" refFor="ch" refForName="picture_1" fact="-1.2898"/>
                <dgm:constr type="ctrY" for="ch" forName="picture_6" refType="h" refFor="ch" refForName="picture_1" fact="0.773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r" for="ch" forName="picture_7" refType="w"/>
                <dgm:constr type="rOff" for="ch" forName="picture_7" refType="w" refFor="ch" refForName="picture_1" fact="-1.4363"/>
                <dgm:constr type="ctrY" for="ch" forName="picture_7" refType="h" refFor="ch" refForName="picture_1" fact="0.925"/>
                <dgm:constr type="r" for="ch" forName="line_7" refType="ctrX" refFor="ch" refForName="picture_1"/>
                <dgm:constr type="h" for="ch" forName="line_7"/>
                <dgm:constr type="l" for="ch" forName="line_7" refType="ctrX" refFor="ch" refForName="picture_7"/>
                <dgm:constr type="ctrY" for="ch" forName="line_7" refType="ctrY" refFor="ch" refForName="picture_7"/>
                <dgm:constr type="l" for="ch" forName="textparent_7"/>
                <dgm:constr type="h" for="ch" forName="textparent_7" refType="h" refFor="ch" refForName="picture_7"/>
                <dgm:constr type="r" for="ch" forName="textparent_7" refType="l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else>
          </dgm:choose>
        </dgm:else>
      </dgm:choose>
      <dgm:forEach name="wrapper" axis="self" ptType="parTrans">
        <dgm:forEach name="wrapper2" axis="self" ptType="sibTrans" st="2">
          <dgm:forEach name="pictureRepeat" axis="self">
            <dgm:layoutNode name="pictureRepeatNode" styleLbl="alignImgPlace1">
              <dgm:alg type="sp"/>
              <dgm:shape xmlns:r="http://schemas.openxmlformats.org/officeDocument/2006/relationships" type="ellipse" r:blip="" blipPhldr="1">
                <dgm:adjLst/>
              </dgm:shape>
              <dgm:presOf axis="self"/>
            </dgm:layoutNode>
          </dgm:forEach>
        </dgm:forEach>
      </dgm:forEach>
      <dgm:forEach name="Name28" axis="ch" ptType="sibTrans" hideLastTrans="0" cnt="1">
        <dgm:layoutNode name="picture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9" ref="pictureRepeat"/>
        </dgm:layoutNode>
      </dgm:forEach>
      <dgm:forEach name="Name30" axis="ch" ptType="node" cnt="1">
        <dgm:layoutNode name="text_1" styleLbl="node1">
          <dgm:varLst>
            <dgm:bulletEnabled val="1"/>
          </dgm:varLst>
          <dgm:alg type="tx">
            <dgm:param type="txAnchorVert" val="b"/>
            <dgm:param type="txAnchorVertCh" val="b"/>
            <dgm:param type="parTxRTLAlign" val="r"/>
            <dgm:param type="shpTxRTLAlignCh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primFontSz" val="65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</dgm:forEach>
      <dgm:forEach name="Name31" axis="ch" ptType="sibTrans" hideLastTrans="0" st="2" cnt="1">
        <dgm:layoutNode name="picture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2" ref="pictureRepeat"/>
        </dgm:layoutNode>
      </dgm:forEach>
      <dgm:forEach name="Name33" axis="ch" ptType="node" st="2" cnt="1">
        <dgm:layoutNode name="line_2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2">
          <dgm:choose name="Name34">
            <dgm:if name="Name35" func="var" arg="dir" op="equ" val="norm">
              <dgm:alg type="lin">
                <dgm:param type="horzAlign" val="l"/>
              </dgm:alg>
            </dgm:if>
            <dgm:else name="Name36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2" refType="w"/>
            <dgm:constr type="h" for="ch" forName="text_2" refType="h"/>
          </dgm:constrLst>
          <dgm:presOf/>
          <dgm:layoutNode name="text_2" styleLbl="revTx">
            <dgm:varLst>
              <dgm:bulletEnabled val="1"/>
            </dgm:varLst>
            <dgm:choose name="Name37">
              <dgm:if name="Name38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39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0" axis="ch" ptType="sibTrans" hideLastTrans="0" st="3" cnt="1">
        <dgm:layoutNode name="picture_3">
          <dgm:alg type="sp"/>
          <dgm:shape xmlns:r="http://schemas.openxmlformats.org/officeDocument/2006/relationships" r:blip="">
            <dgm:adjLst/>
          </dgm:shape>
          <dgm:presOf/>
          <dgm:constrLst/>
          <dgm:forEach name="Name41" ref="pictureRepeat"/>
        </dgm:layoutNode>
      </dgm:forEach>
      <dgm:forEach name="Name42" axis="ch" ptType="node" st="3" cnt="1">
        <dgm:layoutNode name="line_3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3">
          <dgm:choose name="Name43">
            <dgm:if name="Name44" func="var" arg="dir" op="equ" val="norm">
              <dgm:alg type="lin">
                <dgm:param type="horzAlign" val="l"/>
              </dgm:alg>
            </dgm:if>
            <dgm:else name="Name45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3" refType="w"/>
            <dgm:constr type="h" for="ch" forName="text_3" refType="h"/>
          </dgm:constrLst>
          <dgm:presOf/>
          <dgm:layoutNode name="text_3" styleLbl="revTx">
            <dgm:varLst>
              <dgm:bulletEnabled val="1"/>
            </dgm:varLst>
            <dgm:choose name="Name46">
              <dgm:if name="Name47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48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9" axis="ch" ptType="sibTrans" hideLastTrans="0" st="4" cnt="1">
        <dgm:layoutNode name="picture_4">
          <dgm:alg type="sp"/>
          <dgm:shape xmlns:r="http://schemas.openxmlformats.org/officeDocument/2006/relationships" r:blip="">
            <dgm:adjLst/>
          </dgm:shape>
          <dgm:presOf/>
          <dgm:constrLst/>
          <dgm:forEach name="Name50" ref="pictureRepeat"/>
        </dgm:layoutNode>
      </dgm:forEach>
      <dgm:forEach name="Name51" axis="ch" ptType="node" st="4" cnt="1">
        <dgm:layoutNode name="line_4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4">
          <dgm:choose name="Name52">
            <dgm:if name="Name53" func="var" arg="dir" op="equ" val="norm">
              <dgm:alg type="lin">
                <dgm:param type="horzAlign" val="l"/>
              </dgm:alg>
            </dgm:if>
            <dgm:else name="Name54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4" refType="w"/>
            <dgm:constr type="h" for="ch" forName="text_4" refType="h"/>
          </dgm:constrLst>
          <dgm:presOf/>
          <dgm:layoutNode name="text_4" styleLbl="revTx">
            <dgm:varLst>
              <dgm:bulletEnabled val="1"/>
            </dgm:varLst>
            <dgm:choose name="Name55">
              <dgm:if name="Name56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57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58" axis="ch" ptType="sibTrans" hideLastTrans="0" st="5" cnt="1">
        <dgm:layoutNode name="picture_5">
          <dgm:alg type="sp"/>
          <dgm:shape xmlns:r="http://schemas.openxmlformats.org/officeDocument/2006/relationships" r:blip="">
            <dgm:adjLst/>
          </dgm:shape>
          <dgm:presOf/>
          <dgm:constrLst/>
          <dgm:forEach name="Name59" ref="pictureRepeat"/>
        </dgm:layoutNode>
      </dgm:forEach>
      <dgm:forEach name="Name60" axis="ch" ptType="node" st="5" cnt="1">
        <dgm:layoutNode name="line_5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5">
          <dgm:choose name="Name61">
            <dgm:if name="Name62" func="var" arg="dir" op="equ" val="norm">
              <dgm:alg type="lin">
                <dgm:param type="horzAlign" val="l"/>
              </dgm:alg>
            </dgm:if>
            <dgm:else name="Name63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5" refType="w"/>
            <dgm:constr type="h" for="ch" forName="text_5" refType="h"/>
          </dgm:constrLst>
          <dgm:presOf/>
          <dgm:layoutNode name="text_5" styleLbl="revTx">
            <dgm:varLst>
              <dgm:bulletEnabled val="1"/>
            </dgm:varLst>
            <dgm:choose name="Name64">
              <dgm:if name="Name65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66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67" axis="ch" ptType="sibTrans" hideLastTrans="0" st="6" cnt="1">
        <dgm:layoutNode name="picture_6">
          <dgm:alg type="sp"/>
          <dgm:shape xmlns:r="http://schemas.openxmlformats.org/officeDocument/2006/relationships" r:blip="">
            <dgm:adjLst/>
          </dgm:shape>
          <dgm:presOf/>
          <dgm:constrLst/>
          <dgm:forEach name="Name68" ref="pictureRepeat"/>
        </dgm:layoutNode>
      </dgm:forEach>
      <dgm:forEach name="Name69" axis="ch" ptType="node" st="6" cnt="1">
        <dgm:layoutNode name="line_6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6">
          <dgm:choose name="Name70">
            <dgm:if name="Name71" func="var" arg="dir" op="equ" val="norm">
              <dgm:alg type="lin">
                <dgm:param type="horzAlign" val="l"/>
              </dgm:alg>
            </dgm:if>
            <dgm:else name="Name72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6" refType="w"/>
            <dgm:constr type="h" for="ch" forName="text_6" refType="h"/>
          </dgm:constrLst>
          <dgm:presOf/>
          <dgm:layoutNode name="text_6" styleLbl="revTx">
            <dgm:varLst>
              <dgm:bulletEnabled val="1"/>
            </dgm:varLst>
            <dgm:choose name="Name73">
              <dgm:if name="Name74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75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76" axis="ch" ptType="sibTrans" hideLastTrans="0" st="7" cnt="1">
        <dgm:layoutNode name="picture_7">
          <dgm:alg type="sp"/>
          <dgm:shape xmlns:r="http://schemas.openxmlformats.org/officeDocument/2006/relationships" r:blip="">
            <dgm:adjLst/>
          </dgm:shape>
          <dgm:presOf/>
          <dgm:constrLst/>
          <dgm:forEach name="Name77" ref="pictureRepeat"/>
        </dgm:layoutNode>
      </dgm:forEach>
      <dgm:forEach name="Name78" axis="ch" ptType="node" st="7" cnt="1">
        <dgm:layoutNode name="line_7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7">
          <dgm:choose name="Name79">
            <dgm:if name="Name80" func="var" arg="dir" op="equ" val="norm">
              <dgm:alg type="lin">
                <dgm:param type="horzAlign" val="l"/>
              </dgm:alg>
            </dgm:if>
            <dgm:else name="Name81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7" refType="w"/>
            <dgm:constr type="h" for="ch" forName="text_7" refType="h"/>
          </dgm:constrLst>
          <dgm:presOf/>
          <dgm:layoutNode name="text_7" styleLbl="revTx">
            <dgm:varLst>
              <dgm:bulletEnabled val="1"/>
            </dgm:varLst>
            <dgm:choose name="Name82">
              <dgm:if name="Name83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84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CircularPictureCallout">
  <dgm:title val=""/>
  <dgm:desc val=""/>
  <dgm:catLst>
    <dgm:cat type="picture" pri="2000"/>
    <dgm:cat type="pictureconvert" pri="2000"/>
  </dgm:catLst>
  <dgm:sampData>
    <dgm:dataModel>
      <dgm:ptLst>
        <dgm:pt modelId="0" type="doc"/>
        <dgm:pt modelId="1"/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2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axis="ch" ptType="node" func="cnt" op="lte" val="1">
          <dgm:constrLst>
            <dgm:constr type="h" for="ch" forName="picture_1" refType="h"/>
            <dgm:constr type="w" for="ch" forName="picture_1" refType="h" refFor="ch" refForName="picture_1" op="equ"/>
            <dgm:constr type="l" for="ch" forName="picture_1"/>
            <dgm:constr type="t" for="ch" forName="picture_1"/>
            <dgm:constr type="w" for="ch" forName="text_1" refType="w" refFor="ch" refForName="picture_1" fact="0.64"/>
            <dgm:constr type="h" for="ch" forName="text_1" refType="h" refFor="ch" refForName="picture_1" fact="0.33"/>
            <dgm:constr type="l" for="ch" forName="text_1" refType="w" refFor="ch" refForName="picture_1" fact="0.18"/>
            <dgm:constr type="t" for="ch" forName="text_1" refType="h" refFor="ch" refForName="picture_1" fact="0.531"/>
          </dgm:constrLst>
        </dgm:if>
        <dgm:if name="Name4" axis="ch" ptType="node" func="cnt" op="lte" val="2">
          <dgm:choose name="Name5">
            <dgm:if name="Name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l" for="ch" forName="picture_2" refType="w" refFor="ch" refForName="picture_1" fact="1.21"/>
                <dgm:constr type="ctrY" for="ch" forName="picture_2" refType="h" refFor="ch" refForName="picture_1" fact="0.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if>
            <dgm:else name="Name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else>
          </dgm:choose>
        </dgm:if>
        <dgm:if name="Name8" axis="ch" ptType="node" func="cnt" op="lte" val="3">
          <dgm:choose name="Name9">
            <dgm:if name="Name10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l" for="ch" forName="picture_2" refType="w" refFor="ch" refForName="picture_1" fact="1.21"/>
                <dgm:constr type="ctrY" for="ch" forName="picture_2" refType="h" refFor="ch" refForName="picture_1" fact="0.18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l" for="ch" forName="picture_3" refType="w" refFor="ch" refForName="picture_1" fact="1.21"/>
                <dgm:constr type="ctrY" for="ch" forName="picture_3" refType="h" refFor="ch" refForName="picture_1" fact="0.812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if>
            <dgm:else name="Name11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18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812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else>
          </dgm:choose>
        </dgm:if>
        <dgm:if name="Name12" axis="ch" ptType="node" func="cnt" op="lte" val="4">
          <dgm:choose name="Name13">
            <dgm:if name="Name14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l" for="ch" forName="picture_2" refType="w" refFor="ch" refForName="picture_1" fact="1.354"/>
                <dgm:constr type="ctrY" for="ch" forName="picture_2" refType="h" refFor="ch" refForName="picture_1" fact="0.1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l" for="ch" forName="picture_3" refType="w" refFor="ch" refForName="picture_1" fact="1.21"/>
                <dgm:constr type="ctrY" for="ch" forName="picture_3" refType="h" refFor="ch" refForName="picture_1" fact="0.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l" for="ch" forName="picture_4" refType="w" refFor="ch" refForName="picture_1" fact="1.354"/>
                <dgm:constr type="ctrY" for="ch" forName="picture_4" refType="h" refFor="ch" refForName="picture_1" fact="0.8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if>
            <dgm:else name="Name15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r" for="ch" forName="picture_2" refType="w"/>
                <dgm:constr type="rOff" for="ch" forName="picture_2" refType="w" refFor="ch" refForName="picture_1" fact="-1.354"/>
                <dgm:constr type="ctrY" for="ch" forName="picture_2" refType="h" refFor="ch" refForName="picture_1" fact="0.1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r" for="ch" forName="picture_4" refType="w"/>
                <dgm:constr type="rOff" for="ch" forName="picture_4" refType="w" refFor="ch" refForName="picture_1" fact="-1.354"/>
                <dgm:constr type="ctrY" for="ch" forName="picture_4" refType="h" refFor="ch" refForName="picture_1" fact="0.8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else>
          </dgm:choose>
        </dgm:if>
        <dgm:if name="Name16" axis="ch" ptType="node" func="cnt" op="lte" val="5">
          <dgm:choose name="Name17">
            <dgm:if name="Name18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l" for="ch" forName="picture_2" refType="w" refFor="ch" refForName="picture_1" fact="1.375"/>
                <dgm:constr type="ctrY" for="ch" forName="picture_2" refType="h" refFor="ch" refForName="picture_1" fact="0.11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l" for="ch" forName="picture_3" refType="w" refFor="ch" refForName="picture_1" fact="1.21"/>
                <dgm:constr type="ctrY" for="ch" forName="picture_3" refType="h" refFor="ch" refForName="picture_1" fact="0.353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l" for="ch" forName="picture_4" refType="w" refFor="ch" refForName="picture_1" fact="1.21"/>
                <dgm:constr type="ctrY" for="ch" forName="picture_4" refType="h" refFor="ch" refForName="picture_1" fact="0.647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l" for="ch" forName="picture_5" refType="w" refFor="ch" refForName="picture_1" fact="1.375"/>
                <dgm:constr type="ctrY" for="ch" forName="picture_5" refType="h" refFor="ch" refForName="picture_1" fact="0.8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if>
            <dgm:else name="Name19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r" for="ch" forName="picture_2" refType="w"/>
                <dgm:constr type="rOff" for="ch" forName="picture_2" refType="w" refFor="ch" refForName="picture_1" fact="-1.375"/>
                <dgm:constr type="ctrY" for="ch" forName="picture_2" refType="h" refFor="ch" refForName="picture_1" fact="0.11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353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647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r" for="ch" forName="picture_5" refType="w"/>
                <dgm:constr type="rOff" for="ch" forName="picture_5" refType="w" refFor="ch" refForName="picture_1" fact="-1.375"/>
                <dgm:constr type="ctrY" for="ch" forName="picture_5" refType="h" refFor="ch" refForName="picture_1" fact="0.8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else>
          </dgm:choose>
        </dgm:if>
        <dgm:if name="Name20" axis="ch" ptType="node" func="cnt" op="lte" val="6">
          <dgm:choose name="Name21">
            <dgm:if name="Name22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l" for="ch" forName="picture_2" refType="w" refFor="ch" refForName="picture_1" fact="1.4238"/>
                <dgm:constr type="ctrY" for="ch" forName="picture_2" refType="h" refFor="ch" refForName="picture_1" fact="0.09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l" for="ch" forName="picture_3" refType="w" refFor="ch" refForName="picture_1" fact="1.2667"/>
                <dgm:constr type="ctrY" for="ch" forName="picture_3" refType="h" refFor="ch" refForName="picture_1" fact="0.261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l" for="ch" forName="picture_4" refType="w" refFor="ch" refForName="picture_1" fact="1.21"/>
                <dgm:constr type="ctrY" for="ch" forName="picture_4" refType="h" refFor="ch" refForName="picture_1" fact="0.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l" for="ch" forName="picture_5" refType="w" refFor="ch" refForName="picture_1" fact="1.2667"/>
                <dgm:constr type="ctrY" for="ch" forName="picture_5" refType="h" refFor="ch" refForName="picture_1" fact="0.73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l" for="ch" forName="picture_6" refType="w" refFor="ch" refForName="picture_1" fact="1.4238"/>
                <dgm:constr type="ctrY" for="ch" forName="picture_6" refType="h" refFor="ch" refForName="picture_1" fact="0.91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if>
            <dgm:else name="Name23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r" for="ch" forName="picture_2" refType="w"/>
                <dgm:constr type="rOff" for="ch" forName="picture_2" refType="w" refFor="ch" refForName="picture_1" fact="-1.4238"/>
                <dgm:constr type="ctrY" for="ch" forName="picture_2" refType="h" refFor="ch" refForName="picture_1" fact="0.09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r" for="ch" forName="picture_3" refType="w"/>
                <dgm:constr type="rOff" for="ch" forName="picture_3" refType="w" refFor="ch" refForName="picture_1" fact="-1.2667"/>
                <dgm:constr type="ctrY" for="ch" forName="picture_3" refType="h" refFor="ch" refForName="picture_1" fact="0.261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r" for="ch" forName="picture_5" refType="w"/>
                <dgm:constr type="rOff" for="ch" forName="picture_5" refType="w" refFor="ch" refForName="picture_1" fact="-1.2667"/>
                <dgm:constr type="ctrY" for="ch" forName="picture_5" refType="h" refFor="ch" refForName="picture_1" fact="0.73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r" for="ch" forName="picture_6" refType="w"/>
                <dgm:constr type="rOff" for="ch" forName="picture_6" refType="w" refFor="ch" refForName="picture_1" fact="-1.4238"/>
                <dgm:constr type="ctrY" for="ch" forName="picture_6" refType="h" refFor="ch" refForName="picture_1" fact="0.91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else>
          </dgm:choose>
        </dgm:if>
        <dgm:else name="Name24">
          <dgm:choose name="Name25">
            <dgm:if name="Name2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l" for="ch" forName="picture_2" refType="w" refFor="ch" refForName="picture_1" fact="1.4363"/>
                <dgm:constr type="ctrY" for="ch" forName="picture_2" refType="h" refFor="ch" refForName="picture_1" fact="0.0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l" for="ch" forName="picture_3" refType="w" refFor="ch" refForName="picture_1" fact="1.2898"/>
                <dgm:constr type="ctrY" for="ch" forName="picture_3" refType="h" refFor="ch" refForName="picture_1" fact="0.227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l" for="ch" forName="picture_4" refType="w" refFor="ch" refForName="picture_1" fact="1.21"/>
                <dgm:constr type="ctrY" for="ch" forName="picture_4" refType="h" refFor="ch" refForName="picture_1" fact="0.40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l" for="ch" forName="picture_5" refType="w" refFor="ch" refForName="picture_1" fact="1.21"/>
                <dgm:constr type="ctrY" for="ch" forName="picture_5" refType="h" refFor="ch" refForName="picture_1" fact="0.595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l" for="ch" forName="picture_6" refType="w" refFor="ch" refForName="picture_1" fact="1.2898"/>
                <dgm:constr type="ctrY" for="ch" forName="picture_6" refType="h" refFor="ch" refForName="picture_1" fact="0.773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l" for="ch" forName="picture_7" refType="w" refFor="ch" refForName="picture_1" fact="1.4363"/>
                <dgm:constr type="ctrY" for="ch" forName="picture_7" refType="h" refFor="ch" refForName="picture_1" fact="0.925"/>
                <dgm:constr type="l" for="ch" forName="line_7" refType="ctrX" refFor="ch" refForName="picture_1"/>
                <dgm:constr type="h" for="ch" forName="line_7"/>
                <dgm:constr type="r" for="ch" forName="line_7" refType="ctrX" refFor="ch" refForName="picture_7"/>
                <dgm:constr type="ctrY" for="ch" forName="line_7" refType="ctrY" refFor="ch" refForName="picture_7"/>
                <dgm:constr type="r" for="ch" forName="textparent_7" refType="w"/>
                <dgm:constr type="h" for="ch" forName="textparent_7" refType="h" refFor="ch" refForName="picture_7"/>
                <dgm:constr type="l" for="ch" forName="textparent_7" refType="r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if>
            <dgm:else name="Name2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r" for="ch" forName="picture_2" refType="w"/>
                <dgm:constr type="rOff" for="ch" forName="picture_2" refType="w" refFor="ch" refForName="picture_1" fact="-1.4363"/>
                <dgm:constr type="ctrY" for="ch" forName="picture_2" refType="h" refFor="ch" refForName="picture_1" fact="0.0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r" for="ch" forName="picture_3" refType="w"/>
                <dgm:constr type="rOff" for="ch" forName="picture_3" refType="w" refFor="ch" refForName="picture_1" fact="-1.2898"/>
                <dgm:constr type="ctrY" for="ch" forName="picture_3" refType="h" refFor="ch" refForName="picture_1" fact="0.227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40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r" for="ch" forName="picture_5" refType="w"/>
                <dgm:constr type="rOff" for="ch" forName="picture_5" refType="w" refFor="ch" refForName="picture_1" fact="-1.21"/>
                <dgm:constr type="ctrY" for="ch" forName="picture_5" refType="h" refFor="ch" refForName="picture_1" fact="0.595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r" for="ch" forName="picture_6" refType="w"/>
                <dgm:constr type="rOff" for="ch" forName="picture_6" refType="w" refFor="ch" refForName="picture_1" fact="-1.2898"/>
                <dgm:constr type="ctrY" for="ch" forName="picture_6" refType="h" refFor="ch" refForName="picture_1" fact="0.773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r" for="ch" forName="picture_7" refType="w"/>
                <dgm:constr type="rOff" for="ch" forName="picture_7" refType="w" refFor="ch" refForName="picture_1" fact="-1.4363"/>
                <dgm:constr type="ctrY" for="ch" forName="picture_7" refType="h" refFor="ch" refForName="picture_1" fact="0.925"/>
                <dgm:constr type="r" for="ch" forName="line_7" refType="ctrX" refFor="ch" refForName="picture_1"/>
                <dgm:constr type="h" for="ch" forName="line_7"/>
                <dgm:constr type="l" for="ch" forName="line_7" refType="ctrX" refFor="ch" refForName="picture_7"/>
                <dgm:constr type="ctrY" for="ch" forName="line_7" refType="ctrY" refFor="ch" refForName="picture_7"/>
                <dgm:constr type="l" for="ch" forName="textparent_7"/>
                <dgm:constr type="h" for="ch" forName="textparent_7" refType="h" refFor="ch" refForName="picture_7"/>
                <dgm:constr type="r" for="ch" forName="textparent_7" refType="l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else>
          </dgm:choose>
        </dgm:else>
      </dgm:choose>
      <dgm:forEach name="wrapper" axis="self" ptType="parTrans">
        <dgm:forEach name="wrapper2" axis="self" ptType="sibTrans" st="2">
          <dgm:forEach name="pictureRepeat" axis="self">
            <dgm:layoutNode name="pictureRepeatNode" styleLbl="alignImgPlace1">
              <dgm:alg type="sp"/>
              <dgm:shape xmlns:r="http://schemas.openxmlformats.org/officeDocument/2006/relationships" type="ellipse" r:blip="" blipPhldr="1">
                <dgm:adjLst/>
              </dgm:shape>
              <dgm:presOf axis="self"/>
            </dgm:layoutNode>
          </dgm:forEach>
        </dgm:forEach>
      </dgm:forEach>
      <dgm:forEach name="Name28" axis="ch" ptType="sibTrans" hideLastTrans="0" cnt="1">
        <dgm:layoutNode name="picture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9" ref="pictureRepeat"/>
        </dgm:layoutNode>
      </dgm:forEach>
      <dgm:forEach name="Name30" axis="ch" ptType="node" cnt="1">
        <dgm:layoutNode name="text_1" styleLbl="node1">
          <dgm:varLst>
            <dgm:bulletEnabled val="1"/>
          </dgm:varLst>
          <dgm:alg type="tx">
            <dgm:param type="txAnchorVert" val="b"/>
            <dgm:param type="txAnchorVertCh" val="b"/>
            <dgm:param type="parTxRTLAlign" val="r"/>
            <dgm:param type="shpTxRTLAlignCh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primFontSz" val="65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</dgm:forEach>
      <dgm:forEach name="Name31" axis="ch" ptType="sibTrans" hideLastTrans="0" st="2" cnt="1">
        <dgm:layoutNode name="picture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2" ref="pictureRepeat"/>
        </dgm:layoutNode>
      </dgm:forEach>
      <dgm:forEach name="Name33" axis="ch" ptType="node" st="2" cnt="1">
        <dgm:layoutNode name="line_2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2">
          <dgm:choose name="Name34">
            <dgm:if name="Name35" func="var" arg="dir" op="equ" val="norm">
              <dgm:alg type="lin">
                <dgm:param type="horzAlign" val="l"/>
              </dgm:alg>
            </dgm:if>
            <dgm:else name="Name36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2" refType="w"/>
            <dgm:constr type="h" for="ch" forName="text_2" refType="h"/>
          </dgm:constrLst>
          <dgm:presOf/>
          <dgm:layoutNode name="text_2" styleLbl="revTx">
            <dgm:varLst>
              <dgm:bulletEnabled val="1"/>
            </dgm:varLst>
            <dgm:choose name="Name37">
              <dgm:if name="Name38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39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0" axis="ch" ptType="sibTrans" hideLastTrans="0" st="3" cnt="1">
        <dgm:layoutNode name="picture_3">
          <dgm:alg type="sp"/>
          <dgm:shape xmlns:r="http://schemas.openxmlformats.org/officeDocument/2006/relationships" r:blip="">
            <dgm:adjLst/>
          </dgm:shape>
          <dgm:presOf/>
          <dgm:constrLst/>
          <dgm:forEach name="Name41" ref="pictureRepeat"/>
        </dgm:layoutNode>
      </dgm:forEach>
      <dgm:forEach name="Name42" axis="ch" ptType="node" st="3" cnt="1">
        <dgm:layoutNode name="line_3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3">
          <dgm:choose name="Name43">
            <dgm:if name="Name44" func="var" arg="dir" op="equ" val="norm">
              <dgm:alg type="lin">
                <dgm:param type="horzAlign" val="l"/>
              </dgm:alg>
            </dgm:if>
            <dgm:else name="Name45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3" refType="w"/>
            <dgm:constr type="h" for="ch" forName="text_3" refType="h"/>
          </dgm:constrLst>
          <dgm:presOf/>
          <dgm:layoutNode name="text_3" styleLbl="revTx">
            <dgm:varLst>
              <dgm:bulletEnabled val="1"/>
            </dgm:varLst>
            <dgm:choose name="Name46">
              <dgm:if name="Name47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48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9" axis="ch" ptType="sibTrans" hideLastTrans="0" st="4" cnt="1">
        <dgm:layoutNode name="picture_4">
          <dgm:alg type="sp"/>
          <dgm:shape xmlns:r="http://schemas.openxmlformats.org/officeDocument/2006/relationships" r:blip="">
            <dgm:adjLst/>
          </dgm:shape>
          <dgm:presOf/>
          <dgm:constrLst/>
          <dgm:forEach name="Name50" ref="pictureRepeat"/>
        </dgm:layoutNode>
      </dgm:forEach>
      <dgm:forEach name="Name51" axis="ch" ptType="node" st="4" cnt="1">
        <dgm:layoutNode name="line_4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4">
          <dgm:choose name="Name52">
            <dgm:if name="Name53" func="var" arg="dir" op="equ" val="norm">
              <dgm:alg type="lin">
                <dgm:param type="horzAlign" val="l"/>
              </dgm:alg>
            </dgm:if>
            <dgm:else name="Name54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4" refType="w"/>
            <dgm:constr type="h" for="ch" forName="text_4" refType="h"/>
          </dgm:constrLst>
          <dgm:presOf/>
          <dgm:layoutNode name="text_4" styleLbl="revTx">
            <dgm:varLst>
              <dgm:bulletEnabled val="1"/>
            </dgm:varLst>
            <dgm:choose name="Name55">
              <dgm:if name="Name56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57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58" axis="ch" ptType="sibTrans" hideLastTrans="0" st="5" cnt="1">
        <dgm:layoutNode name="picture_5">
          <dgm:alg type="sp"/>
          <dgm:shape xmlns:r="http://schemas.openxmlformats.org/officeDocument/2006/relationships" r:blip="">
            <dgm:adjLst/>
          </dgm:shape>
          <dgm:presOf/>
          <dgm:constrLst/>
          <dgm:forEach name="Name59" ref="pictureRepeat"/>
        </dgm:layoutNode>
      </dgm:forEach>
      <dgm:forEach name="Name60" axis="ch" ptType="node" st="5" cnt="1">
        <dgm:layoutNode name="line_5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5">
          <dgm:choose name="Name61">
            <dgm:if name="Name62" func="var" arg="dir" op="equ" val="norm">
              <dgm:alg type="lin">
                <dgm:param type="horzAlign" val="l"/>
              </dgm:alg>
            </dgm:if>
            <dgm:else name="Name63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5" refType="w"/>
            <dgm:constr type="h" for="ch" forName="text_5" refType="h"/>
          </dgm:constrLst>
          <dgm:presOf/>
          <dgm:layoutNode name="text_5" styleLbl="revTx">
            <dgm:varLst>
              <dgm:bulletEnabled val="1"/>
            </dgm:varLst>
            <dgm:choose name="Name64">
              <dgm:if name="Name65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66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67" axis="ch" ptType="sibTrans" hideLastTrans="0" st="6" cnt="1">
        <dgm:layoutNode name="picture_6">
          <dgm:alg type="sp"/>
          <dgm:shape xmlns:r="http://schemas.openxmlformats.org/officeDocument/2006/relationships" r:blip="">
            <dgm:adjLst/>
          </dgm:shape>
          <dgm:presOf/>
          <dgm:constrLst/>
          <dgm:forEach name="Name68" ref="pictureRepeat"/>
        </dgm:layoutNode>
      </dgm:forEach>
      <dgm:forEach name="Name69" axis="ch" ptType="node" st="6" cnt="1">
        <dgm:layoutNode name="line_6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6">
          <dgm:choose name="Name70">
            <dgm:if name="Name71" func="var" arg="dir" op="equ" val="norm">
              <dgm:alg type="lin">
                <dgm:param type="horzAlign" val="l"/>
              </dgm:alg>
            </dgm:if>
            <dgm:else name="Name72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6" refType="w"/>
            <dgm:constr type="h" for="ch" forName="text_6" refType="h"/>
          </dgm:constrLst>
          <dgm:presOf/>
          <dgm:layoutNode name="text_6" styleLbl="revTx">
            <dgm:varLst>
              <dgm:bulletEnabled val="1"/>
            </dgm:varLst>
            <dgm:choose name="Name73">
              <dgm:if name="Name74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75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76" axis="ch" ptType="sibTrans" hideLastTrans="0" st="7" cnt="1">
        <dgm:layoutNode name="picture_7">
          <dgm:alg type="sp"/>
          <dgm:shape xmlns:r="http://schemas.openxmlformats.org/officeDocument/2006/relationships" r:blip="">
            <dgm:adjLst/>
          </dgm:shape>
          <dgm:presOf/>
          <dgm:constrLst/>
          <dgm:forEach name="Name77" ref="pictureRepeat"/>
        </dgm:layoutNode>
      </dgm:forEach>
      <dgm:forEach name="Name78" axis="ch" ptType="node" st="7" cnt="1">
        <dgm:layoutNode name="line_7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7">
          <dgm:choose name="Name79">
            <dgm:if name="Name80" func="var" arg="dir" op="equ" val="norm">
              <dgm:alg type="lin">
                <dgm:param type="horzAlign" val="l"/>
              </dgm:alg>
            </dgm:if>
            <dgm:else name="Name81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7" refType="w"/>
            <dgm:constr type="h" for="ch" forName="text_7" refType="h"/>
          </dgm:constrLst>
          <dgm:presOf/>
          <dgm:layoutNode name="text_7" styleLbl="revTx">
            <dgm:varLst>
              <dgm:bulletEnabled val="1"/>
            </dgm:varLst>
            <dgm:choose name="Name82">
              <dgm:if name="Name83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84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CircularPictureCallout">
  <dgm:title val=""/>
  <dgm:desc val=""/>
  <dgm:catLst>
    <dgm:cat type="picture" pri="2000"/>
    <dgm:cat type="pictureconvert" pri="2000"/>
  </dgm:catLst>
  <dgm:sampData>
    <dgm:dataModel>
      <dgm:ptLst>
        <dgm:pt modelId="0" type="doc"/>
        <dgm:pt modelId="1"/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2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axis="ch" ptType="node" func="cnt" op="lte" val="1">
          <dgm:constrLst>
            <dgm:constr type="h" for="ch" forName="picture_1" refType="h"/>
            <dgm:constr type="w" for="ch" forName="picture_1" refType="h" refFor="ch" refForName="picture_1" op="equ"/>
            <dgm:constr type="l" for="ch" forName="picture_1"/>
            <dgm:constr type="t" for="ch" forName="picture_1"/>
            <dgm:constr type="w" for="ch" forName="text_1" refType="w" refFor="ch" refForName="picture_1" fact="0.64"/>
            <dgm:constr type="h" for="ch" forName="text_1" refType="h" refFor="ch" refForName="picture_1" fact="0.33"/>
            <dgm:constr type="l" for="ch" forName="text_1" refType="w" refFor="ch" refForName="picture_1" fact="0.18"/>
            <dgm:constr type="t" for="ch" forName="text_1" refType="h" refFor="ch" refForName="picture_1" fact="0.531"/>
          </dgm:constrLst>
        </dgm:if>
        <dgm:if name="Name4" axis="ch" ptType="node" func="cnt" op="lte" val="2">
          <dgm:choose name="Name5">
            <dgm:if name="Name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l" for="ch" forName="picture_2" refType="w" refFor="ch" refForName="picture_1" fact="1.21"/>
                <dgm:constr type="ctrY" for="ch" forName="picture_2" refType="h" refFor="ch" refForName="picture_1" fact="0.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if>
            <dgm:else name="Name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else>
          </dgm:choose>
        </dgm:if>
        <dgm:if name="Name8" axis="ch" ptType="node" func="cnt" op="lte" val="3">
          <dgm:choose name="Name9">
            <dgm:if name="Name10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l" for="ch" forName="picture_2" refType="w" refFor="ch" refForName="picture_1" fact="1.21"/>
                <dgm:constr type="ctrY" for="ch" forName="picture_2" refType="h" refFor="ch" refForName="picture_1" fact="0.18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l" for="ch" forName="picture_3" refType="w" refFor="ch" refForName="picture_1" fact="1.21"/>
                <dgm:constr type="ctrY" for="ch" forName="picture_3" refType="h" refFor="ch" refForName="picture_1" fact="0.812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if>
            <dgm:else name="Name11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18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812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else>
          </dgm:choose>
        </dgm:if>
        <dgm:if name="Name12" axis="ch" ptType="node" func="cnt" op="lte" val="4">
          <dgm:choose name="Name13">
            <dgm:if name="Name14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l" for="ch" forName="picture_2" refType="w" refFor="ch" refForName="picture_1" fact="1.354"/>
                <dgm:constr type="ctrY" for="ch" forName="picture_2" refType="h" refFor="ch" refForName="picture_1" fact="0.1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l" for="ch" forName="picture_3" refType="w" refFor="ch" refForName="picture_1" fact="1.21"/>
                <dgm:constr type="ctrY" for="ch" forName="picture_3" refType="h" refFor="ch" refForName="picture_1" fact="0.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l" for="ch" forName="picture_4" refType="w" refFor="ch" refForName="picture_1" fact="1.354"/>
                <dgm:constr type="ctrY" for="ch" forName="picture_4" refType="h" refFor="ch" refForName="picture_1" fact="0.8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if>
            <dgm:else name="Name15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r" for="ch" forName="picture_2" refType="w"/>
                <dgm:constr type="rOff" for="ch" forName="picture_2" refType="w" refFor="ch" refForName="picture_1" fact="-1.354"/>
                <dgm:constr type="ctrY" for="ch" forName="picture_2" refType="h" refFor="ch" refForName="picture_1" fact="0.1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r" for="ch" forName="picture_4" refType="w"/>
                <dgm:constr type="rOff" for="ch" forName="picture_4" refType="w" refFor="ch" refForName="picture_1" fact="-1.354"/>
                <dgm:constr type="ctrY" for="ch" forName="picture_4" refType="h" refFor="ch" refForName="picture_1" fact="0.8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else>
          </dgm:choose>
        </dgm:if>
        <dgm:if name="Name16" axis="ch" ptType="node" func="cnt" op="lte" val="5">
          <dgm:choose name="Name17">
            <dgm:if name="Name18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l" for="ch" forName="picture_2" refType="w" refFor="ch" refForName="picture_1" fact="1.375"/>
                <dgm:constr type="ctrY" for="ch" forName="picture_2" refType="h" refFor="ch" refForName="picture_1" fact="0.11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l" for="ch" forName="picture_3" refType="w" refFor="ch" refForName="picture_1" fact="1.21"/>
                <dgm:constr type="ctrY" for="ch" forName="picture_3" refType="h" refFor="ch" refForName="picture_1" fact="0.353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l" for="ch" forName="picture_4" refType="w" refFor="ch" refForName="picture_1" fact="1.21"/>
                <dgm:constr type="ctrY" for="ch" forName="picture_4" refType="h" refFor="ch" refForName="picture_1" fact="0.647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l" for="ch" forName="picture_5" refType="w" refFor="ch" refForName="picture_1" fact="1.375"/>
                <dgm:constr type="ctrY" for="ch" forName="picture_5" refType="h" refFor="ch" refForName="picture_1" fact="0.8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if>
            <dgm:else name="Name19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r" for="ch" forName="picture_2" refType="w"/>
                <dgm:constr type="rOff" for="ch" forName="picture_2" refType="w" refFor="ch" refForName="picture_1" fact="-1.375"/>
                <dgm:constr type="ctrY" for="ch" forName="picture_2" refType="h" refFor="ch" refForName="picture_1" fact="0.11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353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647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r" for="ch" forName="picture_5" refType="w"/>
                <dgm:constr type="rOff" for="ch" forName="picture_5" refType="w" refFor="ch" refForName="picture_1" fact="-1.375"/>
                <dgm:constr type="ctrY" for="ch" forName="picture_5" refType="h" refFor="ch" refForName="picture_1" fact="0.8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else>
          </dgm:choose>
        </dgm:if>
        <dgm:if name="Name20" axis="ch" ptType="node" func="cnt" op="lte" val="6">
          <dgm:choose name="Name21">
            <dgm:if name="Name22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l" for="ch" forName="picture_2" refType="w" refFor="ch" refForName="picture_1" fact="1.4238"/>
                <dgm:constr type="ctrY" for="ch" forName="picture_2" refType="h" refFor="ch" refForName="picture_1" fact="0.09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l" for="ch" forName="picture_3" refType="w" refFor="ch" refForName="picture_1" fact="1.2667"/>
                <dgm:constr type="ctrY" for="ch" forName="picture_3" refType="h" refFor="ch" refForName="picture_1" fact="0.261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l" for="ch" forName="picture_4" refType="w" refFor="ch" refForName="picture_1" fact="1.21"/>
                <dgm:constr type="ctrY" for="ch" forName="picture_4" refType="h" refFor="ch" refForName="picture_1" fact="0.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l" for="ch" forName="picture_5" refType="w" refFor="ch" refForName="picture_1" fact="1.2667"/>
                <dgm:constr type="ctrY" for="ch" forName="picture_5" refType="h" refFor="ch" refForName="picture_1" fact="0.73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l" for="ch" forName="picture_6" refType="w" refFor="ch" refForName="picture_1" fact="1.4238"/>
                <dgm:constr type="ctrY" for="ch" forName="picture_6" refType="h" refFor="ch" refForName="picture_1" fact="0.91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if>
            <dgm:else name="Name23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r" for="ch" forName="picture_2" refType="w"/>
                <dgm:constr type="rOff" for="ch" forName="picture_2" refType="w" refFor="ch" refForName="picture_1" fact="-1.4238"/>
                <dgm:constr type="ctrY" for="ch" forName="picture_2" refType="h" refFor="ch" refForName="picture_1" fact="0.09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r" for="ch" forName="picture_3" refType="w"/>
                <dgm:constr type="rOff" for="ch" forName="picture_3" refType="w" refFor="ch" refForName="picture_1" fact="-1.2667"/>
                <dgm:constr type="ctrY" for="ch" forName="picture_3" refType="h" refFor="ch" refForName="picture_1" fact="0.261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r" for="ch" forName="picture_5" refType="w"/>
                <dgm:constr type="rOff" for="ch" forName="picture_5" refType="w" refFor="ch" refForName="picture_1" fact="-1.2667"/>
                <dgm:constr type="ctrY" for="ch" forName="picture_5" refType="h" refFor="ch" refForName="picture_1" fact="0.73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r" for="ch" forName="picture_6" refType="w"/>
                <dgm:constr type="rOff" for="ch" forName="picture_6" refType="w" refFor="ch" refForName="picture_1" fact="-1.4238"/>
                <dgm:constr type="ctrY" for="ch" forName="picture_6" refType="h" refFor="ch" refForName="picture_1" fact="0.91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else>
          </dgm:choose>
        </dgm:if>
        <dgm:else name="Name24">
          <dgm:choose name="Name25">
            <dgm:if name="Name2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l" for="ch" forName="picture_2" refType="w" refFor="ch" refForName="picture_1" fact="1.4363"/>
                <dgm:constr type="ctrY" for="ch" forName="picture_2" refType="h" refFor="ch" refForName="picture_1" fact="0.0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l" for="ch" forName="picture_3" refType="w" refFor="ch" refForName="picture_1" fact="1.2898"/>
                <dgm:constr type="ctrY" for="ch" forName="picture_3" refType="h" refFor="ch" refForName="picture_1" fact="0.227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l" for="ch" forName="picture_4" refType="w" refFor="ch" refForName="picture_1" fact="1.21"/>
                <dgm:constr type="ctrY" for="ch" forName="picture_4" refType="h" refFor="ch" refForName="picture_1" fact="0.40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l" for="ch" forName="picture_5" refType="w" refFor="ch" refForName="picture_1" fact="1.21"/>
                <dgm:constr type="ctrY" for="ch" forName="picture_5" refType="h" refFor="ch" refForName="picture_1" fact="0.595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l" for="ch" forName="picture_6" refType="w" refFor="ch" refForName="picture_1" fact="1.2898"/>
                <dgm:constr type="ctrY" for="ch" forName="picture_6" refType="h" refFor="ch" refForName="picture_1" fact="0.773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l" for="ch" forName="picture_7" refType="w" refFor="ch" refForName="picture_1" fact="1.4363"/>
                <dgm:constr type="ctrY" for="ch" forName="picture_7" refType="h" refFor="ch" refForName="picture_1" fact="0.925"/>
                <dgm:constr type="l" for="ch" forName="line_7" refType="ctrX" refFor="ch" refForName="picture_1"/>
                <dgm:constr type="h" for="ch" forName="line_7"/>
                <dgm:constr type="r" for="ch" forName="line_7" refType="ctrX" refFor="ch" refForName="picture_7"/>
                <dgm:constr type="ctrY" for="ch" forName="line_7" refType="ctrY" refFor="ch" refForName="picture_7"/>
                <dgm:constr type="r" for="ch" forName="textparent_7" refType="w"/>
                <dgm:constr type="h" for="ch" forName="textparent_7" refType="h" refFor="ch" refForName="picture_7"/>
                <dgm:constr type="l" for="ch" forName="textparent_7" refType="r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if>
            <dgm:else name="Name2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r" for="ch" forName="picture_2" refType="w"/>
                <dgm:constr type="rOff" for="ch" forName="picture_2" refType="w" refFor="ch" refForName="picture_1" fact="-1.4363"/>
                <dgm:constr type="ctrY" for="ch" forName="picture_2" refType="h" refFor="ch" refForName="picture_1" fact="0.0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r" for="ch" forName="picture_3" refType="w"/>
                <dgm:constr type="rOff" for="ch" forName="picture_3" refType="w" refFor="ch" refForName="picture_1" fact="-1.2898"/>
                <dgm:constr type="ctrY" for="ch" forName="picture_3" refType="h" refFor="ch" refForName="picture_1" fact="0.227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40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r" for="ch" forName="picture_5" refType="w"/>
                <dgm:constr type="rOff" for="ch" forName="picture_5" refType="w" refFor="ch" refForName="picture_1" fact="-1.21"/>
                <dgm:constr type="ctrY" for="ch" forName="picture_5" refType="h" refFor="ch" refForName="picture_1" fact="0.595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r" for="ch" forName="picture_6" refType="w"/>
                <dgm:constr type="rOff" for="ch" forName="picture_6" refType="w" refFor="ch" refForName="picture_1" fact="-1.2898"/>
                <dgm:constr type="ctrY" for="ch" forName="picture_6" refType="h" refFor="ch" refForName="picture_1" fact="0.773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r" for="ch" forName="picture_7" refType="w"/>
                <dgm:constr type="rOff" for="ch" forName="picture_7" refType="w" refFor="ch" refForName="picture_1" fact="-1.4363"/>
                <dgm:constr type="ctrY" for="ch" forName="picture_7" refType="h" refFor="ch" refForName="picture_1" fact="0.925"/>
                <dgm:constr type="r" for="ch" forName="line_7" refType="ctrX" refFor="ch" refForName="picture_1"/>
                <dgm:constr type="h" for="ch" forName="line_7"/>
                <dgm:constr type="l" for="ch" forName="line_7" refType="ctrX" refFor="ch" refForName="picture_7"/>
                <dgm:constr type="ctrY" for="ch" forName="line_7" refType="ctrY" refFor="ch" refForName="picture_7"/>
                <dgm:constr type="l" for="ch" forName="textparent_7"/>
                <dgm:constr type="h" for="ch" forName="textparent_7" refType="h" refFor="ch" refForName="picture_7"/>
                <dgm:constr type="r" for="ch" forName="textparent_7" refType="l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else>
          </dgm:choose>
        </dgm:else>
      </dgm:choose>
      <dgm:forEach name="wrapper" axis="self" ptType="parTrans">
        <dgm:forEach name="wrapper2" axis="self" ptType="sibTrans" st="2">
          <dgm:forEach name="pictureRepeat" axis="self">
            <dgm:layoutNode name="pictureRepeatNode" styleLbl="alignImgPlace1">
              <dgm:alg type="sp"/>
              <dgm:shape xmlns:r="http://schemas.openxmlformats.org/officeDocument/2006/relationships" type="ellipse" r:blip="" blipPhldr="1">
                <dgm:adjLst/>
              </dgm:shape>
              <dgm:presOf axis="self"/>
            </dgm:layoutNode>
          </dgm:forEach>
        </dgm:forEach>
      </dgm:forEach>
      <dgm:forEach name="Name28" axis="ch" ptType="sibTrans" hideLastTrans="0" cnt="1">
        <dgm:layoutNode name="picture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9" ref="pictureRepeat"/>
        </dgm:layoutNode>
      </dgm:forEach>
      <dgm:forEach name="Name30" axis="ch" ptType="node" cnt="1">
        <dgm:layoutNode name="text_1" styleLbl="node1">
          <dgm:varLst>
            <dgm:bulletEnabled val="1"/>
          </dgm:varLst>
          <dgm:alg type="tx">
            <dgm:param type="txAnchorVert" val="b"/>
            <dgm:param type="txAnchorVertCh" val="b"/>
            <dgm:param type="parTxRTLAlign" val="r"/>
            <dgm:param type="shpTxRTLAlignCh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primFontSz" val="65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</dgm:forEach>
      <dgm:forEach name="Name31" axis="ch" ptType="sibTrans" hideLastTrans="0" st="2" cnt="1">
        <dgm:layoutNode name="picture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2" ref="pictureRepeat"/>
        </dgm:layoutNode>
      </dgm:forEach>
      <dgm:forEach name="Name33" axis="ch" ptType="node" st="2" cnt="1">
        <dgm:layoutNode name="line_2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2">
          <dgm:choose name="Name34">
            <dgm:if name="Name35" func="var" arg="dir" op="equ" val="norm">
              <dgm:alg type="lin">
                <dgm:param type="horzAlign" val="l"/>
              </dgm:alg>
            </dgm:if>
            <dgm:else name="Name36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2" refType="w"/>
            <dgm:constr type="h" for="ch" forName="text_2" refType="h"/>
          </dgm:constrLst>
          <dgm:presOf/>
          <dgm:layoutNode name="text_2" styleLbl="revTx">
            <dgm:varLst>
              <dgm:bulletEnabled val="1"/>
            </dgm:varLst>
            <dgm:choose name="Name37">
              <dgm:if name="Name38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39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0" axis="ch" ptType="sibTrans" hideLastTrans="0" st="3" cnt="1">
        <dgm:layoutNode name="picture_3">
          <dgm:alg type="sp"/>
          <dgm:shape xmlns:r="http://schemas.openxmlformats.org/officeDocument/2006/relationships" r:blip="">
            <dgm:adjLst/>
          </dgm:shape>
          <dgm:presOf/>
          <dgm:constrLst/>
          <dgm:forEach name="Name41" ref="pictureRepeat"/>
        </dgm:layoutNode>
      </dgm:forEach>
      <dgm:forEach name="Name42" axis="ch" ptType="node" st="3" cnt="1">
        <dgm:layoutNode name="line_3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3">
          <dgm:choose name="Name43">
            <dgm:if name="Name44" func="var" arg="dir" op="equ" val="norm">
              <dgm:alg type="lin">
                <dgm:param type="horzAlign" val="l"/>
              </dgm:alg>
            </dgm:if>
            <dgm:else name="Name45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3" refType="w"/>
            <dgm:constr type="h" for="ch" forName="text_3" refType="h"/>
          </dgm:constrLst>
          <dgm:presOf/>
          <dgm:layoutNode name="text_3" styleLbl="revTx">
            <dgm:varLst>
              <dgm:bulletEnabled val="1"/>
            </dgm:varLst>
            <dgm:choose name="Name46">
              <dgm:if name="Name47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48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9" axis="ch" ptType="sibTrans" hideLastTrans="0" st="4" cnt="1">
        <dgm:layoutNode name="picture_4">
          <dgm:alg type="sp"/>
          <dgm:shape xmlns:r="http://schemas.openxmlformats.org/officeDocument/2006/relationships" r:blip="">
            <dgm:adjLst/>
          </dgm:shape>
          <dgm:presOf/>
          <dgm:constrLst/>
          <dgm:forEach name="Name50" ref="pictureRepeat"/>
        </dgm:layoutNode>
      </dgm:forEach>
      <dgm:forEach name="Name51" axis="ch" ptType="node" st="4" cnt="1">
        <dgm:layoutNode name="line_4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4">
          <dgm:choose name="Name52">
            <dgm:if name="Name53" func="var" arg="dir" op="equ" val="norm">
              <dgm:alg type="lin">
                <dgm:param type="horzAlign" val="l"/>
              </dgm:alg>
            </dgm:if>
            <dgm:else name="Name54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4" refType="w"/>
            <dgm:constr type="h" for="ch" forName="text_4" refType="h"/>
          </dgm:constrLst>
          <dgm:presOf/>
          <dgm:layoutNode name="text_4" styleLbl="revTx">
            <dgm:varLst>
              <dgm:bulletEnabled val="1"/>
            </dgm:varLst>
            <dgm:choose name="Name55">
              <dgm:if name="Name56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57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58" axis="ch" ptType="sibTrans" hideLastTrans="0" st="5" cnt="1">
        <dgm:layoutNode name="picture_5">
          <dgm:alg type="sp"/>
          <dgm:shape xmlns:r="http://schemas.openxmlformats.org/officeDocument/2006/relationships" r:blip="">
            <dgm:adjLst/>
          </dgm:shape>
          <dgm:presOf/>
          <dgm:constrLst/>
          <dgm:forEach name="Name59" ref="pictureRepeat"/>
        </dgm:layoutNode>
      </dgm:forEach>
      <dgm:forEach name="Name60" axis="ch" ptType="node" st="5" cnt="1">
        <dgm:layoutNode name="line_5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5">
          <dgm:choose name="Name61">
            <dgm:if name="Name62" func="var" arg="dir" op="equ" val="norm">
              <dgm:alg type="lin">
                <dgm:param type="horzAlign" val="l"/>
              </dgm:alg>
            </dgm:if>
            <dgm:else name="Name63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5" refType="w"/>
            <dgm:constr type="h" for="ch" forName="text_5" refType="h"/>
          </dgm:constrLst>
          <dgm:presOf/>
          <dgm:layoutNode name="text_5" styleLbl="revTx">
            <dgm:varLst>
              <dgm:bulletEnabled val="1"/>
            </dgm:varLst>
            <dgm:choose name="Name64">
              <dgm:if name="Name65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66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67" axis="ch" ptType="sibTrans" hideLastTrans="0" st="6" cnt="1">
        <dgm:layoutNode name="picture_6">
          <dgm:alg type="sp"/>
          <dgm:shape xmlns:r="http://schemas.openxmlformats.org/officeDocument/2006/relationships" r:blip="">
            <dgm:adjLst/>
          </dgm:shape>
          <dgm:presOf/>
          <dgm:constrLst/>
          <dgm:forEach name="Name68" ref="pictureRepeat"/>
        </dgm:layoutNode>
      </dgm:forEach>
      <dgm:forEach name="Name69" axis="ch" ptType="node" st="6" cnt="1">
        <dgm:layoutNode name="line_6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6">
          <dgm:choose name="Name70">
            <dgm:if name="Name71" func="var" arg="dir" op="equ" val="norm">
              <dgm:alg type="lin">
                <dgm:param type="horzAlign" val="l"/>
              </dgm:alg>
            </dgm:if>
            <dgm:else name="Name72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6" refType="w"/>
            <dgm:constr type="h" for="ch" forName="text_6" refType="h"/>
          </dgm:constrLst>
          <dgm:presOf/>
          <dgm:layoutNode name="text_6" styleLbl="revTx">
            <dgm:varLst>
              <dgm:bulletEnabled val="1"/>
            </dgm:varLst>
            <dgm:choose name="Name73">
              <dgm:if name="Name74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75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76" axis="ch" ptType="sibTrans" hideLastTrans="0" st="7" cnt="1">
        <dgm:layoutNode name="picture_7">
          <dgm:alg type="sp"/>
          <dgm:shape xmlns:r="http://schemas.openxmlformats.org/officeDocument/2006/relationships" r:blip="">
            <dgm:adjLst/>
          </dgm:shape>
          <dgm:presOf/>
          <dgm:constrLst/>
          <dgm:forEach name="Name77" ref="pictureRepeat"/>
        </dgm:layoutNode>
      </dgm:forEach>
      <dgm:forEach name="Name78" axis="ch" ptType="node" st="7" cnt="1">
        <dgm:layoutNode name="line_7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7">
          <dgm:choose name="Name79">
            <dgm:if name="Name80" func="var" arg="dir" op="equ" val="norm">
              <dgm:alg type="lin">
                <dgm:param type="horzAlign" val="l"/>
              </dgm:alg>
            </dgm:if>
            <dgm:else name="Name81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7" refType="w"/>
            <dgm:constr type="h" for="ch" forName="text_7" refType="h"/>
          </dgm:constrLst>
          <dgm:presOf/>
          <dgm:layoutNode name="text_7" styleLbl="revTx">
            <dgm:varLst>
              <dgm:bulletEnabled val="1"/>
            </dgm:varLst>
            <dgm:choose name="Name82">
              <dgm:if name="Name83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84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CircularPictureCallout">
  <dgm:title val=""/>
  <dgm:desc val=""/>
  <dgm:catLst>
    <dgm:cat type="picture" pri="2000"/>
    <dgm:cat type="pictureconvert" pri="2000"/>
  </dgm:catLst>
  <dgm:sampData>
    <dgm:dataModel>
      <dgm:ptLst>
        <dgm:pt modelId="0" type="doc"/>
        <dgm:pt modelId="1"/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2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axis="ch" ptType="node" func="cnt" op="lte" val="1">
          <dgm:constrLst>
            <dgm:constr type="h" for="ch" forName="picture_1" refType="h"/>
            <dgm:constr type="w" for="ch" forName="picture_1" refType="h" refFor="ch" refForName="picture_1" op="equ"/>
            <dgm:constr type="l" for="ch" forName="picture_1"/>
            <dgm:constr type="t" for="ch" forName="picture_1"/>
            <dgm:constr type="w" for="ch" forName="text_1" refType="w" refFor="ch" refForName="picture_1" fact="0.64"/>
            <dgm:constr type="h" for="ch" forName="text_1" refType="h" refFor="ch" refForName="picture_1" fact="0.33"/>
            <dgm:constr type="l" for="ch" forName="text_1" refType="w" refFor="ch" refForName="picture_1" fact="0.18"/>
            <dgm:constr type="t" for="ch" forName="text_1" refType="h" refFor="ch" refForName="picture_1" fact="0.531"/>
          </dgm:constrLst>
        </dgm:if>
        <dgm:if name="Name4" axis="ch" ptType="node" func="cnt" op="lte" val="2">
          <dgm:choose name="Name5">
            <dgm:if name="Name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l" for="ch" forName="picture_2" refType="w" refFor="ch" refForName="picture_1" fact="1.21"/>
                <dgm:constr type="ctrY" for="ch" forName="picture_2" refType="h" refFor="ch" refForName="picture_1" fact="0.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if>
            <dgm:else name="Name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else>
          </dgm:choose>
        </dgm:if>
        <dgm:if name="Name8" axis="ch" ptType="node" func="cnt" op="lte" val="3">
          <dgm:choose name="Name9">
            <dgm:if name="Name10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l" for="ch" forName="picture_2" refType="w" refFor="ch" refForName="picture_1" fact="1.21"/>
                <dgm:constr type="ctrY" for="ch" forName="picture_2" refType="h" refFor="ch" refForName="picture_1" fact="0.18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l" for="ch" forName="picture_3" refType="w" refFor="ch" refForName="picture_1" fact="1.21"/>
                <dgm:constr type="ctrY" for="ch" forName="picture_3" refType="h" refFor="ch" refForName="picture_1" fact="0.812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if>
            <dgm:else name="Name11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18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812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else>
          </dgm:choose>
        </dgm:if>
        <dgm:if name="Name12" axis="ch" ptType="node" func="cnt" op="lte" val="4">
          <dgm:choose name="Name13">
            <dgm:if name="Name14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l" for="ch" forName="picture_2" refType="w" refFor="ch" refForName="picture_1" fact="1.354"/>
                <dgm:constr type="ctrY" for="ch" forName="picture_2" refType="h" refFor="ch" refForName="picture_1" fact="0.1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l" for="ch" forName="picture_3" refType="w" refFor="ch" refForName="picture_1" fact="1.21"/>
                <dgm:constr type="ctrY" for="ch" forName="picture_3" refType="h" refFor="ch" refForName="picture_1" fact="0.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l" for="ch" forName="picture_4" refType="w" refFor="ch" refForName="picture_1" fact="1.354"/>
                <dgm:constr type="ctrY" for="ch" forName="picture_4" refType="h" refFor="ch" refForName="picture_1" fact="0.8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if>
            <dgm:else name="Name15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r" for="ch" forName="picture_2" refType="w"/>
                <dgm:constr type="rOff" for="ch" forName="picture_2" refType="w" refFor="ch" refForName="picture_1" fact="-1.354"/>
                <dgm:constr type="ctrY" for="ch" forName="picture_2" refType="h" refFor="ch" refForName="picture_1" fact="0.1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r" for="ch" forName="picture_4" refType="w"/>
                <dgm:constr type="rOff" for="ch" forName="picture_4" refType="w" refFor="ch" refForName="picture_1" fact="-1.354"/>
                <dgm:constr type="ctrY" for="ch" forName="picture_4" refType="h" refFor="ch" refForName="picture_1" fact="0.8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else>
          </dgm:choose>
        </dgm:if>
        <dgm:if name="Name16" axis="ch" ptType="node" func="cnt" op="lte" val="5">
          <dgm:choose name="Name17">
            <dgm:if name="Name18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l" for="ch" forName="picture_2" refType="w" refFor="ch" refForName="picture_1" fact="1.375"/>
                <dgm:constr type="ctrY" for="ch" forName="picture_2" refType="h" refFor="ch" refForName="picture_1" fact="0.11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l" for="ch" forName="picture_3" refType="w" refFor="ch" refForName="picture_1" fact="1.21"/>
                <dgm:constr type="ctrY" for="ch" forName="picture_3" refType="h" refFor="ch" refForName="picture_1" fact="0.353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l" for="ch" forName="picture_4" refType="w" refFor="ch" refForName="picture_1" fact="1.21"/>
                <dgm:constr type="ctrY" for="ch" forName="picture_4" refType="h" refFor="ch" refForName="picture_1" fact="0.647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l" for="ch" forName="picture_5" refType="w" refFor="ch" refForName="picture_1" fact="1.375"/>
                <dgm:constr type="ctrY" for="ch" forName="picture_5" refType="h" refFor="ch" refForName="picture_1" fact="0.8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if>
            <dgm:else name="Name19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r" for="ch" forName="picture_2" refType="w"/>
                <dgm:constr type="rOff" for="ch" forName="picture_2" refType="w" refFor="ch" refForName="picture_1" fact="-1.375"/>
                <dgm:constr type="ctrY" for="ch" forName="picture_2" refType="h" refFor="ch" refForName="picture_1" fact="0.11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353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647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r" for="ch" forName="picture_5" refType="w"/>
                <dgm:constr type="rOff" for="ch" forName="picture_5" refType="w" refFor="ch" refForName="picture_1" fact="-1.375"/>
                <dgm:constr type="ctrY" for="ch" forName="picture_5" refType="h" refFor="ch" refForName="picture_1" fact="0.8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else>
          </dgm:choose>
        </dgm:if>
        <dgm:if name="Name20" axis="ch" ptType="node" func="cnt" op="lte" val="6">
          <dgm:choose name="Name21">
            <dgm:if name="Name22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l" for="ch" forName="picture_2" refType="w" refFor="ch" refForName="picture_1" fact="1.4238"/>
                <dgm:constr type="ctrY" for="ch" forName="picture_2" refType="h" refFor="ch" refForName="picture_1" fact="0.09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l" for="ch" forName="picture_3" refType="w" refFor="ch" refForName="picture_1" fact="1.2667"/>
                <dgm:constr type="ctrY" for="ch" forName="picture_3" refType="h" refFor="ch" refForName="picture_1" fact="0.261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l" for="ch" forName="picture_4" refType="w" refFor="ch" refForName="picture_1" fact="1.21"/>
                <dgm:constr type="ctrY" for="ch" forName="picture_4" refType="h" refFor="ch" refForName="picture_1" fact="0.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l" for="ch" forName="picture_5" refType="w" refFor="ch" refForName="picture_1" fact="1.2667"/>
                <dgm:constr type="ctrY" for="ch" forName="picture_5" refType="h" refFor="ch" refForName="picture_1" fact="0.73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l" for="ch" forName="picture_6" refType="w" refFor="ch" refForName="picture_1" fact="1.4238"/>
                <dgm:constr type="ctrY" for="ch" forName="picture_6" refType="h" refFor="ch" refForName="picture_1" fact="0.91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if>
            <dgm:else name="Name23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r" for="ch" forName="picture_2" refType="w"/>
                <dgm:constr type="rOff" for="ch" forName="picture_2" refType="w" refFor="ch" refForName="picture_1" fact="-1.4238"/>
                <dgm:constr type="ctrY" for="ch" forName="picture_2" refType="h" refFor="ch" refForName="picture_1" fact="0.09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r" for="ch" forName="picture_3" refType="w"/>
                <dgm:constr type="rOff" for="ch" forName="picture_3" refType="w" refFor="ch" refForName="picture_1" fact="-1.2667"/>
                <dgm:constr type="ctrY" for="ch" forName="picture_3" refType="h" refFor="ch" refForName="picture_1" fact="0.261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r" for="ch" forName="picture_5" refType="w"/>
                <dgm:constr type="rOff" for="ch" forName="picture_5" refType="w" refFor="ch" refForName="picture_1" fact="-1.2667"/>
                <dgm:constr type="ctrY" for="ch" forName="picture_5" refType="h" refFor="ch" refForName="picture_1" fact="0.73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r" for="ch" forName="picture_6" refType="w"/>
                <dgm:constr type="rOff" for="ch" forName="picture_6" refType="w" refFor="ch" refForName="picture_1" fact="-1.4238"/>
                <dgm:constr type="ctrY" for="ch" forName="picture_6" refType="h" refFor="ch" refForName="picture_1" fact="0.91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else>
          </dgm:choose>
        </dgm:if>
        <dgm:else name="Name24">
          <dgm:choose name="Name25">
            <dgm:if name="Name2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l" for="ch" forName="picture_2" refType="w" refFor="ch" refForName="picture_1" fact="1.4363"/>
                <dgm:constr type="ctrY" for="ch" forName="picture_2" refType="h" refFor="ch" refForName="picture_1" fact="0.0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l" for="ch" forName="picture_3" refType="w" refFor="ch" refForName="picture_1" fact="1.2898"/>
                <dgm:constr type="ctrY" for="ch" forName="picture_3" refType="h" refFor="ch" refForName="picture_1" fact="0.227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l" for="ch" forName="picture_4" refType="w" refFor="ch" refForName="picture_1" fact="1.21"/>
                <dgm:constr type="ctrY" for="ch" forName="picture_4" refType="h" refFor="ch" refForName="picture_1" fact="0.40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l" for="ch" forName="picture_5" refType="w" refFor="ch" refForName="picture_1" fact="1.21"/>
                <dgm:constr type="ctrY" for="ch" forName="picture_5" refType="h" refFor="ch" refForName="picture_1" fact="0.595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l" for="ch" forName="picture_6" refType="w" refFor="ch" refForName="picture_1" fact="1.2898"/>
                <dgm:constr type="ctrY" for="ch" forName="picture_6" refType="h" refFor="ch" refForName="picture_1" fact="0.773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l" for="ch" forName="picture_7" refType="w" refFor="ch" refForName="picture_1" fact="1.4363"/>
                <dgm:constr type="ctrY" for="ch" forName="picture_7" refType="h" refFor="ch" refForName="picture_1" fact="0.925"/>
                <dgm:constr type="l" for="ch" forName="line_7" refType="ctrX" refFor="ch" refForName="picture_1"/>
                <dgm:constr type="h" for="ch" forName="line_7"/>
                <dgm:constr type="r" for="ch" forName="line_7" refType="ctrX" refFor="ch" refForName="picture_7"/>
                <dgm:constr type="ctrY" for="ch" forName="line_7" refType="ctrY" refFor="ch" refForName="picture_7"/>
                <dgm:constr type="r" for="ch" forName="textparent_7" refType="w"/>
                <dgm:constr type="h" for="ch" forName="textparent_7" refType="h" refFor="ch" refForName="picture_7"/>
                <dgm:constr type="l" for="ch" forName="textparent_7" refType="r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if>
            <dgm:else name="Name2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r" for="ch" forName="picture_2" refType="w"/>
                <dgm:constr type="rOff" for="ch" forName="picture_2" refType="w" refFor="ch" refForName="picture_1" fact="-1.4363"/>
                <dgm:constr type="ctrY" for="ch" forName="picture_2" refType="h" refFor="ch" refForName="picture_1" fact="0.0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r" for="ch" forName="picture_3" refType="w"/>
                <dgm:constr type="rOff" for="ch" forName="picture_3" refType="w" refFor="ch" refForName="picture_1" fact="-1.2898"/>
                <dgm:constr type="ctrY" for="ch" forName="picture_3" refType="h" refFor="ch" refForName="picture_1" fact="0.227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40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r" for="ch" forName="picture_5" refType="w"/>
                <dgm:constr type="rOff" for="ch" forName="picture_5" refType="w" refFor="ch" refForName="picture_1" fact="-1.21"/>
                <dgm:constr type="ctrY" for="ch" forName="picture_5" refType="h" refFor="ch" refForName="picture_1" fact="0.595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r" for="ch" forName="picture_6" refType="w"/>
                <dgm:constr type="rOff" for="ch" forName="picture_6" refType="w" refFor="ch" refForName="picture_1" fact="-1.2898"/>
                <dgm:constr type="ctrY" for="ch" forName="picture_6" refType="h" refFor="ch" refForName="picture_1" fact="0.773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r" for="ch" forName="picture_7" refType="w"/>
                <dgm:constr type="rOff" for="ch" forName="picture_7" refType="w" refFor="ch" refForName="picture_1" fact="-1.4363"/>
                <dgm:constr type="ctrY" for="ch" forName="picture_7" refType="h" refFor="ch" refForName="picture_1" fact="0.925"/>
                <dgm:constr type="r" for="ch" forName="line_7" refType="ctrX" refFor="ch" refForName="picture_1"/>
                <dgm:constr type="h" for="ch" forName="line_7"/>
                <dgm:constr type="l" for="ch" forName="line_7" refType="ctrX" refFor="ch" refForName="picture_7"/>
                <dgm:constr type="ctrY" for="ch" forName="line_7" refType="ctrY" refFor="ch" refForName="picture_7"/>
                <dgm:constr type="l" for="ch" forName="textparent_7"/>
                <dgm:constr type="h" for="ch" forName="textparent_7" refType="h" refFor="ch" refForName="picture_7"/>
                <dgm:constr type="r" for="ch" forName="textparent_7" refType="l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else>
          </dgm:choose>
        </dgm:else>
      </dgm:choose>
      <dgm:forEach name="wrapper" axis="self" ptType="parTrans">
        <dgm:forEach name="wrapper2" axis="self" ptType="sibTrans" st="2">
          <dgm:forEach name="pictureRepeat" axis="self">
            <dgm:layoutNode name="pictureRepeatNode" styleLbl="alignImgPlace1">
              <dgm:alg type="sp"/>
              <dgm:shape xmlns:r="http://schemas.openxmlformats.org/officeDocument/2006/relationships" type="ellipse" r:blip="" blipPhldr="1">
                <dgm:adjLst/>
              </dgm:shape>
              <dgm:presOf axis="self"/>
            </dgm:layoutNode>
          </dgm:forEach>
        </dgm:forEach>
      </dgm:forEach>
      <dgm:forEach name="Name28" axis="ch" ptType="sibTrans" hideLastTrans="0" cnt="1">
        <dgm:layoutNode name="picture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9" ref="pictureRepeat"/>
        </dgm:layoutNode>
      </dgm:forEach>
      <dgm:forEach name="Name30" axis="ch" ptType="node" cnt="1">
        <dgm:layoutNode name="text_1" styleLbl="node1">
          <dgm:varLst>
            <dgm:bulletEnabled val="1"/>
          </dgm:varLst>
          <dgm:alg type="tx">
            <dgm:param type="txAnchorVert" val="b"/>
            <dgm:param type="txAnchorVertCh" val="b"/>
            <dgm:param type="parTxRTLAlign" val="r"/>
            <dgm:param type="shpTxRTLAlignCh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primFontSz" val="65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</dgm:forEach>
      <dgm:forEach name="Name31" axis="ch" ptType="sibTrans" hideLastTrans="0" st="2" cnt="1">
        <dgm:layoutNode name="picture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2" ref="pictureRepeat"/>
        </dgm:layoutNode>
      </dgm:forEach>
      <dgm:forEach name="Name33" axis="ch" ptType="node" st="2" cnt="1">
        <dgm:layoutNode name="line_2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2">
          <dgm:choose name="Name34">
            <dgm:if name="Name35" func="var" arg="dir" op="equ" val="norm">
              <dgm:alg type="lin">
                <dgm:param type="horzAlign" val="l"/>
              </dgm:alg>
            </dgm:if>
            <dgm:else name="Name36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2" refType="w"/>
            <dgm:constr type="h" for="ch" forName="text_2" refType="h"/>
          </dgm:constrLst>
          <dgm:presOf/>
          <dgm:layoutNode name="text_2" styleLbl="revTx">
            <dgm:varLst>
              <dgm:bulletEnabled val="1"/>
            </dgm:varLst>
            <dgm:choose name="Name37">
              <dgm:if name="Name38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39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0" axis="ch" ptType="sibTrans" hideLastTrans="0" st="3" cnt="1">
        <dgm:layoutNode name="picture_3">
          <dgm:alg type="sp"/>
          <dgm:shape xmlns:r="http://schemas.openxmlformats.org/officeDocument/2006/relationships" r:blip="">
            <dgm:adjLst/>
          </dgm:shape>
          <dgm:presOf/>
          <dgm:constrLst/>
          <dgm:forEach name="Name41" ref="pictureRepeat"/>
        </dgm:layoutNode>
      </dgm:forEach>
      <dgm:forEach name="Name42" axis="ch" ptType="node" st="3" cnt="1">
        <dgm:layoutNode name="line_3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3">
          <dgm:choose name="Name43">
            <dgm:if name="Name44" func="var" arg="dir" op="equ" val="norm">
              <dgm:alg type="lin">
                <dgm:param type="horzAlign" val="l"/>
              </dgm:alg>
            </dgm:if>
            <dgm:else name="Name45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3" refType="w"/>
            <dgm:constr type="h" for="ch" forName="text_3" refType="h"/>
          </dgm:constrLst>
          <dgm:presOf/>
          <dgm:layoutNode name="text_3" styleLbl="revTx">
            <dgm:varLst>
              <dgm:bulletEnabled val="1"/>
            </dgm:varLst>
            <dgm:choose name="Name46">
              <dgm:if name="Name47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48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9" axis="ch" ptType="sibTrans" hideLastTrans="0" st="4" cnt="1">
        <dgm:layoutNode name="picture_4">
          <dgm:alg type="sp"/>
          <dgm:shape xmlns:r="http://schemas.openxmlformats.org/officeDocument/2006/relationships" r:blip="">
            <dgm:adjLst/>
          </dgm:shape>
          <dgm:presOf/>
          <dgm:constrLst/>
          <dgm:forEach name="Name50" ref="pictureRepeat"/>
        </dgm:layoutNode>
      </dgm:forEach>
      <dgm:forEach name="Name51" axis="ch" ptType="node" st="4" cnt="1">
        <dgm:layoutNode name="line_4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4">
          <dgm:choose name="Name52">
            <dgm:if name="Name53" func="var" arg="dir" op="equ" val="norm">
              <dgm:alg type="lin">
                <dgm:param type="horzAlign" val="l"/>
              </dgm:alg>
            </dgm:if>
            <dgm:else name="Name54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4" refType="w"/>
            <dgm:constr type="h" for="ch" forName="text_4" refType="h"/>
          </dgm:constrLst>
          <dgm:presOf/>
          <dgm:layoutNode name="text_4" styleLbl="revTx">
            <dgm:varLst>
              <dgm:bulletEnabled val="1"/>
            </dgm:varLst>
            <dgm:choose name="Name55">
              <dgm:if name="Name56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57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58" axis="ch" ptType="sibTrans" hideLastTrans="0" st="5" cnt="1">
        <dgm:layoutNode name="picture_5">
          <dgm:alg type="sp"/>
          <dgm:shape xmlns:r="http://schemas.openxmlformats.org/officeDocument/2006/relationships" r:blip="">
            <dgm:adjLst/>
          </dgm:shape>
          <dgm:presOf/>
          <dgm:constrLst/>
          <dgm:forEach name="Name59" ref="pictureRepeat"/>
        </dgm:layoutNode>
      </dgm:forEach>
      <dgm:forEach name="Name60" axis="ch" ptType="node" st="5" cnt="1">
        <dgm:layoutNode name="line_5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5">
          <dgm:choose name="Name61">
            <dgm:if name="Name62" func="var" arg="dir" op="equ" val="norm">
              <dgm:alg type="lin">
                <dgm:param type="horzAlign" val="l"/>
              </dgm:alg>
            </dgm:if>
            <dgm:else name="Name63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5" refType="w"/>
            <dgm:constr type="h" for="ch" forName="text_5" refType="h"/>
          </dgm:constrLst>
          <dgm:presOf/>
          <dgm:layoutNode name="text_5" styleLbl="revTx">
            <dgm:varLst>
              <dgm:bulletEnabled val="1"/>
            </dgm:varLst>
            <dgm:choose name="Name64">
              <dgm:if name="Name65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66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67" axis="ch" ptType="sibTrans" hideLastTrans="0" st="6" cnt="1">
        <dgm:layoutNode name="picture_6">
          <dgm:alg type="sp"/>
          <dgm:shape xmlns:r="http://schemas.openxmlformats.org/officeDocument/2006/relationships" r:blip="">
            <dgm:adjLst/>
          </dgm:shape>
          <dgm:presOf/>
          <dgm:constrLst/>
          <dgm:forEach name="Name68" ref="pictureRepeat"/>
        </dgm:layoutNode>
      </dgm:forEach>
      <dgm:forEach name="Name69" axis="ch" ptType="node" st="6" cnt="1">
        <dgm:layoutNode name="line_6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6">
          <dgm:choose name="Name70">
            <dgm:if name="Name71" func="var" arg="dir" op="equ" val="norm">
              <dgm:alg type="lin">
                <dgm:param type="horzAlign" val="l"/>
              </dgm:alg>
            </dgm:if>
            <dgm:else name="Name72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6" refType="w"/>
            <dgm:constr type="h" for="ch" forName="text_6" refType="h"/>
          </dgm:constrLst>
          <dgm:presOf/>
          <dgm:layoutNode name="text_6" styleLbl="revTx">
            <dgm:varLst>
              <dgm:bulletEnabled val="1"/>
            </dgm:varLst>
            <dgm:choose name="Name73">
              <dgm:if name="Name74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75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76" axis="ch" ptType="sibTrans" hideLastTrans="0" st="7" cnt="1">
        <dgm:layoutNode name="picture_7">
          <dgm:alg type="sp"/>
          <dgm:shape xmlns:r="http://schemas.openxmlformats.org/officeDocument/2006/relationships" r:blip="">
            <dgm:adjLst/>
          </dgm:shape>
          <dgm:presOf/>
          <dgm:constrLst/>
          <dgm:forEach name="Name77" ref="pictureRepeat"/>
        </dgm:layoutNode>
      </dgm:forEach>
      <dgm:forEach name="Name78" axis="ch" ptType="node" st="7" cnt="1">
        <dgm:layoutNode name="line_7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7">
          <dgm:choose name="Name79">
            <dgm:if name="Name80" func="var" arg="dir" op="equ" val="norm">
              <dgm:alg type="lin">
                <dgm:param type="horzAlign" val="l"/>
              </dgm:alg>
            </dgm:if>
            <dgm:else name="Name81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7" refType="w"/>
            <dgm:constr type="h" for="ch" forName="text_7" refType="h"/>
          </dgm:constrLst>
          <dgm:presOf/>
          <dgm:layoutNode name="text_7" styleLbl="revTx">
            <dgm:varLst>
              <dgm:bulletEnabled val="1"/>
            </dgm:varLst>
            <dgm:choose name="Name82">
              <dgm:if name="Name83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84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DE9C85-32D4-48FF-BC3E-45B98C8000D8}" type="datetimeFigureOut">
              <a:rPr lang="en-US" smtClean="0"/>
              <a:t>12/12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2615B4-4B49-479A-B3DB-7A4B6BBFE4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5861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6CC7CF-3AA2-47FD-950C-99CD1E133DEE}" type="datetimeFigureOut">
              <a:rPr lang="en-US" smtClean="0"/>
              <a:t>12/12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E1883C-CCF7-46E7-BBED-6C032733D92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5328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1290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57081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33052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5063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Полные аналоги</a:t>
            </a:r>
            <a:r>
              <a:rPr lang="ru-RU" sz="12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(прямые конкуренты).</a:t>
            </a:r>
            <a:r>
              <a:rPr lang="ru-RU" sz="1200" b="0" i="0" u="none" strike="noStrike" cap="none" baseline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оссийские компании проявляют интерес к личинке южноамериканской мухи «черная </a:t>
            </a:r>
            <a:r>
              <a:rPr lang="ru-RU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львинка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», которая при культивировании на органическом субстрате наращивает массу в 500 раз за одну неделю. Она всеядна, способна развиваться при широких диапазонах температуры и влажности, не обитает в жилищах человека.</a:t>
            </a:r>
            <a:r>
              <a:rPr lang="ru-RU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елково-липидный концентрат из личинок обладает высокой пищевой ценностью и сбалансированным составом. Но в России он пока используется только в качестве кормовой добавки для рыб, свиней и птиц в агропромышленных комплексах.</a:t>
            </a:r>
          </a:p>
          <a:p>
            <a:br>
              <a:rPr lang="ru-RU" dirty="0"/>
            </a:br>
            <a:br>
              <a:rPr lang="ru-RU" dirty="0"/>
            </a:br>
            <a:br>
              <a:rPr lang="ru-RU" dirty="0"/>
            </a:br>
            <a:br>
              <a:rPr lang="ru-RU" dirty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8853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33440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9478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g29dfee8460b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0" name="Google Shape;80;g29dfee8460b_0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154104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7957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g29dfee8460b_0_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3" name="Google Shape;93;g29dfee8460b_0_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05230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E1883C-CCF7-46E7-BBED-6C032733D92F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89800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4000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66222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536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658813" y="660400"/>
            <a:ext cx="4281487" cy="1803400"/>
          </a:xfrm>
          <a:prstGeom prst="rect">
            <a:avLst/>
          </a:prstGeom>
        </p:spPr>
        <p:txBody>
          <a:bodyPr lIns="0" tIns="0" rIns="0" bIns="0"/>
          <a:lstStyle>
            <a:lvl1pPr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45977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97263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2032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58813" y="660400"/>
            <a:ext cx="4281487" cy="546100"/>
          </a:xfrm>
          <a:prstGeom prst="rect">
            <a:avLst/>
          </a:prstGeom>
        </p:spPr>
        <p:txBody>
          <a:bodyPr lIns="0" tIns="0" rIns="0" bIns="0"/>
          <a:lstStyle>
            <a:lvl1pPr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3891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8668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 flipH="1">
            <a:off x="11988800" y="0"/>
            <a:ext cx="2032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5" name="Title 5"/>
          <p:cNvSpPr>
            <a:spLocks noGrp="1"/>
          </p:cNvSpPr>
          <p:nvPr>
            <p:ph type="title"/>
          </p:nvPr>
        </p:nvSpPr>
        <p:spPr>
          <a:xfrm>
            <a:off x="7250113" y="660400"/>
            <a:ext cx="4281487" cy="18034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7606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ользовательский макет">
  <p:cSld name="Пользовательский макет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0"/>
          <p:cNvSpPr txBox="1">
            <a:spLocks noGrp="1"/>
          </p:cNvSpPr>
          <p:nvPr>
            <p:ph type="title"/>
          </p:nvPr>
        </p:nvSpPr>
        <p:spPr>
          <a:xfrm>
            <a:off x="202173" y="318641"/>
            <a:ext cx="10514926" cy="7999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38"/>
              <a:buFont typeface="Arial"/>
              <a:buNone/>
              <a:defRPr sz="3638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/>
              <a:t>Образец заголов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8068757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66751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78889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60" r:id="rId3"/>
    <p:sldLayoutId id="2147483661" r:id="rId4"/>
    <p:sldLayoutId id="214748367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6" userDrawn="1">
          <p15:clr>
            <a:srgbClr val="F26B43"/>
          </p15:clr>
        </p15:guide>
        <p15:guide id="2" pos="415" userDrawn="1">
          <p15:clr>
            <a:srgbClr val="F26B43"/>
          </p15:clr>
        </p15:guide>
        <p15:guide id="3" orient="horz" pos="3906" userDrawn="1">
          <p15:clr>
            <a:srgbClr val="F26B43"/>
          </p15:clr>
        </p15:guide>
        <p15:guide id="4" pos="72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ideo" Target="../media/media1.mp4"/><Relationship Id="rId7" Type="http://schemas.openxmlformats.org/officeDocument/2006/relationships/image" Target="../media/image1.emf"/><Relationship Id="rId2" Type="http://schemas.microsoft.com/office/2007/relationships/media" Target="../media/media1.mp4"/><Relationship Id="rId1" Type="http://schemas.openxmlformats.org/officeDocument/2006/relationships/tags" Target="../tags/tag7.x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microsoft.com/office/2007/relationships/hdphoto" Target="../media/hdphoto2.wdp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diagramQuickStyle" Target="../diagrams/quickStyle2.xml"/><Relationship Id="rId18" Type="http://schemas.openxmlformats.org/officeDocument/2006/relationships/diagramQuickStyle" Target="../diagrams/quickStyle3.xml"/><Relationship Id="rId3" Type="http://schemas.openxmlformats.org/officeDocument/2006/relationships/notesSlide" Target="../notesSlides/notesSlide9.xml"/><Relationship Id="rId7" Type="http://schemas.openxmlformats.org/officeDocument/2006/relationships/diagramLayout" Target="../diagrams/layout1.xml"/><Relationship Id="rId12" Type="http://schemas.openxmlformats.org/officeDocument/2006/relationships/diagramLayout" Target="../diagrams/layout2.xml"/><Relationship Id="rId17" Type="http://schemas.openxmlformats.org/officeDocument/2006/relationships/diagramLayout" Target="../diagrams/layout3.xml"/><Relationship Id="rId2" Type="http://schemas.openxmlformats.org/officeDocument/2006/relationships/slideLayout" Target="../slideLayouts/slideLayout4.xml"/><Relationship Id="rId16" Type="http://schemas.openxmlformats.org/officeDocument/2006/relationships/diagramData" Target="../diagrams/data3.xml"/><Relationship Id="rId20" Type="http://schemas.microsoft.com/office/2007/relationships/diagramDrawing" Target="../diagrams/drawing3.xml"/><Relationship Id="rId1" Type="http://schemas.openxmlformats.org/officeDocument/2006/relationships/tags" Target="../tags/tag12.xml"/><Relationship Id="rId6" Type="http://schemas.openxmlformats.org/officeDocument/2006/relationships/diagramData" Target="../diagrams/data1.xml"/><Relationship Id="rId11" Type="http://schemas.openxmlformats.org/officeDocument/2006/relationships/diagramData" Target="../diagrams/data2.xml"/><Relationship Id="rId5" Type="http://schemas.openxmlformats.org/officeDocument/2006/relationships/image" Target="../media/image1.emf"/><Relationship Id="rId15" Type="http://schemas.microsoft.com/office/2007/relationships/diagramDrawing" Target="../diagrams/drawing2.xml"/><Relationship Id="rId10" Type="http://schemas.microsoft.com/office/2007/relationships/diagramDrawing" Target="../diagrams/drawing1.xml"/><Relationship Id="rId19" Type="http://schemas.openxmlformats.org/officeDocument/2006/relationships/diagramColors" Target="../diagrams/colors3.xml"/><Relationship Id="rId4" Type="http://schemas.openxmlformats.org/officeDocument/2006/relationships/oleObject" Target="../embeddings/oleObject11.bin"/><Relationship Id="rId9" Type="http://schemas.openxmlformats.org/officeDocument/2006/relationships/diagramColors" Target="../diagrams/colors1.xml"/><Relationship Id="rId14" Type="http://schemas.openxmlformats.org/officeDocument/2006/relationships/diagramColors" Target="../diagrams/colors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13" Type="http://schemas.openxmlformats.org/officeDocument/2006/relationships/diagramQuickStyle" Target="../diagrams/quickStyle5.xml"/><Relationship Id="rId18" Type="http://schemas.openxmlformats.org/officeDocument/2006/relationships/diagramQuickStyle" Target="../diagrams/quickStyle6.xml"/><Relationship Id="rId3" Type="http://schemas.openxmlformats.org/officeDocument/2006/relationships/notesSlide" Target="../notesSlides/notesSlide10.xml"/><Relationship Id="rId21" Type="http://schemas.openxmlformats.org/officeDocument/2006/relationships/diagramData" Target="../diagrams/data7.xml"/><Relationship Id="rId7" Type="http://schemas.openxmlformats.org/officeDocument/2006/relationships/diagramLayout" Target="../diagrams/layout4.xml"/><Relationship Id="rId12" Type="http://schemas.openxmlformats.org/officeDocument/2006/relationships/diagramLayout" Target="../diagrams/layout5.xml"/><Relationship Id="rId17" Type="http://schemas.openxmlformats.org/officeDocument/2006/relationships/diagramLayout" Target="../diagrams/layout6.xml"/><Relationship Id="rId25" Type="http://schemas.microsoft.com/office/2007/relationships/diagramDrawing" Target="../diagrams/drawing7.xml"/><Relationship Id="rId2" Type="http://schemas.openxmlformats.org/officeDocument/2006/relationships/slideLayout" Target="../slideLayouts/slideLayout4.xml"/><Relationship Id="rId16" Type="http://schemas.openxmlformats.org/officeDocument/2006/relationships/diagramData" Target="../diagrams/data6.xml"/><Relationship Id="rId20" Type="http://schemas.microsoft.com/office/2007/relationships/diagramDrawing" Target="../diagrams/drawing6.xml"/><Relationship Id="rId1" Type="http://schemas.openxmlformats.org/officeDocument/2006/relationships/tags" Target="../tags/tag13.xml"/><Relationship Id="rId6" Type="http://schemas.openxmlformats.org/officeDocument/2006/relationships/diagramData" Target="../diagrams/data4.xml"/><Relationship Id="rId11" Type="http://schemas.openxmlformats.org/officeDocument/2006/relationships/diagramData" Target="../diagrams/data5.xml"/><Relationship Id="rId24" Type="http://schemas.openxmlformats.org/officeDocument/2006/relationships/diagramColors" Target="../diagrams/colors7.xml"/><Relationship Id="rId5" Type="http://schemas.openxmlformats.org/officeDocument/2006/relationships/image" Target="../media/image1.emf"/><Relationship Id="rId15" Type="http://schemas.microsoft.com/office/2007/relationships/diagramDrawing" Target="../diagrams/drawing5.xml"/><Relationship Id="rId23" Type="http://schemas.openxmlformats.org/officeDocument/2006/relationships/diagramQuickStyle" Target="../diagrams/quickStyle7.xml"/><Relationship Id="rId10" Type="http://schemas.microsoft.com/office/2007/relationships/diagramDrawing" Target="../diagrams/drawing4.xml"/><Relationship Id="rId19" Type="http://schemas.openxmlformats.org/officeDocument/2006/relationships/diagramColors" Target="../diagrams/colors6.xml"/><Relationship Id="rId4" Type="http://schemas.openxmlformats.org/officeDocument/2006/relationships/oleObject" Target="../embeddings/oleObject11.bin"/><Relationship Id="rId9" Type="http://schemas.openxmlformats.org/officeDocument/2006/relationships/diagramColors" Target="../diagrams/colors4.xml"/><Relationship Id="rId14" Type="http://schemas.openxmlformats.org/officeDocument/2006/relationships/diagramColors" Target="../diagrams/colors5.xml"/><Relationship Id="rId22" Type="http://schemas.openxmlformats.org/officeDocument/2006/relationships/diagramLayout" Target="../diagrams/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24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hyperlink" Target="mailto:nosova2001ks@mail.ru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6" Type="http://schemas.openxmlformats.org/officeDocument/2006/relationships/hyperlink" Target="https://vk.com/nkseniyaaa" TargetMode="External"/><Relationship Id="rId5" Type="http://schemas.openxmlformats.org/officeDocument/2006/relationships/image" Target="../media/image25.jpe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eg"/><Relationship Id="rId2" Type="http://schemas.openxmlformats.org/officeDocument/2006/relationships/tags" Target="../tags/tag8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4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10636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Mountains - 7418">
            <a:hlinkClick r:id="" action="ppaction://media"/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-1"/>
            <a:ext cx="12192000" cy="6858000"/>
          </a:xfrm>
          <a:prstGeom prst="rect">
            <a:avLst/>
          </a:prstGeom>
          <a:gradFill>
            <a:gsLst>
              <a:gs pos="92000">
                <a:srgbClr val="14CE9F">
                  <a:lumMod val="67000"/>
                  <a:lumOff val="33000"/>
                  <a:alpha val="76000"/>
                </a:srgbClr>
              </a:gs>
              <a:gs pos="10000">
                <a:srgbClr val="DDF9B8">
                  <a:alpha val="90000"/>
                </a:srgb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383585" y="5209390"/>
            <a:ext cx="8355411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рмовые добавки из насекомых могут применяться в качестве биологически активных добавок к комбикорму, способствуя повышению иммунитета животных и устойчивости к болезням. Для этого мы разрабатываем ферму насекомых, так как они богаты белком, минералами, жирами и витаминами.</a:t>
            </a:r>
            <a:endParaRPr lang="en-US" kern="2000" spc="200" dirty="0">
              <a:latin typeface="Montserrat" panose="00000500000000000000" pitchFamily="2" charset="-18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172460" y="2990850"/>
            <a:ext cx="1317240" cy="1562075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4"/>
          <p:cNvSpPr/>
          <p:nvPr/>
        </p:nvSpPr>
        <p:spPr>
          <a:xfrm rot="5400000">
            <a:off x="5264950" y="2327271"/>
            <a:ext cx="1425571" cy="1444637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5838825" y="6267450"/>
            <a:ext cx="285750" cy="285750"/>
            <a:chOff x="5838825" y="6267450"/>
            <a:chExt cx="285750" cy="285750"/>
          </a:xfrm>
        </p:grpSpPr>
        <p:sp>
          <p:nvSpPr>
            <p:cNvPr id="18" name="Oval 17"/>
            <p:cNvSpPr/>
            <p:nvPr/>
          </p:nvSpPr>
          <p:spPr>
            <a:xfrm>
              <a:off x="5838825" y="6267450"/>
              <a:ext cx="285750" cy="285750"/>
            </a:xfrm>
            <a:prstGeom prst="ellipse">
              <a:avLst/>
            </a:prstGeom>
            <a:solidFill>
              <a:srgbClr val="14CE9F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7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Rectangle 14"/>
            <p:cNvSpPr/>
            <p:nvPr/>
          </p:nvSpPr>
          <p:spPr>
            <a:xfrm rot="18900000">
              <a:off x="5929377" y="6339142"/>
              <a:ext cx="104646" cy="104082"/>
            </a:xfrm>
            <a:custGeom>
              <a:avLst/>
              <a:gdLst>
                <a:gd name="connsiteX0" fmla="*/ 0 w 889000"/>
                <a:gd name="connsiteY0" fmla="*/ 0 h 889000"/>
                <a:gd name="connsiteX1" fmla="*/ 889000 w 889000"/>
                <a:gd name="connsiteY1" fmla="*/ 0 h 889000"/>
                <a:gd name="connsiteX2" fmla="*/ 889000 w 889000"/>
                <a:gd name="connsiteY2" fmla="*/ 889000 h 889000"/>
                <a:gd name="connsiteX3" fmla="*/ 0 w 889000"/>
                <a:gd name="connsiteY3" fmla="*/ 889000 h 889000"/>
                <a:gd name="connsiteX4" fmla="*/ 0 w 889000"/>
                <a:gd name="connsiteY4" fmla="*/ 0 h 889000"/>
                <a:gd name="connsiteX0" fmla="*/ 889000 w 980440"/>
                <a:gd name="connsiteY0" fmla="*/ 0 h 889000"/>
                <a:gd name="connsiteX1" fmla="*/ 889000 w 980440"/>
                <a:gd name="connsiteY1" fmla="*/ 889000 h 889000"/>
                <a:gd name="connsiteX2" fmla="*/ 0 w 980440"/>
                <a:gd name="connsiteY2" fmla="*/ 889000 h 889000"/>
                <a:gd name="connsiteX3" fmla="*/ 0 w 980440"/>
                <a:gd name="connsiteY3" fmla="*/ 0 h 889000"/>
                <a:gd name="connsiteX4" fmla="*/ 980440 w 980440"/>
                <a:gd name="connsiteY4" fmla="*/ 91440 h 889000"/>
                <a:gd name="connsiteX0" fmla="*/ 889000 w 889000"/>
                <a:gd name="connsiteY0" fmla="*/ 0 h 889000"/>
                <a:gd name="connsiteX1" fmla="*/ 889000 w 889000"/>
                <a:gd name="connsiteY1" fmla="*/ 889000 h 889000"/>
                <a:gd name="connsiteX2" fmla="*/ 0 w 889000"/>
                <a:gd name="connsiteY2" fmla="*/ 889000 h 889000"/>
                <a:gd name="connsiteX3" fmla="*/ 0 w 889000"/>
                <a:gd name="connsiteY3" fmla="*/ 0 h 889000"/>
                <a:gd name="connsiteX0" fmla="*/ 889000 w 889000"/>
                <a:gd name="connsiteY0" fmla="*/ 889000 h 889000"/>
                <a:gd name="connsiteX1" fmla="*/ 0 w 889000"/>
                <a:gd name="connsiteY1" fmla="*/ 889000 h 889000"/>
                <a:gd name="connsiteX2" fmla="*/ 0 w 889000"/>
                <a:gd name="connsiteY2" fmla="*/ 0 h 88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9000" h="889000">
                  <a:moveTo>
                    <a:pt x="889000" y="889000"/>
                  </a:moveTo>
                  <a:lnTo>
                    <a:pt x="0" y="8890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1" name="Rectangle 14"/>
          <p:cNvSpPr/>
          <p:nvPr/>
        </p:nvSpPr>
        <p:spPr>
          <a:xfrm rot="16200000">
            <a:off x="6522654" y="4056455"/>
            <a:ext cx="521468" cy="319068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077642" y="2774975"/>
            <a:ext cx="6036717" cy="1354217"/>
          </a:xfrm>
          <a:prstGeom prst="rect">
            <a:avLst/>
          </a:prstGeom>
          <a:noFill/>
          <a:ln>
            <a:noFill/>
          </a:ln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8800" b="1" dirty="0">
                <a:ln w="9525">
                  <a:solidFill>
                    <a:schemeClr val="bg1">
                      <a:lumMod val="95000"/>
                    </a:schemeClr>
                  </a:solidFill>
                  <a:prstDash val="solid"/>
                </a:ln>
                <a:effectLst>
                  <a:glow rad="63500">
                    <a:schemeClr val="accent6">
                      <a:satMod val="175000"/>
                      <a:alpha val="40000"/>
                    </a:schemeClr>
                  </a:glow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Edgar-Farm</a:t>
            </a:r>
            <a:endParaRPr lang="en-US" sz="8500" b="1" dirty="0">
              <a:ln w="9525">
                <a:solidFill>
                  <a:schemeClr val="bg1">
                    <a:lumMod val="95000"/>
                  </a:schemeClr>
                </a:solidFill>
                <a:prstDash val="solid"/>
              </a:ln>
              <a:effectLst>
                <a:glow rad="63500">
                  <a:schemeClr val="accent6">
                    <a:satMod val="175000"/>
                    <a:alpha val="40000"/>
                  </a:schemeClr>
                </a:glow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  <a:latin typeface="Gabriela" panose="00000500000000000000" pitchFamily="2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41608" y="234947"/>
            <a:ext cx="996593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МИНИСТЕРСТВО НАУКИ И ВЫСШЕГО ОБРАЗОВАНИЯ РОССИЙСКОЙ ФЕДЕРАЦИИ</a:t>
            </a:r>
            <a:br>
              <a:rPr lang="ru-RU" dirty="0"/>
            </a:br>
            <a:r>
              <a:rPr lang="ru-RU" dirty="0"/>
              <a:t>федеральное государственное бюджетное образовательное учреждение высшего образования</a:t>
            </a:r>
            <a:br>
              <a:rPr lang="ru-RU" dirty="0"/>
            </a:br>
            <a:r>
              <a:rPr lang="ru-RU" b="1" dirty="0"/>
              <a:t>«НИЖЕГОРОДСКИЙ ГОСУДАРСТВЕННЫЙ АГРОТЕХНОЛОГИЧЕСКИЙ УНИВЕРСИТЕТ»</a:t>
            </a:r>
            <a:br>
              <a:rPr lang="ru-RU" dirty="0"/>
            </a:br>
            <a:r>
              <a:rPr lang="ru-RU" b="1" dirty="0"/>
              <a:t>(ФГБОУ ВО Нижегородский ГАТУ)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27125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44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11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2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24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1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1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3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  <p:bldLst>
      <p:bldP spid="14" grpId="0"/>
      <p:bldP spid="15" grpId="0" animBg="1"/>
      <p:bldP spid="17" grpId="0" animBg="1"/>
      <p:bldP spid="21" grpId="0" animBg="1"/>
      <p:bldP spid="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0"/>
          <p:cNvPicPr>
            <a:picLocks noChangeAspect="1"/>
          </p:cNvPicPr>
          <p:nvPr/>
        </p:nvPicPr>
        <p:blipFill rotWithShape="1">
          <a:blip r:embed="rId3" cstate="screen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167"/>
                    </a14:imgEffect>
                    <a14:imgEffect>
                      <a14:saturation sat="2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5998" r="-79900"/>
          <a:stretch/>
        </p:blipFill>
        <p:spPr>
          <a:xfrm>
            <a:off x="-1269242" y="820989"/>
            <a:ext cx="9561635" cy="6423389"/>
          </a:xfrm>
          <a:prstGeom prst="rtTriangle">
            <a:avLst/>
          </a:prstGeom>
          <a:effectLst>
            <a:softEdge rad="317500"/>
          </a:effectLst>
        </p:spPr>
      </p:pic>
      <p:sp>
        <p:nvSpPr>
          <p:cNvPr id="95" name="Google Shape;95;g29dfee8460b_0_12"/>
          <p:cNvSpPr txBox="1">
            <a:spLocks noGrp="1"/>
          </p:cNvSpPr>
          <p:nvPr>
            <p:ph type="title"/>
          </p:nvPr>
        </p:nvSpPr>
        <p:spPr>
          <a:xfrm>
            <a:off x="682287" y="420939"/>
            <a:ext cx="10515000" cy="8001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36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рекшн</a:t>
            </a:r>
            <a:endParaRPr sz="36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96" name="Google Shape;96;g29dfee8460b_0_12"/>
          <p:cNvSpPr txBox="1"/>
          <p:nvPr/>
        </p:nvSpPr>
        <p:spPr>
          <a:xfrm>
            <a:off x="587187" y="1046356"/>
            <a:ext cx="10705200" cy="5355282"/>
          </a:xfrm>
          <a:prstGeom prst="rect">
            <a:avLst/>
          </a:prstGeom>
          <a:noFill/>
          <a:ln>
            <a:noFill/>
          </a:ln>
          <a:effectLst>
            <a:softEdge rad="0"/>
          </a:effectLst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Сентябрь 2023: Обсуждение идеи с командой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Октябрь 2023: Изучение рынка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lvl="0" algn="ctr"/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Ноябрь 2023: </a:t>
            </a:r>
            <a:r>
              <a:rPr lang="ru-RU" sz="1600" dirty="0"/>
              <a:t>проектные работы и согласования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Разработка бизнес-плана </a:t>
            </a:r>
            <a:endParaRPr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Стрелка вниз 1"/>
          <p:cNvSpPr/>
          <p:nvPr/>
        </p:nvSpPr>
        <p:spPr>
          <a:xfrm>
            <a:off x="5676471" y="1612232"/>
            <a:ext cx="589547" cy="67376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3556" y="3195556"/>
            <a:ext cx="652462" cy="706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4933" y="4871200"/>
            <a:ext cx="652462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14"/>
          <p:cNvSpPr/>
          <p:nvPr/>
        </p:nvSpPr>
        <p:spPr>
          <a:xfrm rot="5400000">
            <a:off x="1052360" y="-369420"/>
            <a:ext cx="782386" cy="2049165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gradFill>
              <a:gsLst>
                <a:gs pos="70000">
                  <a:srgbClr val="14CE9F"/>
                </a:gs>
                <a:gs pos="0">
                  <a:srgbClr val="DDF9B8"/>
                </a:gs>
              </a:gsLst>
              <a:lin ang="5400000" scaled="1"/>
            </a:gra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Овал 2"/>
          <p:cNvSpPr/>
          <p:nvPr/>
        </p:nvSpPr>
        <p:spPr>
          <a:xfrm>
            <a:off x="10191362" y="-330990"/>
            <a:ext cx="2538483" cy="2303958"/>
          </a:xfrm>
          <a:prstGeom prst="ellipse">
            <a:avLst/>
          </a:prstGeom>
          <a:noFill/>
          <a:ln w="38100">
            <a:solidFill>
              <a:srgbClr val="A6ED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Овал 8"/>
          <p:cNvSpPr/>
          <p:nvPr/>
        </p:nvSpPr>
        <p:spPr>
          <a:xfrm>
            <a:off x="11333330" y="450031"/>
            <a:ext cx="2538483" cy="2303958"/>
          </a:xfrm>
          <a:prstGeom prst="ellipse">
            <a:avLst/>
          </a:prstGeom>
          <a:noFill/>
          <a:ln w="38100">
            <a:solidFill>
              <a:srgbClr val="14CE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Овал 9"/>
          <p:cNvSpPr/>
          <p:nvPr/>
        </p:nvSpPr>
        <p:spPr>
          <a:xfrm>
            <a:off x="-1269242" y="4421875"/>
            <a:ext cx="3603009" cy="3510938"/>
          </a:xfrm>
          <a:prstGeom prst="ellipse">
            <a:avLst/>
          </a:prstGeom>
          <a:noFill/>
          <a:ln w="38100">
            <a:solidFill>
              <a:srgbClr val="A6EDB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Овал 10"/>
          <p:cNvSpPr/>
          <p:nvPr/>
        </p:nvSpPr>
        <p:spPr>
          <a:xfrm>
            <a:off x="-1483607" y="2417604"/>
            <a:ext cx="4995182" cy="4994212"/>
          </a:xfrm>
          <a:prstGeom prst="ellipse">
            <a:avLst/>
          </a:prstGeom>
          <a:noFill/>
          <a:ln w="38100">
            <a:solidFill>
              <a:srgbClr val="14CE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02064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98896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/>
          <p:cNvSpPr/>
          <p:nvPr/>
        </p:nvSpPr>
        <p:spPr>
          <a:xfrm>
            <a:off x="8842" y="3611043"/>
            <a:ext cx="11531600" cy="330018"/>
          </a:xfrm>
          <a:prstGeom prst="rect">
            <a:avLst/>
          </a:prstGeom>
          <a:solidFill>
            <a:srgbClr val="14CE9F">
              <a:alpha val="3686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pPr marL="269875"/>
            <a:endParaRPr lang="en-US" dirty="0">
              <a:solidFill>
                <a:srgbClr val="DDF9B8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075949" y="3601057"/>
            <a:ext cx="2979632" cy="333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endParaRPr lang="en-US" sz="1400" dirty="0">
              <a:solidFill>
                <a:srgbClr val="14CE9F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9720840" y="3601057"/>
            <a:ext cx="1810760" cy="333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endParaRPr lang="en-US" sz="1400" dirty="0">
              <a:solidFill>
                <a:srgbClr val="14CE9F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420223" y="3601057"/>
            <a:ext cx="2979632" cy="333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endParaRPr lang="en-US" sz="1400" dirty="0">
              <a:solidFill>
                <a:schemeClr val="tx1">
                  <a:lumMod val="95000"/>
                  <a:lumOff val="5000"/>
                </a:schemeClr>
              </a:solidFill>
              <a:latin typeface="Montserrat Medium" panose="00000600000000000000" pitchFamily="2" charset="-18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7962435" y="1551775"/>
            <a:ext cx="2417266" cy="2417266"/>
          </a:xfrm>
          <a:prstGeom prst="ellipse">
            <a:avLst/>
          </a:prstGeom>
          <a:noFill/>
          <a:ln w="60325">
            <a:solidFill>
              <a:srgbClr val="14CE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 34"/>
          <p:cNvSpPr/>
          <p:nvPr/>
        </p:nvSpPr>
        <p:spPr>
          <a:xfrm>
            <a:off x="6075949" y="3996402"/>
            <a:ext cx="2979632" cy="147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endParaRPr lang="en-US" sz="1050" dirty="0">
              <a:solidFill>
                <a:srgbClr val="5D5B6F"/>
              </a:solidFill>
              <a:latin typeface="Montserrat Light" panose="00000400000000000000" pitchFamily="2" charset="-18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4327332" y="1551763"/>
            <a:ext cx="2417266" cy="2417266"/>
          </a:xfrm>
          <a:prstGeom prst="ellipse">
            <a:avLst/>
          </a:prstGeom>
          <a:noFill/>
          <a:ln w="60325">
            <a:solidFill>
              <a:srgbClr val="14CE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Oval 44"/>
          <p:cNvSpPr/>
          <p:nvPr/>
        </p:nvSpPr>
        <p:spPr>
          <a:xfrm>
            <a:off x="654475" y="1552011"/>
            <a:ext cx="2417266" cy="2417266"/>
          </a:xfrm>
          <a:prstGeom prst="ellipse">
            <a:avLst/>
          </a:prstGeom>
          <a:noFill/>
          <a:ln w="60325">
            <a:solidFill>
              <a:srgbClr val="14CE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11540442" y="6200775"/>
            <a:ext cx="271868" cy="0"/>
          </a:xfrm>
          <a:prstGeom prst="straightConnector1">
            <a:avLst/>
          </a:prstGeom>
          <a:ln w="12700">
            <a:solidFill>
              <a:srgbClr val="5D5B6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806600" y="4457471"/>
            <a:ext cx="24223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Костина Татьяна</a:t>
            </a:r>
          </a:p>
          <a:p>
            <a:endParaRPr lang="ru-RU" sz="2000" b="1" dirty="0">
              <a:solidFill>
                <a:schemeClr val="tx1">
                  <a:lumMod val="95000"/>
                  <a:lumOff val="5000"/>
                </a:schemeClr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  <a:p>
            <a:r>
              <a: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Администратор</a:t>
            </a:r>
          </a:p>
        </p:txBody>
      </p:sp>
      <p:cxnSp>
        <p:nvCxnSpPr>
          <p:cNvPr id="46" name="Прямая соединительная линия 45"/>
          <p:cNvCxnSpPr/>
          <p:nvPr/>
        </p:nvCxnSpPr>
        <p:spPr>
          <a:xfrm>
            <a:off x="711599" y="5013171"/>
            <a:ext cx="2360142" cy="0"/>
          </a:xfrm>
          <a:prstGeom prst="line">
            <a:avLst/>
          </a:prstGeom>
          <a:ln>
            <a:solidFill>
              <a:srgbClr val="14CE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4229267" y="4480560"/>
            <a:ext cx="24223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Сазанова</a:t>
            </a:r>
            <a:r>
              <a: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 Алёна</a:t>
            </a:r>
          </a:p>
          <a:p>
            <a:pPr algn="ctr"/>
            <a:endParaRPr lang="ru-RU" sz="2000" b="1" dirty="0">
              <a:solidFill>
                <a:schemeClr val="tx1">
                  <a:lumMod val="95000"/>
                  <a:lumOff val="5000"/>
                </a:schemeClr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/>
            <a:r>
              <a: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Маркетолог</a:t>
            </a:r>
          </a:p>
        </p:txBody>
      </p:sp>
      <p:cxnSp>
        <p:nvCxnSpPr>
          <p:cNvPr id="48" name="Прямая соединительная линия 47"/>
          <p:cNvCxnSpPr/>
          <p:nvPr/>
        </p:nvCxnSpPr>
        <p:spPr>
          <a:xfrm>
            <a:off x="4187223" y="5014538"/>
            <a:ext cx="2360142" cy="0"/>
          </a:xfrm>
          <a:prstGeom prst="line">
            <a:avLst/>
          </a:prstGeom>
          <a:ln>
            <a:solidFill>
              <a:srgbClr val="14CE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>
            <a:off x="7962435" y="5011517"/>
            <a:ext cx="2360142" cy="0"/>
          </a:xfrm>
          <a:prstGeom prst="line">
            <a:avLst/>
          </a:prstGeom>
          <a:ln>
            <a:solidFill>
              <a:srgbClr val="14CE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7931318" y="4503685"/>
            <a:ext cx="24223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Целиков Сергей</a:t>
            </a:r>
          </a:p>
          <a:p>
            <a:pPr algn="ctr"/>
            <a:endParaRPr lang="ru-RU" sz="2000" b="1" dirty="0">
              <a:solidFill>
                <a:schemeClr val="tx1">
                  <a:lumMod val="95000"/>
                  <a:lumOff val="5000"/>
                </a:schemeClr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/>
            <a:r>
              <a: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Логист</a:t>
            </a:r>
          </a:p>
        </p:txBody>
      </p:sp>
      <p:sp>
        <p:nvSpPr>
          <p:cNvPr id="52" name="Rectangle 14"/>
          <p:cNvSpPr/>
          <p:nvPr/>
        </p:nvSpPr>
        <p:spPr>
          <a:xfrm rot="5400000">
            <a:off x="1344988" y="-419125"/>
            <a:ext cx="782386" cy="2049165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gradFill>
              <a:gsLst>
                <a:gs pos="70000">
                  <a:srgbClr val="14CE9F"/>
                </a:gs>
                <a:gs pos="0">
                  <a:srgbClr val="DDF9B8"/>
                </a:gs>
              </a:gsLst>
              <a:lin ang="5400000" scaled="1"/>
            </a:gra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6" name="Схема 15"/>
          <p:cNvGraphicFramePr/>
          <p:nvPr>
            <p:extLst>
              <p:ext uri="{D42A27DB-BD31-4B8C-83A1-F6EECF244321}">
                <p14:modId xmlns:p14="http://schemas.microsoft.com/office/powerpoint/2010/main" val="3254415895"/>
              </p:ext>
            </p:extLst>
          </p:nvPr>
        </p:nvGraphicFramePr>
        <p:xfrm>
          <a:off x="6698756" y="841835"/>
          <a:ext cx="4977620" cy="38371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2" name="Rectangle 11"/>
          <p:cNvSpPr/>
          <p:nvPr/>
        </p:nvSpPr>
        <p:spPr>
          <a:xfrm>
            <a:off x="658813" y="2392247"/>
            <a:ext cx="110950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4000" b="1">
              <a:solidFill>
                <a:srgbClr val="5D5B6F"/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37329421"/>
              </p:ext>
            </p:extLst>
          </p:nvPr>
        </p:nvGraphicFramePr>
        <p:xfrm>
          <a:off x="3053390" y="-457869"/>
          <a:ext cx="4965150" cy="64081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2011875404"/>
              </p:ext>
            </p:extLst>
          </p:nvPr>
        </p:nvGraphicFramePr>
        <p:xfrm>
          <a:off x="534555" y="64139"/>
          <a:ext cx="4946504" cy="43052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  <p:sp>
        <p:nvSpPr>
          <p:cNvPr id="51" name="Заголовок 1"/>
          <p:cNvSpPr>
            <a:spLocks noGrp="1"/>
          </p:cNvSpPr>
          <p:nvPr>
            <p:ph type="title"/>
          </p:nvPr>
        </p:nvSpPr>
        <p:spPr>
          <a:xfrm>
            <a:off x="916782" y="506112"/>
            <a:ext cx="5635661" cy="546100"/>
          </a:xfrm>
        </p:spPr>
        <p:txBody>
          <a:bodyPr/>
          <a:lstStyle/>
          <a:p>
            <a:pPr algn="l"/>
            <a:r>
              <a:rPr lang="ru-RU" sz="36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ОМАНДА</a:t>
            </a:r>
          </a:p>
        </p:txBody>
      </p:sp>
    </p:spTree>
    <p:extLst>
      <p:ext uri="{BB962C8B-B14F-4D97-AF65-F5344CB8AC3E}">
        <p14:creationId xmlns:p14="http://schemas.microsoft.com/office/powerpoint/2010/main" val="2714556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98896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>
          <a:xfrm>
            <a:off x="658813" y="2392247"/>
            <a:ext cx="11095037" cy="4465753"/>
          </a:xfrm>
          <a:prstGeom prst="rect">
            <a:avLst/>
          </a:prstGeom>
          <a:gradFill flip="none" rotWithShape="1">
            <a:gsLst>
              <a:gs pos="0">
                <a:srgbClr val="F6F6F9">
                  <a:alpha val="0"/>
                </a:srgbClr>
              </a:gs>
              <a:gs pos="62000">
                <a:srgbClr val="F6F6F9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/>
        </p:nvSpPr>
        <p:spPr>
          <a:xfrm>
            <a:off x="8842" y="3623394"/>
            <a:ext cx="11531600" cy="330018"/>
          </a:xfrm>
          <a:prstGeom prst="rect">
            <a:avLst/>
          </a:prstGeom>
          <a:solidFill>
            <a:srgbClr val="14CE9F">
              <a:alpha val="36863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pPr marL="269875"/>
            <a:endParaRPr lang="en-US" dirty="0">
              <a:solidFill>
                <a:srgbClr val="DDF9B8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420223" y="3601057"/>
            <a:ext cx="2979632" cy="3334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endParaRPr lang="en-US" sz="1400" dirty="0">
              <a:solidFill>
                <a:srgbClr val="14CE9F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7962435" y="1551775"/>
            <a:ext cx="2417266" cy="2417266"/>
          </a:xfrm>
          <a:prstGeom prst="ellipse">
            <a:avLst/>
          </a:prstGeom>
          <a:noFill/>
          <a:ln w="60325">
            <a:solidFill>
              <a:srgbClr val="14CE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Oval 43"/>
          <p:cNvSpPr/>
          <p:nvPr/>
        </p:nvSpPr>
        <p:spPr>
          <a:xfrm>
            <a:off x="4327332" y="1551763"/>
            <a:ext cx="2417266" cy="2417266"/>
          </a:xfrm>
          <a:prstGeom prst="ellipse">
            <a:avLst/>
          </a:prstGeom>
          <a:noFill/>
          <a:ln w="60325">
            <a:solidFill>
              <a:srgbClr val="14CE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Oval 44"/>
          <p:cNvSpPr/>
          <p:nvPr/>
        </p:nvSpPr>
        <p:spPr>
          <a:xfrm>
            <a:off x="654475" y="1552011"/>
            <a:ext cx="2417266" cy="2417266"/>
          </a:xfrm>
          <a:prstGeom prst="ellipse">
            <a:avLst/>
          </a:prstGeom>
          <a:noFill/>
          <a:ln w="60325">
            <a:solidFill>
              <a:srgbClr val="14CE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11540442" y="6200775"/>
            <a:ext cx="271868" cy="0"/>
          </a:xfrm>
          <a:prstGeom prst="straightConnector1">
            <a:avLst/>
          </a:prstGeom>
          <a:ln w="12700">
            <a:solidFill>
              <a:srgbClr val="5D5B6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453338" y="4505339"/>
            <a:ext cx="307337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Василькова Анастасия</a:t>
            </a:r>
            <a:endParaRPr lang="en-US" sz="2000" b="1" dirty="0">
              <a:solidFill>
                <a:schemeClr val="tx1">
                  <a:lumMod val="95000"/>
                  <a:lumOff val="5000"/>
                </a:schemeClr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  <a:p>
            <a:endParaRPr lang="ru-RU" sz="2000" b="1" dirty="0">
              <a:solidFill>
                <a:schemeClr val="tx1">
                  <a:lumMod val="95000"/>
                  <a:lumOff val="5000"/>
                </a:schemeClr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  <a:p>
            <a:r>
              <a: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  Разработчик(</a:t>
            </a:r>
            <a:r>
              <a:rPr lang="en-US" sz="20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fullstack</a:t>
            </a:r>
            <a:r>
              <a:rPr lang="en-US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)</a:t>
            </a:r>
            <a:endParaRPr lang="ru-RU" sz="2000" b="1" dirty="0">
              <a:solidFill>
                <a:schemeClr val="tx1">
                  <a:lumMod val="95000"/>
                  <a:lumOff val="5000"/>
                </a:schemeClr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4203668" y="4479785"/>
            <a:ext cx="295878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Трушкова Дарья</a:t>
            </a:r>
            <a:endParaRPr lang="en-US" sz="2000" b="1" dirty="0">
              <a:solidFill>
                <a:schemeClr val="tx1">
                  <a:lumMod val="95000"/>
                  <a:lumOff val="5000"/>
                </a:schemeClr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  <a:p>
            <a:endParaRPr lang="ru-RU" sz="2000" b="1" dirty="0">
              <a:solidFill>
                <a:schemeClr val="tx1">
                  <a:lumMod val="95000"/>
                  <a:lumOff val="5000"/>
                </a:schemeClr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  <a:p>
            <a:r>
              <a: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зработчик(</a:t>
            </a:r>
            <a:r>
              <a:rPr lang="en-US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cs typeface="Times New Roman" pitchFamily="18" charset="0"/>
              </a:rPr>
              <a:t>back-end)</a:t>
            </a:r>
            <a:endParaRPr lang="ru-RU" sz="2000" b="1" dirty="0">
              <a:solidFill>
                <a:schemeClr val="tx1">
                  <a:lumMod val="95000"/>
                  <a:lumOff val="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2000" b="1" dirty="0">
              <a:solidFill>
                <a:schemeClr val="tx1">
                  <a:lumMod val="95000"/>
                  <a:lumOff val="5000"/>
                </a:schemeClr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  <a:p>
            <a:endParaRPr lang="ru-RU" sz="2000" b="1" dirty="0">
              <a:solidFill>
                <a:schemeClr val="tx1">
                  <a:lumMod val="95000"/>
                  <a:lumOff val="5000"/>
                </a:schemeClr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8198905" y="4479785"/>
            <a:ext cx="24223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Серпухова Мария</a:t>
            </a:r>
          </a:p>
          <a:p>
            <a:pPr algn="ctr"/>
            <a:endParaRPr lang="ru-RU" sz="2000" b="1" dirty="0">
              <a:solidFill>
                <a:schemeClr val="tx1">
                  <a:lumMod val="95000"/>
                  <a:lumOff val="5000"/>
                </a:schemeClr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/>
            <a:r>
              <a: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Дизайнер проекта</a:t>
            </a:r>
          </a:p>
        </p:txBody>
      </p:sp>
      <p:cxnSp>
        <p:nvCxnSpPr>
          <p:cNvPr id="48" name="Прямая соединительная линия 47"/>
          <p:cNvCxnSpPr/>
          <p:nvPr/>
        </p:nvCxnSpPr>
        <p:spPr>
          <a:xfrm>
            <a:off x="711599" y="5013171"/>
            <a:ext cx="2360142" cy="0"/>
          </a:xfrm>
          <a:prstGeom prst="line">
            <a:avLst/>
          </a:prstGeom>
          <a:ln>
            <a:solidFill>
              <a:srgbClr val="14CE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>
            <a:off x="4527490" y="4990637"/>
            <a:ext cx="2360142" cy="0"/>
          </a:xfrm>
          <a:prstGeom prst="line">
            <a:avLst/>
          </a:prstGeom>
          <a:ln>
            <a:solidFill>
              <a:srgbClr val="14CE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>
            <a:off x="8019559" y="4987617"/>
            <a:ext cx="2360142" cy="0"/>
          </a:xfrm>
          <a:prstGeom prst="line">
            <a:avLst/>
          </a:prstGeom>
          <a:ln>
            <a:solidFill>
              <a:srgbClr val="14CE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825599955"/>
              </p:ext>
            </p:extLst>
          </p:nvPr>
        </p:nvGraphicFramePr>
        <p:xfrm>
          <a:off x="3062396" y="-282974"/>
          <a:ext cx="4963680" cy="60867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3437021291"/>
              </p:ext>
            </p:extLst>
          </p:nvPr>
        </p:nvGraphicFramePr>
        <p:xfrm>
          <a:off x="-746167" y="614061"/>
          <a:ext cx="5351985" cy="41163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graphicFrame>
        <p:nvGraphicFramePr>
          <p:cNvPr id="23" name="Схема 22"/>
          <p:cNvGraphicFramePr/>
          <p:nvPr>
            <p:extLst>
              <p:ext uri="{D42A27DB-BD31-4B8C-83A1-F6EECF244321}">
                <p14:modId xmlns:p14="http://schemas.microsoft.com/office/powerpoint/2010/main" val="433749946"/>
              </p:ext>
            </p:extLst>
          </p:nvPr>
        </p:nvGraphicFramePr>
        <p:xfrm>
          <a:off x="4107737" y="1580152"/>
          <a:ext cx="3958386" cy="36469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  <p:graphicFrame>
        <p:nvGraphicFramePr>
          <p:cNvPr id="27" name="Схема 26"/>
          <p:cNvGraphicFramePr/>
          <p:nvPr>
            <p:extLst>
              <p:ext uri="{D42A27DB-BD31-4B8C-83A1-F6EECF244321}">
                <p14:modId xmlns:p14="http://schemas.microsoft.com/office/powerpoint/2010/main" val="3833264286"/>
              </p:ext>
            </p:extLst>
          </p:nvPr>
        </p:nvGraphicFramePr>
        <p:xfrm>
          <a:off x="-1940608" y="-4991607"/>
          <a:ext cx="15430500" cy="2057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1" r:lo="rId22" r:qs="rId23" r:cs="rId24"/>
          </a:graphicData>
        </a:graphic>
      </p:graphicFrame>
      <p:sp>
        <p:nvSpPr>
          <p:cNvPr id="53" name="Rectangle 14"/>
          <p:cNvSpPr/>
          <p:nvPr/>
        </p:nvSpPr>
        <p:spPr>
          <a:xfrm rot="5400000">
            <a:off x="1344988" y="-419125"/>
            <a:ext cx="782386" cy="2049165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gradFill>
              <a:gsLst>
                <a:gs pos="70000">
                  <a:srgbClr val="14CE9F"/>
                </a:gs>
                <a:gs pos="0">
                  <a:srgbClr val="DDF9B8"/>
                </a:gs>
              </a:gsLst>
              <a:lin ang="5400000" scaled="1"/>
            </a:gra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Заголовок 1"/>
          <p:cNvSpPr txBox="1">
            <a:spLocks/>
          </p:cNvSpPr>
          <p:nvPr/>
        </p:nvSpPr>
        <p:spPr>
          <a:xfrm>
            <a:off x="933666" y="488119"/>
            <a:ext cx="5635661" cy="546100"/>
          </a:xfrm>
          <a:prstGeom prst="rect">
            <a:avLst/>
          </a:prstGeom>
        </p:spPr>
        <p:txBody>
          <a:bodyPr lIns="0" tIns="0" rIns="0" bIns="0"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5D5B6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6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ОМАНДА</a:t>
            </a:r>
            <a:endParaRPr lang="ru-RU" sz="36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668249" y="5521002"/>
            <a:ext cx="22786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налитик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4715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вал 2"/>
          <p:cNvSpPr/>
          <p:nvPr/>
        </p:nvSpPr>
        <p:spPr>
          <a:xfrm>
            <a:off x="4560260" y="2000546"/>
            <a:ext cx="390525" cy="367400"/>
          </a:xfrm>
          <a:prstGeom prst="ellipse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Стрелка вправо 1"/>
          <p:cNvSpPr/>
          <p:nvPr/>
        </p:nvSpPr>
        <p:spPr>
          <a:xfrm>
            <a:off x="4545343" y="2036944"/>
            <a:ext cx="370831" cy="276225"/>
          </a:xfrm>
          <a:prstGeom prst="rightArrow">
            <a:avLst/>
          </a:prstGeom>
          <a:solidFill>
            <a:srgbClr val="A6EDB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9545" name="Picture 89" descr="https://sun9-32.userapi.com/impg/z8OPRoAW4vVexiTfirostqio74t6KS-RwdtgMw/1kWW_9fzbyc.jpg?size=960x1280&amp;quality=95&amp;sign=fc6c1c03b1d5d86fd95a2877f4e40f70&amp;type=album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856"/>
          <a:stretch/>
        </p:blipFill>
        <p:spPr bwMode="auto">
          <a:xfrm>
            <a:off x="0" y="0"/>
            <a:ext cx="466205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11946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14"/>
          <p:cNvSpPr/>
          <p:nvPr/>
        </p:nvSpPr>
        <p:spPr>
          <a:xfrm>
            <a:off x="207551" y="1442787"/>
            <a:ext cx="4042334" cy="5155440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14"/>
          <p:cNvSpPr/>
          <p:nvPr/>
        </p:nvSpPr>
        <p:spPr>
          <a:xfrm rot="10800000">
            <a:off x="2717224" y="455825"/>
            <a:ext cx="1626176" cy="5744949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Rectangle 14"/>
          <p:cNvSpPr/>
          <p:nvPr/>
        </p:nvSpPr>
        <p:spPr>
          <a:xfrm rot="5400000">
            <a:off x="1837525" y="-1360766"/>
            <a:ext cx="782386" cy="4042333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gradFill>
              <a:gsLst>
                <a:gs pos="70000">
                  <a:srgbClr val="14CE9F"/>
                </a:gs>
                <a:gs pos="0">
                  <a:srgbClr val="DDF9B8"/>
                </a:gs>
              </a:gsLst>
              <a:lin ang="5400000" scaled="1"/>
            </a:gra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TextBox 36"/>
          <p:cNvSpPr txBox="1"/>
          <p:nvPr/>
        </p:nvSpPr>
        <p:spPr>
          <a:xfrm>
            <a:off x="4897734" y="538768"/>
            <a:ext cx="6515258" cy="61555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t">
            <a:spAutoFit/>
          </a:bodyPr>
          <a:lstStyle/>
          <a:p>
            <a:r>
              <a:rPr lang="ru-RU" sz="4000" dirty="0">
                <a:solidFill>
                  <a:srgbClr val="5D5B6F"/>
                </a:solidFill>
                <a:latin typeface="Gabriela" panose="00000500000000000000" pitchFamily="2" charset="0"/>
              </a:rPr>
              <a:t>Лидер проекта</a:t>
            </a:r>
            <a:endParaRPr lang="en-US" sz="4000" dirty="0">
              <a:solidFill>
                <a:srgbClr val="5D5B6F"/>
              </a:solidFill>
              <a:latin typeface="Gabriela" panose="00000500000000000000" pitchFamily="2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897734" y="1648242"/>
            <a:ext cx="483346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Носова Ксения</a:t>
            </a:r>
          </a:p>
          <a:p>
            <a:endParaRPr lang="ru-RU" sz="2000" b="1" dirty="0">
              <a:solidFill>
                <a:schemeClr val="tx1">
                  <a:lumMod val="95000"/>
                  <a:lumOff val="5000"/>
                </a:schemeClr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  <a:p>
            <a:r>
              <a: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Спикер, системный </a:t>
            </a:r>
            <a:r>
              <a:rPr lang="ru-RU" sz="20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админимтратор</a:t>
            </a:r>
            <a:endParaRPr lang="ru-RU" sz="2000" b="1" dirty="0">
              <a:solidFill>
                <a:schemeClr val="tx1">
                  <a:lumMod val="95000"/>
                  <a:lumOff val="5000"/>
                </a:schemeClr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cxnSp>
        <p:nvCxnSpPr>
          <p:cNvPr id="78" name="Прямая соединительная линия 77"/>
          <p:cNvCxnSpPr/>
          <p:nvPr/>
        </p:nvCxnSpPr>
        <p:spPr>
          <a:xfrm>
            <a:off x="5016340" y="2184246"/>
            <a:ext cx="2360142" cy="0"/>
          </a:xfrm>
          <a:prstGeom prst="line">
            <a:avLst/>
          </a:prstGeom>
          <a:ln>
            <a:solidFill>
              <a:srgbClr val="14CE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390072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1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14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32" grpId="0" animBg="1"/>
      <p:bldP spid="3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2257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eform 6"/>
          <p:cNvSpPr/>
          <p:nvPr/>
        </p:nvSpPr>
        <p:spPr>
          <a:xfrm>
            <a:off x="-101600" y="483170"/>
            <a:ext cx="12128500" cy="3907796"/>
          </a:xfrm>
          <a:custGeom>
            <a:avLst/>
            <a:gdLst>
              <a:gd name="connsiteX0" fmla="*/ 0 w 12128500"/>
              <a:gd name="connsiteY0" fmla="*/ 152400 h 3987800"/>
              <a:gd name="connsiteX1" fmla="*/ 177800 w 12128500"/>
              <a:gd name="connsiteY1" fmla="*/ 3987800 h 3987800"/>
              <a:gd name="connsiteX2" fmla="*/ 12128500 w 12128500"/>
              <a:gd name="connsiteY2" fmla="*/ 3835400 h 3987800"/>
              <a:gd name="connsiteX3" fmla="*/ 11874500 w 12128500"/>
              <a:gd name="connsiteY3" fmla="*/ 0 h 3987800"/>
              <a:gd name="connsiteX4" fmla="*/ 0 w 12128500"/>
              <a:gd name="connsiteY4" fmla="*/ 152400 h 398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28500" h="3987800">
                <a:moveTo>
                  <a:pt x="0" y="152400"/>
                </a:moveTo>
                <a:lnTo>
                  <a:pt x="177800" y="3987800"/>
                </a:lnTo>
                <a:lnTo>
                  <a:pt x="12128500" y="3835400"/>
                </a:lnTo>
                <a:lnTo>
                  <a:pt x="11874500" y="0"/>
                </a:lnTo>
                <a:lnTo>
                  <a:pt x="0" y="152400"/>
                </a:lnTo>
                <a:close/>
              </a:path>
            </a:pathLst>
          </a:custGeom>
          <a:solidFill>
            <a:srgbClr val="14CE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73100"/>
            <a:ext cx="12192000" cy="3527936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26256" y="4504623"/>
            <a:ext cx="10872788" cy="92333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 anchor="b">
            <a:noAutofit/>
          </a:bodyPr>
          <a:lstStyle/>
          <a:p>
            <a:pPr algn="ctr"/>
            <a:r>
              <a:rPr lang="ru-RU" sz="6000" dirty="0">
                <a:solidFill>
                  <a:srgbClr val="14CE9F"/>
                </a:solidFill>
                <a:latin typeface="Gabriela" panose="00000500000000000000" pitchFamily="2" charset="0"/>
              </a:rPr>
              <a:t>Спасибо!</a:t>
            </a:r>
            <a:endParaRPr lang="en-US" sz="6000" dirty="0">
              <a:solidFill>
                <a:srgbClr val="14CE9F"/>
              </a:solidFill>
              <a:latin typeface="Gabriela" panose="00000500000000000000" pitchFamily="2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967785" y="5620714"/>
            <a:ext cx="1831470" cy="54605"/>
          </a:xfrm>
          <a:prstGeom prst="rect">
            <a:avLst/>
          </a:prstGeom>
          <a:gradFill>
            <a:gsLst>
              <a:gs pos="77000">
                <a:srgbClr val="14CE9F"/>
              </a:gs>
              <a:gs pos="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/>
              <a:t>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26256" y="5675319"/>
            <a:ext cx="11378320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8F00FF"/>
                </a:solidFill>
                <a:latin typeface="Arial"/>
                <a:ea typeface="Arial"/>
                <a:cs typeface="Arial"/>
                <a:sym typeface="Arial"/>
              </a:rPr>
              <a:t>КОНТАКТЫ </a:t>
            </a:r>
            <a:r>
              <a:rPr lang="ru-RU" dirty="0"/>
              <a:t>лидера проекта</a:t>
            </a:r>
            <a:br>
              <a:rPr lang="ru-RU" dirty="0"/>
            </a:br>
            <a:r>
              <a:rPr lang="ru-RU" dirty="0"/>
              <a:t>Телефон   89302762198  Телеграмм </a:t>
            </a:r>
            <a:r>
              <a:rPr lang="ru-RU" dirty="0">
                <a:hlinkClick r:id="rId6"/>
              </a:rPr>
              <a:t>@</a:t>
            </a:r>
            <a:r>
              <a:rPr lang="ru-RU" dirty="0" err="1">
                <a:hlinkClick r:id="rId6"/>
              </a:rPr>
              <a:t>nkseniyaaa</a:t>
            </a:r>
            <a:r>
              <a:rPr lang="ru-RU" dirty="0"/>
              <a:t> почта </a:t>
            </a:r>
            <a:r>
              <a:rPr lang="ru-RU" dirty="0">
                <a:hlinkClick r:id="rId7"/>
              </a:rPr>
              <a:t>nosova2001ks@mail.ru</a:t>
            </a:r>
            <a:endParaRPr lang="ru-RU" dirty="0"/>
          </a:p>
          <a:p>
            <a:br>
              <a:rPr lang="ru-RU" sz="1100" dirty="0"/>
            </a:br>
            <a:endParaRPr lang="ru-RU" sz="11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0908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3240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/>
          <p:cNvSpPr/>
          <p:nvPr/>
        </p:nvSpPr>
        <p:spPr>
          <a:xfrm rot="10800000">
            <a:off x="-2" y="0"/>
            <a:ext cx="3585601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>
                  <a:alpha val="80000"/>
                </a:srgb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48883" y="781638"/>
            <a:ext cx="3336717" cy="283154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rtlCol="0">
            <a:spAutoFit/>
          </a:bodyPr>
          <a:lstStyle/>
          <a:p>
            <a:r>
              <a:rPr lang="ru-RU" sz="3200" dirty="0"/>
              <a:t>ПОЛЬЗОВАТЕЛЬ </a:t>
            </a:r>
          </a:p>
          <a:p>
            <a:r>
              <a:rPr lang="ru-RU" sz="3200" dirty="0"/>
              <a:t>И ПРОБЛЕМА</a:t>
            </a:r>
            <a:br>
              <a:rPr lang="ru-RU" sz="3200" dirty="0"/>
            </a:br>
            <a:br>
              <a:rPr lang="ru-RU" sz="4000" dirty="0"/>
            </a:br>
            <a:br>
              <a:rPr lang="ru-RU" sz="4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4000" dirty="0">
              <a:solidFill>
                <a:schemeClr val="lt1"/>
              </a:solidFill>
              <a:latin typeface="Gabriela" panose="00000500000000000000" pitchFamily="2" charset="0"/>
            </a:endParaRPr>
          </a:p>
        </p:txBody>
      </p:sp>
      <p:sp>
        <p:nvSpPr>
          <p:cNvPr id="40" name="Rectangle 14"/>
          <p:cNvSpPr/>
          <p:nvPr/>
        </p:nvSpPr>
        <p:spPr>
          <a:xfrm>
            <a:off x="182616" y="1508329"/>
            <a:ext cx="1571815" cy="660714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Rectangle 14"/>
          <p:cNvSpPr/>
          <p:nvPr/>
        </p:nvSpPr>
        <p:spPr>
          <a:xfrm rot="10800000">
            <a:off x="2253662" y="472259"/>
            <a:ext cx="1302035" cy="706867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Rectangle 14"/>
          <p:cNvSpPr/>
          <p:nvPr/>
        </p:nvSpPr>
        <p:spPr>
          <a:xfrm rot="5400000">
            <a:off x="681423" y="-72981"/>
            <a:ext cx="354157" cy="1444637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TextBox 43"/>
          <p:cNvSpPr txBox="1"/>
          <p:nvPr/>
        </p:nvSpPr>
        <p:spPr>
          <a:xfrm>
            <a:off x="7984694" y="4597766"/>
            <a:ext cx="3654903" cy="22775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достаток белков и других питательных веществ в рационе животных и дефицит на рынке </a:t>
            </a:r>
            <a:r>
              <a:rPr lang="ru-RU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елково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кормовых добавок.</a:t>
            </a:r>
          </a:p>
          <a:p>
            <a:pPr algn="just"/>
            <a:endParaRPr lang="en-US" sz="2800" kern="2000" dirty="0">
              <a:solidFill>
                <a:srgbClr val="5D5B6F"/>
              </a:solidFill>
              <a:latin typeface="Montserrat Medium" panose="00000600000000000000" pitchFamily="2" charset="-18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3863783" y="4771571"/>
            <a:ext cx="3385434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ладельцы агропромышленных комплексов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97286" y="5057321"/>
            <a:ext cx="251805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секомые могут быть приемлемым источником белка для сельскохозяйственных животных. </a:t>
            </a:r>
          </a:p>
          <a:p>
            <a:endParaRPr lang="ru-RU" dirty="0"/>
          </a:p>
        </p:txBody>
      </p:sp>
      <p:sp>
        <p:nvSpPr>
          <p:cNvPr id="3" name="Овал 2"/>
          <p:cNvSpPr/>
          <p:nvPr/>
        </p:nvSpPr>
        <p:spPr>
          <a:xfrm>
            <a:off x="278180" y="5140903"/>
            <a:ext cx="233916" cy="226305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/>
          <p:cNvSpPr/>
          <p:nvPr/>
        </p:nvSpPr>
        <p:spPr>
          <a:xfrm>
            <a:off x="279913" y="5536994"/>
            <a:ext cx="233916" cy="226305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/>
          <p:cNvSpPr/>
          <p:nvPr/>
        </p:nvSpPr>
        <p:spPr>
          <a:xfrm>
            <a:off x="278180" y="5936349"/>
            <a:ext cx="233916" cy="226305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254" name="Picture 110" descr="http://pravdapfo.ru/sites/default/files/users/2245/3b0cdb89e92ccfcd9800f8373aa75a27_1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8219" y="1411142"/>
            <a:ext cx="3661426" cy="2582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62" name="Picture 118" descr="https://soyacentr.ru/wp-content/uploads/2021/07/OES08711-scaled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9633" y="1411141"/>
            <a:ext cx="3635252" cy="2582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4107959" y="781638"/>
            <a:ext cx="26393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     </a:t>
            </a:r>
            <a:r>
              <a:rPr lang="ru-RU" sz="1600" dirty="0"/>
              <a:t>ПОЛЬЗОВАТЕЛЬ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073661" y="781638"/>
            <a:ext cx="17801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роблема</a:t>
            </a:r>
          </a:p>
        </p:txBody>
      </p:sp>
    </p:spTree>
    <p:extLst>
      <p:ext uri="{BB962C8B-B14F-4D97-AF65-F5344CB8AC3E}">
        <p14:creationId xmlns:p14="http://schemas.microsoft.com/office/powerpoint/2010/main" val="28614005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Овал 27"/>
          <p:cNvSpPr/>
          <p:nvPr/>
        </p:nvSpPr>
        <p:spPr>
          <a:xfrm>
            <a:off x="628266" y="2080043"/>
            <a:ext cx="3769337" cy="3437823"/>
          </a:xfrm>
          <a:prstGeom prst="ellipse">
            <a:avLst/>
          </a:prstGeom>
          <a:noFill/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32" name="Freeform 1275"/>
          <p:cNvSpPr>
            <a:spLocks noEditPoints="1"/>
          </p:cNvSpPr>
          <p:nvPr/>
        </p:nvSpPr>
        <p:spPr bwMode="auto">
          <a:xfrm>
            <a:off x="926148" y="1765561"/>
            <a:ext cx="9451228" cy="4621178"/>
          </a:xfrm>
          <a:custGeom>
            <a:avLst/>
            <a:gdLst>
              <a:gd name="T0" fmla="*/ 46 w 1811"/>
              <a:gd name="T1" fmla="*/ 406 h 849"/>
              <a:gd name="T2" fmla="*/ 1686 w 1811"/>
              <a:gd name="T3" fmla="*/ 367 h 849"/>
              <a:gd name="T4" fmla="*/ 1244 w 1811"/>
              <a:gd name="T5" fmla="*/ 118 h 849"/>
              <a:gd name="T6" fmla="*/ 1625 w 1811"/>
              <a:gd name="T7" fmla="*/ 320 h 849"/>
              <a:gd name="T8" fmla="*/ 1166 w 1811"/>
              <a:gd name="T9" fmla="*/ 131 h 849"/>
              <a:gd name="T10" fmla="*/ 965 w 1811"/>
              <a:gd name="T11" fmla="*/ 40 h 849"/>
              <a:gd name="T12" fmla="*/ 943 w 1811"/>
              <a:gd name="T13" fmla="*/ 48 h 849"/>
              <a:gd name="T14" fmla="*/ 1567 w 1811"/>
              <a:gd name="T15" fmla="*/ 439 h 849"/>
              <a:gd name="T16" fmla="*/ 1596 w 1811"/>
              <a:gd name="T17" fmla="*/ 614 h 849"/>
              <a:gd name="T18" fmla="*/ 1510 w 1811"/>
              <a:gd name="T19" fmla="*/ 516 h 849"/>
              <a:gd name="T20" fmla="*/ 1489 w 1811"/>
              <a:gd name="T21" fmla="*/ 562 h 849"/>
              <a:gd name="T22" fmla="*/ 1530 w 1811"/>
              <a:gd name="T23" fmla="*/ 566 h 849"/>
              <a:gd name="T24" fmla="*/ 1438 w 1811"/>
              <a:gd name="T25" fmla="*/ 557 h 849"/>
              <a:gd name="T26" fmla="*/ 1720 w 1811"/>
              <a:gd name="T27" fmla="*/ 310 h 849"/>
              <a:gd name="T28" fmla="*/ 1557 w 1811"/>
              <a:gd name="T29" fmla="*/ 393 h 849"/>
              <a:gd name="T30" fmla="*/ 1432 w 1811"/>
              <a:gd name="T31" fmla="*/ 486 h 849"/>
              <a:gd name="T32" fmla="*/ 1254 w 1811"/>
              <a:gd name="T33" fmla="*/ 394 h 849"/>
              <a:gd name="T34" fmla="*/ 1152 w 1811"/>
              <a:gd name="T35" fmla="*/ 423 h 849"/>
              <a:gd name="T36" fmla="*/ 854 w 1811"/>
              <a:gd name="T37" fmla="*/ 344 h 849"/>
              <a:gd name="T38" fmla="*/ 1042 w 1811"/>
              <a:gd name="T39" fmla="*/ 286 h 849"/>
              <a:gd name="T40" fmla="*/ 921 w 1811"/>
              <a:gd name="T41" fmla="*/ 239 h 849"/>
              <a:gd name="T42" fmla="*/ 954 w 1811"/>
              <a:gd name="T43" fmla="*/ 202 h 849"/>
              <a:gd name="T44" fmla="*/ 1016 w 1811"/>
              <a:gd name="T45" fmla="*/ 127 h 849"/>
              <a:gd name="T46" fmla="*/ 1222 w 1811"/>
              <a:gd name="T47" fmla="*/ 116 h 849"/>
              <a:gd name="T48" fmla="*/ 1384 w 1811"/>
              <a:gd name="T49" fmla="*/ 88 h 849"/>
              <a:gd name="T50" fmla="*/ 1785 w 1811"/>
              <a:gd name="T51" fmla="*/ 222 h 849"/>
              <a:gd name="T52" fmla="*/ 926 w 1811"/>
              <a:gd name="T53" fmla="*/ 203 h 849"/>
              <a:gd name="T54" fmla="*/ 874 w 1811"/>
              <a:gd name="T55" fmla="*/ 220 h 849"/>
              <a:gd name="T56" fmla="*/ 1020 w 1811"/>
              <a:gd name="T57" fmla="*/ 314 h 849"/>
              <a:gd name="T58" fmla="*/ 1134 w 1811"/>
              <a:gd name="T59" fmla="*/ 515 h 849"/>
              <a:gd name="T60" fmla="*/ 1443 w 1811"/>
              <a:gd name="T61" fmla="*/ 616 h 849"/>
              <a:gd name="T62" fmla="*/ 1481 w 1811"/>
              <a:gd name="T63" fmla="*/ 709 h 849"/>
              <a:gd name="T64" fmla="*/ 799 w 1811"/>
              <a:gd name="T65" fmla="*/ 166 h 849"/>
              <a:gd name="T66" fmla="*/ 657 w 1811"/>
              <a:gd name="T67" fmla="*/ 134 h 849"/>
              <a:gd name="T68" fmla="*/ 813 w 1811"/>
              <a:gd name="T69" fmla="*/ 87 h 849"/>
              <a:gd name="T70" fmla="*/ 783 w 1811"/>
              <a:gd name="T71" fmla="*/ 7 h 849"/>
              <a:gd name="T72" fmla="*/ 604 w 1811"/>
              <a:gd name="T73" fmla="*/ 85 h 849"/>
              <a:gd name="T74" fmla="*/ 654 w 1811"/>
              <a:gd name="T75" fmla="*/ 171 h 849"/>
              <a:gd name="T76" fmla="*/ 733 w 1811"/>
              <a:gd name="T77" fmla="*/ 166 h 849"/>
              <a:gd name="T78" fmla="*/ 650 w 1811"/>
              <a:gd name="T79" fmla="*/ 130 h 849"/>
              <a:gd name="T80" fmla="*/ 523 w 1811"/>
              <a:gd name="T81" fmla="*/ 122 h 849"/>
              <a:gd name="T82" fmla="*/ 580 w 1811"/>
              <a:gd name="T83" fmla="*/ 178 h 849"/>
              <a:gd name="T84" fmla="*/ 499 w 1811"/>
              <a:gd name="T85" fmla="*/ 89 h 849"/>
              <a:gd name="T86" fmla="*/ 448 w 1811"/>
              <a:gd name="T87" fmla="*/ 75 h 849"/>
              <a:gd name="T88" fmla="*/ 414 w 1811"/>
              <a:gd name="T89" fmla="*/ 115 h 849"/>
              <a:gd name="T90" fmla="*/ 520 w 1811"/>
              <a:gd name="T91" fmla="*/ 71 h 849"/>
              <a:gd name="T92" fmla="*/ 620 w 1811"/>
              <a:gd name="T93" fmla="*/ 287 h 849"/>
              <a:gd name="T94" fmla="*/ 557 w 1811"/>
              <a:gd name="T95" fmla="*/ 81 h 849"/>
              <a:gd name="T96" fmla="*/ 613 w 1811"/>
              <a:gd name="T97" fmla="*/ 276 h 849"/>
              <a:gd name="T98" fmla="*/ 449 w 1811"/>
              <a:gd name="T99" fmla="*/ 167 h 849"/>
              <a:gd name="T100" fmla="*/ 492 w 1811"/>
              <a:gd name="T101" fmla="*/ 130 h 849"/>
              <a:gd name="T102" fmla="*/ 495 w 1811"/>
              <a:gd name="T103" fmla="*/ 194 h 849"/>
              <a:gd name="T104" fmla="*/ 707 w 1811"/>
              <a:gd name="T105" fmla="*/ 480 h 849"/>
              <a:gd name="T106" fmla="*/ 423 w 1811"/>
              <a:gd name="T107" fmla="*/ 419 h 849"/>
              <a:gd name="T108" fmla="*/ 561 w 1811"/>
              <a:gd name="T109" fmla="*/ 287 h 849"/>
              <a:gd name="T110" fmla="*/ 457 w 1811"/>
              <a:gd name="T111" fmla="*/ 261 h 849"/>
              <a:gd name="T112" fmla="*/ 448 w 1811"/>
              <a:gd name="T113" fmla="*/ 189 h 849"/>
              <a:gd name="T114" fmla="*/ 177 w 1811"/>
              <a:gd name="T115" fmla="*/ 189 h 849"/>
              <a:gd name="T116" fmla="*/ 126 w 1811"/>
              <a:gd name="T117" fmla="*/ 335 h 849"/>
              <a:gd name="T118" fmla="*/ 271 w 1811"/>
              <a:gd name="T119" fmla="*/ 347 h 849"/>
              <a:gd name="T120" fmla="*/ 506 w 1811"/>
              <a:gd name="T121" fmla="*/ 480 h 849"/>
              <a:gd name="T122" fmla="*/ 650 w 1811"/>
              <a:gd name="T123" fmla="*/ 714 h 849"/>
              <a:gd name="T124" fmla="*/ 622 w 1811"/>
              <a:gd name="T125" fmla="*/ 674 h 8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11" h="849">
                <a:moveTo>
                  <a:pt x="170" y="305"/>
                </a:moveTo>
                <a:cubicBezTo>
                  <a:pt x="169" y="305"/>
                  <a:pt x="169" y="305"/>
                  <a:pt x="169" y="305"/>
                </a:cubicBezTo>
                <a:cubicBezTo>
                  <a:pt x="169" y="305"/>
                  <a:pt x="168" y="305"/>
                  <a:pt x="168" y="305"/>
                </a:cubicBezTo>
                <a:cubicBezTo>
                  <a:pt x="169" y="305"/>
                  <a:pt x="169" y="304"/>
                  <a:pt x="169" y="304"/>
                </a:cubicBezTo>
                <a:cubicBezTo>
                  <a:pt x="170" y="304"/>
                  <a:pt x="170" y="304"/>
                  <a:pt x="170" y="305"/>
                </a:cubicBezTo>
                <a:close/>
                <a:moveTo>
                  <a:pt x="171" y="303"/>
                </a:moveTo>
                <a:cubicBezTo>
                  <a:pt x="171" y="303"/>
                  <a:pt x="171" y="303"/>
                  <a:pt x="171" y="303"/>
                </a:cubicBezTo>
                <a:cubicBezTo>
                  <a:pt x="171" y="302"/>
                  <a:pt x="171" y="302"/>
                  <a:pt x="171" y="302"/>
                </a:cubicBezTo>
                <a:cubicBezTo>
                  <a:pt x="171" y="302"/>
                  <a:pt x="172" y="301"/>
                  <a:pt x="172" y="301"/>
                </a:cubicBezTo>
                <a:cubicBezTo>
                  <a:pt x="172" y="301"/>
                  <a:pt x="172" y="301"/>
                  <a:pt x="172" y="300"/>
                </a:cubicBezTo>
                <a:cubicBezTo>
                  <a:pt x="172" y="300"/>
                  <a:pt x="173" y="300"/>
                  <a:pt x="173" y="300"/>
                </a:cubicBezTo>
                <a:cubicBezTo>
                  <a:pt x="173" y="300"/>
                  <a:pt x="173" y="300"/>
                  <a:pt x="172" y="299"/>
                </a:cubicBezTo>
                <a:cubicBezTo>
                  <a:pt x="172" y="300"/>
                  <a:pt x="172" y="300"/>
                  <a:pt x="172" y="300"/>
                </a:cubicBezTo>
                <a:cubicBezTo>
                  <a:pt x="172" y="300"/>
                  <a:pt x="171" y="300"/>
                  <a:pt x="171" y="300"/>
                </a:cubicBezTo>
                <a:cubicBezTo>
                  <a:pt x="171" y="301"/>
                  <a:pt x="171" y="301"/>
                  <a:pt x="171" y="301"/>
                </a:cubicBezTo>
                <a:cubicBezTo>
                  <a:pt x="171" y="301"/>
                  <a:pt x="171" y="302"/>
                  <a:pt x="170" y="303"/>
                </a:cubicBezTo>
                <a:cubicBezTo>
                  <a:pt x="170" y="303"/>
                  <a:pt x="171" y="303"/>
                  <a:pt x="171" y="303"/>
                </a:cubicBezTo>
                <a:close/>
                <a:moveTo>
                  <a:pt x="170" y="297"/>
                </a:moveTo>
                <a:cubicBezTo>
                  <a:pt x="170" y="297"/>
                  <a:pt x="170" y="297"/>
                  <a:pt x="170" y="298"/>
                </a:cubicBezTo>
                <a:cubicBezTo>
                  <a:pt x="170" y="298"/>
                  <a:pt x="171" y="298"/>
                  <a:pt x="171" y="298"/>
                </a:cubicBezTo>
                <a:cubicBezTo>
                  <a:pt x="171" y="298"/>
                  <a:pt x="171" y="298"/>
                  <a:pt x="171" y="297"/>
                </a:cubicBezTo>
                <a:cubicBezTo>
                  <a:pt x="171" y="297"/>
                  <a:pt x="171" y="297"/>
                  <a:pt x="171" y="297"/>
                </a:cubicBezTo>
                <a:cubicBezTo>
                  <a:pt x="171" y="297"/>
                  <a:pt x="171" y="297"/>
                  <a:pt x="171" y="297"/>
                </a:cubicBezTo>
                <a:cubicBezTo>
                  <a:pt x="171" y="297"/>
                  <a:pt x="171" y="297"/>
                  <a:pt x="170" y="297"/>
                </a:cubicBezTo>
                <a:close/>
                <a:moveTo>
                  <a:pt x="175" y="301"/>
                </a:moveTo>
                <a:cubicBezTo>
                  <a:pt x="175" y="301"/>
                  <a:pt x="175" y="301"/>
                  <a:pt x="175" y="301"/>
                </a:cubicBezTo>
                <a:cubicBezTo>
                  <a:pt x="175" y="301"/>
                  <a:pt x="175" y="300"/>
                  <a:pt x="175" y="300"/>
                </a:cubicBezTo>
                <a:cubicBezTo>
                  <a:pt x="175" y="300"/>
                  <a:pt x="175" y="300"/>
                  <a:pt x="174" y="300"/>
                </a:cubicBezTo>
                <a:cubicBezTo>
                  <a:pt x="174" y="300"/>
                  <a:pt x="174" y="301"/>
                  <a:pt x="174" y="301"/>
                </a:cubicBezTo>
                <a:cubicBezTo>
                  <a:pt x="174" y="301"/>
                  <a:pt x="173" y="301"/>
                  <a:pt x="173" y="302"/>
                </a:cubicBezTo>
                <a:cubicBezTo>
                  <a:pt x="173" y="302"/>
                  <a:pt x="173" y="302"/>
                  <a:pt x="173" y="303"/>
                </a:cubicBezTo>
                <a:cubicBezTo>
                  <a:pt x="172" y="303"/>
                  <a:pt x="172" y="303"/>
                  <a:pt x="172" y="303"/>
                </a:cubicBezTo>
                <a:cubicBezTo>
                  <a:pt x="171" y="304"/>
                  <a:pt x="171" y="305"/>
                  <a:pt x="170" y="305"/>
                </a:cubicBezTo>
                <a:cubicBezTo>
                  <a:pt x="170" y="305"/>
                  <a:pt x="170" y="306"/>
                  <a:pt x="170" y="306"/>
                </a:cubicBezTo>
                <a:cubicBezTo>
                  <a:pt x="170" y="306"/>
                  <a:pt x="170" y="306"/>
                  <a:pt x="170" y="306"/>
                </a:cubicBezTo>
                <a:cubicBezTo>
                  <a:pt x="170" y="306"/>
                  <a:pt x="169" y="306"/>
                  <a:pt x="169" y="307"/>
                </a:cubicBezTo>
                <a:cubicBezTo>
                  <a:pt x="169" y="307"/>
                  <a:pt x="169" y="307"/>
                  <a:pt x="169" y="307"/>
                </a:cubicBezTo>
                <a:cubicBezTo>
                  <a:pt x="170" y="307"/>
                  <a:pt x="170" y="307"/>
                  <a:pt x="170" y="306"/>
                </a:cubicBezTo>
                <a:cubicBezTo>
                  <a:pt x="171" y="306"/>
                  <a:pt x="171" y="306"/>
                  <a:pt x="171" y="306"/>
                </a:cubicBezTo>
                <a:cubicBezTo>
                  <a:pt x="171" y="306"/>
                  <a:pt x="172" y="306"/>
                  <a:pt x="172" y="305"/>
                </a:cubicBezTo>
                <a:cubicBezTo>
                  <a:pt x="172" y="305"/>
                  <a:pt x="172" y="305"/>
                  <a:pt x="172" y="305"/>
                </a:cubicBezTo>
                <a:cubicBezTo>
                  <a:pt x="172" y="305"/>
                  <a:pt x="172" y="305"/>
                  <a:pt x="172" y="305"/>
                </a:cubicBezTo>
                <a:cubicBezTo>
                  <a:pt x="172" y="304"/>
                  <a:pt x="172" y="304"/>
                  <a:pt x="173" y="304"/>
                </a:cubicBezTo>
                <a:cubicBezTo>
                  <a:pt x="173" y="303"/>
                  <a:pt x="173" y="303"/>
                  <a:pt x="174" y="302"/>
                </a:cubicBezTo>
                <a:cubicBezTo>
                  <a:pt x="174" y="302"/>
                  <a:pt x="175" y="302"/>
                  <a:pt x="175" y="301"/>
                </a:cubicBezTo>
                <a:cubicBezTo>
                  <a:pt x="175" y="301"/>
                  <a:pt x="175" y="301"/>
                  <a:pt x="175" y="301"/>
                </a:cubicBezTo>
                <a:close/>
                <a:moveTo>
                  <a:pt x="175" y="308"/>
                </a:moveTo>
                <a:cubicBezTo>
                  <a:pt x="175" y="308"/>
                  <a:pt x="176" y="308"/>
                  <a:pt x="176" y="307"/>
                </a:cubicBezTo>
                <a:cubicBezTo>
                  <a:pt x="176" y="307"/>
                  <a:pt x="176" y="307"/>
                  <a:pt x="176" y="307"/>
                </a:cubicBezTo>
                <a:cubicBezTo>
                  <a:pt x="175" y="308"/>
                  <a:pt x="175" y="308"/>
                  <a:pt x="175" y="308"/>
                </a:cubicBezTo>
                <a:close/>
                <a:moveTo>
                  <a:pt x="102" y="366"/>
                </a:moveTo>
                <a:cubicBezTo>
                  <a:pt x="102" y="366"/>
                  <a:pt x="103" y="365"/>
                  <a:pt x="103" y="365"/>
                </a:cubicBezTo>
                <a:cubicBezTo>
                  <a:pt x="103" y="365"/>
                  <a:pt x="103" y="365"/>
                  <a:pt x="103" y="365"/>
                </a:cubicBezTo>
                <a:cubicBezTo>
                  <a:pt x="102" y="365"/>
                  <a:pt x="102" y="365"/>
                  <a:pt x="102" y="366"/>
                </a:cubicBezTo>
                <a:close/>
                <a:moveTo>
                  <a:pt x="186" y="301"/>
                </a:moveTo>
                <a:cubicBezTo>
                  <a:pt x="186" y="301"/>
                  <a:pt x="186" y="302"/>
                  <a:pt x="186" y="302"/>
                </a:cubicBezTo>
                <a:cubicBezTo>
                  <a:pt x="186" y="302"/>
                  <a:pt x="187" y="301"/>
                  <a:pt x="187" y="301"/>
                </a:cubicBezTo>
                <a:cubicBezTo>
                  <a:pt x="187" y="301"/>
                  <a:pt x="187" y="300"/>
                  <a:pt x="188" y="300"/>
                </a:cubicBezTo>
                <a:cubicBezTo>
                  <a:pt x="187" y="300"/>
                  <a:pt x="187" y="300"/>
                  <a:pt x="187" y="300"/>
                </a:cubicBezTo>
                <a:cubicBezTo>
                  <a:pt x="187" y="301"/>
                  <a:pt x="186" y="301"/>
                  <a:pt x="186" y="301"/>
                </a:cubicBezTo>
                <a:close/>
                <a:moveTo>
                  <a:pt x="243" y="321"/>
                </a:moveTo>
                <a:cubicBezTo>
                  <a:pt x="242" y="321"/>
                  <a:pt x="242" y="321"/>
                  <a:pt x="242" y="321"/>
                </a:cubicBezTo>
                <a:cubicBezTo>
                  <a:pt x="241" y="321"/>
                  <a:pt x="241" y="321"/>
                  <a:pt x="240" y="321"/>
                </a:cubicBezTo>
                <a:cubicBezTo>
                  <a:pt x="240" y="321"/>
                  <a:pt x="241" y="320"/>
                  <a:pt x="241" y="320"/>
                </a:cubicBezTo>
                <a:cubicBezTo>
                  <a:pt x="241" y="320"/>
                  <a:pt x="241" y="320"/>
                  <a:pt x="241" y="320"/>
                </a:cubicBezTo>
                <a:cubicBezTo>
                  <a:pt x="241" y="320"/>
                  <a:pt x="241" y="320"/>
                  <a:pt x="242" y="320"/>
                </a:cubicBezTo>
                <a:cubicBezTo>
                  <a:pt x="242" y="320"/>
                  <a:pt x="242" y="319"/>
                  <a:pt x="241" y="319"/>
                </a:cubicBezTo>
                <a:cubicBezTo>
                  <a:pt x="241" y="319"/>
                  <a:pt x="241" y="319"/>
                  <a:pt x="240" y="319"/>
                </a:cubicBezTo>
                <a:cubicBezTo>
                  <a:pt x="241" y="319"/>
                  <a:pt x="241" y="319"/>
                  <a:pt x="241" y="319"/>
                </a:cubicBezTo>
                <a:cubicBezTo>
                  <a:pt x="241" y="318"/>
                  <a:pt x="241" y="318"/>
                  <a:pt x="241" y="318"/>
                </a:cubicBezTo>
                <a:cubicBezTo>
                  <a:pt x="240" y="318"/>
                  <a:pt x="240" y="318"/>
                  <a:pt x="239" y="318"/>
                </a:cubicBezTo>
                <a:cubicBezTo>
                  <a:pt x="239" y="318"/>
                  <a:pt x="239" y="318"/>
                  <a:pt x="239" y="318"/>
                </a:cubicBezTo>
                <a:cubicBezTo>
                  <a:pt x="239" y="318"/>
                  <a:pt x="238" y="318"/>
                  <a:pt x="238" y="318"/>
                </a:cubicBezTo>
                <a:cubicBezTo>
                  <a:pt x="238" y="318"/>
                  <a:pt x="238" y="317"/>
                  <a:pt x="238" y="317"/>
                </a:cubicBezTo>
                <a:cubicBezTo>
                  <a:pt x="238" y="317"/>
                  <a:pt x="238" y="317"/>
                  <a:pt x="239" y="316"/>
                </a:cubicBezTo>
                <a:cubicBezTo>
                  <a:pt x="238" y="316"/>
                  <a:pt x="238" y="316"/>
                  <a:pt x="238" y="316"/>
                </a:cubicBezTo>
                <a:cubicBezTo>
                  <a:pt x="237" y="316"/>
                  <a:pt x="237" y="316"/>
                  <a:pt x="237" y="316"/>
                </a:cubicBezTo>
                <a:cubicBezTo>
                  <a:pt x="237" y="316"/>
                  <a:pt x="236" y="316"/>
                  <a:pt x="236" y="317"/>
                </a:cubicBezTo>
                <a:cubicBezTo>
                  <a:pt x="237" y="317"/>
                  <a:pt x="237" y="317"/>
                  <a:pt x="237" y="317"/>
                </a:cubicBezTo>
                <a:cubicBezTo>
                  <a:pt x="237" y="317"/>
                  <a:pt x="238" y="317"/>
                  <a:pt x="238" y="317"/>
                </a:cubicBezTo>
                <a:cubicBezTo>
                  <a:pt x="238" y="318"/>
                  <a:pt x="238" y="318"/>
                  <a:pt x="238" y="319"/>
                </a:cubicBezTo>
                <a:cubicBezTo>
                  <a:pt x="238" y="319"/>
                  <a:pt x="238" y="319"/>
                  <a:pt x="238" y="319"/>
                </a:cubicBezTo>
                <a:cubicBezTo>
                  <a:pt x="238" y="319"/>
                  <a:pt x="238" y="320"/>
                  <a:pt x="238" y="320"/>
                </a:cubicBezTo>
                <a:cubicBezTo>
                  <a:pt x="238" y="320"/>
                  <a:pt x="237" y="320"/>
                  <a:pt x="237" y="320"/>
                </a:cubicBezTo>
                <a:cubicBezTo>
                  <a:pt x="237" y="321"/>
                  <a:pt x="237" y="321"/>
                  <a:pt x="237" y="321"/>
                </a:cubicBezTo>
                <a:cubicBezTo>
                  <a:pt x="237" y="321"/>
                  <a:pt x="237" y="321"/>
                  <a:pt x="237" y="321"/>
                </a:cubicBezTo>
                <a:cubicBezTo>
                  <a:pt x="237" y="321"/>
                  <a:pt x="238" y="321"/>
                  <a:pt x="238" y="321"/>
                </a:cubicBezTo>
                <a:cubicBezTo>
                  <a:pt x="238" y="321"/>
                  <a:pt x="238" y="321"/>
                  <a:pt x="238" y="320"/>
                </a:cubicBezTo>
                <a:cubicBezTo>
                  <a:pt x="238" y="321"/>
                  <a:pt x="239" y="321"/>
                  <a:pt x="239" y="321"/>
                </a:cubicBezTo>
                <a:cubicBezTo>
                  <a:pt x="238" y="321"/>
                  <a:pt x="238" y="321"/>
                  <a:pt x="238" y="322"/>
                </a:cubicBezTo>
                <a:cubicBezTo>
                  <a:pt x="238" y="322"/>
                  <a:pt x="238" y="322"/>
                  <a:pt x="238" y="322"/>
                </a:cubicBezTo>
                <a:cubicBezTo>
                  <a:pt x="238" y="322"/>
                  <a:pt x="238" y="322"/>
                  <a:pt x="238" y="323"/>
                </a:cubicBezTo>
                <a:cubicBezTo>
                  <a:pt x="238" y="323"/>
                  <a:pt x="237" y="323"/>
                  <a:pt x="237" y="323"/>
                </a:cubicBezTo>
                <a:cubicBezTo>
                  <a:pt x="237" y="323"/>
                  <a:pt x="237" y="323"/>
                  <a:pt x="237" y="323"/>
                </a:cubicBezTo>
                <a:cubicBezTo>
                  <a:pt x="237" y="323"/>
                  <a:pt x="237" y="324"/>
                  <a:pt x="237" y="324"/>
                </a:cubicBezTo>
                <a:cubicBezTo>
                  <a:pt x="238" y="323"/>
                  <a:pt x="238" y="323"/>
                  <a:pt x="238" y="323"/>
                </a:cubicBezTo>
                <a:cubicBezTo>
                  <a:pt x="238" y="323"/>
                  <a:pt x="239" y="323"/>
                  <a:pt x="239" y="323"/>
                </a:cubicBezTo>
                <a:cubicBezTo>
                  <a:pt x="239" y="323"/>
                  <a:pt x="239" y="323"/>
                  <a:pt x="239" y="323"/>
                </a:cubicBezTo>
                <a:cubicBezTo>
                  <a:pt x="239" y="323"/>
                  <a:pt x="239" y="323"/>
                  <a:pt x="240" y="323"/>
                </a:cubicBezTo>
                <a:cubicBezTo>
                  <a:pt x="240" y="323"/>
                  <a:pt x="240" y="323"/>
                  <a:pt x="240" y="323"/>
                </a:cubicBezTo>
                <a:cubicBezTo>
                  <a:pt x="240" y="323"/>
                  <a:pt x="240" y="323"/>
                  <a:pt x="239" y="323"/>
                </a:cubicBezTo>
                <a:cubicBezTo>
                  <a:pt x="239" y="323"/>
                  <a:pt x="239" y="324"/>
                  <a:pt x="239" y="324"/>
                </a:cubicBezTo>
                <a:cubicBezTo>
                  <a:pt x="240" y="324"/>
                  <a:pt x="240" y="324"/>
                  <a:pt x="240" y="324"/>
                </a:cubicBezTo>
                <a:cubicBezTo>
                  <a:pt x="240" y="324"/>
                  <a:pt x="240" y="324"/>
                  <a:pt x="240" y="325"/>
                </a:cubicBezTo>
                <a:cubicBezTo>
                  <a:pt x="240" y="325"/>
                  <a:pt x="240" y="325"/>
                  <a:pt x="240" y="325"/>
                </a:cubicBezTo>
                <a:cubicBezTo>
                  <a:pt x="240" y="325"/>
                  <a:pt x="241" y="325"/>
                  <a:pt x="241" y="325"/>
                </a:cubicBezTo>
                <a:cubicBezTo>
                  <a:pt x="241" y="326"/>
                  <a:pt x="241" y="326"/>
                  <a:pt x="241" y="326"/>
                </a:cubicBezTo>
                <a:cubicBezTo>
                  <a:pt x="241" y="326"/>
                  <a:pt x="241" y="326"/>
                  <a:pt x="242" y="326"/>
                </a:cubicBezTo>
                <a:cubicBezTo>
                  <a:pt x="242" y="326"/>
                  <a:pt x="242" y="326"/>
                  <a:pt x="242" y="326"/>
                </a:cubicBezTo>
                <a:cubicBezTo>
                  <a:pt x="243" y="326"/>
                  <a:pt x="243" y="325"/>
                  <a:pt x="243" y="325"/>
                </a:cubicBezTo>
                <a:cubicBezTo>
                  <a:pt x="243" y="325"/>
                  <a:pt x="242" y="325"/>
                  <a:pt x="242" y="325"/>
                </a:cubicBezTo>
                <a:cubicBezTo>
                  <a:pt x="242" y="325"/>
                  <a:pt x="242" y="325"/>
                  <a:pt x="243" y="324"/>
                </a:cubicBezTo>
                <a:cubicBezTo>
                  <a:pt x="242" y="324"/>
                  <a:pt x="242" y="324"/>
                  <a:pt x="242" y="324"/>
                </a:cubicBezTo>
                <a:cubicBezTo>
                  <a:pt x="242" y="324"/>
                  <a:pt x="242" y="324"/>
                  <a:pt x="241" y="324"/>
                </a:cubicBezTo>
                <a:cubicBezTo>
                  <a:pt x="242" y="324"/>
                  <a:pt x="242" y="324"/>
                  <a:pt x="242" y="324"/>
                </a:cubicBezTo>
                <a:cubicBezTo>
                  <a:pt x="242" y="324"/>
                  <a:pt x="242" y="323"/>
                  <a:pt x="242" y="323"/>
                </a:cubicBezTo>
                <a:cubicBezTo>
                  <a:pt x="243" y="323"/>
                  <a:pt x="243" y="323"/>
                  <a:pt x="243" y="322"/>
                </a:cubicBezTo>
                <a:cubicBezTo>
                  <a:pt x="243" y="322"/>
                  <a:pt x="243" y="322"/>
                  <a:pt x="243" y="322"/>
                </a:cubicBezTo>
                <a:cubicBezTo>
                  <a:pt x="243" y="322"/>
                  <a:pt x="243" y="322"/>
                  <a:pt x="242" y="322"/>
                </a:cubicBezTo>
                <a:cubicBezTo>
                  <a:pt x="242" y="322"/>
                  <a:pt x="242" y="322"/>
                  <a:pt x="242" y="322"/>
                </a:cubicBezTo>
                <a:cubicBezTo>
                  <a:pt x="242" y="322"/>
                  <a:pt x="242" y="322"/>
                  <a:pt x="242" y="322"/>
                </a:cubicBezTo>
                <a:cubicBezTo>
                  <a:pt x="242" y="322"/>
                  <a:pt x="242" y="322"/>
                  <a:pt x="243" y="321"/>
                </a:cubicBezTo>
                <a:close/>
                <a:moveTo>
                  <a:pt x="140" y="317"/>
                </a:moveTo>
                <a:cubicBezTo>
                  <a:pt x="140" y="317"/>
                  <a:pt x="140" y="317"/>
                  <a:pt x="139" y="317"/>
                </a:cubicBezTo>
                <a:cubicBezTo>
                  <a:pt x="140" y="317"/>
                  <a:pt x="140" y="317"/>
                  <a:pt x="140" y="317"/>
                </a:cubicBezTo>
                <a:cubicBezTo>
                  <a:pt x="141" y="317"/>
                  <a:pt x="141" y="317"/>
                  <a:pt x="141" y="317"/>
                </a:cubicBezTo>
                <a:cubicBezTo>
                  <a:pt x="141" y="317"/>
                  <a:pt x="140" y="317"/>
                  <a:pt x="140" y="317"/>
                </a:cubicBezTo>
                <a:close/>
                <a:moveTo>
                  <a:pt x="177" y="295"/>
                </a:moveTo>
                <a:cubicBezTo>
                  <a:pt x="176" y="295"/>
                  <a:pt x="176" y="295"/>
                  <a:pt x="176" y="295"/>
                </a:cubicBezTo>
                <a:cubicBezTo>
                  <a:pt x="176" y="295"/>
                  <a:pt x="175" y="296"/>
                  <a:pt x="175" y="296"/>
                </a:cubicBezTo>
                <a:cubicBezTo>
                  <a:pt x="176" y="296"/>
                  <a:pt x="176" y="296"/>
                  <a:pt x="176" y="296"/>
                </a:cubicBezTo>
                <a:cubicBezTo>
                  <a:pt x="176" y="295"/>
                  <a:pt x="176" y="295"/>
                  <a:pt x="177" y="295"/>
                </a:cubicBezTo>
                <a:close/>
                <a:moveTo>
                  <a:pt x="175" y="297"/>
                </a:moveTo>
                <a:cubicBezTo>
                  <a:pt x="174" y="297"/>
                  <a:pt x="174" y="297"/>
                  <a:pt x="174" y="297"/>
                </a:cubicBezTo>
                <a:cubicBezTo>
                  <a:pt x="174" y="298"/>
                  <a:pt x="174" y="298"/>
                  <a:pt x="174" y="298"/>
                </a:cubicBezTo>
                <a:cubicBezTo>
                  <a:pt x="174" y="298"/>
                  <a:pt x="175" y="298"/>
                  <a:pt x="175" y="298"/>
                </a:cubicBezTo>
                <a:cubicBezTo>
                  <a:pt x="175" y="297"/>
                  <a:pt x="175" y="297"/>
                  <a:pt x="175" y="297"/>
                </a:cubicBezTo>
                <a:close/>
                <a:moveTo>
                  <a:pt x="178" y="299"/>
                </a:moveTo>
                <a:cubicBezTo>
                  <a:pt x="178" y="299"/>
                  <a:pt x="178" y="299"/>
                  <a:pt x="177" y="298"/>
                </a:cubicBezTo>
                <a:cubicBezTo>
                  <a:pt x="177" y="298"/>
                  <a:pt x="177" y="298"/>
                  <a:pt x="177" y="298"/>
                </a:cubicBezTo>
                <a:cubicBezTo>
                  <a:pt x="176" y="299"/>
                  <a:pt x="176" y="299"/>
                  <a:pt x="176" y="299"/>
                </a:cubicBezTo>
                <a:cubicBezTo>
                  <a:pt x="176" y="299"/>
                  <a:pt x="176" y="300"/>
                  <a:pt x="177" y="300"/>
                </a:cubicBezTo>
                <a:cubicBezTo>
                  <a:pt x="177" y="300"/>
                  <a:pt x="178" y="300"/>
                  <a:pt x="178" y="300"/>
                </a:cubicBezTo>
                <a:cubicBezTo>
                  <a:pt x="178" y="299"/>
                  <a:pt x="179" y="299"/>
                  <a:pt x="179" y="299"/>
                </a:cubicBezTo>
                <a:cubicBezTo>
                  <a:pt x="179" y="299"/>
                  <a:pt x="179" y="299"/>
                  <a:pt x="178" y="299"/>
                </a:cubicBezTo>
                <a:cubicBezTo>
                  <a:pt x="178" y="299"/>
                  <a:pt x="178" y="299"/>
                  <a:pt x="178" y="299"/>
                </a:cubicBezTo>
                <a:close/>
                <a:moveTo>
                  <a:pt x="106" y="288"/>
                </a:moveTo>
                <a:cubicBezTo>
                  <a:pt x="106" y="288"/>
                  <a:pt x="107" y="287"/>
                  <a:pt x="107" y="287"/>
                </a:cubicBezTo>
                <a:cubicBezTo>
                  <a:pt x="106" y="287"/>
                  <a:pt x="106" y="287"/>
                  <a:pt x="106" y="287"/>
                </a:cubicBezTo>
                <a:cubicBezTo>
                  <a:pt x="105" y="287"/>
                  <a:pt x="105" y="287"/>
                  <a:pt x="104" y="288"/>
                </a:cubicBezTo>
                <a:cubicBezTo>
                  <a:pt x="104" y="288"/>
                  <a:pt x="104" y="288"/>
                  <a:pt x="104" y="288"/>
                </a:cubicBezTo>
                <a:cubicBezTo>
                  <a:pt x="105" y="288"/>
                  <a:pt x="105" y="288"/>
                  <a:pt x="106" y="288"/>
                </a:cubicBezTo>
                <a:cubicBezTo>
                  <a:pt x="106" y="288"/>
                  <a:pt x="106" y="288"/>
                  <a:pt x="106" y="288"/>
                </a:cubicBezTo>
                <a:close/>
                <a:moveTo>
                  <a:pt x="102" y="335"/>
                </a:moveTo>
                <a:cubicBezTo>
                  <a:pt x="102" y="334"/>
                  <a:pt x="103" y="334"/>
                  <a:pt x="103" y="333"/>
                </a:cubicBezTo>
                <a:cubicBezTo>
                  <a:pt x="103" y="333"/>
                  <a:pt x="103" y="333"/>
                  <a:pt x="102" y="333"/>
                </a:cubicBezTo>
                <a:cubicBezTo>
                  <a:pt x="102" y="333"/>
                  <a:pt x="102" y="334"/>
                  <a:pt x="102" y="334"/>
                </a:cubicBezTo>
                <a:cubicBezTo>
                  <a:pt x="101" y="334"/>
                  <a:pt x="101" y="335"/>
                  <a:pt x="101" y="335"/>
                </a:cubicBezTo>
                <a:cubicBezTo>
                  <a:pt x="101" y="335"/>
                  <a:pt x="101" y="335"/>
                  <a:pt x="101" y="336"/>
                </a:cubicBezTo>
                <a:cubicBezTo>
                  <a:pt x="101" y="336"/>
                  <a:pt x="101" y="335"/>
                  <a:pt x="102" y="335"/>
                </a:cubicBezTo>
                <a:cubicBezTo>
                  <a:pt x="102" y="335"/>
                  <a:pt x="102" y="335"/>
                  <a:pt x="102" y="335"/>
                </a:cubicBezTo>
                <a:close/>
                <a:moveTo>
                  <a:pt x="104" y="333"/>
                </a:moveTo>
                <a:cubicBezTo>
                  <a:pt x="104" y="334"/>
                  <a:pt x="103" y="334"/>
                  <a:pt x="103" y="334"/>
                </a:cubicBezTo>
                <a:cubicBezTo>
                  <a:pt x="103" y="334"/>
                  <a:pt x="103" y="334"/>
                  <a:pt x="104" y="334"/>
                </a:cubicBezTo>
                <a:cubicBezTo>
                  <a:pt x="104" y="334"/>
                  <a:pt x="104" y="334"/>
                  <a:pt x="104" y="334"/>
                </a:cubicBezTo>
                <a:cubicBezTo>
                  <a:pt x="104" y="334"/>
                  <a:pt x="104" y="333"/>
                  <a:pt x="104" y="333"/>
                </a:cubicBezTo>
                <a:close/>
                <a:moveTo>
                  <a:pt x="116" y="349"/>
                </a:moveTo>
                <a:cubicBezTo>
                  <a:pt x="116" y="349"/>
                  <a:pt x="117" y="349"/>
                  <a:pt x="117" y="349"/>
                </a:cubicBezTo>
                <a:cubicBezTo>
                  <a:pt x="117" y="349"/>
                  <a:pt x="118" y="349"/>
                  <a:pt x="118" y="349"/>
                </a:cubicBezTo>
                <a:cubicBezTo>
                  <a:pt x="118" y="348"/>
                  <a:pt x="117" y="348"/>
                  <a:pt x="117" y="348"/>
                </a:cubicBezTo>
                <a:cubicBezTo>
                  <a:pt x="117" y="349"/>
                  <a:pt x="116" y="349"/>
                  <a:pt x="116" y="349"/>
                </a:cubicBezTo>
                <a:close/>
                <a:moveTo>
                  <a:pt x="151" y="306"/>
                </a:moveTo>
                <a:cubicBezTo>
                  <a:pt x="150" y="306"/>
                  <a:pt x="150" y="306"/>
                  <a:pt x="150" y="305"/>
                </a:cubicBezTo>
                <a:cubicBezTo>
                  <a:pt x="150" y="305"/>
                  <a:pt x="150" y="306"/>
                  <a:pt x="149" y="306"/>
                </a:cubicBezTo>
                <a:cubicBezTo>
                  <a:pt x="149" y="306"/>
                  <a:pt x="149" y="307"/>
                  <a:pt x="148" y="307"/>
                </a:cubicBezTo>
                <a:cubicBezTo>
                  <a:pt x="149" y="307"/>
                  <a:pt x="149" y="307"/>
                  <a:pt x="149" y="307"/>
                </a:cubicBezTo>
                <a:cubicBezTo>
                  <a:pt x="150" y="307"/>
                  <a:pt x="150" y="306"/>
                  <a:pt x="151" y="306"/>
                </a:cubicBezTo>
                <a:close/>
                <a:moveTo>
                  <a:pt x="143" y="329"/>
                </a:moveTo>
                <a:cubicBezTo>
                  <a:pt x="143" y="329"/>
                  <a:pt x="143" y="329"/>
                  <a:pt x="143" y="329"/>
                </a:cubicBezTo>
                <a:cubicBezTo>
                  <a:pt x="142" y="329"/>
                  <a:pt x="142" y="329"/>
                  <a:pt x="142" y="329"/>
                </a:cubicBezTo>
                <a:cubicBezTo>
                  <a:pt x="142" y="329"/>
                  <a:pt x="141" y="329"/>
                  <a:pt x="141" y="329"/>
                </a:cubicBezTo>
                <a:cubicBezTo>
                  <a:pt x="141" y="330"/>
                  <a:pt x="141" y="330"/>
                  <a:pt x="140" y="331"/>
                </a:cubicBezTo>
                <a:cubicBezTo>
                  <a:pt x="140" y="331"/>
                  <a:pt x="140" y="331"/>
                  <a:pt x="140" y="331"/>
                </a:cubicBezTo>
                <a:cubicBezTo>
                  <a:pt x="140" y="331"/>
                  <a:pt x="140" y="331"/>
                  <a:pt x="140" y="330"/>
                </a:cubicBezTo>
                <a:cubicBezTo>
                  <a:pt x="140" y="330"/>
                  <a:pt x="140" y="330"/>
                  <a:pt x="140" y="330"/>
                </a:cubicBezTo>
                <a:cubicBezTo>
                  <a:pt x="140" y="330"/>
                  <a:pt x="140" y="330"/>
                  <a:pt x="140" y="329"/>
                </a:cubicBezTo>
                <a:cubicBezTo>
                  <a:pt x="139" y="329"/>
                  <a:pt x="139" y="329"/>
                  <a:pt x="139" y="329"/>
                </a:cubicBezTo>
                <a:cubicBezTo>
                  <a:pt x="139" y="330"/>
                  <a:pt x="138" y="330"/>
                  <a:pt x="138" y="330"/>
                </a:cubicBezTo>
                <a:cubicBezTo>
                  <a:pt x="138" y="330"/>
                  <a:pt x="139" y="330"/>
                  <a:pt x="139" y="330"/>
                </a:cubicBezTo>
                <a:cubicBezTo>
                  <a:pt x="139" y="330"/>
                  <a:pt x="139" y="331"/>
                  <a:pt x="139" y="331"/>
                </a:cubicBezTo>
                <a:cubicBezTo>
                  <a:pt x="139" y="331"/>
                  <a:pt x="138" y="331"/>
                  <a:pt x="138" y="331"/>
                </a:cubicBezTo>
                <a:cubicBezTo>
                  <a:pt x="138" y="331"/>
                  <a:pt x="138" y="331"/>
                  <a:pt x="138" y="331"/>
                </a:cubicBezTo>
                <a:cubicBezTo>
                  <a:pt x="138" y="332"/>
                  <a:pt x="138" y="332"/>
                  <a:pt x="138" y="332"/>
                </a:cubicBezTo>
                <a:cubicBezTo>
                  <a:pt x="137" y="332"/>
                  <a:pt x="137" y="332"/>
                  <a:pt x="137" y="332"/>
                </a:cubicBezTo>
                <a:cubicBezTo>
                  <a:pt x="137" y="332"/>
                  <a:pt x="137" y="332"/>
                  <a:pt x="137" y="332"/>
                </a:cubicBezTo>
                <a:cubicBezTo>
                  <a:pt x="137" y="332"/>
                  <a:pt x="137" y="332"/>
                  <a:pt x="137" y="332"/>
                </a:cubicBezTo>
                <a:cubicBezTo>
                  <a:pt x="137" y="331"/>
                  <a:pt x="137" y="331"/>
                  <a:pt x="137" y="331"/>
                </a:cubicBezTo>
                <a:cubicBezTo>
                  <a:pt x="136" y="331"/>
                  <a:pt x="136" y="331"/>
                  <a:pt x="136" y="331"/>
                </a:cubicBezTo>
                <a:cubicBezTo>
                  <a:pt x="136" y="331"/>
                  <a:pt x="135" y="331"/>
                  <a:pt x="135" y="331"/>
                </a:cubicBezTo>
                <a:cubicBezTo>
                  <a:pt x="135" y="332"/>
                  <a:pt x="135" y="332"/>
                  <a:pt x="135" y="332"/>
                </a:cubicBezTo>
                <a:cubicBezTo>
                  <a:pt x="135" y="332"/>
                  <a:pt x="135" y="332"/>
                  <a:pt x="135" y="332"/>
                </a:cubicBezTo>
                <a:cubicBezTo>
                  <a:pt x="135" y="332"/>
                  <a:pt x="136" y="332"/>
                  <a:pt x="136" y="332"/>
                </a:cubicBezTo>
                <a:cubicBezTo>
                  <a:pt x="136" y="333"/>
                  <a:pt x="136" y="333"/>
                  <a:pt x="136" y="333"/>
                </a:cubicBezTo>
                <a:cubicBezTo>
                  <a:pt x="136" y="333"/>
                  <a:pt x="135" y="333"/>
                  <a:pt x="135" y="333"/>
                </a:cubicBezTo>
                <a:cubicBezTo>
                  <a:pt x="135" y="333"/>
                  <a:pt x="135" y="333"/>
                  <a:pt x="135" y="333"/>
                </a:cubicBezTo>
                <a:cubicBezTo>
                  <a:pt x="135" y="334"/>
                  <a:pt x="135" y="334"/>
                  <a:pt x="136" y="334"/>
                </a:cubicBezTo>
                <a:cubicBezTo>
                  <a:pt x="135" y="334"/>
                  <a:pt x="135" y="335"/>
                  <a:pt x="135" y="335"/>
                </a:cubicBezTo>
                <a:cubicBezTo>
                  <a:pt x="135" y="335"/>
                  <a:pt x="135" y="335"/>
                  <a:pt x="135" y="335"/>
                </a:cubicBezTo>
                <a:cubicBezTo>
                  <a:pt x="134" y="335"/>
                  <a:pt x="134" y="334"/>
                  <a:pt x="134" y="334"/>
                </a:cubicBezTo>
                <a:cubicBezTo>
                  <a:pt x="134" y="334"/>
                  <a:pt x="134" y="334"/>
                  <a:pt x="133" y="334"/>
                </a:cubicBezTo>
                <a:cubicBezTo>
                  <a:pt x="133" y="334"/>
                  <a:pt x="133" y="334"/>
                  <a:pt x="132" y="335"/>
                </a:cubicBezTo>
                <a:cubicBezTo>
                  <a:pt x="131" y="335"/>
                  <a:pt x="131" y="336"/>
                  <a:pt x="130" y="336"/>
                </a:cubicBezTo>
                <a:cubicBezTo>
                  <a:pt x="130" y="337"/>
                  <a:pt x="129" y="337"/>
                  <a:pt x="129" y="338"/>
                </a:cubicBezTo>
                <a:cubicBezTo>
                  <a:pt x="129" y="338"/>
                  <a:pt x="129" y="338"/>
                  <a:pt x="129" y="338"/>
                </a:cubicBezTo>
                <a:cubicBezTo>
                  <a:pt x="129" y="338"/>
                  <a:pt x="129" y="338"/>
                  <a:pt x="130" y="338"/>
                </a:cubicBezTo>
                <a:cubicBezTo>
                  <a:pt x="130" y="339"/>
                  <a:pt x="130" y="339"/>
                  <a:pt x="130" y="339"/>
                </a:cubicBezTo>
                <a:cubicBezTo>
                  <a:pt x="130" y="339"/>
                  <a:pt x="130" y="340"/>
                  <a:pt x="130" y="340"/>
                </a:cubicBezTo>
                <a:cubicBezTo>
                  <a:pt x="130" y="340"/>
                  <a:pt x="130" y="340"/>
                  <a:pt x="130" y="341"/>
                </a:cubicBezTo>
                <a:cubicBezTo>
                  <a:pt x="130" y="341"/>
                  <a:pt x="130" y="341"/>
                  <a:pt x="130" y="341"/>
                </a:cubicBezTo>
                <a:cubicBezTo>
                  <a:pt x="131" y="341"/>
                  <a:pt x="131" y="341"/>
                  <a:pt x="131" y="341"/>
                </a:cubicBezTo>
                <a:cubicBezTo>
                  <a:pt x="131" y="341"/>
                  <a:pt x="131" y="341"/>
                  <a:pt x="132" y="341"/>
                </a:cubicBezTo>
                <a:cubicBezTo>
                  <a:pt x="132" y="341"/>
                  <a:pt x="132" y="340"/>
                  <a:pt x="132" y="340"/>
                </a:cubicBezTo>
                <a:cubicBezTo>
                  <a:pt x="132" y="340"/>
                  <a:pt x="131" y="340"/>
                  <a:pt x="131" y="340"/>
                </a:cubicBezTo>
                <a:cubicBezTo>
                  <a:pt x="131" y="340"/>
                  <a:pt x="131" y="340"/>
                  <a:pt x="131" y="340"/>
                </a:cubicBezTo>
                <a:cubicBezTo>
                  <a:pt x="131" y="340"/>
                  <a:pt x="131" y="340"/>
                  <a:pt x="131" y="340"/>
                </a:cubicBezTo>
                <a:cubicBezTo>
                  <a:pt x="131" y="339"/>
                  <a:pt x="132" y="339"/>
                  <a:pt x="132" y="339"/>
                </a:cubicBezTo>
                <a:cubicBezTo>
                  <a:pt x="132" y="339"/>
                  <a:pt x="132" y="339"/>
                  <a:pt x="132" y="340"/>
                </a:cubicBezTo>
                <a:cubicBezTo>
                  <a:pt x="132" y="340"/>
                  <a:pt x="132" y="340"/>
                  <a:pt x="133" y="340"/>
                </a:cubicBezTo>
                <a:cubicBezTo>
                  <a:pt x="133" y="339"/>
                  <a:pt x="133" y="339"/>
                  <a:pt x="133" y="339"/>
                </a:cubicBezTo>
                <a:cubicBezTo>
                  <a:pt x="133" y="339"/>
                  <a:pt x="134" y="339"/>
                  <a:pt x="134" y="339"/>
                </a:cubicBezTo>
                <a:cubicBezTo>
                  <a:pt x="134" y="339"/>
                  <a:pt x="133" y="339"/>
                  <a:pt x="133" y="340"/>
                </a:cubicBezTo>
                <a:cubicBezTo>
                  <a:pt x="133" y="340"/>
                  <a:pt x="133" y="340"/>
                  <a:pt x="134" y="340"/>
                </a:cubicBezTo>
                <a:cubicBezTo>
                  <a:pt x="133" y="341"/>
                  <a:pt x="133" y="341"/>
                  <a:pt x="132" y="342"/>
                </a:cubicBezTo>
                <a:cubicBezTo>
                  <a:pt x="132" y="342"/>
                  <a:pt x="132" y="342"/>
                  <a:pt x="132" y="342"/>
                </a:cubicBezTo>
                <a:cubicBezTo>
                  <a:pt x="132" y="342"/>
                  <a:pt x="133" y="342"/>
                  <a:pt x="133" y="342"/>
                </a:cubicBezTo>
                <a:cubicBezTo>
                  <a:pt x="133" y="342"/>
                  <a:pt x="133" y="341"/>
                  <a:pt x="134" y="341"/>
                </a:cubicBezTo>
                <a:cubicBezTo>
                  <a:pt x="134" y="341"/>
                  <a:pt x="134" y="341"/>
                  <a:pt x="134" y="341"/>
                </a:cubicBezTo>
                <a:cubicBezTo>
                  <a:pt x="134" y="340"/>
                  <a:pt x="134" y="340"/>
                  <a:pt x="134" y="340"/>
                </a:cubicBezTo>
                <a:cubicBezTo>
                  <a:pt x="134" y="340"/>
                  <a:pt x="135" y="340"/>
                  <a:pt x="135" y="339"/>
                </a:cubicBezTo>
                <a:cubicBezTo>
                  <a:pt x="135" y="339"/>
                  <a:pt x="135" y="339"/>
                  <a:pt x="134" y="339"/>
                </a:cubicBezTo>
                <a:cubicBezTo>
                  <a:pt x="135" y="339"/>
                  <a:pt x="135" y="339"/>
                  <a:pt x="135" y="338"/>
                </a:cubicBezTo>
                <a:cubicBezTo>
                  <a:pt x="135" y="338"/>
                  <a:pt x="135" y="338"/>
                  <a:pt x="135" y="338"/>
                </a:cubicBezTo>
                <a:cubicBezTo>
                  <a:pt x="135" y="338"/>
                  <a:pt x="135" y="338"/>
                  <a:pt x="135" y="337"/>
                </a:cubicBezTo>
                <a:cubicBezTo>
                  <a:pt x="136" y="337"/>
                  <a:pt x="136" y="337"/>
                  <a:pt x="136" y="337"/>
                </a:cubicBezTo>
                <a:cubicBezTo>
                  <a:pt x="136" y="337"/>
                  <a:pt x="137" y="337"/>
                  <a:pt x="137" y="336"/>
                </a:cubicBezTo>
                <a:cubicBezTo>
                  <a:pt x="137" y="336"/>
                  <a:pt x="138" y="336"/>
                  <a:pt x="138" y="336"/>
                </a:cubicBezTo>
                <a:cubicBezTo>
                  <a:pt x="138" y="336"/>
                  <a:pt x="138" y="336"/>
                  <a:pt x="138" y="336"/>
                </a:cubicBezTo>
                <a:cubicBezTo>
                  <a:pt x="138" y="336"/>
                  <a:pt x="138" y="335"/>
                  <a:pt x="138" y="335"/>
                </a:cubicBezTo>
                <a:cubicBezTo>
                  <a:pt x="137" y="335"/>
                  <a:pt x="137" y="335"/>
                  <a:pt x="137" y="336"/>
                </a:cubicBezTo>
                <a:cubicBezTo>
                  <a:pt x="137" y="335"/>
                  <a:pt x="137" y="335"/>
                  <a:pt x="137" y="335"/>
                </a:cubicBezTo>
                <a:cubicBezTo>
                  <a:pt x="138" y="335"/>
                  <a:pt x="138" y="335"/>
                  <a:pt x="139" y="334"/>
                </a:cubicBezTo>
                <a:cubicBezTo>
                  <a:pt x="139" y="335"/>
                  <a:pt x="139" y="335"/>
                  <a:pt x="140" y="335"/>
                </a:cubicBezTo>
                <a:cubicBezTo>
                  <a:pt x="140" y="335"/>
                  <a:pt x="140" y="335"/>
                  <a:pt x="140" y="334"/>
                </a:cubicBezTo>
                <a:cubicBezTo>
                  <a:pt x="141" y="334"/>
                  <a:pt x="141" y="334"/>
                  <a:pt x="141" y="334"/>
                </a:cubicBezTo>
                <a:cubicBezTo>
                  <a:pt x="140" y="333"/>
                  <a:pt x="140" y="333"/>
                  <a:pt x="140" y="333"/>
                </a:cubicBezTo>
                <a:cubicBezTo>
                  <a:pt x="140" y="333"/>
                  <a:pt x="139" y="333"/>
                  <a:pt x="139" y="333"/>
                </a:cubicBezTo>
                <a:cubicBezTo>
                  <a:pt x="139" y="333"/>
                  <a:pt x="139" y="333"/>
                  <a:pt x="139" y="333"/>
                </a:cubicBezTo>
                <a:cubicBezTo>
                  <a:pt x="139" y="333"/>
                  <a:pt x="140" y="333"/>
                  <a:pt x="140" y="332"/>
                </a:cubicBezTo>
                <a:cubicBezTo>
                  <a:pt x="140" y="332"/>
                  <a:pt x="140" y="332"/>
                  <a:pt x="141" y="332"/>
                </a:cubicBezTo>
                <a:cubicBezTo>
                  <a:pt x="141" y="332"/>
                  <a:pt x="141" y="332"/>
                  <a:pt x="141" y="332"/>
                </a:cubicBezTo>
                <a:cubicBezTo>
                  <a:pt x="141" y="332"/>
                  <a:pt x="142" y="332"/>
                  <a:pt x="142" y="332"/>
                </a:cubicBezTo>
                <a:cubicBezTo>
                  <a:pt x="142" y="332"/>
                  <a:pt x="142" y="332"/>
                  <a:pt x="143" y="332"/>
                </a:cubicBezTo>
                <a:cubicBezTo>
                  <a:pt x="143" y="332"/>
                  <a:pt x="143" y="331"/>
                  <a:pt x="143" y="331"/>
                </a:cubicBezTo>
                <a:cubicBezTo>
                  <a:pt x="143" y="331"/>
                  <a:pt x="143" y="331"/>
                  <a:pt x="142" y="331"/>
                </a:cubicBezTo>
                <a:cubicBezTo>
                  <a:pt x="142" y="331"/>
                  <a:pt x="142" y="331"/>
                  <a:pt x="142" y="331"/>
                </a:cubicBezTo>
                <a:cubicBezTo>
                  <a:pt x="142" y="330"/>
                  <a:pt x="142" y="330"/>
                  <a:pt x="142" y="330"/>
                </a:cubicBezTo>
                <a:cubicBezTo>
                  <a:pt x="142" y="330"/>
                  <a:pt x="142" y="330"/>
                  <a:pt x="143" y="330"/>
                </a:cubicBezTo>
                <a:cubicBezTo>
                  <a:pt x="143" y="330"/>
                  <a:pt x="143" y="329"/>
                  <a:pt x="143" y="329"/>
                </a:cubicBezTo>
                <a:close/>
                <a:moveTo>
                  <a:pt x="122" y="353"/>
                </a:moveTo>
                <a:cubicBezTo>
                  <a:pt x="122" y="353"/>
                  <a:pt x="122" y="353"/>
                  <a:pt x="122" y="353"/>
                </a:cubicBezTo>
                <a:cubicBezTo>
                  <a:pt x="123" y="353"/>
                  <a:pt x="123" y="353"/>
                  <a:pt x="123" y="353"/>
                </a:cubicBezTo>
                <a:cubicBezTo>
                  <a:pt x="123" y="353"/>
                  <a:pt x="123" y="353"/>
                  <a:pt x="123" y="353"/>
                </a:cubicBezTo>
                <a:cubicBezTo>
                  <a:pt x="123" y="352"/>
                  <a:pt x="123" y="352"/>
                  <a:pt x="123" y="352"/>
                </a:cubicBezTo>
                <a:cubicBezTo>
                  <a:pt x="123" y="352"/>
                  <a:pt x="123" y="353"/>
                  <a:pt x="122" y="353"/>
                </a:cubicBezTo>
                <a:close/>
                <a:moveTo>
                  <a:pt x="144" y="326"/>
                </a:moveTo>
                <a:cubicBezTo>
                  <a:pt x="144" y="325"/>
                  <a:pt x="144" y="325"/>
                  <a:pt x="144" y="325"/>
                </a:cubicBezTo>
                <a:cubicBezTo>
                  <a:pt x="144" y="325"/>
                  <a:pt x="145" y="325"/>
                  <a:pt x="145" y="324"/>
                </a:cubicBezTo>
                <a:cubicBezTo>
                  <a:pt x="144" y="324"/>
                  <a:pt x="144" y="324"/>
                  <a:pt x="144" y="324"/>
                </a:cubicBezTo>
                <a:cubicBezTo>
                  <a:pt x="144" y="324"/>
                  <a:pt x="144" y="324"/>
                  <a:pt x="143" y="324"/>
                </a:cubicBezTo>
                <a:cubicBezTo>
                  <a:pt x="143" y="325"/>
                  <a:pt x="143" y="325"/>
                  <a:pt x="143" y="325"/>
                </a:cubicBezTo>
                <a:cubicBezTo>
                  <a:pt x="143" y="325"/>
                  <a:pt x="143" y="325"/>
                  <a:pt x="143" y="325"/>
                </a:cubicBezTo>
                <a:cubicBezTo>
                  <a:pt x="143" y="325"/>
                  <a:pt x="143" y="325"/>
                  <a:pt x="143" y="324"/>
                </a:cubicBezTo>
                <a:cubicBezTo>
                  <a:pt x="142" y="324"/>
                  <a:pt x="142" y="324"/>
                  <a:pt x="142" y="324"/>
                </a:cubicBezTo>
                <a:cubicBezTo>
                  <a:pt x="142" y="325"/>
                  <a:pt x="141" y="325"/>
                  <a:pt x="141" y="325"/>
                </a:cubicBezTo>
                <a:cubicBezTo>
                  <a:pt x="141" y="325"/>
                  <a:pt x="141" y="326"/>
                  <a:pt x="141" y="326"/>
                </a:cubicBezTo>
                <a:cubicBezTo>
                  <a:pt x="141" y="326"/>
                  <a:pt x="141" y="326"/>
                  <a:pt x="141" y="326"/>
                </a:cubicBezTo>
                <a:cubicBezTo>
                  <a:pt x="141" y="326"/>
                  <a:pt x="141" y="326"/>
                  <a:pt x="141" y="327"/>
                </a:cubicBezTo>
                <a:cubicBezTo>
                  <a:pt x="141" y="327"/>
                  <a:pt x="141" y="327"/>
                  <a:pt x="140" y="327"/>
                </a:cubicBezTo>
                <a:cubicBezTo>
                  <a:pt x="140" y="327"/>
                  <a:pt x="140" y="327"/>
                  <a:pt x="140" y="327"/>
                </a:cubicBezTo>
                <a:cubicBezTo>
                  <a:pt x="140" y="327"/>
                  <a:pt x="140" y="327"/>
                  <a:pt x="139" y="327"/>
                </a:cubicBezTo>
                <a:cubicBezTo>
                  <a:pt x="139" y="328"/>
                  <a:pt x="139" y="328"/>
                  <a:pt x="139" y="328"/>
                </a:cubicBezTo>
                <a:cubicBezTo>
                  <a:pt x="139" y="328"/>
                  <a:pt x="139" y="328"/>
                  <a:pt x="139" y="328"/>
                </a:cubicBezTo>
                <a:cubicBezTo>
                  <a:pt x="140" y="328"/>
                  <a:pt x="140" y="328"/>
                  <a:pt x="141" y="328"/>
                </a:cubicBezTo>
                <a:cubicBezTo>
                  <a:pt x="141" y="328"/>
                  <a:pt x="141" y="328"/>
                  <a:pt x="142" y="328"/>
                </a:cubicBezTo>
                <a:cubicBezTo>
                  <a:pt x="142" y="328"/>
                  <a:pt x="142" y="327"/>
                  <a:pt x="142" y="327"/>
                </a:cubicBezTo>
                <a:cubicBezTo>
                  <a:pt x="143" y="327"/>
                  <a:pt x="143" y="327"/>
                  <a:pt x="143" y="327"/>
                </a:cubicBezTo>
                <a:cubicBezTo>
                  <a:pt x="143" y="327"/>
                  <a:pt x="143" y="327"/>
                  <a:pt x="143" y="327"/>
                </a:cubicBezTo>
                <a:cubicBezTo>
                  <a:pt x="144" y="327"/>
                  <a:pt x="144" y="326"/>
                  <a:pt x="144" y="326"/>
                </a:cubicBezTo>
                <a:cubicBezTo>
                  <a:pt x="144" y="326"/>
                  <a:pt x="144" y="326"/>
                  <a:pt x="145" y="326"/>
                </a:cubicBezTo>
                <a:cubicBezTo>
                  <a:pt x="145" y="326"/>
                  <a:pt x="145" y="326"/>
                  <a:pt x="145" y="326"/>
                </a:cubicBezTo>
                <a:cubicBezTo>
                  <a:pt x="145" y="326"/>
                  <a:pt x="145" y="325"/>
                  <a:pt x="145" y="325"/>
                </a:cubicBezTo>
                <a:cubicBezTo>
                  <a:pt x="145" y="325"/>
                  <a:pt x="144" y="326"/>
                  <a:pt x="144" y="326"/>
                </a:cubicBezTo>
                <a:close/>
                <a:moveTo>
                  <a:pt x="144" y="323"/>
                </a:moveTo>
                <a:cubicBezTo>
                  <a:pt x="143" y="323"/>
                  <a:pt x="143" y="323"/>
                  <a:pt x="143" y="322"/>
                </a:cubicBezTo>
                <a:cubicBezTo>
                  <a:pt x="143" y="322"/>
                  <a:pt x="143" y="323"/>
                  <a:pt x="143" y="323"/>
                </a:cubicBezTo>
                <a:cubicBezTo>
                  <a:pt x="142" y="323"/>
                  <a:pt x="142" y="323"/>
                  <a:pt x="142" y="323"/>
                </a:cubicBezTo>
                <a:cubicBezTo>
                  <a:pt x="142" y="323"/>
                  <a:pt x="142" y="323"/>
                  <a:pt x="142" y="324"/>
                </a:cubicBezTo>
                <a:cubicBezTo>
                  <a:pt x="142" y="324"/>
                  <a:pt x="143" y="324"/>
                  <a:pt x="143" y="324"/>
                </a:cubicBezTo>
                <a:cubicBezTo>
                  <a:pt x="143" y="323"/>
                  <a:pt x="143" y="323"/>
                  <a:pt x="144" y="323"/>
                </a:cubicBezTo>
                <a:close/>
                <a:moveTo>
                  <a:pt x="128" y="346"/>
                </a:moveTo>
                <a:cubicBezTo>
                  <a:pt x="129" y="346"/>
                  <a:pt x="129" y="346"/>
                  <a:pt x="129" y="345"/>
                </a:cubicBezTo>
                <a:cubicBezTo>
                  <a:pt x="130" y="345"/>
                  <a:pt x="130" y="344"/>
                  <a:pt x="131" y="343"/>
                </a:cubicBezTo>
                <a:cubicBezTo>
                  <a:pt x="130" y="344"/>
                  <a:pt x="129" y="344"/>
                  <a:pt x="129" y="345"/>
                </a:cubicBezTo>
                <a:cubicBezTo>
                  <a:pt x="128" y="345"/>
                  <a:pt x="128" y="346"/>
                  <a:pt x="128" y="346"/>
                </a:cubicBezTo>
                <a:close/>
                <a:moveTo>
                  <a:pt x="131" y="344"/>
                </a:moveTo>
                <a:cubicBezTo>
                  <a:pt x="131" y="344"/>
                  <a:pt x="132" y="344"/>
                  <a:pt x="132" y="343"/>
                </a:cubicBezTo>
                <a:cubicBezTo>
                  <a:pt x="131" y="343"/>
                  <a:pt x="131" y="344"/>
                  <a:pt x="131" y="344"/>
                </a:cubicBezTo>
                <a:cubicBezTo>
                  <a:pt x="131" y="344"/>
                  <a:pt x="131" y="344"/>
                  <a:pt x="131" y="344"/>
                </a:cubicBezTo>
                <a:close/>
                <a:moveTo>
                  <a:pt x="239" y="324"/>
                </a:moveTo>
                <a:cubicBezTo>
                  <a:pt x="239" y="324"/>
                  <a:pt x="238" y="324"/>
                  <a:pt x="238" y="324"/>
                </a:cubicBezTo>
                <a:cubicBezTo>
                  <a:pt x="238" y="324"/>
                  <a:pt x="238" y="325"/>
                  <a:pt x="238" y="325"/>
                </a:cubicBezTo>
                <a:cubicBezTo>
                  <a:pt x="238" y="325"/>
                  <a:pt x="239" y="325"/>
                  <a:pt x="239" y="325"/>
                </a:cubicBezTo>
                <a:cubicBezTo>
                  <a:pt x="239" y="325"/>
                  <a:pt x="239" y="325"/>
                  <a:pt x="239" y="324"/>
                </a:cubicBezTo>
                <a:close/>
                <a:moveTo>
                  <a:pt x="245" y="324"/>
                </a:moveTo>
                <a:cubicBezTo>
                  <a:pt x="245" y="324"/>
                  <a:pt x="246" y="324"/>
                  <a:pt x="246" y="324"/>
                </a:cubicBezTo>
                <a:cubicBezTo>
                  <a:pt x="246" y="324"/>
                  <a:pt x="246" y="323"/>
                  <a:pt x="247" y="323"/>
                </a:cubicBezTo>
                <a:cubicBezTo>
                  <a:pt x="246" y="323"/>
                  <a:pt x="246" y="323"/>
                  <a:pt x="246" y="323"/>
                </a:cubicBezTo>
                <a:cubicBezTo>
                  <a:pt x="246" y="323"/>
                  <a:pt x="245" y="324"/>
                  <a:pt x="245" y="324"/>
                </a:cubicBezTo>
                <a:close/>
                <a:moveTo>
                  <a:pt x="246" y="323"/>
                </a:moveTo>
                <a:cubicBezTo>
                  <a:pt x="246" y="322"/>
                  <a:pt x="246" y="322"/>
                  <a:pt x="246" y="322"/>
                </a:cubicBezTo>
                <a:cubicBezTo>
                  <a:pt x="246" y="322"/>
                  <a:pt x="246" y="321"/>
                  <a:pt x="245" y="321"/>
                </a:cubicBezTo>
                <a:cubicBezTo>
                  <a:pt x="245" y="321"/>
                  <a:pt x="245" y="322"/>
                  <a:pt x="245" y="322"/>
                </a:cubicBezTo>
                <a:cubicBezTo>
                  <a:pt x="245" y="322"/>
                  <a:pt x="245" y="322"/>
                  <a:pt x="245" y="322"/>
                </a:cubicBezTo>
                <a:cubicBezTo>
                  <a:pt x="245" y="322"/>
                  <a:pt x="245" y="323"/>
                  <a:pt x="245" y="323"/>
                </a:cubicBezTo>
                <a:cubicBezTo>
                  <a:pt x="245" y="323"/>
                  <a:pt x="245" y="323"/>
                  <a:pt x="246" y="323"/>
                </a:cubicBezTo>
                <a:close/>
                <a:moveTo>
                  <a:pt x="231" y="310"/>
                </a:moveTo>
                <a:cubicBezTo>
                  <a:pt x="231" y="310"/>
                  <a:pt x="231" y="310"/>
                  <a:pt x="230" y="310"/>
                </a:cubicBezTo>
                <a:cubicBezTo>
                  <a:pt x="231" y="310"/>
                  <a:pt x="231" y="310"/>
                  <a:pt x="231" y="310"/>
                </a:cubicBezTo>
                <a:cubicBezTo>
                  <a:pt x="231" y="310"/>
                  <a:pt x="231" y="310"/>
                  <a:pt x="231" y="310"/>
                </a:cubicBezTo>
                <a:close/>
                <a:moveTo>
                  <a:pt x="241" y="316"/>
                </a:moveTo>
                <a:cubicBezTo>
                  <a:pt x="241" y="316"/>
                  <a:pt x="241" y="316"/>
                  <a:pt x="241" y="317"/>
                </a:cubicBezTo>
                <a:cubicBezTo>
                  <a:pt x="241" y="317"/>
                  <a:pt x="241" y="316"/>
                  <a:pt x="242" y="316"/>
                </a:cubicBezTo>
                <a:cubicBezTo>
                  <a:pt x="242" y="316"/>
                  <a:pt x="242" y="316"/>
                  <a:pt x="242" y="316"/>
                </a:cubicBezTo>
                <a:cubicBezTo>
                  <a:pt x="242" y="315"/>
                  <a:pt x="242" y="315"/>
                  <a:pt x="242" y="315"/>
                </a:cubicBezTo>
                <a:cubicBezTo>
                  <a:pt x="242" y="315"/>
                  <a:pt x="242" y="315"/>
                  <a:pt x="242" y="315"/>
                </a:cubicBezTo>
                <a:cubicBezTo>
                  <a:pt x="242" y="315"/>
                  <a:pt x="241" y="316"/>
                  <a:pt x="241" y="316"/>
                </a:cubicBezTo>
                <a:close/>
                <a:moveTo>
                  <a:pt x="241" y="316"/>
                </a:moveTo>
                <a:cubicBezTo>
                  <a:pt x="241" y="315"/>
                  <a:pt x="241" y="315"/>
                  <a:pt x="242" y="314"/>
                </a:cubicBezTo>
                <a:cubicBezTo>
                  <a:pt x="242" y="314"/>
                  <a:pt x="242" y="314"/>
                  <a:pt x="242" y="314"/>
                </a:cubicBezTo>
                <a:cubicBezTo>
                  <a:pt x="241" y="314"/>
                  <a:pt x="240" y="314"/>
                  <a:pt x="240" y="314"/>
                </a:cubicBezTo>
                <a:cubicBezTo>
                  <a:pt x="240" y="315"/>
                  <a:pt x="239" y="315"/>
                  <a:pt x="239" y="315"/>
                </a:cubicBezTo>
                <a:cubicBezTo>
                  <a:pt x="239" y="315"/>
                  <a:pt x="240" y="316"/>
                  <a:pt x="240" y="316"/>
                </a:cubicBezTo>
                <a:cubicBezTo>
                  <a:pt x="240" y="316"/>
                  <a:pt x="241" y="316"/>
                  <a:pt x="241" y="316"/>
                </a:cubicBezTo>
                <a:close/>
                <a:moveTo>
                  <a:pt x="245" y="320"/>
                </a:moveTo>
                <a:cubicBezTo>
                  <a:pt x="246" y="320"/>
                  <a:pt x="246" y="319"/>
                  <a:pt x="247" y="319"/>
                </a:cubicBezTo>
                <a:cubicBezTo>
                  <a:pt x="247" y="319"/>
                  <a:pt x="247" y="319"/>
                  <a:pt x="247" y="319"/>
                </a:cubicBezTo>
                <a:cubicBezTo>
                  <a:pt x="247" y="319"/>
                  <a:pt x="246" y="320"/>
                  <a:pt x="246" y="320"/>
                </a:cubicBezTo>
                <a:cubicBezTo>
                  <a:pt x="246" y="320"/>
                  <a:pt x="246" y="321"/>
                  <a:pt x="246" y="321"/>
                </a:cubicBezTo>
                <a:cubicBezTo>
                  <a:pt x="246" y="321"/>
                  <a:pt x="246" y="321"/>
                  <a:pt x="246" y="321"/>
                </a:cubicBezTo>
                <a:cubicBezTo>
                  <a:pt x="247" y="321"/>
                  <a:pt x="247" y="320"/>
                  <a:pt x="248" y="320"/>
                </a:cubicBezTo>
                <a:cubicBezTo>
                  <a:pt x="248" y="319"/>
                  <a:pt x="248" y="318"/>
                  <a:pt x="249" y="318"/>
                </a:cubicBezTo>
                <a:cubicBezTo>
                  <a:pt x="248" y="318"/>
                  <a:pt x="248" y="318"/>
                  <a:pt x="248" y="317"/>
                </a:cubicBezTo>
                <a:cubicBezTo>
                  <a:pt x="248" y="317"/>
                  <a:pt x="248" y="317"/>
                  <a:pt x="248" y="316"/>
                </a:cubicBezTo>
                <a:cubicBezTo>
                  <a:pt x="248" y="316"/>
                  <a:pt x="248" y="316"/>
                  <a:pt x="247" y="316"/>
                </a:cubicBezTo>
                <a:cubicBezTo>
                  <a:pt x="247" y="316"/>
                  <a:pt x="247" y="316"/>
                  <a:pt x="246" y="316"/>
                </a:cubicBezTo>
                <a:cubicBezTo>
                  <a:pt x="246" y="317"/>
                  <a:pt x="246" y="317"/>
                  <a:pt x="246" y="317"/>
                </a:cubicBezTo>
                <a:cubicBezTo>
                  <a:pt x="246" y="317"/>
                  <a:pt x="246" y="317"/>
                  <a:pt x="245" y="317"/>
                </a:cubicBezTo>
                <a:cubicBezTo>
                  <a:pt x="245" y="318"/>
                  <a:pt x="245" y="318"/>
                  <a:pt x="245" y="319"/>
                </a:cubicBezTo>
                <a:cubicBezTo>
                  <a:pt x="245" y="319"/>
                  <a:pt x="245" y="319"/>
                  <a:pt x="245" y="319"/>
                </a:cubicBezTo>
                <a:cubicBezTo>
                  <a:pt x="245" y="319"/>
                  <a:pt x="245" y="320"/>
                  <a:pt x="245" y="320"/>
                </a:cubicBezTo>
                <a:cubicBezTo>
                  <a:pt x="245" y="320"/>
                  <a:pt x="245" y="320"/>
                  <a:pt x="245" y="320"/>
                </a:cubicBezTo>
                <a:close/>
                <a:moveTo>
                  <a:pt x="244" y="315"/>
                </a:moveTo>
                <a:cubicBezTo>
                  <a:pt x="244" y="314"/>
                  <a:pt x="244" y="314"/>
                  <a:pt x="244" y="314"/>
                </a:cubicBezTo>
                <a:cubicBezTo>
                  <a:pt x="244" y="314"/>
                  <a:pt x="244" y="314"/>
                  <a:pt x="243" y="314"/>
                </a:cubicBezTo>
                <a:cubicBezTo>
                  <a:pt x="243" y="314"/>
                  <a:pt x="243" y="314"/>
                  <a:pt x="243" y="315"/>
                </a:cubicBezTo>
                <a:cubicBezTo>
                  <a:pt x="243" y="315"/>
                  <a:pt x="243" y="315"/>
                  <a:pt x="243" y="315"/>
                </a:cubicBezTo>
                <a:cubicBezTo>
                  <a:pt x="243" y="315"/>
                  <a:pt x="244" y="315"/>
                  <a:pt x="244" y="315"/>
                </a:cubicBezTo>
                <a:cubicBezTo>
                  <a:pt x="244" y="315"/>
                  <a:pt x="244" y="315"/>
                  <a:pt x="244" y="315"/>
                </a:cubicBezTo>
                <a:close/>
                <a:moveTo>
                  <a:pt x="227" y="303"/>
                </a:moveTo>
                <a:cubicBezTo>
                  <a:pt x="227" y="303"/>
                  <a:pt x="227" y="303"/>
                  <a:pt x="226" y="303"/>
                </a:cubicBezTo>
                <a:cubicBezTo>
                  <a:pt x="226" y="303"/>
                  <a:pt x="226" y="304"/>
                  <a:pt x="226" y="304"/>
                </a:cubicBezTo>
                <a:cubicBezTo>
                  <a:pt x="226" y="304"/>
                  <a:pt x="226" y="304"/>
                  <a:pt x="226" y="304"/>
                </a:cubicBezTo>
                <a:cubicBezTo>
                  <a:pt x="227" y="304"/>
                  <a:pt x="227" y="304"/>
                  <a:pt x="227" y="303"/>
                </a:cubicBezTo>
                <a:close/>
                <a:moveTo>
                  <a:pt x="230" y="304"/>
                </a:moveTo>
                <a:cubicBezTo>
                  <a:pt x="230" y="305"/>
                  <a:pt x="229" y="305"/>
                  <a:pt x="229" y="305"/>
                </a:cubicBezTo>
                <a:cubicBezTo>
                  <a:pt x="229" y="305"/>
                  <a:pt x="229" y="305"/>
                  <a:pt x="229" y="305"/>
                </a:cubicBezTo>
                <a:cubicBezTo>
                  <a:pt x="229" y="305"/>
                  <a:pt x="228" y="305"/>
                  <a:pt x="228" y="305"/>
                </a:cubicBezTo>
                <a:cubicBezTo>
                  <a:pt x="228" y="305"/>
                  <a:pt x="228" y="305"/>
                  <a:pt x="229" y="304"/>
                </a:cubicBezTo>
                <a:cubicBezTo>
                  <a:pt x="229" y="304"/>
                  <a:pt x="228" y="304"/>
                  <a:pt x="228" y="304"/>
                </a:cubicBezTo>
                <a:cubicBezTo>
                  <a:pt x="228" y="304"/>
                  <a:pt x="228" y="304"/>
                  <a:pt x="227" y="304"/>
                </a:cubicBezTo>
                <a:cubicBezTo>
                  <a:pt x="227" y="304"/>
                  <a:pt x="226" y="305"/>
                  <a:pt x="226" y="305"/>
                </a:cubicBezTo>
                <a:cubicBezTo>
                  <a:pt x="226" y="305"/>
                  <a:pt x="226" y="305"/>
                  <a:pt x="226" y="305"/>
                </a:cubicBezTo>
                <a:cubicBezTo>
                  <a:pt x="226" y="305"/>
                  <a:pt x="225" y="305"/>
                  <a:pt x="225" y="306"/>
                </a:cubicBezTo>
                <a:cubicBezTo>
                  <a:pt x="225" y="305"/>
                  <a:pt x="225" y="305"/>
                  <a:pt x="224" y="305"/>
                </a:cubicBezTo>
                <a:cubicBezTo>
                  <a:pt x="224" y="305"/>
                  <a:pt x="224" y="306"/>
                  <a:pt x="224" y="306"/>
                </a:cubicBezTo>
                <a:cubicBezTo>
                  <a:pt x="224" y="306"/>
                  <a:pt x="225" y="307"/>
                  <a:pt x="225" y="307"/>
                </a:cubicBezTo>
                <a:cubicBezTo>
                  <a:pt x="225" y="307"/>
                  <a:pt x="225" y="307"/>
                  <a:pt x="226" y="307"/>
                </a:cubicBezTo>
                <a:cubicBezTo>
                  <a:pt x="225" y="307"/>
                  <a:pt x="225" y="307"/>
                  <a:pt x="225" y="307"/>
                </a:cubicBezTo>
                <a:cubicBezTo>
                  <a:pt x="225" y="307"/>
                  <a:pt x="225" y="307"/>
                  <a:pt x="225" y="307"/>
                </a:cubicBezTo>
                <a:cubicBezTo>
                  <a:pt x="224" y="308"/>
                  <a:pt x="224" y="308"/>
                  <a:pt x="224" y="308"/>
                </a:cubicBezTo>
                <a:cubicBezTo>
                  <a:pt x="225" y="308"/>
                  <a:pt x="225" y="309"/>
                  <a:pt x="225" y="309"/>
                </a:cubicBezTo>
                <a:cubicBezTo>
                  <a:pt x="225" y="309"/>
                  <a:pt x="225" y="309"/>
                  <a:pt x="225" y="310"/>
                </a:cubicBezTo>
                <a:cubicBezTo>
                  <a:pt x="226" y="310"/>
                  <a:pt x="226" y="310"/>
                  <a:pt x="226" y="310"/>
                </a:cubicBezTo>
                <a:cubicBezTo>
                  <a:pt x="226" y="310"/>
                  <a:pt x="226" y="310"/>
                  <a:pt x="226" y="310"/>
                </a:cubicBezTo>
                <a:cubicBezTo>
                  <a:pt x="226" y="310"/>
                  <a:pt x="227" y="311"/>
                  <a:pt x="227" y="311"/>
                </a:cubicBezTo>
                <a:cubicBezTo>
                  <a:pt x="227" y="311"/>
                  <a:pt x="228" y="310"/>
                  <a:pt x="228" y="310"/>
                </a:cubicBezTo>
                <a:cubicBezTo>
                  <a:pt x="228" y="310"/>
                  <a:pt x="228" y="310"/>
                  <a:pt x="228" y="310"/>
                </a:cubicBezTo>
                <a:cubicBezTo>
                  <a:pt x="228" y="309"/>
                  <a:pt x="228" y="309"/>
                  <a:pt x="228" y="309"/>
                </a:cubicBezTo>
                <a:cubicBezTo>
                  <a:pt x="228" y="309"/>
                  <a:pt x="227" y="308"/>
                  <a:pt x="227" y="308"/>
                </a:cubicBezTo>
                <a:cubicBezTo>
                  <a:pt x="227" y="308"/>
                  <a:pt x="227" y="308"/>
                  <a:pt x="227" y="307"/>
                </a:cubicBezTo>
                <a:cubicBezTo>
                  <a:pt x="228" y="308"/>
                  <a:pt x="228" y="308"/>
                  <a:pt x="229" y="308"/>
                </a:cubicBezTo>
                <a:cubicBezTo>
                  <a:pt x="229" y="309"/>
                  <a:pt x="229" y="309"/>
                  <a:pt x="229" y="309"/>
                </a:cubicBezTo>
                <a:cubicBezTo>
                  <a:pt x="230" y="309"/>
                  <a:pt x="230" y="309"/>
                  <a:pt x="231" y="309"/>
                </a:cubicBezTo>
                <a:cubicBezTo>
                  <a:pt x="231" y="309"/>
                  <a:pt x="231" y="309"/>
                  <a:pt x="231" y="309"/>
                </a:cubicBezTo>
                <a:cubicBezTo>
                  <a:pt x="231" y="309"/>
                  <a:pt x="231" y="308"/>
                  <a:pt x="231" y="308"/>
                </a:cubicBezTo>
                <a:cubicBezTo>
                  <a:pt x="231" y="308"/>
                  <a:pt x="231" y="308"/>
                  <a:pt x="231" y="307"/>
                </a:cubicBezTo>
                <a:cubicBezTo>
                  <a:pt x="231" y="307"/>
                  <a:pt x="231" y="307"/>
                  <a:pt x="230" y="307"/>
                </a:cubicBezTo>
                <a:cubicBezTo>
                  <a:pt x="230" y="307"/>
                  <a:pt x="230" y="307"/>
                  <a:pt x="229" y="307"/>
                </a:cubicBezTo>
                <a:cubicBezTo>
                  <a:pt x="229" y="307"/>
                  <a:pt x="229" y="307"/>
                  <a:pt x="229" y="307"/>
                </a:cubicBezTo>
                <a:cubicBezTo>
                  <a:pt x="228" y="307"/>
                  <a:pt x="228" y="306"/>
                  <a:pt x="227" y="306"/>
                </a:cubicBezTo>
                <a:cubicBezTo>
                  <a:pt x="227" y="306"/>
                  <a:pt x="227" y="306"/>
                  <a:pt x="227" y="306"/>
                </a:cubicBezTo>
                <a:cubicBezTo>
                  <a:pt x="228" y="306"/>
                  <a:pt x="228" y="306"/>
                  <a:pt x="229" y="306"/>
                </a:cubicBezTo>
                <a:cubicBezTo>
                  <a:pt x="229" y="306"/>
                  <a:pt x="229" y="306"/>
                  <a:pt x="230" y="307"/>
                </a:cubicBezTo>
                <a:cubicBezTo>
                  <a:pt x="230" y="307"/>
                  <a:pt x="230" y="306"/>
                  <a:pt x="231" y="306"/>
                </a:cubicBezTo>
                <a:cubicBezTo>
                  <a:pt x="231" y="306"/>
                  <a:pt x="231" y="306"/>
                  <a:pt x="231" y="306"/>
                </a:cubicBezTo>
                <a:cubicBezTo>
                  <a:pt x="231" y="306"/>
                  <a:pt x="231" y="306"/>
                  <a:pt x="231" y="306"/>
                </a:cubicBezTo>
                <a:cubicBezTo>
                  <a:pt x="231" y="305"/>
                  <a:pt x="231" y="305"/>
                  <a:pt x="231" y="305"/>
                </a:cubicBezTo>
                <a:cubicBezTo>
                  <a:pt x="231" y="305"/>
                  <a:pt x="231" y="305"/>
                  <a:pt x="231" y="304"/>
                </a:cubicBezTo>
                <a:cubicBezTo>
                  <a:pt x="231" y="304"/>
                  <a:pt x="230" y="304"/>
                  <a:pt x="230" y="304"/>
                </a:cubicBezTo>
                <a:close/>
                <a:moveTo>
                  <a:pt x="240" y="312"/>
                </a:moveTo>
                <a:cubicBezTo>
                  <a:pt x="240" y="312"/>
                  <a:pt x="240" y="313"/>
                  <a:pt x="240" y="313"/>
                </a:cubicBezTo>
                <a:cubicBezTo>
                  <a:pt x="240" y="313"/>
                  <a:pt x="240" y="313"/>
                  <a:pt x="240" y="314"/>
                </a:cubicBezTo>
                <a:cubicBezTo>
                  <a:pt x="240" y="314"/>
                  <a:pt x="240" y="314"/>
                  <a:pt x="241" y="314"/>
                </a:cubicBezTo>
                <a:cubicBezTo>
                  <a:pt x="241" y="313"/>
                  <a:pt x="241" y="313"/>
                  <a:pt x="242" y="313"/>
                </a:cubicBezTo>
                <a:cubicBezTo>
                  <a:pt x="242" y="313"/>
                  <a:pt x="242" y="312"/>
                  <a:pt x="242" y="312"/>
                </a:cubicBezTo>
                <a:cubicBezTo>
                  <a:pt x="242" y="312"/>
                  <a:pt x="241" y="311"/>
                  <a:pt x="241" y="311"/>
                </a:cubicBezTo>
                <a:cubicBezTo>
                  <a:pt x="241" y="311"/>
                  <a:pt x="241" y="312"/>
                  <a:pt x="240" y="312"/>
                </a:cubicBezTo>
                <a:close/>
                <a:moveTo>
                  <a:pt x="233" y="312"/>
                </a:moveTo>
                <a:cubicBezTo>
                  <a:pt x="233" y="312"/>
                  <a:pt x="233" y="311"/>
                  <a:pt x="233" y="311"/>
                </a:cubicBezTo>
                <a:cubicBezTo>
                  <a:pt x="234" y="311"/>
                  <a:pt x="234" y="310"/>
                  <a:pt x="234" y="310"/>
                </a:cubicBezTo>
                <a:cubicBezTo>
                  <a:pt x="234" y="309"/>
                  <a:pt x="234" y="309"/>
                  <a:pt x="234" y="309"/>
                </a:cubicBezTo>
                <a:cubicBezTo>
                  <a:pt x="235" y="309"/>
                  <a:pt x="235" y="309"/>
                  <a:pt x="235" y="309"/>
                </a:cubicBezTo>
                <a:cubicBezTo>
                  <a:pt x="235" y="308"/>
                  <a:pt x="236" y="308"/>
                  <a:pt x="236" y="308"/>
                </a:cubicBezTo>
                <a:cubicBezTo>
                  <a:pt x="236" y="308"/>
                  <a:pt x="236" y="308"/>
                  <a:pt x="236" y="307"/>
                </a:cubicBezTo>
                <a:cubicBezTo>
                  <a:pt x="236" y="307"/>
                  <a:pt x="236" y="307"/>
                  <a:pt x="236" y="307"/>
                </a:cubicBezTo>
                <a:cubicBezTo>
                  <a:pt x="235" y="306"/>
                  <a:pt x="235" y="305"/>
                  <a:pt x="235" y="304"/>
                </a:cubicBezTo>
                <a:cubicBezTo>
                  <a:pt x="235" y="304"/>
                  <a:pt x="235" y="304"/>
                  <a:pt x="235" y="304"/>
                </a:cubicBezTo>
                <a:cubicBezTo>
                  <a:pt x="235" y="304"/>
                  <a:pt x="235" y="305"/>
                  <a:pt x="236" y="305"/>
                </a:cubicBezTo>
                <a:cubicBezTo>
                  <a:pt x="236" y="306"/>
                  <a:pt x="236" y="306"/>
                  <a:pt x="236" y="307"/>
                </a:cubicBezTo>
                <a:cubicBezTo>
                  <a:pt x="236" y="307"/>
                  <a:pt x="237" y="307"/>
                  <a:pt x="237" y="307"/>
                </a:cubicBezTo>
                <a:cubicBezTo>
                  <a:pt x="237" y="306"/>
                  <a:pt x="237" y="306"/>
                  <a:pt x="237" y="305"/>
                </a:cubicBezTo>
                <a:cubicBezTo>
                  <a:pt x="236" y="305"/>
                  <a:pt x="236" y="304"/>
                  <a:pt x="236" y="303"/>
                </a:cubicBezTo>
                <a:cubicBezTo>
                  <a:pt x="235" y="303"/>
                  <a:pt x="235" y="303"/>
                  <a:pt x="235" y="303"/>
                </a:cubicBezTo>
                <a:cubicBezTo>
                  <a:pt x="234" y="303"/>
                  <a:pt x="234" y="303"/>
                  <a:pt x="233" y="303"/>
                </a:cubicBezTo>
                <a:cubicBezTo>
                  <a:pt x="233" y="302"/>
                  <a:pt x="233" y="302"/>
                  <a:pt x="233" y="302"/>
                </a:cubicBezTo>
                <a:cubicBezTo>
                  <a:pt x="233" y="302"/>
                  <a:pt x="233" y="302"/>
                  <a:pt x="232" y="302"/>
                </a:cubicBezTo>
                <a:cubicBezTo>
                  <a:pt x="232" y="302"/>
                  <a:pt x="232" y="303"/>
                  <a:pt x="232" y="303"/>
                </a:cubicBezTo>
                <a:cubicBezTo>
                  <a:pt x="232" y="304"/>
                  <a:pt x="232" y="305"/>
                  <a:pt x="233" y="305"/>
                </a:cubicBezTo>
                <a:cubicBezTo>
                  <a:pt x="232" y="306"/>
                  <a:pt x="232" y="306"/>
                  <a:pt x="232" y="307"/>
                </a:cubicBezTo>
                <a:cubicBezTo>
                  <a:pt x="232" y="307"/>
                  <a:pt x="232" y="307"/>
                  <a:pt x="232" y="308"/>
                </a:cubicBezTo>
                <a:cubicBezTo>
                  <a:pt x="233" y="308"/>
                  <a:pt x="233" y="308"/>
                  <a:pt x="233" y="308"/>
                </a:cubicBezTo>
                <a:cubicBezTo>
                  <a:pt x="233" y="308"/>
                  <a:pt x="233" y="308"/>
                  <a:pt x="233" y="308"/>
                </a:cubicBezTo>
                <a:cubicBezTo>
                  <a:pt x="233" y="308"/>
                  <a:pt x="233" y="309"/>
                  <a:pt x="234" y="309"/>
                </a:cubicBezTo>
                <a:cubicBezTo>
                  <a:pt x="233" y="309"/>
                  <a:pt x="233" y="309"/>
                  <a:pt x="232" y="309"/>
                </a:cubicBezTo>
                <a:cubicBezTo>
                  <a:pt x="232" y="309"/>
                  <a:pt x="232" y="310"/>
                  <a:pt x="232" y="310"/>
                </a:cubicBezTo>
                <a:cubicBezTo>
                  <a:pt x="232" y="310"/>
                  <a:pt x="232" y="310"/>
                  <a:pt x="232" y="311"/>
                </a:cubicBezTo>
                <a:cubicBezTo>
                  <a:pt x="232" y="311"/>
                  <a:pt x="232" y="311"/>
                  <a:pt x="232" y="312"/>
                </a:cubicBezTo>
                <a:cubicBezTo>
                  <a:pt x="232" y="312"/>
                  <a:pt x="232" y="312"/>
                  <a:pt x="233" y="312"/>
                </a:cubicBezTo>
                <a:close/>
                <a:moveTo>
                  <a:pt x="243" y="321"/>
                </a:moveTo>
                <a:cubicBezTo>
                  <a:pt x="244" y="321"/>
                  <a:pt x="244" y="321"/>
                  <a:pt x="244" y="321"/>
                </a:cubicBezTo>
                <a:cubicBezTo>
                  <a:pt x="244" y="321"/>
                  <a:pt x="244" y="321"/>
                  <a:pt x="244" y="322"/>
                </a:cubicBezTo>
                <a:cubicBezTo>
                  <a:pt x="244" y="321"/>
                  <a:pt x="245" y="321"/>
                  <a:pt x="245" y="321"/>
                </a:cubicBezTo>
                <a:cubicBezTo>
                  <a:pt x="245" y="321"/>
                  <a:pt x="244" y="320"/>
                  <a:pt x="244" y="320"/>
                </a:cubicBezTo>
                <a:cubicBezTo>
                  <a:pt x="244" y="321"/>
                  <a:pt x="244" y="321"/>
                  <a:pt x="243" y="321"/>
                </a:cubicBezTo>
                <a:close/>
                <a:moveTo>
                  <a:pt x="235" y="320"/>
                </a:moveTo>
                <a:cubicBezTo>
                  <a:pt x="235" y="320"/>
                  <a:pt x="236" y="320"/>
                  <a:pt x="236" y="320"/>
                </a:cubicBezTo>
                <a:cubicBezTo>
                  <a:pt x="236" y="320"/>
                  <a:pt x="236" y="320"/>
                  <a:pt x="236" y="320"/>
                </a:cubicBezTo>
                <a:cubicBezTo>
                  <a:pt x="236" y="320"/>
                  <a:pt x="236" y="320"/>
                  <a:pt x="236" y="320"/>
                </a:cubicBezTo>
                <a:cubicBezTo>
                  <a:pt x="236" y="320"/>
                  <a:pt x="235" y="320"/>
                  <a:pt x="235" y="320"/>
                </a:cubicBezTo>
                <a:close/>
                <a:moveTo>
                  <a:pt x="237" y="325"/>
                </a:moveTo>
                <a:cubicBezTo>
                  <a:pt x="237" y="324"/>
                  <a:pt x="237" y="324"/>
                  <a:pt x="237" y="324"/>
                </a:cubicBezTo>
                <a:cubicBezTo>
                  <a:pt x="237" y="324"/>
                  <a:pt x="237" y="324"/>
                  <a:pt x="236" y="324"/>
                </a:cubicBezTo>
                <a:cubicBezTo>
                  <a:pt x="236" y="325"/>
                  <a:pt x="236" y="325"/>
                  <a:pt x="236" y="325"/>
                </a:cubicBezTo>
                <a:cubicBezTo>
                  <a:pt x="236" y="325"/>
                  <a:pt x="236" y="325"/>
                  <a:pt x="237" y="325"/>
                </a:cubicBezTo>
                <a:cubicBezTo>
                  <a:pt x="237" y="325"/>
                  <a:pt x="237" y="325"/>
                  <a:pt x="237" y="325"/>
                </a:cubicBezTo>
                <a:close/>
                <a:moveTo>
                  <a:pt x="235" y="318"/>
                </a:moveTo>
                <a:cubicBezTo>
                  <a:pt x="235" y="318"/>
                  <a:pt x="235" y="317"/>
                  <a:pt x="235" y="317"/>
                </a:cubicBezTo>
                <a:cubicBezTo>
                  <a:pt x="235" y="317"/>
                  <a:pt x="235" y="317"/>
                  <a:pt x="235" y="317"/>
                </a:cubicBezTo>
                <a:cubicBezTo>
                  <a:pt x="235" y="316"/>
                  <a:pt x="235" y="315"/>
                  <a:pt x="236" y="315"/>
                </a:cubicBezTo>
                <a:cubicBezTo>
                  <a:pt x="236" y="314"/>
                  <a:pt x="236" y="314"/>
                  <a:pt x="236" y="313"/>
                </a:cubicBezTo>
                <a:cubicBezTo>
                  <a:pt x="236" y="313"/>
                  <a:pt x="236" y="313"/>
                  <a:pt x="235" y="313"/>
                </a:cubicBezTo>
                <a:cubicBezTo>
                  <a:pt x="235" y="313"/>
                  <a:pt x="235" y="313"/>
                  <a:pt x="235" y="314"/>
                </a:cubicBezTo>
                <a:cubicBezTo>
                  <a:pt x="235" y="313"/>
                  <a:pt x="235" y="313"/>
                  <a:pt x="235" y="313"/>
                </a:cubicBezTo>
                <a:cubicBezTo>
                  <a:pt x="235" y="313"/>
                  <a:pt x="235" y="313"/>
                  <a:pt x="235" y="312"/>
                </a:cubicBezTo>
                <a:cubicBezTo>
                  <a:pt x="235" y="312"/>
                  <a:pt x="234" y="312"/>
                  <a:pt x="234" y="312"/>
                </a:cubicBezTo>
                <a:cubicBezTo>
                  <a:pt x="234" y="312"/>
                  <a:pt x="233" y="312"/>
                  <a:pt x="233" y="312"/>
                </a:cubicBezTo>
                <a:cubicBezTo>
                  <a:pt x="233" y="312"/>
                  <a:pt x="233" y="313"/>
                  <a:pt x="234" y="313"/>
                </a:cubicBezTo>
                <a:cubicBezTo>
                  <a:pt x="233" y="313"/>
                  <a:pt x="233" y="313"/>
                  <a:pt x="232" y="313"/>
                </a:cubicBezTo>
                <a:cubicBezTo>
                  <a:pt x="232" y="313"/>
                  <a:pt x="232" y="313"/>
                  <a:pt x="232" y="314"/>
                </a:cubicBezTo>
                <a:cubicBezTo>
                  <a:pt x="232" y="314"/>
                  <a:pt x="232" y="314"/>
                  <a:pt x="232" y="314"/>
                </a:cubicBezTo>
                <a:cubicBezTo>
                  <a:pt x="233" y="314"/>
                  <a:pt x="233" y="314"/>
                  <a:pt x="233" y="314"/>
                </a:cubicBezTo>
                <a:cubicBezTo>
                  <a:pt x="233" y="315"/>
                  <a:pt x="233" y="315"/>
                  <a:pt x="233" y="315"/>
                </a:cubicBezTo>
                <a:cubicBezTo>
                  <a:pt x="233" y="315"/>
                  <a:pt x="233" y="315"/>
                  <a:pt x="234" y="315"/>
                </a:cubicBezTo>
                <a:cubicBezTo>
                  <a:pt x="234" y="316"/>
                  <a:pt x="234" y="316"/>
                  <a:pt x="234" y="316"/>
                </a:cubicBezTo>
                <a:cubicBezTo>
                  <a:pt x="234" y="316"/>
                  <a:pt x="234" y="316"/>
                  <a:pt x="233" y="317"/>
                </a:cubicBezTo>
                <a:cubicBezTo>
                  <a:pt x="233" y="317"/>
                  <a:pt x="233" y="316"/>
                  <a:pt x="233" y="316"/>
                </a:cubicBezTo>
                <a:cubicBezTo>
                  <a:pt x="233" y="317"/>
                  <a:pt x="232" y="317"/>
                  <a:pt x="232" y="317"/>
                </a:cubicBezTo>
                <a:cubicBezTo>
                  <a:pt x="233" y="317"/>
                  <a:pt x="233" y="317"/>
                  <a:pt x="233" y="317"/>
                </a:cubicBezTo>
                <a:cubicBezTo>
                  <a:pt x="233" y="318"/>
                  <a:pt x="233" y="318"/>
                  <a:pt x="232" y="318"/>
                </a:cubicBezTo>
                <a:cubicBezTo>
                  <a:pt x="232" y="318"/>
                  <a:pt x="232" y="319"/>
                  <a:pt x="233" y="319"/>
                </a:cubicBezTo>
                <a:cubicBezTo>
                  <a:pt x="233" y="319"/>
                  <a:pt x="233" y="319"/>
                  <a:pt x="233" y="319"/>
                </a:cubicBezTo>
                <a:cubicBezTo>
                  <a:pt x="233" y="318"/>
                  <a:pt x="233" y="318"/>
                  <a:pt x="233" y="317"/>
                </a:cubicBezTo>
                <a:cubicBezTo>
                  <a:pt x="233" y="318"/>
                  <a:pt x="233" y="318"/>
                  <a:pt x="234" y="318"/>
                </a:cubicBezTo>
                <a:cubicBezTo>
                  <a:pt x="234" y="318"/>
                  <a:pt x="234" y="318"/>
                  <a:pt x="234" y="318"/>
                </a:cubicBezTo>
                <a:cubicBezTo>
                  <a:pt x="234" y="318"/>
                  <a:pt x="234" y="318"/>
                  <a:pt x="235" y="318"/>
                </a:cubicBezTo>
                <a:close/>
                <a:moveTo>
                  <a:pt x="238" y="327"/>
                </a:moveTo>
                <a:cubicBezTo>
                  <a:pt x="238" y="327"/>
                  <a:pt x="238" y="328"/>
                  <a:pt x="238" y="328"/>
                </a:cubicBezTo>
                <a:cubicBezTo>
                  <a:pt x="238" y="327"/>
                  <a:pt x="238" y="327"/>
                  <a:pt x="239" y="326"/>
                </a:cubicBezTo>
                <a:cubicBezTo>
                  <a:pt x="238" y="326"/>
                  <a:pt x="238" y="326"/>
                  <a:pt x="237" y="326"/>
                </a:cubicBezTo>
                <a:cubicBezTo>
                  <a:pt x="237" y="326"/>
                  <a:pt x="237" y="326"/>
                  <a:pt x="237" y="325"/>
                </a:cubicBezTo>
                <a:cubicBezTo>
                  <a:pt x="237" y="325"/>
                  <a:pt x="237" y="325"/>
                  <a:pt x="237" y="325"/>
                </a:cubicBezTo>
                <a:cubicBezTo>
                  <a:pt x="236" y="326"/>
                  <a:pt x="236" y="326"/>
                  <a:pt x="236" y="326"/>
                </a:cubicBezTo>
                <a:cubicBezTo>
                  <a:pt x="236" y="326"/>
                  <a:pt x="236" y="326"/>
                  <a:pt x="236" y="326"/>
                </a:cubicBezTo>
                <a:cubicBezTo>
                  <a:pt x="236" y="326"/>
                  <a:pt x="237" y="327"/>
                  <a:pt x="237" y="327"/>
                </a:cubicBezTo>
                <a:cubicBezTo>
                  <a:pt x="237" y="327"/>
                  <a:pt x="237" y="327"/>
                  <a:pt x="238" y="327"/>
                </a:cubicBezTo>
                <a:close/>
                <a:moveTo>
                  <a:pt x="236" y="318"/>
                </a:moveTo>
                <a:cubicBezTo>
                  <a:pt x="236" y="318"/>
                  <a:pt x="237" y="318"/>
                  <a:pt x="237" y="318"/>
                </a:cubicBezTo>
                <a:cubicBezTo>
                  <a:pt x="237" y="318"/>
                  <a:pt x="237" y="318"/>
                  <a:pt x="237" y="317"/>
                </a:cubicBezTo>
                <a:cubicBezTo>
                  <a:pt x="237" y="317"/>
                  <a:pt x="237" y="317"/>
                  <a:pt x="236" y="317"/>
                </a:cubicBezTo>
                <a:cubicBezTo>
                  <a:pt x="236" y="318"/>
                  <a:pt x="236" y="318"/>
                  <a:pt x="235" y="318"/>
                </a:cubicBezTo>
                <a:cubicBezTo>
                  <a:pt x="235" y="318"/>
                  <a:pt x="235" y="319"/>
                  <a:pt x="235" y="319"/>
                </a:cubicBezTo>
                <a:cubicBezTo>
                  <a:pt x="235" y="319"/>
                  <a:pt x="235" y="319"/>
                  <a:pt x="236" y="319"/>
                </a:cubicBezTo>
                <a:cubicBezTo>
                  <a:pt x="236" y="319"/>
                  <a:pt x="236" y="319"/>
                  <a:pt x="236" y="318"/>
                </a:cubicBezTo>
                <a:close/>
                <a:moveTo>
                  <a:pt x="232" y="320"/>
                </a:moveTo>
                <a:cubicBezTo>
                  <a:pt x="232" y="320"/>
                  <a:pt x="232" y="320"/>
                  <a:pt x="233" y="320"/>
                </a:cubicBezTo>
                <a:cubicBezTo>
                  <a:pt x="232" y="320"/>
                  <a:pt x="232" y="320"/>
                  <a:pt x="232" y="320"/>
                </a:cubicBezTo>
                <a:cubicBezTo>
                  <a:pt x="232" y="320"/>
                  <a:pt x="232" y="320"/>
                  <a:pt x="232" y="320"/>
                </a:cubicBezTo>
                <a:close/>
                <a:moveTo>
                  <a:pt x="239" y="310"/>
                </a:moveTo>
                <a:cubicBezTo>
                  <a:pt x="238" y="310"/>
                  <a:pt x="238" y="310"/>
                  <a:pt x="238" y="311"/>
                </a:cubicBezTo>
                <a:cubicBezTo>
                  <a:pt x="237" y="310"/>
                  <a:pt x="237" y="310"/>
                  <a:pt x="236" y="310"/>
                </a:cubicBezTo>
                <a:cubicBezTo>
                  <a:pt x="236" y="310"/>
                  <a:pt x="235" y="311"/>
                  <a:pt x="235" y="311"/>
                </a:cubicBezTo>
                <a:cubicBezTo>
                  <a:pt x="235" y="311"/>
                  <a:pt x="235" y="311"/>
                  <a:pt x="235" y="311"/>
                </a:cubicBezTo>
                <a:cubicBezTo>
                  <a:pt x="235" y="311"/>
                  <a:pt x="235" y="311"/>
                  <a:pt x="236" y="312"/>
                </a:cubicBezTo>
                <a:cubicBezTo>
                  <a:pt x="236" y="312"/>
                  <a:pt x="236" y="312"/>
                  <a:pt x="236" y="312"/>
                </a:cubicBezTo>
                <a:cubicBezTo>
                  <a:pt x="236" y="312"/>
                  <a:pt x="236" y="312"/>
                  <a:pt x="237" y="312"/>
                </a:cubicBezTo>
                <a:cubicBezTo>
                  <a:pt x="237" y="312"/>
                  <a:pt x="237" y="313"/>
                  <a:pt x="236" y="313"/>
                </a:cubicBezTo>
                <a:cubicBezTo>
                  <a:pt x="236" y="313"/>
                  <a:pt x="236" y="314"/>
                  <a:pt x="236" y="315"/>
                </a:cubicBezTo>
                <a:cubicBezTo>
                  <a:pt x="237" y="315"/>
                  <a:pt x="237" y="315"/>
                  <a:pt x="237" y="315"/>
                </a:cubicBezTo>
                <a:cubicBezTo>
                  <a:pt x="237" y="315"/>
                  <a:pt x="237" y="315"/>
                  <a:pt x="237" y="315"/>
                </a:cubicBezTo>
                <a:cubicBezTo>
                  <a:pt x="238" y="315"/>
                  <a:pt x="238" y="315"/>
                  <a:pt x="238" y="314"/>
                </a:cubicBezTo>
                <a:cubicBezTo>
                  <a:pt x="238" y="315"/>
                  <a:pt x="238" y="315"/>
                  <a:pt x="238" y="315"/>
                </a:cubicBezTo>
                <a:cubicBezTo>
                  <a:pt x="239" y="314"/>
                  <a:pt x="239" y="314"/>
                  <a:pt x="239" y="314"/>
                </a:cubicBezTo>
                <a:cubicBezTo>
                  <a:pt x="239" y="314"/>
                  <a:pt x="238" y="314"/>
                  <a:pt x="238" y="314"/>
                </a:cubicBezTo>
                <a:cubicBezTo>
                  <a:pt x="238" y="313"/>
                  <a:pt x="238" y="313"/>
                  <a:pt x="238" y="313"/>
                </a:cubicBezTo>
                <a:cubicBezTo>
                  <a:pt x="238" y="313"/>
                  <a:pt x="238" y="313"/>
                  <a:pt x="238" y="312"/>
                </a:cubicBezTo>
                <a:cubicBezTo>
                  <a:pt x="238" y="312"/>
                  <a:pt x="239" y="312"/>
                  <a:pt x="239" y="312"/>
                </a:cubicBezTo>
                <a:cubicBezTo>
                  <a:pt x="239" y="312"/>
                  <a:pt x="239" y="313"/>
                  <a:pt x="239" y="313"/>
                </a:cubicBezTo>
                <a:cubicBezTo>
                  <a:pt x="239" y="313"/>
                  <a:pt x="240" y="313"/>
                  <a:pt x="240" y="313"/>
                </a:cubicBezTo>
                <a:cubicBezTo>
                  <a:pt x="240" y="312"/>
                  <a:pt x="240" y="312"/>
                  <a:pt x="240" y="311"/>
                </a:cubicBezTo>
                <a:cubicBezTo>
                  <a:pt x="240" y="311"/>
                  <a:pt x="240" y="311"/>
                  <a:pt x="240" y="311"/>
                </a:cubicBezTo>
                <a:cubicBezTo>
                  <a:pt x="239" y="310"/>
                  <a:pt x="239" y="310"/>
                  <a:pt x="239" y="310"/>
                </a:cubicBezTo>
                <a:close/>
                <a:moveTo>
                  <a:pt x="231" y="312"/>
                </a:moveTo>
                <a:cubicBezTo>
                  <a:pt x="231" y="311"/>
                  <a:pt x="231" y="311"/>
                  <a:pt x="231" y="311"/>
                </a:cubicBezTo>
                <a:cubicBezTo>
                  <a:pt x="230" y="310"/>
                  <a:pt x="230" y="310"/>
                  <a:pt x="230" y="310"/>
                </a:cubicBezTo>
                <a:cubicBezTo>
                  <a:pt x="229" y="310"/>
                  <a:pt x="229" y="310"/>
                  <a:pt x="229" y="310"/>
                </a:cubicBezTo>
                <a:cubicBezTo>
                  <a:pt x="229" y="310"/>
                  <a:pt x="229" y="310"/>
                  <a:pt x="229" y="310"/>
                </a:cubicBezTo>
                <a:cubicBezTo>
                  <a:pt x="228" y="311"/>
                  <a:pt x="228" y="311"/>
                  <a:pt x="228" y="311"/>
                </a:cubicBezTo>
                <a:cubicBezTo>
                  <a:pt x="228" y="311"/>
                  <a:pt x="228" y="311"/>
                  <a:pt x="228" y="311"/>
                </a:cubicBezTo>
                <a:cubicBezTo>
                  <a:pt x="229" y="311"/>
                  <a:pt x="229" y="312"/>
                  <a:pt x="229" y="312"/>
                </a:cubicBezTo>
                <a:cubicBezTo>
                  <a:pt x="229" y="312"/>
                  <a:pt x="229" y="312"/>
                  <a:pt x="229" y="312"/>
                </a:cubicBezTo>
                <a:cubicBezTo>
                  <a:pt x="229" y="312"/>
                  <a:pt x="229" y="313"/>
                  <a:pt x="229" y="313"/>
                </a:cubicBezTo>
                <a:cubicBezTo>
                  <a:pt x="229" y="313"/>
                  <a:pt x="229" y="313"/>
                  <a:pt x="229" y="314"/>
                </a:cubicBezTo>
                <a:cubicBezTo>
                  <a:pt x="228" y="314"/>
                  <a:pt x="228" y="314"/>
                  <a:pt x="228" y="314"/>
                </a:cubicBezTo>
                <a:cubicBezTo>
                  <a:pt x="228" y="314"/>
                  <a:pt x="228" y="314"/>
                  <a:pt x="228" y="314"/>
                </a:cubicBezTo>
                <a:cubicBezTo>
                  <a:pt x="228" y="314"/>
                  <a:pt x="229" y="314"/>
                  <a:pt x="229" y="314"/>
                </a:cubicBezTo>
                <a:cubicBezTo>
                  <a:pt x="229" y="314"/>
                  <a:pt x="229" y="314"/>
                  <a:pt x="229" y="315"/>
                </a:cubicBezTo>
                <a:cubicBezTo>
                  <a:pt x="229" y="315"/>
                  <a:pt x="229" y="315"/>
                  <a:pt x="229" y="315"/>
                </a:cubicBezTo>
                <a:cubicBezTo>
                  <a:pt x="229" y="315"/>
                  <a:pt x="229" y="315"/>
                  <a:pt x="229" y="315"/>
                </a:cubicBezTo>
                <a:cubicBezTo>
                  <a:pt x="229" y="315"/>
                  <a:pt x="229" y="315"/>
                  <a:pt x="229" y="315"/>
                </a:cubicBezTo>
                <a:cubicBezTo>
                  <a:pt x="229" y="315"/>
                  <a:pt x="230" y="315"/>
                  <a:pt x="230" y="315"/>
                </a:cubicBezTo>
                <a:cubicBezTo>
                  <a:pt x="230" y="315"/>
                  <a:pt x="230" y="315"/>
                  <a:pt x="230" y="315"/>
                </a:cubicBezTo>
                <a:cubicBezTo>
                  <a:pt x="230" y="315"/>
                  <a:pt x="230" y="315"/>
                  <a:pt x="230" y="315"/>
                </a:cubicBezTo>
                <a:cubicBezTo>
                  <a:pt x="229" y="316"/>
                  <a:pt x="229" y="316"/>
                  <a:pt x="229" y="316"/>
                </a:cubicBezTo>
                <a:cubicBezTo>
                  <a:pt x="229" y="316"/>
                  <a:pt x="229" y="316"/>
                  <a:pt x="229" y="316"/>
                </a:cubicBezTo>
                <a:cubicBezTo>
                  <a:pt x="229" y="317"/>
                  <a:pt x="229" y="317"/>
                  <a:pt x="229" y="317"/>
                </a:cubicBezTo>
                <a:cubicBezTo>
                  <a:pt x="230" y="317"/>
                  <a:pt x="230" y="317"/>
                  <a:pt x="230" y="317"/>
                </a:cubicBezTo>
                <a:cubicBezTo>
                  <a:pt x="230" y="317"/>
                  <a:pt x="230" y="318"/>
                  <a:pt x="230" y="318"/>
                </a:cubicBezTo>
                <a:cubicBezTo>
                  <a:pt x="230" y="318"/>
                  <a:pt x="230" y="318"/>
                  <a:pt x="230" y="318"/>
                </a:cubicBezTo>
                <a:cubicBezTo>
                  <a:pt x="231" y="318"/>
                  <a:pt x="231" y="318"/>
                  <a:pt x="231" y="318"/>
                </a:cubicBezTo>
                <a:cubicBezTo>
                  <a:pt x="231" y="318"/>
                  <a:pt x="231" y="318"/>
                  <a:pt x="231" y="317"/>
                </a:cubicBezTo>
                <a:cubicBezTo>
                  <a:pt x="231" y="317"/>
                  <a:pt x="231" y="317"/>
                  <a:pt x="231" y="316"/>
                </a:cubicBezTo>
                <a:cubicBezTo>
                  <a:pt x="231" y="316"/>
                  <a:pt x="231" y="316"/>
                  <a:pt x="231" y="315"/>
                </a:cubicBezTo>
                <a:cubicBezTo>
                  <a:pt x="231" y="315"/>
                  <a:pt x="231" y="315"/>
                  <a:pt x="231" y="315"/>
                </a:cubicBezTo>
                <a:cubicBezTo>
                  <a:pt x="231" y="314"/>
                  <a:pt x="231" y="314"/>
                  <a:pt x="231" y="313"/>
                </a:cubicBezTo>
                <a:cubicBezTo>
                  <a:pt x="231" y="313"/>
                  <a:pt x="231" y="313"/>
                  <a:pt x="231" y="313"/>
                </a:cubicBezTo>
                <a:cubicBezTo>
                  <a:pt x="231" y="313"/>
                  <a:pt x="231" y="312"/>
                  <a:pt x="231" y="312"/>
                </a:cubicBezTo>
                <a:close/>
                <a:moveTo>
                  <a:pt x="236" y="323"/>
                </a:moveTo>
                <a:cubicBezTo>
                  <a:pt x="235" y="324"/>
                  <a:pt x="235" y="324"/>
                  <a:pt x="235" y="324"/>
                </a:cubicBezTo>
                <a:cubicBezTo>
                  <a:pt x="235" y="324"/>
                  <a:pt x="236" y="324"/>
                  <a:pt x="236" y="324"/>
                </a:cubicBezTo>
                <a:cubicBezTo>
                  <a:pt x="236" y="324"/>
                  <a:pt x="236" y="324"/>
                  <a:pt x="236" y="323"/>
                </a:cubicBezTo>
                <a:close/>
                <a:moveTo>
                  <a:pt x="242" y="316"/>
                </a:moveTo>
                <a:cubicBezTo>
                  <a:pt x="242" y="316"/>
                  <a:pt x="242" y="317"/>
                  <a:pt x="242" y="317"/>
                </a:cubicBezTo>
                <a:cubicBezTo>
                  <a:pt x="242" y="317"/>
                  <a:pt x="242" y="317"/>
                  <a:pt x="243" y="317"/>
                </a:cubicBezTo>
                <a:cubicBezTo>
                  <a:pt x="243" y="317"/>
                  <a:pt x="243" y="317"/>
                  <a:pt x="243" y="316"/>
                </a:cubicBezTo>
                <a:cubicBezTo>
                  <a:pt x="243" y="316"/>
                  <a:pt x="243" y="316"/>
                  <a:pt x="243" y="316"/>
                </a:cubicBezTo>
                <a:cubicBezTo>
                  <a:pt x="243" y="316"/>
                  <a:pt x="243" y="316"/>
                  <a:pt x="242" y="316"/>
                </a:cubicBezTo>
                <a:close/>
                <a:moveTo>
                  <a:pt x="234" y="324"/>
                </a:moveTo>
                <a:cubicBezTo>
                  <a:pt x="234" y="324"/>
                  <a:pt x="235" y="324"/>
                  <a:pt x="235" y="323"/>
                </a:cubicBezTo>
                <a:cubicBezTo>
                  <a:pt x="235" y="323"/>
                  <a:pt x="234" y="323"/>
                  <a:pt x="234" y="323"/>
                </a:cubicBezTo>
                <a:cubicBezTo>
                  <a:pt x="234" y="324"/>
                  <a:pt x="234" y="324"/>
                  <a:pt x="234" y="324"/>
                </a:cubicBezTo>
                <a:close/>
                <a:moveTo>
                  <a:pt x="99" y="366"/>
                </a:moveTo>
                <a:cubicBezTo>
                  <a:pt x="99" y="367"/>
                  <a:pt x="99" y="367"/>
                  <a:pt x="99" y="368"/>
                </a:cubicBezTo>
                <a:cubicBezTo>
                  <a:pt x="99" y="368"/>
                  <a:pt x="99" y="368"/>
                  <a:pt x="99" y="369"/>
                </a:cubicBezTo>
                <a:cubicBezTo>
                  <a:pt x="99" y="368"/>
                  <a:pt x="99" y="368"/>
                  <a:pt x="99" y="368"/>
                </a:cubicBezTo>
                <a:cubicBezTo>
                  <a:pt x="99" y="368"/>
                  <a:pt x="100" y="367"/>
                  <a:pt x="100" y="367"/>
                </a:cubicBezTo>
                <a:cubicBezTo>
                  <a:pt x="100" y="367"/>
                  <a:pt x="100" y="366"/>
                  <a:pt x="100" y="366"/>
                </a:cubicBezTo>
                <a:cubicBezTo>
                  <a:pt x="100" y="366"/>
                  <a:pt x="101" y="366"/>
                  <a:pt x="101" y="365"/>
                </a:cubicBezTo>
                <a:cubicBezTo>
                  <a:pt x="100" y="366"/>
                  <a:pt x="100" y="366"/>
                  <a:pt x="99" y="366"/>
                </a:cubicBezTo>
                <a:cubicBezTo>
                  <a:pt x="99" y="366"/>
                  <a:pt x="99" y="366"/>
                  <a:pt x="99" y="366"/>
                </a:cubicBezTo>
                <a:close/>
                <a:moveTo>
                  <a:pt x="47" y="404"/>
                </a:moveTo>
                <a:cubicBezTo>
                  <a:pt x="46" y="404"/>
                  <a:pt x="46" y="404"/>
                  <a:pt x="46" y="405"/>
                </a:cubicBezTo>
                <a:cubicBezTo>
                  <a:pt x="46" y="404"/>
                  <a:pt x="47" y="404"/>
                  <a:pt x="47" y="404"/>
                </a:cubicBezTo>
                <a:cubicBezTo>
                  <a:pt x="47" y="404"/>
                  <a:pt x="47" y="404"/>
                  <a:pt x="47" y="404"/>
                </a:cubicBezTo>
                <a:close/>
                <a:moveTo>
                  <a:pt x="48" y="404"/>
                </a:moveTo>
                <a:cubicBezTo>
                  <a:pt x="48" y="404"/>
                  <a:pt x="48" y="404"/>
                  <a:pt x="48" y="404"/>
                </a:cubicBezTo>
                <a:cubicBezTo>
                  <a:pt x="49" y="404"/>
                  <a:pt x="49" y="404"/>
                  <a:pt x="49" y="404"/>
                </a:cubicBezTo>
                <a:cubicBezTo>
                  <a:pt x="49" y="404"/>
                  <a:pt x="49" y="404"/>
                  <a:pt x="48" y="404"/>
                </a:cubicBezTo>
                <a:cubicBezTo>
                  <a:pt x="48" y="404"/>
                  <a:pt x="48" y="404"/>
                  <a:pt x="48" y="404"/>
                </a:cubicBezTo>
                <a:close/>
                <a:moveTo>
                  <a:pt x="59" y="395"/>
                </a:moveTo>
                <a:cubicBezTo>
                  <a:pt x="59" y="395"/>
                  <a:pt x="58" y="395"/>
                  <a:pt x="58" y="395"/>
                </a:cubicBezTo>
                <a:cubicBezTo>
                  <a:pt x="58" y="395"/>
                  <a:pt x="58" y="395"/>
                  <a:pt x="58" y="395"/>
                </a:cubicBezTo>
                <a:cubicBezTo>
                  <a:pt x="58" y="395"/>
                  <a:pt x="57" y="395"/>
                  <a:pt x="57" y="395"/>
                </a:cubicBezTo>
                <a:cubicBezTo>
                  <a:pt x="56" y="396"/>
                  <a:pt x="56" y="396"/>
                  <a:pt x="55" y="396"/>
                </a:cubicBezTo>
                <a:cubicBezTo>
                  <a:pt x="55" y="396"/>
                  <a:pt x="55" y="397"/>
                  <a:pt x="56" y="397"/>
                </a:cubicBezTo>
                <a:cubicBezTo>
                  <a:pt x="56" y="397"/>
                  <a:pt x="56" y="397"/>
                  <a:pt x="56" y="397"/>
                </a:cubicBezTo>
                <a:cubicBezTo>
                  <a:pt x="55" y="398"/>
                  <a:pt x="55" y="398"/>
                  <a:pt x="55" y="398"/>
                </a:cubicBezTo>
                <a:cubicBezTo>
                  <a:pt x="54" y="398"/>
                  <a:pt x="54" y="399"/>
                  <a:pt x="54" y="399"/>
                </a:cubicBezTo>
                <a:cubicBezTo>
                  <a:pt x="54" y="399"/>
                  <a:pt x="54" y="400"/>
                  <a:pt x="54" y="400"/>
                </a:cubicBezTo>
                <a:cubicBezTo>
                  <a:pt x="54" y="400"/>
                  <a:pt x="54" y="400"/>
                  <a:pt x="53" y="400"/>
                </a:cubicBezTo>
                <a:cubicBezTo>
                  <a:pt x="53" y="401"/>
                  <a:pt x="53" y="401"/>
                  <a:pt x="53" y="401"/>
                </a:cubicBezTo>
                <a:cubicBezTo>
                  <a:pt x="53" y="401"/>
                  <a:pt x="53" y="402"/>
                  <a:pt x="53" y="402"/>
                </a:cubicBezTo>
                <a:cubicBezTo>
                  <a:pt x="52" y="402"/>
                  <a:pt x="52" y="402"/>
                  <a:pt x="52" y="403"/>
                </a:cubicBezTo>
                <a:cubicBezTo>
                  <a:pt x="52" y="402"/>
                  <a:pt x="53" y="402"/>
                  <a:pt x="54" y="402"/>
                </a:cubicBezTo>
                <a:cubicBezTo>
                  <a:pt x="54" y="401"/>
                  <a:pt x="54" y="401"/>
                  <a:pt x="54" y="400"/>
                </a:cubicBezTo>
                <a:cubicBezTo>
                  <a:pt x="55" y="400"/>
                  <a:pt x="55" y="400"/>
                  <a:pt x="56" y="400"/>
                </a:cubicBezTo>
                <a:cubicBezTo>
                  <a:pt x="56" y="399"/>
                  <a:pt x="56" y="398"/>
                  <a:pt x="57" y="398"/>
                </a:cubicBezTo>
                <a:cubicBezTo>
                  <a:pt x="57" y="397"/>
                  <a:pt x="58" y="397"/>
                  <a:pt x="58" y="396"/>
                </a:cubicBezTo>
                <a:cubicBezTo>
                  <a:pt x="58" y="396"/>
                  <a:pt x="58" y="396"/>
                  <a:pt x="58" y="396"/>
                </a:cubicBezTo>
                <a:cubicBezTo>
                  <a:pt x="58" y="395"/>
                  <a:pt x="59" y="395"/>
                  <a:pt x="59" y="395"/>
                </a:cubicBezTo>
                <a:close/>
                <a:moveTo>
                  <a:pt x="67" y="389"/>
                </a:moveTo>
                <a:cubicBezTo>
                  <a:pt x="67" y="389"/>
                  <a:pt x="67" y="389"/>
                  <a:pt x="67" y="388"/>
                </a:cubicBezTo>
                <a:cubicBezTo>
                  <a:pt x="67" y="388"/>
                  <a:pt x="67" y="388"/>
                  <a:pt x="67" y="388"/>
                </a:cubicBezTo>
                <a:cubicBezTo>
                  <a:pt x="66" y="388"/>
                  <a:pt x="66" y="388"/>
                  <a:pt x="66" y="388"/>
                </a:cubicBezTo>
                <a:cubicBezTo>
                  <a:pt x="65" y="388"/>
                  <a:pt x="65" y="388"/>
                  <a:pt x="65" y="388"/>
                </a:cubicBezTo>
                <a:cubicBezTo>
                  <a:pt x="65" y="388"/>
                  <a:pt x="64" y="388"/>
                  <a:pt x="64" y="388"/>
                </a:cubicBezTo>
                <a:cubicBezTo>
                  <a:pt x="64" y="389"/>
                  <a:pt x="64" y="389"/>
                  <a:pt x="63" y="390"/>
                </a:cubicBezTo>
                <a:cubicBezTo>
                  <a:pt x="63" y="390"/>
                  <a:pt x="64" y="390"/>
                  <a:pt x="64" y="390"/>
                </a:cubicBezTo>
                <a:cubicBezTo>
                  <a:pt x="64" y="390"/>
                  <a:pt x="64" y="390"/>
                  <a:pt x="65" y="390"/>
                </a:cubicBezTo>
                <a:cubicBezTo>
                  <a:pt x="65" y="390"/>
                  <a:pt x="65" y="390"/>
                  <a:pt x="64" y="391"/>
                </a:cubicBezTo>
                <a:cubicBezTo>
                  <a:pt x="64" y="391"/>
                  <a:pt x="64" y="391"/>
                  <a:pt x="63" y="391"/>
                </a:cubicBezTo>
                <a:cubicBezTo>
                  <a:pt x="63" y="391"/>
                  <a:pt x="63" y="391"/>
                  <a:pt x="63" y="392"/>
                </a:cubicBezTo>
                <a:cubicBezTo>
                  <a:pt x="63" y="392"/>
                  <a:pt x="63" y="392"/>
                  <a:pt x="63" y="392"/>
                </a:cubicBezTo>
                <a:cubicBezTo>
                  <a:pt x="63" y="392"/>
                  <a:pt x="63" y="392"/>
                  <a:pt x="62" y="392"/>
                </a:cubicBezTo>
                <a:cubicBezTo>
                  <a:pt x="62" y="393"/>
                  <a:pt x="62" y="393"/>
                  <a:pt x="62" y="394"/>
                </a:cubicBezTo>
                <a:cubicBezTo>
                  <a:pt x="62" y="394"/>
                  <a:pt x="62" y="394"/>
                  <a:pt x="61" y="394"/>
                </a:cubicBezTo>
                <a:cubicBezTo>
                  <a:pt x="61" y="394"/>
                  <a:pt x="61" y="395"/>
                  <a:pt x="60" y="395"/>
                </a:cubicBezTo>
                <a:cubicBezTo>
                  <a:pt x="60" y="395"/>
                  <a:pt x="60" y="395"/>
                  <a:pt x="60" y="396"/>
                </a:cubicBezTo>
                <a:cubicBezTo>
                  <a:pt x="59" y="396"/>
                  <a:pt x="59" y="396"/>
                  <a:pt x="59" y="396"/>
                </a:cubicBezTo>
                <a:cubicBezTo>
                  <a:pt x="59" y="396"/>
                  <a:pt x="60" y="396"/>
                  <a:pt x="60" y="396"/>
                </a:cubicBezTo>
                <a:cubicBezTo>
                  <a:pt x="60" y="396"/>
                  <a:pt x="61" y="395"/>
                  <a:pt x="61" y="395"/>
                </a:cubicBezTo>
                <a:cubicBezTo>
                  <a:pt x="62" y="395"/>
                  <a:pt x="62" y="395"/>
                  <a:pt x="63" y="394"/>
                </a:cubicBezTo>
                <a:cubicBezTo>
                  <a:pt x="63" y="394"/>
                  <a:pt x="63" y="393"/>
                  <a:pt x="63" y="393"/>
                </a:cubicBezTo>
                <a:cubicBezTo>
                  <a:pt x="64" y="393"/>
                  <a:pt x="64" y="393"/>
                  <a:pt x="64" y="393"/>
                </a:cubicBezTo>
                <a:cubicBezTo>
                  <a:pt x="64" y="393"/>
                  <a:pt x="64" y="393"/>
                  <a:pt x="64" y="393"/>
                </a:cubicBezTo>
                <a:cubicBezTo>
                  <a:pt x="64" y="393"/>
                  <a:pt x="64" y="393"/>
                  <a:pt x="64" y="392"/>
                </a:cubicBezTo>
                <a:cubicBezTo>
                  <a:pt x="64" y="392"/>
                  <a:pt x="64" y="392"/>
                  <a:pt x="64" y="392"/>
                </a:cubicBezTo>
                <a:cubicBezTo>
                  <a:pt x="65" y="392"/>
                  <a:pt x="65" y="392"/>
                  <a:pt x="65" y="392"/>
                </a:cubicBezTo>
                <a:cubicBezTo>
                  <a:pt x="65" y="392"/>
                  <a:pt x="65" y="392"/>
                  <a:pt x="66" y="392"/>
                </a:cubicBezTo>
                <a:cubicBezTo>
                  <a:pt x="66" y="392"/>
                  <a:pt x="66" y="391"/>
                  <a:pt x="66" y="391"/>
                </a:cubicBezTo>
                <a:cubicBezTo>
                  <a:pt x="66" y="391"/>
                  <a:pt x="66" y="391"/>
                  <a:pt x="67" y="390"/>
                </a:cubicBezTo>
                <a:cubicBezTo>
                  <a:pt x="67" y="390"/>
                  <a:pt x="67" y="390"/>
                  <a:pt x="68" y="389"/>
                </a:cubicBezTo>
                <a:cubicBezTo>
                  <a:pt x="68" y="389"/>
                  <a:pt x="68" y="389"/>
                  <a:pt x="68" y="389"/>
                </a:cubicBezTo>
                <a:cubicBezTo>
                  <a:pt x="67" y="389"/>
                  <a:pt x="67" y="389"/>
                  <a:pt x="67" y="389"/>
                </a:cubicBezTo>
                <a:close/>
                <a:moveTo>
                  <a:pt x="46" y="406"/>
                </a:moveTo>
                <a:cubicBezTo>
                  <a:pt x="46" y="406"/>
                  <a:pt x="47" y="406"/>
                  <a:pt x="47" y="406"/>
                </a:cubicBezTo>
                <a:cubicBezTo>
                  <a:pt x="47" y="406"/>
                  <a:pt x="47" y="405"/>
                  <a:pt x="47" y="405"/>
                </a:cubicBezTo>
                <a:cubicBezTo>
                  <a:pt x="47" y="405"/>
                  <a:pt x="47" y="405"/>
                  <a:pt x="47" y="405"/>
                </a:cubicBezTo>
                <a:cubicBezTo>
                  <a:pt x="46" y="405"/>
                  <a:pt x="46" y="406"/>
                  <a:pt x="46" y="406"/>
                </a:cubicBezTo>
                <a:close/>
                <a:moveTo>
                  <a:pt x="41" y="410"/>
                </a:moveTo>
                <a:cubicBezTo>
                  <a:pt x="41" y="410"/>
                  <a:pt x="41" y="410"/>
                  <a:pt x="42" y="410"/>
                </a:cubicBezTo>
                <a:cubicBezTo>
                  <a:pt x="41" y="410"/>
                  <a:pt x="41" y="409"/>
                  <a:pt x="41" y="409"/>
                </a:cubicBezTo>
                <a:cubicBezTo>
                  <a:pt x="41" y="410"/>
                  <a:pt x="41" y="410"/>
                  <a:pt x="41" y="410"/>
                </a:cubicBezTo>
                <a:close/>
                <a:moveTo>
                  <a:pt x="34" y="414"/>
                </a:moveTo>
                <a:cubicBezTo>
                  <a:pt x="34" y="414"/>
                  <a:pt x="34" y="415"/>
                  <a:pt x="34" y="415"/>
                </a:cubicBezTo>
                <a:cubicBezTo>
                  <a:pt x="34" y="415"/>
                  <a:pt x="35" y="414"/>
                  <a:pt x="35" y="414"/>
                </a:cubicBezTo>
                <a:cubicBezTo>
                  <a:pt x="35" y="414"/>
                  <a:pt x="36" y="413"/>
                  <a:pt x="36" y="413"/>
                </a:cubicBezTo>
                <a:cubicBezTo>
                  <a:pt x="36" y="413"/>
                  <a:pt x="35" y="413"/>
                  <a:pt x="35" y="413"/>
                </a:cubicBezTo>
                <a:cubicBezTo>
                  <a:pt x="34" y="414"/>
                  <a:pt x="34" y="414"/>
                  <a:pt x="34" y="414"/>
                </a:cubicBezTo>
                <a:close/>
                <a:moveTo>
                  <a:pt x="43" y="408"/>
                </a:moveTo>
                <a:cubicBezTo>
                  <a:pt x="43" y="408"/>
                  <a:pt x="43" y="408"/>
                  <a:pt x="43" y="408"/>
                </a:cubicBezTo>
                <a:cubicBezTo>
                  <a:pt x="43" y="408"/>
                  <a:pt x="44" y="408"/>
                  <a:pt x="44" y="407"/>
                </a:cubicBezTo>
                <a:cubicBezTo>
                  <a:pt x="44" y="407"/>
                  <a:pt x="45" y="407"/>
                  <a:pt x="45" y="407"/>
                </a:cubicBezTo>
                <a:cubicBezTo>
                  <a:pt x="44" y="407"/>
                  <a:pt x="44" y="407"/>
                  <a:pt x="44" y="407"/>
                </a:cubicBezTo>
                <a:cubicBezTo>
                  <a:pt x="43" y="407"/>
                  <a:pt x="43" y="407"/>
                  <a:pt x="43" y="408"/>
                </a:cubicBezTo>
                <a:close/>
                <a:moveTo>
                  <a:pt x="73" y="384"/>
                </a:moveTo>
                <a:cubicBezTo>
                  <a:pt x="74" y="384"/>
                  <a:pt x="74" y="384"/>
                  <a:pt x="74" y="384"/>
                </a:cubicBezTo>
                <a:cubicBezTo>
                  <a:pt x="74" y="384"/>
                  <a:pt x="74" y="384"/>
                  <a:pt x="74" y="384"/>
                </a:cubicBezTo>
                <a:cubicBezTo>
                  <a:pt x="74" y="384"/>
                  <a:pt x="75" y="384"/>
                  <a:pt x="75" y="383"/>
                </a:cubicBezTo>
                <a:cubicBezTo>
                  <a:pt x="75" y="383"/>
                  <a:pt x="75" y="383"/>
                  <a:pt x="74" y="383"/>
                </a:cubicBezTo>
                <a:cubicBezTo>
                  <a:pt x="74" y="383"/>
                  <a:pt x="74" y="384"/>
                  <a:pt x="73" y="384"/>
                </a:cubicBezTo>
                <a:close/>
                <a:moveTo>
                  <a:pt x="82" y="375"/>
                </a:moveTo>
                <a:cubicBezTo>
                  <a:pt x="83" y="374"/>
                  <a:pt x="83" y="374"/>
                  <a:pt x="83" y="374"/>
                </a:cubicBezTo>
                <a:cubicBezTo>
                  <a:pt x="82" y="374"/>
                  <a:pt x="82" y="374"/>
                  <a:pt x="82" y="373"/>
                </a:cubicBezTo>
                <a:cubicBezTo>
                  <a:pt x="81" y="374"/>
                  <a:pt x="81" y="374"/>
                  <a:pt x="80" y="374"/>
                </a:cubicBezTo>
                <a:cubicBezTo>
                  <a:pt x="80" y="374"/>
                  <a:pt x="80" y="374"/>
                  <a:pt x="80" y="374"/>
                </a:cubicBezTo>
                <a:cubicBezTo>
                  <a:pt x="80" y="375"/>
                  <a:pt x="80" y="375"/>
                  <a:pt x="79" y="375"/>
                </a:cubicBezTo>
                <a:cubicBezTo>
                  <a:pt x="79" y="375"/>
                  <a:pt x="79" y="375"/>
                  <a:pt x="78" y="376"/>
                </a:cubicBezTo>
                <a:cubicBezTo>
                  <a:pt x="78" y="376"/>
                  <a:pt x="78" y="376"/>
                  <a:pt x="78" y="376"/>
                </a:cubicBezTo>
                <a:cubicBezTo>
                  <a:pt x="78" y="376"/>
                  <a:pt x="77" y="376"/>
                  <a:pt x="77" y="376"/>
                </a:cubicBezTo>
                <a:cubicBezTo>
                  <a:pt x="77" y="376"/>
                  <a:pt x="77" y="376"/>
                  <a:pt x="76" y="376"/>
                </a:cubicBezTo>
                <a:cubicBezTo>
                  <a:pt x="76" y="377"/>
                  <a:pt x="76" y="377"/>
                  <a:pt x="76" y="378"/>
                </a:cubicBezTo>
                <a:cubicBezTo>
                  <a:pt x="76" y="378"/>
                  <a:pt x="76" y="378"/>
                  <a:pt x="76" y="378"/>
                </a:cubicBezTo>
                <a:cubicBezTo>
                  <a:pt x="76" y="378"/>
                  <a:pt x="75" y="379"/>
                  <a:pt x="75" y="379"/>
                </a:cubicBezTo>
                <a:cubicBezTo>
                  <a:pt x="75" y="379"/>
                  <a:pt x="75" y="379"/>
                  <a:pt x="75" y="379"/>
                </a:cubicBezTo>
                <a:cubicBezTo>
                  <a:pt x="75" y="379"/>
                  <a:pt x="74" y="379"/>
                  <a:pt x="74" y="380"/>
                </a:cubicBezTo>
                <a:cubicBezTo>
                  <a:pt x="74" y="380"/>
                  <a:pt x="74" y="380"/>
                  <a:pt x="74" y="380"/>
                </a:cubicBezTo>
                <a:cubicBezTo>
                  <a:pt x="75" y="380"/>
                  <a:pt x="75" y="381"/>
                  <a:pt x="75" y="381"/>
                </a:cubicBezTo>
                <a:cubicBezTo>
                  <a:pt x="75" y="381"/>
                  <a:pt x="76" y="381"/>
                  <a:pt x="76" y="381"/>
                </a:cubicBezTo>
                <a:cubicBezTo>
                  <a:pt x="76" y="380"/>
                  <a:pt x="77" y="380"/>
                  <a:pt x="77" y="380"/>
                </a:cubicBezTo>
                <a:cubicBezTo>
                  <a:pt x="77" y="380"/>
                  <a:pt x="77" y="380"/>
                  <a:pt x="77" y="380"/>
                </a:cubicBezTo>
                <a:cubicBezTo>
                  <a:pt x="77" y="379"/>
                  <a:pt x="78" y="379"/>
                  <a:pt x="78" y="379"/>
                </a:cubicBezTo>
                <a:cubicBezTo>
                  <a:pt x="79" y="378"/>
                  <a:pt x="79" y="378"/>
                  <a:pt x="80" y="378"/>
                </a:cubicBezTo>
                <a:cubicBezTo>
                  <a:pt x="80" y="377"/>
                  <a:pt x="81" y="377"/>
                  <a:pt x="81" y="377"/>
                </a:cubicBezTo>
                <a:cubicBezTo>
                  <a:pt x="82" y="377"/>
                  <a:pt x="82" y="377"/>
                  <a:pt x="83" y="376"/>
                </a:cubicBezTo>
                <a:cubicBezTo>
                  <a:pt x="83" y="376"/>
                  <a:pt x="83" y="376"/>
                  <a:pt x="83" y="375"/>
                </a:cubicBezTo>
                <a:cubicBezTo>
                  <a:pt x="84" y="375"/>
                  <a:pt x="84" y="375"/>
                  <a:pt x="85" y="375"/>
                </a:cubicBezTo>
                <a:cubicBezTo>
                  <a:pt x="84" y="375"/>
                  <a:pt x="84" y="375"/>
                  <a:pt x="84" y="375"/>
                </a:cubicBezTo>
                <a:cubicBezTo>
                  <a:pt x="84" y="375"/>
                  <a:pt x="83" y="375"/>
                  <a:pt x="82" y="375"/>
                </a:cubicBezTo>
                <a:close/>
                <a:moveTo>
                  <a:pt x="85" y="377"/>
                </a:moveTo>
                <a:cubicBezTo>
                  <a:pt x="85" y="377"/>
                  <a:pt x="86" y="377"/>
                  <a:pt x="86" y="377"/>
                </a:cubicBezTo>
                <a:cubicBezTo>
                  <a:pt x="86" y="377"/>
                  <a:pt x="86" y="377"/>
                  <a:pt x="87" y="376"/>
                </a:cubicBezTo>
                <a:cubicBezTo>
                  <a:pt x="86" y="376"/>
                  <a:pt x="86" y="376"/>
                  <a:pt x="85" y="376"/>
                </a:cubicBezTo>
                <a:cubicBezTo>
                  <a:pt x="85" y="377"/>
                  <a:pt x="85" y="377"/>
                  <a:pt x="85" y="377"/>
                </a:cubicBezTo>
                <a:close/>
                <a:moveTo>
                  <a:pt x="69" y="385"/>
                </a:moveTo>
                <a:cubicBezTo>
                  <a:pt x="69" y="385"/>
                  <a:pt x="68" y="385"/>
                  <a:pt x="68" y="386"/>
                </a:cubicBezTo>
                <a:cubicBezTo>
                  <a:pt x="68" y="386"/>
                  <a:pt x="68" y="386"/>
                  <a:pt x="68" y="386"/>
                </a:cubicBezTo>
                <a:cubicBezTo>
                  <a:pt x="69" y="386"/>
                  <a:pt x="69" y="386"/>
                  <a:pt x="70" y="386"/>
                </a:cubicBezTo>
                <a:cubicBezTo>
                  <a:pt x="70" y="386"/>
                  <a:pt x="70" y="386"/>
                  <a:pt x="70" y="385"/>
                </a:cubicBezTo>
                <a:cubicBezTo>
                  <a:pt x="70" y="385"/>
                  <a:pt x="70" y="385"/>
                  <a:pt x="70" y="385"/>
                </a:cubicBezTo>
                <a:cubicBezTo>
                  <a:pt x="70" y="385"/>
                  <a:pt x="70" y="385"/>
                  <a:pt x="70" y="385"/>
                </a:cubicBezTo>
                <a:cubicBezTo>
                  <a:pt x="70" y="385"/>
                  <a:pt x="69" y="385"/>
                  <a:pt x="69" y="385"/>
                </a:cubicBezTo>
                <a:close/>
                <a:moveTo>
                  <a:pt x="45" y="337"/>
                </a:moveTo>
                <a:cubicBezTo>
                  <a:pt x="45" y="337"/>
                  <a:pt x="45" y="337"/>
                  <a:pt x="45" y="336"/>
                </a:cubicBezTo>
                <a:cubicBezTo>
                  <a:pt x="45" y="336"/>
                  <a:pt x="45" y="336"/>
                  <a:pt x="44" y="336"/>
                </a:cubicBezTo>
                <a:cubicBezTo>
                  <a:pt x="44" y="336"/>
                  <a:pt x="44" y="337"/>
                  <a:pt x="44" y="337"/>
                </a:cubicBezTo>
                <a:cubicBezTo>
                  <a:pt x="44" y="337"/>
                  <a:pt x="44" y="337"/>
                  <a:pt x="45" y="337"/>
                </a:cubicBezTo>
                <a:cubicBezTo>
                  <a:pt x="45" y="337"/>
                  <a:pt x="45" y="338"/>
                  <a:pt x="45" y="338"/>
                </a:cubicBezTo>
                <a:cubicBezTo>
                  <a:pt x="46" y="338"/>
                  <a:pt x="47" y="338"/>
                  <a:pt x="48" y="338"/>
                </a:cubicBezTo>
                <a:cubicBezTo>
                  <a:pt x="47" y="338"/>
                  <a:pt x="47" y="337"/>
                  <a:pt x="47" y="337"/>
                </a:cubicBezTo>
                <a:cubicBezTo>
                  <a:pt x="47" y="337"/>
                  <a:pt x="46" y="337"/>
                  <a:pt x="45" y="337"/>
                </a:cubicBezTo>
                <a:close/>
                <a:moveTo>
                  <a:pt x="71" y="384"/>
                </a:moveTo>
                <a:cubicBezTo>
                  <a:pt x="71" y="384"/>
                  <a:pt x="71" y="384"/>
                  <a:pt x="71" y="384"/>
                </a:cubicBezTo>
                <a:cubicBezTo>
                  <a:pt x="71" y="384"/>
                  <a:pt x="71" y="385"/>
                  <a:pt x="71" y="385"/>
                </a:cubicBezTo>
                <a:cubicBezTo>
                  <a:pt x="71" y="384"/>
                  <a:pt x="72" y="384"/>
                  <a:pt x="72" y="384"/>
                </a:cubicBezTo>
                <a:cubicBezTo>
                  <a:pt x="72" y="384"/>
                  <a:pt x="71" y="384"/>
                  <a:pt x="71" y="383"/>
                </a:cubicBezTo>
                <a:cubicBezTo>
                  <a:pt x="71" y="384"/>
                  <a:pt x="71" y="384"/>
                  <a:pt x="71" y="384"/>
                </a:cubicBezTo>
                <a:close/>
                <a:moveTo>
                  <a:pt x="72" y="385"/>
                </a:moveTo>
                <a:cubicBezTo>
                  <a:pt x="72" y="385"/>
                  <a:pt x="73" y="385"/>
                  <a:pt x="73" y="384"/>
                </a:cubicBezTo>
                <a:cubicBezTo>
                  <a:pt x="73" y="384"/>
                  <a:pt x="73" y="384"/>
                  <a:pt x="72" y="384"/>
                </a:cubicBezTo>
                <a:cubicBezTo>
                  <a:pt x="72" y="385"/>
                  <a:pt x="72" y="385"/>
                  <a:pt x="72" y="385"/>
                </a:cubicBezTo>
                <a:close/>
                <a:moveTo>
                  <a:pt x="45" y="335"/>
                </a:moveTo>
                <a:cubicBezTo>
                  <a:pt x="45" y="335"/>
                  <a:pt x="44" y="335"/>
                  <a:pt x="44" y="335"/>
                </a:cubicBezTo>
                <a:cubicBezTo>
                  <a:pt x="44" y="335"/>
                  <a:pt x="44" y="336"/>
                  <a:pt x="44" y="336"/>
                </a:cubicBezTo>
                <a:cubicBezTo>
                  <a:pt x="44" y="336"/>
                  <a:pt x="44" y="336"/>
                  <a:pt x="44" y="336"/>
                </a:cubicBezTo>
                <a:cubicBezTo>
                  <a:pt x="44" y="336"/>
                  <a:pt x="45" y="336"/>
                  <a:pt x="45" y="335"/>
                </a:cubicBezTo>
                <a:close/>
                <a:moveTo>
                  <a:pt x="73" y="301"/>
                </a:moveTo>
                <a:cubicBezTo>
                  <a:pt x="73" y="301"/>
                  <a:pt x="73" y="301"/>
                  <a:pt x="74" y="301"/>
                </a:cubicBezTo>
                <a:cubicBezTo>
                  <a:pt x="73" y="300"/>
                  <a:pt x="73" y="300"/>
                  <a:pt x="73" y="300"/>
                </a:cubicBezTo>
                <a:cubicBezTo>
                  <a:pt x="72" y="300"/>
                  <a:pt x="71" y="300"/>
                  <a:pt x="70" y="300"/>
                </a:cubicBezTo>
                <a:cubicBezTo>
                  <a:pt x="70" y="300"/>
                  <a:pt x="70" y="300"/>
                  <a:pt x="70" y="299"/>
                </a:cubicBezTo>
                <a:cubicBezTo>
                  <a:pt x="70" y="299"/>
                  <a:pt x="69" y="299"/>
                  <a:pt x="69" y="299"/>
                </a:cubicBezTo>
                <a:cubicBezTo>
                  <a:pt x="68" y="299"/>
                  <a:pt x="68" y="299"/>
                  <a:pt x="68" y="299"/>
                </a:cubicBezTo>
                <a:cubicBezTo>
                  <a:pt x="68" y="299"/>
                  <a:pt x="68" y="298"/>
                  <a:pt x="68" y="298"/>
                </a:cubicBezTo>
                <a:cubicBezTo>
                  <a:pt x="68" y="298"/>
                  <a:pt x="68" y="298"/>
                  <a:pt x="68" y="298"/>
                </a:cubicBezTo>
                <a:cubicBezTo>
                  <a:pt x="67" y="298"/>
                  <a:pt x="67" y="298"/>
                  <a:pt x="67" y="298"/>
                </a:cubicBezTo>
                <a:cubicBezTo>
                  <a:pt x="66" y="298"/>
                  <a:pt x="65" y="298"/>
                  <a:pt x="64" y="298"/>
                </a:cubicBezTo>
                <a:cubicBezTo>
                  <a:pt x="64" y="299"/>
                  <a:pt x="64" y="299"/>
                  <a:pt x="64" y="299"/>
                </a:cubicBezTo>
                <a:cubicBezTo>
                  <a:pt x="64" y="299"/>
                  <a:pt x="63" y="299"/>
                  <a:pt x="63" y="300"/>
                </a:cubicBezTo>
                <a:cubicBezTo>
                  <a:pt x="63" y="299"/>
                  <a:pt x="63" y="299"/>
                  <a:pt x="62" y="299"/>
                </a:cubicBezTo>
                <a:cubicBezTo>
                  <a:pt x="62" y="299"/>
                  <a:pt x="61" y="299"/>
                  <a:pt x="61" y="300"/>
                </a:cubicBezTo>
                <a:cubicBezTo>
                  <a:pt x="61" y="299"/>
                  <a:pt x="61" y="299"/>
                  <a:pt x="61" y="299"/>
                </a:cubicBezTo>
                <a:cubicBezTo>
                  <a:pt x="61" y="298"/>
                  <a:pt x="61" y="298"/>
                  <a:pt x="61" y="298"/>
                </a:cubicBezTo>
                <a:cubicBezTo>
                  <a:pt x="60" y="298"/>
                  <a:pt x="60" y="298"/>
                  <a:pt x="60" y="298"/>
                </a:cubicBezTo>
                <a:cubicBezTo>
                  <a:pt x="60" y="299"/>
                  <a:pt x="60" y="299"/>
                  <a:pt x="60" y="300"/>
                </a:cubicBezTo>
                <a:cubicBezTo>
                  <a:pt x="59" y="301"/>
                  <a:pt x="58" y="301"/>
                  <a:pt x="58" y="302"/>
                </a:cubicBezTo>
                <a:cubicBezTo>
                  <a:pt x="58" y="303"/>
                  <a:pt x="58" y="303"/>
                  <a:pt x="58" y="303"/>
                </a:cubicBezTo>
                <a:cubicBezTo>
                  <a:pt x="59" y="303"/>
                  <a:pt x="59" y="303"/>
                  <a:pt x="60" y="303"/>
                </a:cubicBezTo>
                <a:cubicBezTo>
                  <a:pt x="60" y="303"/>
                  <a:pt x="61" y="303"/>
                  <a:pt x="61" y="303"/>
                </a:cubicBezTo>
                <a:cubicBezTo>
                  <a:pt x="61" y="303"/>
                  <a:pt x="61" y="302"/>
                  <a:pt x="61" y="302"/>
                </a:cubicBezTo>
                <a:cubicBezTo>
                  <a:pt x="62" y="302"/>
                  <a:pt x="62" y="301"/>
                  <a:pt x="63" y="301"/>
                </a:cubicBezTo>
                <a:cubicBezTo>
                  <a:pt x="63" y="301"/>
                  <a:pt x="64" y="301"/>
                  <a:pt x="64" y="301"/>
                </a:cubicBezTo>
                <a:cubicBezTo>
                  <a:pt x="65" y="301"/>
                  <a:pt x="65" y="302"/>
                  <a:pt x="65" y="302"/>
                </a:cubicBezTo>
                <a:cubicBezTo>
                  <a:pt x="65" y="302"/>
                  <a:pt x="65" y="303"/>
                  <a:pt x="65" y="303"/>
                </a:cubicBezTo>
                <a:cubicBezTo>
                  <a:pt x="66" y="303"/>
                  <a:pt x="66" y="303"/>
                  <a:pt x="67" y="303"/>
                </a:cubicBezTo>
                <a:cubicBezTo>
                  <a:pt x="67" y="303"/>
                  <a:pt x="67" y="303"/>
                  <a:pt x="68" y="303"/>
                </a:cubicBezTo>
                <a:cubicBezTo>
                  <a:pt x="67" y="304"/>
                  <a:pt x="67" y="304"/>
                  <a:pt x="67" y="305"/>
                </a:cubicBezTo>
                <a:cubicBezTo>
                  <a:pt x="67" y="305"/>
                  <a:pt x="68" y="305"/>
                  <a:pt x="68" y="305"/>
                </a:cubicBezTo>
                <a:cubicBezTo>
                  <a:pt x="69" y="304"/>
                  <a:pt x="69" y="304"/>
                  <a:pt x="69" y="303"/>
                </a:cubicBezTo>
                <a:cubicBezTo>
                  <a:pt x="70" y="303"/>
                  <a:pt x="70" y="303"/>
                  <a:pt x="70" y="303"/>
                </a:cubicBezTo>
                <a:cubicBezTo>
                  <a:pt x="70" y="302"/>
                  <a:pt x="71" y="302"/>
                  <a:pt x="71" y="302"/>
                </a:cubicBezTo>
                <a:cubicBezTo>
                  <a:pt x="71" y="302"/>
                  <a:pt x="71" y="302"/>
                  <a:pt x="71" y="302"/>
                </a:cubicBezTo>
                <a:cubicBezTo>
                  <a:pt x="72" y="302"/>
                  <a:pt x="72" y="301"/>
                  <a:pt x="73" y="301"/>
                </a:cubicBezTo>
                <a:close/>
                <a:moveTo>
                  <a:pt x="72" y="331"/>
                </a:moveTo>
                <a:cubicBezTo>
                  <a:pt x="72" y="331"/>
                  <a:pt x="72" y="331"/>
                  <a:pt x="73" y="332"/>
                </a:cubicBezTo>
                <a:cubicBezTo>
                  <a:pt x="73" y="332"/>
                  <a:pt x="74" y="332"/>
                  <a:pt x="75" y="332"/>
                </a:cubicBezTo>
                <a:cubicBezTo>
                  <a:pt x="75" y="332"/>
                  <a:pt x="75" y="332"/>
                  <a:pt x="76" y="332"/>
                </a:cubicBezTo>
                <a:cubicBezTo>
                  <a:pt x="76" y="332"/>
                  <a:pt x="76" y="332"/>
                  <a:pt x="77" y="332"/>
                </a:cubicBezTo>
                <a:cubicBezTo>
                  <a:pt x="77" y="332"/>
                  <a:pt x="77" y="331"/>
                  <a:pt x="78" y="331"/>
                </a:cubicBezTo>
                <a:cubicBezTo>
                  <a:pt x="78" y="331"/>
                  <a:pt x="78" y="331"/>
                  <a:pt x="79" y="331"/>
                </a:cubicBezTo>
                <a:cubicBezTo>
                  <a:pt x="79" y="331"/>
                  <a:pt x="80" y="330"/>
                  <a:pt x="80" y="330"/>
                </a:cubicBezTo>
                <a:cubicBezTo>
                  <a:pt x="80" y="330"/>
                  <a:pt x="80" y="329"/>
                  <a:pt x="80" y="329"/>
                </a:cubicBezTo>
                <a:cubicBezTo>
                  <a:pt x="80" y="329"/>
                  <a:pt x="80" y="328"/>
                  <a:pt x="81" y="328"/>
                </a:cubicBezTo>
                <a:cubicBezTo>
                  <a:pt x="81" y="328"/>
                  <a:pt x="80" y="327"/>
                  <a:pt x="80" y="327"/>
                </a:cubicBezTo>
                <a:cubicBezTo>
                  <a:pt x="80" y="327"/>
                  <a:pt x="79" y="327"/>
                  <a:pt x="79" y="327"/>
                </a:cubicBezTo>
                <a:cubicBezTo>
                  <a:pt x="79" y="327"/>
                  <a:pt x="79" y="327"/>
                  <a:pt x="79" y="327"/>
                </a:cubicBezTo>
                <a:cubicBezTo>
                  <a:pt x="78" y="327"/>
                  <a:pt x="78" y="327"/>
                  <a:pt x="77" y="328"/>
                </a:cubicBezTo>
                <a:cubicBezTo>
                  <a:pt x="77" y="328"/>
                  <a:pt x="77" y="328"/>
                  <a:pt x="76" y="329"/>
                </a:cubicBezTo>
                <a:cubicBezTo>
                  <a:pt x="76" y="329"/>
                  <a:pt x="76" y="329"/>
                  <a:pt x="75" y="329"/>
                </a:cubicBezTo>
                <a:cubicBezTo>
                  <a:pt x="75" y="329"/>
                  <a:pt x="75" y="329"/>
                  <a:pt x="74" y="330"/>
                </a:cubicBezTo>
                <a:cubicBezTo>
                  <a:pt x="74" y="330"/>
                  <a:pt x="73" y="330"/>
                  <a:pt x="73" y="330"/>
                </a:cubicBezTo>
                <a:cubicBezTo>
                  <a:pt x="72" y="330"/>
                  <a:pt x="72" y="330"/>
                  <a:pt x="72" y="331"/>
                </a:cubicBezTo>
                <a:close/>
                <a:moveTo>
                  <a:pt x="87" y="373"/>
                </a:moveTo>
                <a:cubicBezTo>
                  <a:pt x="88" y="373"/>
                  <a:pt x="88" y="373"/>
                  <a:pt x="88" y="373"/>
                </a:cubicBezTo>
                <a:cubicBezTo>
                  <a:pt x="88" y="373"/>
                  <a:pt x="88" y="372"/>
                  <a:pt x="89" y="372"/>
                </a:cubicBezTo>
                <a:cubicBezTo>
                  <a:pt x="88" y="372"/>
                  <a:pt x="88" y="372"/>
                  <a:pt x="88" y="372"/>
                </a:cubicBezTo>
                <a:cubicBezTo>
                  <a:pt x="88" y="372"/>
                  <a:pt x="88" y="372"/>
                  <a:pt x="87" y="373"/>
                </a:cubicBezTo>
                <a:close/>
                <a:moveTo>
                  <a:pt x="1" y="437"/>
                </a:moveTo>
                <a:cubicBezTo>
                  <a:pt x="1" y="437"/>
                  <a:pt x="1" y="436"/>
                  <a:pt x="1" y="436"/>
                </a:cubicBezTo>
                <a:cubicBezTo>
                  <a:pt x="1" y="436"/>
                  <a:pt x="1" y="436"/>
                  <a:pt x="1" y="436"/>
                </a:cubicBezTo>
                <a:cubicBezTo>
                  <a:pt x="1" y="436"/>
                  <a:pt x="1" y="437"/>
                  <a:pt x="1" y="437"/>
                </a:cubicBezTo>
                <a:close/>
                <a:moveTo>
                  <a:pt x="96" y="297"/>
                </a:moveTo>
                <a:cubicBezTo>
                  <a:pt x="97" y="296"/>
                  <a:pt x="97" y="296"/>
                  <a:pt x="98" y="295"/>
                </a:cubicBezTo>
                <a:cubicBezTo>
                  <a:pt x="98" y="295"/>
                  <a:pt x="99" y="294"/>
                  <a:pt x="99" y="294"/>
                </a:cubicBezTo>
                <a:cubicBezTo>
                  <a:pt x="99" y="294"/>
                  <a:pt x="99" y="294"/>
                  <a:pt x="99" y="294"/>
                </a:cubicBezTo>
                <a:cubicBezTo>
                  <a:pt x="98" y="294"/>
                  <a:pt x="97" y="294"/>
                  <a:pt x="96" y="294"/>
                </a:cubicBezTo>
                <a:cubicBezTo>
                  <a:pt x="96" y="294"/>
                  <a:pt x="95" y="294"/>
                  <a:pt x="94" y="295"/>
                </a:cubicBezTo>
                <a:cubicBezTo>
                  <a:pt x="94" y="295"/>
                  <a:pt x="94" y="295"/>
                  <a:pt x="94" y="295"/>
                </a:cubicBezTo>
                <a:cubicBezTo>
                  <a:pt x="94" y="295"/>
                  <a:pt x="95" y="296"/>
                  <a:pt x="95" y="296"/>
                </a:cubicBezTo>
                <a:cubicBezTo>
                  <a:pt x="95" y="296"/>
                  <a:pt x="95" y="296"/>
                  <a:pt x="95" y="296"/>
                </a:cubicBezTo>
                <a:cubicBezTo>
                  <a:pt x="95" y="296"/>
                  <a:pt x="96" y="296"/>
                  <a:pt x="96" y="296"/>
                </a:cubicBezTo>
                <a:cubicBezTo>
                  <a:pt x="96" y="296"/>
                  <a:pt x="96" y="296"/>
                  <a:pt x="96" y="297"/>
                </a:cubicBezTo>
                <a:cubicBezTo>
                  <a:pt x="96" y="297"/>
                  <a:pt x="96" y="297"/>
                  <a:pt x="96" y="297"/>
                </a:cubicBezTo>
                <a:cubicBezTo>
                  <a:pt x="96" y="297"/>
                  <a:pt x="96" y="297"/>
                  <a:pt x="96" y="297"/>
                </a:cubicBezTo>
                <a:close/>
                <a:moveTo>
                  <a:pt x="31" y="418"/>
                </a:moveTo>
                <a:cubicBezTo>
                  <a:pt x="30" y="418"/>
                  <a:pt x="29" y="418"/>
                  <a:pt x="28" y="419"/>
                </a:cubicBezTo>
                <a:cubicBezTo>
                  <a:pt x="28" y="419"/>
                  <a:pt x="27" y="419"/>
                  <a:pt x="27" y="419"/>
                </a:cubicBezTo>
                <a:cubicBezTo>
                  <a:pt x="27" y="419"/>
                  <a:pt x="28" y="419"/>
                  <a:pt x="28" y="419"/>
                </a:cubicBezTo>
                <a:cubicBezTo>
                  <a:pt x="28" y="419"/>
                  <a:pt x="28" y="419"/>
                  <a:pt x="29" y="419"/>
                </a:cubicBezTo>
                <a:cubicBezTo>
                  <a:pt x="30" y="418"/>
                  <a:pt x="30" y="418"/>
                  <a:pt x="31" y="418"/>
                </a:cubicBezTo>
                <a:cubicBezTo>
                  <a:pt x="32" y="418"/>
                  <a:pt x="32" y="417"/>
                  <a:pt x="32" y="417"/>
                </a:cubicBezTo>
                <a:cubicBezTo>
                  <a:pt x="32" y="417"/>
                  <a:pt x="32" y="417"/>
                  <a:pt x="31" y="417"/>
                </a:cubicBezTo>
                <a:cubicBezTo>
                  <a:pt x="31" y="417"/>
                  <a:pt x="31" y="417"/>
                  <a:pt x="31" y="418"/>
                </a:cubicBezTo>
                <a:close/>
                <a:moveTo>
                  <a:pt x="83" y="280"/>
                </a:moveTo>
                <a:cubicBezTo>
                  <a:pt x="82" y="280"/>
                  <a:pt x="82" y="280"/>
                  <a:pt x="82" y="280"/>
                </a:cubicBezTo>
                <a:cubicBezTo>
                  <a:pt x="82" y="280"/>
                  <a:pt x="81" y="281"/>
                  <a:pt x="81" y="281"/>
                </a:cubicBezTo>
                <a:cubicBezTo>
                  <a:pt x="82" y="281"/>
                  <a:pt x="82" y="281"/>
                  <a:pt x="82" y="281"/>
                </a:cubicBezTo>
                <a:cubicBezTo>
                  <a:pt x="82" y="281"/>
                  <a:pt x="83" y="280"/>
                  <a:pt x="83" y="280"/>
                </a:cubicBezTo>
                <a:close/>
                <a:moveTo>
                  <a:pt x="92" y="297"/>
                </a:moveTo>
                <a:cubicBezTo>
                  <a:pt x="92" y="298"/>
                  <a:pt x="91" y="299"/>
                  <a:pt x="90" y="300"/>
                </a:cubicBezTo>
                <a:cubicBezTo>
                  <a:pt x="90" y="301"/>
                  <a:pt x="91" y="301"/>
                  <a:pt x="91" y="301"/>
                </a:cubicBezTo>
                <a:cubicBezTo>
                  <a:pt x="91" y="301"/>
                  <a:pt x="91" y="301"/>
                  <a:pt x="92" y="301"/>
                </a:cubicBezTo>
                <a:cubicBezTo>
                  <a:pt x="92" y="301"/>
                  <a:pt x="93" y="300"/>
                  <a:pt x="93" y="300"/>
                </a:cubicBezTo>
                <a:cubicBezTo>
                  <a:pt x="93" y="300"/>
                  <a:pt x="94" y="300"/>
                  <a:pt x="94" y="300"/>
                </a:cubicBezTo>
                <a:cubicBezTo>
                  <a:pt x="94" y="300"/>
                  <a:pt x="94" y="300"/>
                  <a:pt x="94" y="300"/>
                </a:cubicBezTo>
                <a:cubicBezTo>
                  <a:pt x="94" y="300"/>
                  <a:pt x="95" y="300"/>
                  <a:pt x="95" y="300"/>
                </a:cubicBezTo>
                <a:cubicBezTo>
                  <a:pt x="95" y="300"/>
                  <a:pt x="95" y="299"/>
                  <a:pt x="95" y="299"/>
                </a:cubicBezTo>
                <a:cubicBezTo>
                  <a:pt x="95" y="298"/>
                  <a:pt x="95" y="298"/>
                  <a:pt x="95" y="298"/>
                </a:cubicBezTo>
                <a:cubicBezTo>
                  <a:pt x="95" y="297"/>
                  <a:pt x="94" y="297"/>
                  <a:pt x="94" y="296"/>
                </a:cubicBezTo>
                <a:cubicBezTo>
                  <a:pt x="94" y="296"/>
                  <a:pt x="94" y="296"/>
                  <a:pt x="93" y="296"/>
                </a:cubicBezTo>
                <a:cubicBezTo>
                  <a:pt x="93" y="297"/>
                  <a:pt x="93" y="297"/>
                  <a:pt x="92" y="297"/>
                </a:cubicBezTo>
                <a:close/>
                <a:moveTo>
                  <a:pt x="13" y="426"/>
                </a:moveTo>
                <a:cubicBezTo>
                  <a:pt x="13" y="426"/>
                  <a:pt x="13" y="426"/>
                  <a:pt x="13" y="427"/>
                </a:cubicBezTo>
                <a:cubicBezTo>
                  <a:pt x="13" y="427"/>
                  <a:pt x="12" y="427"/>
                  <a:pt x="12" y="427"/>
                </a:cubicBezTo>
                <a:cubicBezTo>
                  <a:pt x="12" y="428"/>
                  <a:pt x="12" y="428"/>
                  <a:pt x="12" y="428"/>
                </a:cubicBezTo>
                <a:cubicBezTo>
                  <a:pt x="13" y="428"/>
                  <a:pt x="13" y="428"/>
                  <a:pt x="13" y="428"/>
                </a:cubicBezTo>
                <a:cubicBezTo>
                  <a:pt x="14" y="427"/>
                  <a:pt x="14" y="427"/>
                  <a:pt x="14" y="426"/>
                </a:cubicBezTo>
                <a:cubicBezTo>
                  <a:pt x="14" y="426"/>
                  <a:pt x="14" y="426"/>
                  <a:pt x="13" y="426"/>
                </a:cubicBezTo>
                <a:cubicBezTo>
                  <a:pt x="13" y="426"/>
                  <a:pt x="13" y="426"/>
                  <a:pt x="13" y="426"/>
                </a:cubicBezTo>
                <a:close/>
                <a:moveTo>
                  <a:pt x="10" y="427"/>
                </a:moveTo>
                <a:cubicBezTo>
                  <a:pt x="10" y="427"/>
                  <a:pt x="10" y="428"/>
                  <a:pt x="10" y="428"/>
                </a:cubicBezTo>
                <a:cubicBezTo>
                  <a:pt x="10" y="428"/>
                  <a:pt x="10" y="429"/>
                  <a:pt x="10" y="429"/>
                </a:cubicBezTo>
                <a:cubicBezTo>
                  <a:pt x="9" y="429"/>
                  <a:pt x="9" y="429"/>
                  <a:pt x="9" y="430"/>
                </a:cubicBezTo>
                <a:cubicBezTo>
                  <a:pt x="9" y="430"/>
                  <a:pt x="10" y="430"/>
                  <a:pt x="10" y="430"/>
                </a:cubicBezTo>
                <a:cubicBezTo>
                  <a:pt x="10" y="429"/>
                  <a:pt x="10" y="429"/>
                  <a:pt x="11" y="428"/>
                </a:cubicBezTo>
                <a:cubicBezTo>
                  <a:pt x="11" y="428"/>
                  <a:pt x="11" y="428"/>
                  <a:pt x="10" y="428"/>
                </a:cubicBezTo>
                <a:cubicBezTo>
                  <a:pt x="11" y="427"/>
                  <a:pt x="11" y="427"/>
                  <a:pt x="11" y="427"/>
                </a:cubicBezTo>
                <a:cubicBezTo>
                  <a:pt x="11" y="427"/>
                  <a:pt x="10" y="427"/>
                  <a:pt x="10" y="427"/>
                </a:cubicBezTo>
                <a:close/>
                <a:moveTo>
                  <a:pt x="26" y="417"/>
                </a:moveTo>
                <a:cubicBezTo>
                  <a:pt x="26" y="418"/>
                  <a:pt x="25" y="418"/>
                  <a:pt x="25" y="418"/>
                </a:cubicBezTo>
                <a:cubicBezTo>
                  <a:pt x="25" y="418"/>
                  <a:pt x="25" y="418"/>
                  <a:pt x="24" y="419"/>
                </a:cubicBezTo>
                <a:cubicBezTo>
                  <a:pt x="24" y="419"/>
                  <a:pt x="24" y="419"/>
                  <a:pt x="24" y="419"/>
                </a:cubicBezTo>
                <a:cubicBezTo>
                  <a:pt x="24" y="419"/>
                  <a:pt x="24" y="419"/>
                  <a:pt x="24" y="420"/>
                </a:cubicBezTo>
                <a:cubicBezTo>
                  <a:pt x="24" y="420"/>
                  <a:pt x="24" y="420"/>
                  <a:pt x="24" y="420"/>
                </a:cubicBezTo>
                <a:cubicBezTo>
                  <a:pt x="23" y="420"/>
                  <a:pt x="23" y="420"/>
                  <a:pt x="23" y="421"/>
                </a:cubicBezTo>
                <a:cubicBezTo>
                  <a:pt x="23" y="421"/>
                  <a:pt x="23" y="421"/>
                  <a:pt x="22" y="421"/>
                </a:cubicBezTo>
                <a:cubicBezTo>
                  <a:pt x="22" y="421"/>
                  <a:pt x="22" y="421"/>
                  <a:pt x="21" y="421"/>
                </a:cubicBezTo>
                <a:cubicBezTo>
                  <a:pt x="21" y="421"/>
                  <a:pt x="21" y="422"/>
                  <a:pt x="21" y="422"/>
                </a:cubicBezTo>
                <a:cubicBezTo>
                  <a:pt x="22" y="422"/>
                  <a:pt x="22" y="422"/>
                  <a:pt x="22" y="422"/>
                </a:cubicBezTo>
                <a:cubicBezTo>
                  <a:pt x="22" y="422"/>
                  <a:pt x="23" y="421"/>
                  <a:pt x="23" y="421"/>
                </a:cubicBezTo>
                <a:cubicBezTo>
                  <a:pt x="23" y="421"/>
                  <a:pt x="24" y="421"/>
                  <a:pt x="24" y="421"/>
                </a:cubicBezTo>
                <a:cubicBezTo>
                  <a:pt x="24" y="420"/>
                  <a:pt x="25" y="420"/>
                  <a:pt x="25" y="420"/>
                </a:cubicBezTo>
                <a:cubicBezTo>
                  <a:pt x="25" y="420"/>
                  <a:pt x="26" y="419"/>
                  <a:pt x="26" y="419"/>
                </a:cubicBezTo>
                <a:cubicBezTo>
                  <a:pt x="26" y="419"/>
                  <a:pt x="26" y="419"/>
                  <a:pt x="26" y="419"/>
                </a:cubicBezTo>
                <a:cubicBezTo>
                  <a:pt x="26" y="418"/>
                  <a:pt x="26" y="418"/>
                  <a:pt x="26" y="418"/>
                </a:cubicBezTo>
                <a:cubicBezTo>
                  <a:pt x="26" y="418"/>
                  <a:pt x="26" y="418"/>
                  <a:pt x="26" y="417"/>
                </a:cubicBezTo>
                <a:close/>
                <a:moveTo>
                  <a:pt x="1" y="432"/>
                </a:moveTo>
                <a:cubicBezTo>
                  <a:pt x="1" y="432"/>
                  <a:pt x="2" y="432"/>
                  <a:pt x="2" y="432"/>
                </a:cubicBezTo>
                <a:cubicBezTo>
                  <a:pt x="2" y="432"/>
                  <a:pt x="2" y="431"/>
                  <a:pt x="2" y="431"/>
                </a:cubicBezTo>
                <a:cubicBezTo>
                  <a:pt x="1" y="431"/>
                  <a:pt x="1" y="432"/>
                  <a:pt x="1" y="432"/>
                </a:cubicBezTo>
                <a:close/>
                <a:moveTo>
                  <a:pt x="0" y="435"/>
                </a:moveTo>
                <a:cubicBezTo>
                  <a:pt x="0" y="435"/>
                  <a:pt x="1" y="435"/>
                  <a:pt x="1" y="435"/>
                </a:cubicBezTo>
                <a:cubicBezTo>
                  <a:pt x="1" y="435"/>
                  <a:pt x="2" y="434"/>
                  <a:pt x="2" y="434"/>
                </a:cubicBezTo>
                <a:cubicBezTo>
                  <a:pt x="1" y="434"/>
                  <a:pt x="1" y="434"/>
                  <a:pt x="1" y="434"/>
                </a:cubicBezTo>
                <a:cubicBezTo>
                  <a:pt x="1" y="434"/>
                  <a:pt x="0" y="435"/>
                  <a:pt x="0" y="435"/>
                </a:cubicBezTo>
                <a:close/>
                <a:moveTo>
                  <a:pt x="5" y="429"/>
                </a:moveTo>
                <a:cubicBezTo>
                  <a:pt x="5" y="429"/>
                  <a:pt x="5" y="430"/>
                  <a:pt x="5" y="430"/>
                </a:cubicBezTo>
                <a:cubicBezTo>
                  <a:pt x="5" y="430"/>
                  <a:pt x="5" y="430"/>
                  <a:pt x="5" y="430"/>
                </a:cubicBezTo>
                <a:cubicBezTo>
                  <a:pt x="6" y="430"/>
                  <a:pt x="6" y="430"/>
                  <a:pt x="6" y="430"/>
                </a:cubicBezTo>
                <a:cubicBezTo>
                  <a:pt x="6" y="430"/>
                  <a:pt x="6" y="430"/>
                  <a:pt x="6" y="430"/>
                </a:cubicBezTo>
                <a:cubicBezTo>
                  <a:pt x="6" y="430"/>
                  <a:pt x="6" y="431"/>
                  <a:pt x="6" y="431"/>
                </a:cubicBezTo>
                <a:cubicBezTo>
                  <a:pt x="6" y="431"/>
                  <a:pt x="7" y="430"/>
                  <a:pt x="7" y="430"/>
                </a:cubicBezTo>
                <a:cubicBezTo>
                  <a:pt x="7" y="430"/>
                  <a:pt x="7" y="430"/>
                  <a:pt x="7" y="429"/>
                </a:cubicBezTo>
                <a:cubicBezTo>
                  <a:pt x="7" y="429"/>
                  <a:pt x="8" y="429"/>
                  <a:pt x="8" y="429"/>
                </a:cubicBezTo>
                <a:cubicBezTo>
                  <a:pt x="7" y="429"/>
                  <a:pt x="7" y="429"/>
                  <a:pt x="6" y="429"/>
                </a:cubicBezTo>
                <a:cubicBezTo>
                  <a:pt x="6" y="429"/>
                  <a:pt x="6" y="429"/>
                  <a:pt x="5" y="429"/>
                </a:cubicBezTo>
                <a:close/>
                <a:moveTo>
                  <a:pt x="68" y="387"/>
                </a:moveTo>
                <a:cubicBezTo>
                  <a:pt x="68" y="387"/>
                  <a:pt x="68" y="387"/>
                  <a:pt x="68" y="387"/>
                </a:cubicBezTo>
                <a:cubicBezTo>
                  <a:pt x="68" y="387"/>
                  <a:pt x="68" y="387"/>
                  <a:pt x="69" y="387"/>
                </a:cubicBezTo>
                <a:cubicBezTo>
                  <a:pt x="69" y="387"/>
                  <a:pt x="69" y="387"/>
                  <a:pt x="69" y="387"/>
                </a:cubicBezTo>
                <a:cubicBezTo>
                  <a:pt x="68" y="387"/>
                  <a:pt x="68" y="387"/>
                  <a:pt x="68" y="387"/>
                </a:cubicBezTo>
                <a:close/>
                <a:moveTo>
                  <a:pt x="98" y="366"/>
                </a:moveTo>
                <a:cubicBezTo>
                  <a:pt x="98" y="366"/>
                  <a:pt x="98" y="366"/>
                  <a:pt x="98" y="365"/>
                </a:cubicBezTo>
                <a:cubicBezTo>
                  <a:pt x="98" y="365"/>
                  <a:pt x="98" y="365"/>
                  <a:pt x="97" y="365"/>
                </a:cubicBezTo>
                <a:cubicBezTo>
                  <a:pt x="98" y="366"/>
                  <a:pt x="98" y="366"/>
                  <a:pt x="98" y="366"/>
                </a:cubicBezTo>
                <a:close/>
                <a:moveTo>
                  <a:pt x="96" y="366"/>
                </a:moveTo>
                <a:cubicBezTo>
                  <a:pt x="96" y="366"/>
                  <a:pt x="96" y="366"/>
                  <a:pt x="95" y="366"/>
                </a:cubicBezTo>
                <a:cubicBezTo>
                  <a:pt x="95" y="367"/>
                  <a:pt x="95" y="367"/>
                  <a:pt x="95" y="367"/>
                </a:cubicBezTo>
                <a:cubicBezTo>
                  <a:pt x="96" y="367"/>
                  <a:pt x="96" y="367"/>
                  <a:pt x="96" y="367"/>
                </a:cubicBezTo>
                <a:cubicBezTo>
                  <a:pt x="96" y="367"/>
                  <a:pt x="97" y="367"/>
                  <a:pt x="97" y="367"/>
                </a:cubicBezTo>
                <a:cubicBezTo>
                  <a:pt x="97" y="367"/>
                  <a:pt x="97" y="367"/>
                  <a:pt x="97" y="367"/>
                </a:cubicBezTo>
                <a:cubicBezTo>
                  <a:pt x="97" y="366"/>
                  <a:pt x="97" y="366"/>
                  <a:pt x="97" y="366"/>
                </a:cubicBezTo>
                <a:cubicBezTo>
                  <a:pt x="97" y="366"/>
                  <a:pt x="96" y="366"/>
                  <a:pt x="96" y="366"/>
                </a:cubicBezTo>
                <a:close/>
                <a:moveTo>
                  <a:pt x="91" y="370"/>
                </a:moveTo>
                <a:cubicBezTo>
                  <a:pt x="91" y="370"/>
                  <a:pt x="91" y="370"/>
                  <a:pt x="91" y="370"/>
                </a:cubicBezTo>
                <a:cubicBezTo>
                  <a:pt x="92" y="370"/>
                  <a:pt x="92" y="370"/>
                  <a:pt x="92" y="369"/>
                </a:cubicBezTo>
                <a:cubicBezTo>
                  <a:pt x="92" y="369"/>
                  <a:pt x="91" y="369"/>
                  <a:pt x="91" y="369"/>
                </a:cubicBezTo>
                <a:cubicBezTo>
                  <a:pt x="91" y="369"/>
                  <a:pt x="91" y="369"/>
                  <a:pt x="91" y="370"/>
                </a:cubicBezTo>
                <a:close/>
                <a:moveTo>
                  <a:pt x="227" y="312"/>
                </a:moveTo>
                <a:cubicBezTo>
                  <a:pt x="227" y="312"/>
                  <a:pt x="227" y="311"/>
                  <a:pt x="226" y="311"/>
                </a:cubicBezTo>
                <a:cubicBezTo>
                  <a:pt x="226" y="312"/>
                  <a:pt x="226" y="312"/>
                  <a:pt x="226" y="312"/>
                </a:cubicBezTo>
                <a:cubicBezTo>
                  <a:pt x="226" y="312"/>
                  <a:pt x="226" y="312"/>
                  <a:pt x="226" y="313"/>
                </a:cubicBezTo>
                <a:cubicBezTo>
                  <a:pt x="226" y="313"/>
                  <a:pt x="226" y="313"/>
                  <a:pt x="226" y="313"/>
                </a:cubicBezTo>
                <a:cubicBezTo>
                  <a:pt x="226" y="313"/>
                  <a:pt x="226" y="313"/>
                  <a:pt x="226" y="313"/>
                </a:cubicBezTo>
                <a:cubicBezTo>
                  <a:pt x="226" y="313"/>
                  <a:pt x="226" y="314"/>
                  <a:pt x="226" y="314"/>
                </a:cubicBezTo>
                <a:cubicBezTo>
                  <a:pt x="227" y="313"/>
                  <a:pt x="227" y="313"/>
                  <a:pt x="227" y="313"/>
                </a:cubicBezTo>
                <a:cubicBezTo>
                  <a:pt x="227" y="313"/>
                  <a:pt x="227" y="313"/>
                  <a:pt x="227" y="312"/>
                </a:cubicBezTo>
                <a:cubicBezTo>
                  <a:pt x="227" y="312"/>
                  <a:pt x="227" y="312"/>
                  <a:pt x="227" y="312"/>
                </a:cubicBezTo>
                <a:close/>
                <a:moveTo>
                  <a:pt x="99" y="364"/>
                </a:moveTo>
                <a:cubicBezTo>
                  <a:pt x="99" y="364"/>
                  <a:pt x="99" y="365"/>
                  <a:pt x="99" y="365"/>
                </a:cubicBezTo>
                <a:cubicBezTo>
                  <a:pt x="99" y="365"/>
                  <a:pt x="99" y="365"/>
                  <a:pt x="99" y="364"/>
                </a:cubicBezTo>
                <a:cubicBezTo>
                  <a:pt x="99" y="364"/>
                  <a:pt x="99" y="364"/>
                  <a:pt x="99" y="364"/>
                </a:cubicBezTo>
                <a:close/>
                <a:moveTo>
                  <a:pt x="103" y="366"/>
                </a:moveTo>
                <a:cubicBezTo>
                  <a:pt x="103" y="366"/>
                  <a:pt x="103" y="366"/>
                  <a:pt x="103" y="367"/>
                </a:cubicBezTo>
                <a:cubicBezTo>
                  <a:pt x="104" y="366"/>
                  <a:pt x="104" y="366"/>
                  <a:pt x="104" y="366"/>
                </a:cubicBezTo>
                <a:cubicBezTo>
                  <a:pt x="104" y="366"/>
                  <a:pt x="104" y="366"/>
                  <a:pt x="103" y="366"/>
                </a:cubicBezTo>
                <a:cubicBezTo>
                  <a:pt x="103" y="366"/>
                  <a:pt x="103" y="366"/>
                  <a:pt x="103" y="366"/>
                </a:cubicBezTo>
                <a:close/>
                <a:moveTo>
                  <a:pt x="1119" y="511"/>
                </a:moveTo>
                <a:cubicBezTo>
                  <a:pt x="1119" y="511"/>
                  <a:pt x="1120" y="511"/>
                  <a:pt x="1120" y="510"/>
                </a:cubicBezTo>
                <a:cubicBezTo>
                  <a:pt x="1120" y="510"/>
                  <a:pt x="1120" y="510"/>
                  <a:pt x="1120" y="510"/>
                </a:cubicBezTo>
                <a:cubicBezTo>
                  <a:pt x="1119" y="510"/>
                  <a:pt x="1119" y="510"/>
                  <a:pt x="1119" y="510"/>
                </a:cubicBezTo>
                <a:cubicBezTo>
                  <a:pt x="1119" y="510"/>
                  <a:pt x="1119" y="510"/>
                  <a:pt x="1119" y="510"/>
                </a:cubicBezTo>
                <a:cubicBezTo>
                  <a:pt x="1119" y="510"/>
                  <a:pt x="1119" y="511"/>
                  <a:pt x="1119" y="511"/>
                </a:cubicBezTo>
                <a:cubicBezTo>
                  <a:pt x="1119" y="511"/>
                  <a:pt x="1119" y="511"/>
                  <a:pt x="1119" y="511"/>
                </a:cubicBezTo>
                <a:close/>
                <a:moveTo>
                  <a:pt x="1117" y="508"/>
                </a:moveTo>
                <a:cubicBezTo>
                  <a:pt x="1117" y="508"/>
                  <a:pt x="1117" y="507"/>
                  <a:pt x="1117" y="507"/>
                </a:cubicBezTo>
                <a:cubicBezTo>
                  <a:pt x="1117" y="507"/>
                  <a:pt x="1116" y="507"/>
                  <a:pt x="1116" y="507"/>
                </a:cubicBezTo>
                <a:cubicBezTo>
                  <a:pt x="1116" y="507"/>
                  <a:pt x="1116" y="507"/>
                  <a:pt x="1115" y="508"/>
                </a:cubicBezTo>
                <a:cubicBezTo>
                  <a:pt x="1116" y="508"/>
                  <a:pt x="1116" y="508"/>
                  <a:pt x="1116" y="508"/>
                </a:cubicBezTo>
                <a:cubicBezTo>
                  <a:pt x="1116" y="508"/>
                  <a:pt x="1116" y="508"/>
                  <a:pt x="1117" y="508"/>
                </a:cubicBezTo>
                <a:cubicBezTo>
                  <a:pt x="1117" y="508"/>
                  <a:pt x="1117" y="508"/>
                  <a:pt x="1117" y="508"/>
                </a:cubicBezTo>
                <a:close/>
                <a:moveTo>
                  <a:pt x="1112" y="504"/>
                </a:moveTo>
                <a:cubicBezTo>
                  <a:pt x="1112" y="504"/>
                  <a:pt x="1111" y="504"/>
                  <a:pt x="1111" y="503"/>
                </a:cubicBezTo>
                <a:cubicBezTo>
                  <a:pt x="1111" y="504"/>
                  <a:pt x="1111" y="504"/>
                  <a:pt x="1110" y="504"/>
                </a:cubicBezTo>
                <a:cubicBezTo>
                  <a:pt x="1110" y="504"/>
                  <a:pt x="1110" y="505"/>
                  <a:pt x="1111" y="505"/>
                </a:cubicBezTo>
                <a:cubicBezTo>
                  <a:pt x="1111" y="505"/>
                  <a:pt x="1111" y="505"/>
                  <a:pt x="1111" y="506"/>
                </a:cubicBezTo>
                <a:cubicBezTo>
                  <a:pt x="1111" y="506"/>
                  <a:pt x="1111" y="506"/>
                  <a:pt x="1111" y="506"/>
                </a:cubicBezTo>
                <a:cubicBezTo>
                  <a:pt x="1111" y="506"/>
                  <a:pt x="1111" y="506"/>
                  <a:pt x="1111" y="506"/>
                </a:cubicBezTo>
                <a:cubicBezTo>
                  <a:pt x="1112" y="506"/>
                  <a:pt x="1112" y="506"/>
                  <a:pt x="1112" y="505"/>
                </a:cubicBezTo>
                <a:cubicBezTo>
                  <a:pt x="1112" y="505"/>
                  <a:pt x="1112" y="505"/>
                  <a:pt x="1112" y="505"/>
                </a:cubicBezTo>
                <a:cubicBezTo>
                  <a:pt x="1112" y="505"/>
                  <a:pt x="1112" y="504"/>
                  <a:pt x="1112" y="504"/>
                </a:cubicBezTo>
                <a:cubicBezTo>
                  <a:pt x="1112" y="504"/>
                  <a:pt x="1112" y="504"/>
                  <a:pt x="1112" y="504"/>
                </a:cubicBezTo>
                <a:close/>
                <a:moveTo>
                  <a:pt x="1112" y="507"/>
                </a:moveTo>
                <a:cubicBezTo>
                  <a:pt x="1112" y="508"/>
                  <a:pt x="1112" y="508"/>
                  <a:pt x="1112" y="508"/>
                </a:cubicBezTo>
                <a:cubicBezTo>
                  <a:pt x="1112" y="508"/>
                  <a:pt x="1112" y="508"/>
                  <a:pt x="1113" y="508"/>
                </a:cubicBezTo>
                <a:cubicBezTo>
                  <a:pt x="1113" y="508"/>
                  <a:pt x="1112" y="508"/>
                  <a:pt x="1112" y="507"/>
                </a:cubicBezTo>
                <a:cubicBezTo>
                  <a:pt x="1112" y="507"/>
                  <a:pt x="1112" y="507"/>
                  <a:pt x="1112" y="507"/>
                </a:cubicBezTo>
                <a:cubicBezTo>
                  <a:pt x="1112" y="507"/>
                  <a:pt x="1112" y="507"/>
                  <a:pt x="1112" y="507"/>
                </a:cubicBezTo>
                <a:close/>
                <a:moveTo>
                  <a:pt x="1174" y="487"/>
                </a:moveTo>
                <a:cubicBezTo>
                  <a:pt x="1173" y="486"/>
                  <a:pt x="1173" y="486"/>
                  <a:pt x="1173" y="486"/>
                </a:cubicBezTo>
                <a:cubicBezTo>
                  <a:pt x="1173" y="486"/>
                  <a:pt x="1173" y="486"/>
                  <a:pt x="1172" y="487"/>
                </a:cubicBezTo>
                <a:cubicBezTo>
                  <a:pt x="1173" y="487"/>
                  <a:pt x="1173" y="487"/>
                  <a:pt x="1173" y="487"/>
                </a:cubicBezTo>
                <a:cubicBezTo>
                  <a:pt x="1173" y="487"/>
                  <a:pt x="1174" y="487"/>
                  <a:pt x="1174" y="487"/>
                </a:cubicBezTo>
                <a:cubicBezTo>
                  <a:pt x="1174" y="487"/>
                  <a:pt x="1174" y="487"/>
                  <a:pt x="1174" y="487"/>
                </a:cubicBezTo>
                <a:close/>
                <a:moveTo>
                  <a:pt x="1128" y="499"/>
                </a:moveTo>
                <a:cubicBezTo>
                  <a:pt x="1128" y="499"/>
                  <a:pt x="1128" y="499"/>
                  <a:pt x="1128" y="499"/>
                </a:cubicBezTo>
                <a:cubicBezTo>
                  <a:pt x="1128" y="499"/>
                  <a:pt x="1128" y="499"/>
                  <a:pt x="1128" y="500"/>
                </a:cubicBezTo>
                <a:cubicBezTo>
                  <a:pt x="1128" y="499"/>
                  <a:pt x="1128" y="499"/>
                  <a:pt x="1128" y="499"/>
                </a:cubicBezTo>
                <a:close/>
                <a:moveTo>
                  <a:pt x="1128" y="498"/>
                </a:moveTo>
                <a:cubicBezTo>
                  <a:pt x="1128" y="498"/>
                  <a:pt x="1128" y="498"/>
                  <a:pt x="1128" y="498"/>
                </a:cubicBezTo>
                <a:cubicBezTo>
                  <a:pt x="1128" y="498"/>
                  <a:pt x="1127" y="498"/>
                  <a:pt x="1127" y="498"/>
                </a:cubicBezTo>
                <a:cubicBezTo>
                  <a:pt x="1127" y="498"/>
                  <a:pt x="1127" y="498"/>
                  <a:pt x="1127" y="498"/>
                </a:cubicBezTo>
                <a:cubicBezTo>
                  <a:pt x="1127" y="498"/>
                  <a:pt x="1127" y="498"/>
                  <a:pt x="1127" y="498"/>
                </a:cubicBezTo>
                <a:cubicBezTo>
                  <a:pt x="1127" y="498"/>
                  <a:pt x="1128" y="498"/>
                  <a:pt x="1128" y="498"/>
                </a:cubicBezTo>
                <a:cubicBezTo>
                  <a:pt x="1128" y="498"/>
                  <a:pt x="1128" y="498"/>
                  <a:pt x="1128" y="498"/>
                </a:cubicBezTo>
                <a:close/>
                <a:moveTo>
                  <a:pt x="1369" y="455"/>
                </a:moveTo>
                <a:cubicBezTo>
                  <a:pt x="1368" y="455"/>
                  <a:pt x="1368" y="455"/>
                  <a:pt x="1367" y="455"/>
                </a:cubicBezTo>
                <a:cubicBezTo>
                  <a:pt x="1367" y="455"/>
                  <a:pt x="1367" y="456"/>
                  <a:pt x="1367" y="456"/>
                </a:cubicBezTo>
                <a:cubicBezTo>
                  <a:pt x="1367" y="456"/>
                  <a:pt x="1367" y="457"/>
                  <a:pt x="1367" y="457"/>
                </a:cubicBezTo>
                <a:cubicBezTo>
                  <a:pt x="1367" y="457"/>
                  <a:pt x="1367" y="457"/>
                  <a:pt x="1367" y="457"/>
                </a:cubicBezTo>
                <a:cubicBezTo>
                  <a:pt x="1367" y="458"/>
                  <a:pt x="1366" y="458"/>
                  <a:pt x="1366" y="459"/>
                </a:cubicBezTo>
                <a:cubicBezTo>
                  <a:pt x="1366" y="459"/>
                  <a:pt x="1366" y="459"/>
                  <a:pt x="1366" y="459"/>
                </a:cubicBezTo>
                <a:cubicBezTo>
                  <a:pt x="1367" y="459"/>
                  <a:pt x="1367" y="459"/>
                  <a:pt x="1367" y="459"/>
                </a:cubicBezTo>
                <a:cubicBezTo>
                  <a:pt x="1368" y="458"/>
                  <a:pt x="1368" y="458"/>
                  <a:pt x="1368" y="458"/>
                </a:cubicBezTo>
                <a:cubicBezTo>
                  <a:pt x="1368" y="457"/>
                  <a:pt x="1367" y="457"/>
                  <a:pt x="1367" y="457"/>
                </a:cubicBezTo>
                <a:cubicBezTo>
                  <a:pt x="1368" y="457"/>
                  <a:pt x="1368" y="457"/>
                  <a:pt x="1368" y="457"/>
                </a:cubicBezTo>
                <a:cubicBezTo>
                  <a:pt x="1368" y="456"/>
                  <a:pt x="1368" y="456"/>
                  <a:pt x="1368" y="456"/>
                </a:cubicBezTo>
                <a:cubicBezTo>
                  <a:pt x="1368" y="456"/>
                  <a:pt x="1368" y="456"/>
                  <a:pt x="1368" y="455"/>
                </a:cubicBezTo>
                <a:cubicBezTo>
                  <a:pt x="1368" y="455"/>
                  <a:pt x="1368" y="455"/>
                  <a:pt x="1369" y="455"/>
                </a:cubicBezTo>
                <a:cubicBezTo>
                  <a:pt x="1369" y="455"/>
                  <a:pt x="1369" y="455"/>
                  <a:pt x="1369" y="455"/>
                </a:cubicBezTo>
                <a:close/>
                <a:moveTo>
                  <a:pt x="1367" y="480"/>
                </a:moveTo>
                <a:cubicBezTo>
                  <a:pt x="1367" y="480"/>
                  <a:pt x="1367" y="480"/>
                  <a:pt x="1367" y="480"/>
                </a:cubicBezTo>
                <a:cubicBezTo>
                  <a:pt x="1366" y="480"/>
                  <a:pt x="1366" y="480"/>
                  <a:pt x="1366" y="481"/>
                </a:cubicBezTo>
                <a:cubicBezTo>
                  <a:pt x="1366" y="481"/>
                  <a:pt x="1367" y="481"/>
                  <a:pt x="1367" y="481"/>
                </a:cubicBezTo>
                <a:cubicBezTo>
                  <a:pt x="1367" y="481"/>
                  <a:pt x="1367" y="482"/>
                  <a:pt x="1367" y="482"/>
                </a:cubicBezTo>
                <a:cubicBezTo>
                  <a:pt x="1367" y="482"/>
                  <a:pt x="1367" y="482"/>
                  <a:pt x="1368" y="482"/>
                </a:cubicBezTo>
                <a:cubicBezTo>
                  <a:pt x="1368" y="481"/>
                  <a:pt x="1368" y="481"/>
                  <a:pt x="1368" y="481"/>
                </a:cubicBezTo>
                <a:cubicBezTo>
                  <a:pt x="1368" y="481"/>
                  <a:pt x="1368" y="480"/>
                  <a:pt x="1368" y="480"/>
                </a:cubicBezTo>
                <a:cubicBezTo>
                  <a:pt x="1368" y="480"/>
                  <a:pt x="1367" y="480"/>
                  <a:pt x="1367" y="480"/>
                </a:cubicBezTo>
                <a:close/>
                <a:moveTo>
                  <a:pt x="1364" y="472"/>
                </a:moveTo>
                <a:cubicBezTo>
                  <a:pt x="1364" y="471"/>
                  <a:pt x="1364" y="471"/>
                  <a:pt x="1364" y="471"/>
                </a:cubicBezTo>
                <a:cubicBezTo>
                  <a:pt x="1364" y="471"/>
                  <a:pt x="1364" y="471"/>
                  <a:pt x="1363" y="471"/>
                </a:cubicBezTo>
                <a:cubicBezTo>
                  <a:pt x="1364" y="471"/>
                  <a:pt x="1364" y="471"/>
                  <a:pt x="1364" y="472"/>
                </a:cubicBezTo>
                <a:close/>
                <a:moveTo>
                  <a:pt x="1366" y="479"/>
                </a:moveTo>
                <a:cubicBezTo>
                  <a:pt x="1366" y="479"/>
                  <a:pt x="1367" y="479"/>
                  <a:pt x="1367" y="479"/>
                </a:cubicBezTo>
                <a:cubicBezTo>
                  <a:pt x="1367" y="479"/>
                  <a:pt x="1367" y="479"/>
                  <a:pt x="1368" y="479"/>
                </a:cubicBezTo>
                <a:cubicBezTo>
                  <a:pt x="1367" y="479"/>
                  <a:pt x="1367" y="479"/>
                  <a:pt x="1367" y="479"/>
                </a:cubicBezTo>
                <a:cubicBezTo>
                  <a:pt x="1367" y="479"/>
                  <a:pt x="1367" y="479"/>
                  <a:pt x="1366" y="479"/>
                </a:cubicBezTo>
                <a:close/>
                <a:moveTo>
                  <a:pt x="1367" y="476"/>
                </a:moveTo>
                <a:cubicBezTo>
                  <a:pt x="1367" y="476"/>
                  <a:pt x="1367" y="476"/>
                  <a:pt x="1367" y="477"/>
                </a:cubicBezTo>
                <a:cubicBezTo>
                  <a:pt x="1367" y="476"/>
                  <a:pt x="1367" y="476"/>
                  <a:pt x="1367" y="476"/>
                </a:cubicBezTo>
                <a:cubicBezTo>
                  <a:pt x="1367" y="476"/>
                  <a:pt x="1367" y="476"/>
                  <a:pt x="1367" y="476"/>
                </a:cubicBezTo>
                <a:cubicBezTo>
                  <a:pt x="1367" y="476"/>
                  <a:pt x="1367" y="476"/>
                  <a:pt x="1367" y="475"/>
                </a:cubicBezTo>
                <a:cubicBezTo>
                  <a:pt x="1367" y="476"/>
                  <a:pt x="1367" y="476"/>
                  <a:pt x="1367" y="476"/>
                </a:cubicBezTo>
                <a:close/>
                <a:moveTo>
                  <a:pt x="1363" y="461"/>
                </a:moveTo>
                <a:cubicBezTo>
                  <a:pt x="1363" y="462"/>
                  <a:pt x="1362" y="462"/>
                  <a:pt x="1362" y="462"/>
                </a:cubicBezTo>
                <a:cubicBezTo>
                  <a:pt x="1362" y="462"/>
                  <a:pt x="1363" y="462"/>
                  <a:pt x="1363" y="462"/>
                </a:cubicBezTo>
                <a:cubicBezTo>
                  <a:pt x="1363" y="462"/>
                  <a:pt x="1363" y="462"/>
                  <a:pt x="1363" y="461"/>
                </a:cubicBezTo>
                <a:close/>
                <a:moveTo>
                  <a:pt x="1366" y="477"/>
                </a:moveTo>
                <a:cubicBezTo>
                  <a:pt x="1366" y="477"/>
                  <a:pt x="1366" y="476"/>
                  <a:pt x="1365" y="476"/>
                </a:cubicBezTo>
                <a:cubicBezTo>
                  <a:pt x="1365" y="477"/>
                  <a:pt x="1365" y="477"/>
                  <a:pt x="1365" y="477"/>
                </a:cubicBezTo>
                <a:cubicBezTo>
                  <a:pt x="1366" y="477"/>
                  <a:pt x="1366" y="477"/>
                  <a:pt x="1366" y="477"/>
                </a:cubicBezTo>
                <a:cubicBezTo>
                  <a:pt x="1366" y="477"/>
                  <a:pt x="1366" y="477"/>
                  <a:pt x="1367" y="477"/>
                </a:cubicBezTo>
                <a:cubicBezTo>
                  <a:pt x="1366" y="477"/>
                  <a:pt x="1366" y="477"/>
                  <a:pt x="1366" y="477"/>
                </a:cubicBezTo>
                <a:close/>
                <a:moveTo>
                  <a:pt x="1365" y="475"/>
                </a:moveTo>
                <a:cubicBezTo>
                  <a:pt x="1365" y="475"/>
                  <a:pt x="1365" y="474"/>
                  <a:pt x="1365" y="474"/>
                </a:cubicBezTo>
                <a:cubicBezTo>
                  <a:pt x="1365" y="474"/>
                  <a:pt x="1365" y="475"/>
                  <a:pt x="1365" y="475"/>
                </a:cubicBezTo>
                <a:cubicBezTo>
                  <a:pt x="1365" y="475"/>
                  <a:pt x="1365" y="475"/>
                  <a:pt x="1365" y="476"/>
                </a:cubicBezTo>
                <a:cubicBezTo>
                  <a:pt x="1365" y="475"/>
                  <a:pt x="1365" y="475"/>
                  <a:pt x="1365" y="475"/>
                </a:cubicBezTo>
                <a:close/>
                <a:moveTo>
                  <a:pt x="1366" y="461"/>
                </a:moveTo>
                <a:cubicBezTo>
                  <a:pt x="1366" y="461"/>
                  <a:pt x="1365" y="461"/>
                  <a:pt x="1365" y="461"/>
                </a:cubicBezTo>
                <a:cubicBezTo>
                  <a:pt x="1366" y="461"/>
                  <a:pt x="1366" y="460"/>
                  <a:pt x="1366" y="460"/>
                </a:cubicBezTo>
                <a:cubicBezTo>
                  <a:pt x="1366" y="460"/>
                  <a:pt x="1366" y="460"/>
                  <a:pt x="1367" y="460"/>
                </a:cubicBezTo>
                <a:cubicBezTo>
                  <a:pt x="1367" y="460"/>
                  <a:pt x="1367" y="460"/>
                  <a:pt x="1367" y="460"/>
                </a:cubicBezTo>
                <a:cubicBezTo>
                  <a:pt x="1366" y="460"/>
                  <a:pt x="1366" y="460"/>
                  <a:pt x="1365" y="460"/>
                </a:cubicBezTo>
                <a:cubicBezTo>
                  <a:pt x="1365" y="460"/>
                  <a:pt x="1365" y="460"/>
                  <a:pt x="1365" y="461"/>
                </a:cubicBezTo>
                <a:cubicBezTo>
                  <a:pt x="1365" y="461"/>
                  <a:pt x="1365" y="461"/>
                  <a:pt x="1365" y="461"/>
                </a:cubicBezTo>
                <a:cubicBezTo>
                  <a:pt x="1365" y="461"/>
                  <a:pt x="1365" y="462"/>
                  <a:pt x="1365" y="462"/>
                </a:cubicBezTo>
                <a:cubicBezTo>
                  <a:pt x="1365" y="462"/>
                  <a:pt x="1365" y="462"/>
                  <a:pt x="1364" y="462"/>
                </a:cubicBezTo>
                <a:cubicBezTo>
                  <a:pt x="1364" y="463"/>
                  <a:pt x="1365" y="463"/>
                  <a:pt x="1365" y="463"/>
                </a:cubicBezTo>
                <a:cubicBezTo>
                  <a:pt x="1365" y="463"/>
                  <a:pt x="1365" y="462"/>
                  <a:pt x="1366" y="462"/>
                </a:cubicBezTo>
                <a:cubicBezTo>
                  <a:pt x="1366" y="462"/>
                  <a:pt x="1366" y="462"/>
                  <a:pt x="1366" y="461"/>
                </a:cubicBezTo>
                <a:close/>
                <a:moveTo>
                  <a:pt x="1363" y="465"/>
                </a:moveTo>
                <a:cubicBezTo>
                  <a:pt x="1363" y="465"/>
                  <a:pt x="1363" y="465"/>
                  <a:pt x="1363" y="465"/>
                </a:cubicBezTo>
                <a:cubicBezTo>
                  <a:pt x="1363" y="465"/>
                  <a:pt x="1363" y="466"/>
                  <a:pt x="1363" y="466"/>
                </a:cubicBezTo>
                <a:cubicBezTo>
                  <a:pt x="1363" y="466"/>
                  <a:pt x="1363" y="466"/>
                  <a:pt x="1364" y="466"/>
                </a:cubicBezTo>
                <a:cubicBezTo>
                  <a:pt x="1364" y="466"/>
                  <a:pt x="1364" y="466"/>
                  <a:pt x="1364" y="466"/>
                </a:cubicBezTo>
                <a:cubicBezTo>
                  <a:pt x="1364" y="465"/>
                  <a:pt x="1364" y="465"/>
                  <a:pt x="1364" y="465"/>
                </a:cubicBezTo>
                <a:cubicBezTo>
                  <a:pt x="1364" y="465"/>
                  <a:pt x="1364" y="465"/>
                  <a:pt x="1363" y="465"/>
                </a:cubicBezTo>
                <a:close/>
                <a:moveTo>
                  <a:pt x="1620" y="538"/>
                </a:moveTo>
                <a:cubicBezTo>
                  <a:pt x="1620" y="538"/>
                  <a:pt x="1620" y="538"/>
                  <a:pt x="1620" y="538"/>
                </a:cubicBezTo>
                <a:cubicBezTo>
                  <a:pt x="1619" y="538"/>
                  <a:pt x="1619" y="538"/>
                  <a:pt x="1619" y="538"/>
                </a:cubicBezTo>
                <a:cubicBezTo>
                  <a:pt x="1619" y="538"/>
                  <a:pt x="1619" y="538"/>
                  <a:pt x="1619" y="538"/>
                </a:cubicBezTo>
                <a:cubicBezTo>
                  <a:pt x="1619" y="538"/>
                  <a:pt x="1620" y="538"/>
                  <a:pt x="1620" y="538"/>
                </a:cubicBezTo>
                <a:close/>
                <a:moveTo>
                  <a:pt x="1624" y="535"/>
                </a:moveTo>
                <a:cubicBezTo>
                  <a:pt x="1624" y="535"/>
                  <a:pt x="1624" y="534"/>
                  <a:pt x="1624" y="534"/>
                </a:cubicBezTo>
                <a:cubicBezTo>
                  <a:pt x="1623" y="534"/>
                  <a:pt x="1623" y="534"/>
                  <a:pt x="1622" y="534"/>
                </a:cubicBezTo>
                <a:cubicBezTo>
                  <a:pt x="1622" y="535"/>
                  <a:pt x="1623" y="535"/>
                  <a:pt x="1623" y="536"/>
                </a:cubicBezTo>
                <a:cubicBezTo>
                  <a:pt x="1623" y="535"/>
                  <a:pt x="1623" y="535"/>
                  <a:pt x="1623" y="535"/>
                </a:cubicBezTo>
                <a:cubicBezTo>
                  <a:pt x="1623" y="535"/>
                  <a:pt x="1623" y="535"/>
                  <a:pt x="1624" y="535"/>
                </a:cubicBezTo>
                <a:close/>
                <a:moveTo>
                  <a:pt x="1616" y="539"/>
                </a:moveTo>
                <a:cubicBezTo>
                  <a:pt x="1615" y="539"/>
                  <a:pt x="1615" y="539"/>
                  <a:pt x="1615" y="539"/>
                </a:cubicBezTo>
                <a:cubicBezTo>
                  <a:pt x="1615" y="540"/>
                  <a:pt x="1615" y="540"/>
                  <a:pt x="1615" y="540"/>
                </a:cubicBezTo>
                <a:cubicBezTo>
                  <a:pt x="1615" y="540"/>
                  <a:pt x="1615" y="540"/>
                  <a:pt x="1615" y="540"/>
                </a:cubicBezTo>
                <a:cubicBezTo>
                  <a:pt x="1615" y="540"/>
                  <a:pt x="1615" y="540"/>
                  <a:pt x="1616" y="540"/>
                </a:cubicBezTo>
                <a:cubicBezTo>
                  <a:pt x="1616" y="540"/>
                  <a:pt x="1616" y="540"/>
                  <a:pt x="1617" y="540"/>
                </a:cubicBezTo>
                <a:cubicBezTo>
                  <a:pt x="1617" y="539"/>
                  <a:pt x="1617" y="539"/>
                  <a:pt x="1617" y="539"/>
                </a:cubicBezTo>
                <a:cubicBezTo>
                  <a:pt x="1616" y="539"/>
                  <a:pt x="1616" y="539"/>
                  <a:pt x="1616" y="539"/>
                </a:cubicBezTo>
                <a:close/>
                <a:moveTo>
                  <a:pt x="1660" y="383"/>
                </a:moveTo>
                <a:cubicBezTo>
                  <a:pt x="1660" y="383"/>
                  <a:pt x="1660" y="383"/>
                  <a:pt x="1659" y="383"/>
                </a:cubicBezTo>
                <a:cubicBezTo>
                  <a:pt x="1659" y="383"/>
                  <a:pt x="1658" y="383"/>
                  <a:pt x="1658" y="383"/>
                </a:cubicBezTo>
                <a:cubicBezTo>
                  <a:pt x="1658" y="384"/>
                  <a:pt x="1658" y="384"/>
                  <a:pt x="1657" y="384"/>
                </a:cubicBezTo>
                <a:cubicBezTo>
                  <a:pt x="1657" y="384"/>
                  <a:pt x="1657" y="384"/>
                  <a:pt x="1657" y="384"/>
                </a:cubicBezTo>
                <a:cubicBezTo>
                  <a:pt x="1657" y="384"/>
                  <a:pt x="1656" y="384"/>
                  <a:pt x="1656" y="384"/>
                </a:cubicBezTo>
                <a:cubicBezTo>
                  <a:pt x="1656" y="383"/>
                  <a:pt x="1656" y="383"/>
                  <a:pt x="1655" y="383"/>
                </a:cubicBezTo>
                <a:cubicBezTo>
                  <a:pt x="1655" y="383"/>
                  <a:pt x="1655" y="383"/>
                  <a:pt x="1655" y="383"/>
                </a:cubicBezTo>
                <a:cubicBezTo>
                  <a:pt x="1655" y="383"/>
                  <a:pt x="1655" y="383"/>
                  <a:pt x="1655" y="383"/>
                </a:cubicBezTo>
                <a:cubicBezTo>
                  <a:pt x="1655" y="383"/>
                  <a:pt x="1655" y="383"/>
                  <a:pt x="1654" y="383"/>
                </a:cubicBezTo>
                <a:cubicBezTo>
                  <a:pt x="1655" y="383"/>
                  <a:pt x="1655" y="383"/>
                  <a:pt x="1655" y="383"/>
                </a:cubicBezTo>
                <a:cubicBezTo>
                  <a:pt x="1654" y="384"/>
                  <a:pt x="1654" y="384"/>
                  <a:pt x="1654" y="384"/>
                </a:cubicBezTo>
                <a:cubicBezTo>
                  <a:pt x="1654" y="384"/>
                  <a:pt x="1653" y="384"/>
                  <a:pt x="1653" y="384"/>
                </a:cubicBezTo>
                <a:cubicBezTo>
                  <a:pt x="1653" y="384"/>
                  <a:pt x="1653" y="384"/>
                  <a:pt x="1653" y="384"/>
                </a:cubicBezTo>
                <a:cubicBezTo>
                  <a:pt x="1653" y="384"/>
                  <a:pt x="1653" y="384"/>
                  <a:pt x="1653" y="384"/>
                </a:cubicBezTo>
                <a:cubicBezTo>
                  <a:pt x="1652" y="385"/>
                  <a:pt x="1652" y="385"/>
                  <a:pt x="1652" y="385"/>
                </a:cubicBezTo>
                <a:cubicBezTo>
                  <a:pt x="1652" y="385"/>
                  <a:pt x="1651" y="385"/>
                  <a:pt x="1651" y="385"/>
                </a:cubicBezTo>
                <a:cubicBezTo>
                  <a:pt x="1651" y="385"/>
                  <a:pt x="1651" y="385"/>
                  <a:pt x="1651" y="385"/>
                </a:cubicBezTo>
                <a:cubicBezTo>
                  <a:pt x="1651" y="385"/>
                  <a:pt x="1651" y="386"/>
                  <a:pt x="1651" y="386"/>
                </a:cubicBezTo>
                <a:cubicBezTo>
                  <a:pt x="1651" y="386"/>
                  <a:pt x="1651" y="386"/>
                  <a:pt x="1651" y="386"/>
                </a:cubicBezTo>
                <a:cubicBezTo>
                  <a:pt x="1650" y="386"/>
                  <a:pt x="1650" y="386"/>
                  <a:pt x="1650" y="386"/>
                </a:cubicBezTo>
                <a:cubicBezTo>
                  <a:pt x="1650" y="387"/>
                  <a:pt x="1650" y="387"/>
                  <a:pt x="1650" y="387"/>
                </a:cubicBezTo>
                <a:cubicBezTo>
                  <a:pt x="1650" y="387"/>
                  <a:pt x="1650" y="387"/>
                  <a:pt x="1651" y="387"/>
                </a:cubicBezTo>
                <a:cubicBezTo>
                  <a:pt x="1651" y="387"/>
                  <a:pt x="1651" y="387"/>
                  <a:pt x="1651" y="387"/>
                </a:cubicBezTo>
                <a:cubicBezTo>
                  <a:pt x="1652" y="387"/>
                  <a:pt x="1652" y="387"/>
                  <a:pt x="1652" y="387"/>
                </a:cubicBezTo>
                <a:cubicBezTo>
                  <a:pt x="1652" y="386"/>
                  <a:pt x="1652" y="386"/>
                  <a:pt x="1652" y="386"/>
                </a:cubicBezTo>
                <a:cubicBezTo>
                  <a:pt x="1653" y="386"/>
                  <a:pt x="1653" y="386"/>
                  <a:pt x="1653" y="386"/>
                </a:cubicBezTo>
                <a:cubicBezTo>
                  <a:pt x="1653" y="385"/>
                  <a:pt x="1653" y="385"/>
                  <a:pt x="1653" y="385"/>
                </a:cubicBezTo>
                <a:cubicBezTo>
                  <a:pt x="1653" y="385"/>
                  <a:pt x="1654" y="385"/>
                  <a:pt x="1654" y="385"/>
                </a:cubicBezTo>
                <a:cubicBezTo>
                  <a:pt x="1654" y="385"/>
                  <a:pt x="1654" y="385"/>
                  <a:pt x="1654" y="385"/>
                </a:cubicBezTo>
                <a:cubicBezTo>
                  <a:pt x="1655" y="385"/>
                  <a:pt x="1655" y="385"/>
                  <a:pt x="1655" y="385"/>
                </a:cubicBezTo>
                <a:cubicBezTo>
                  <a:pt x="1656" y="385"/>
                  <a:pt x="1656" y="385"/>
                  <a:pt x="1656" y="385"/>
                </a:cubicBezTo>
                <a:cubicBezTo>
                  <a:pt x="1657" y="385"/>
                  <a:pt x="1657" y="384"/>
                  <a:pt x="1658" y="384"/>
                </a:cubicBezTo>
                <a:cubicBezTo>
                  <a:pt x="1658" y="384"/>
                  <a:pt x="1659" y="385"/>
                  <a:pt x="1659" y="385"/>
                </a:cubicBezTo>
                <a:cubicBezTo>
                  <a:pt x="1659" y="385"/>
                  <a:pt x="1660" y="385"/>
                  <a:pt x="1660" y="385"/>
                </a:cubicBezTo>
                <a:cubicBezTo>
                  <a:pt x="1660" y="384"/>
                  <a:pt x="1660" y="384"/>
                  <a:pt x="1660" y="384"/>
                </a:cubicBezTo>
                <a:cubicBezTo>
                  <a:pt x="1660" y="384"/>
                  <a:pt x="1660" y="383"/>
                  <a:pt x="1660" y="383"/>
                </a:cubicBezTo>
                <a:close/>
                <a:moveTo>
                  <a:pt x="1668" y="381"/>
                </a:moveTo>
                <a:cubicBezTo>
                  <a:pt x="1667" y="381"/>
                  <a:pt x="1667" y="382"/>
                  <a:pt x="1667" y="382"/>
                </a:cubicBezTo>
                <a:cubicBezTo>
                  <a:pt x="1667" y="382"/>
                  <a:pt x="1666" y="382"/>
                  <a:pt x="1666" y="382"/>
                </a:cubicBezTo>
                <a:cubicBezTo>
                  <a:pt x="1666" y="382"/>
                  <a:pt x="1666" y="382"/>
                  <a:pt x="1666" y="382"/>
                </a:cubicBezTo>
                <a:cubicBezTo>
                  <a:pt x="1666" y="382"/>
                  <a:pt x="1665" y="382"/>
                  <a:pt x="1665" y="382"/>
                </a:cubicBezTo>
                <a:cubicBezTo>
                  <a:pt x="1665" y="382"/>
                  <a:pt x="1665" y="383"/>
                  <a:pt x="1665" y="383"/>
                </a:cubicBezTo>
                <a:cubicBezTo>
                  <a:pt x="1665" y="383"/>
                  <a:pt x="1664" y="383"/>
                  <a:pt x="1664" y="383"/>
                </a:cubicBezTo>
                <a:cubicBezTo>
                  <a:pt x="1664" y="383"/>
                  <a:pt x="1663" y="383"/>
                  <a:pt x="1663" y="384"/>
                </a:cubicBezTo>
                <a:cubicBezTo>
                  <a:pt x="1663" y="384"/>
                  <a:pt x="1663" y="384"/>
                  <a:pt x="1664" y="384"/>
                </a:cubicBezTo>
                <a:cubicBezTo>
                  <a:pt x="1664" y="384"/>
                  <a:pt x="1664" y="384"/>
                  <a:pt x="1665" y="384"/>
                </a:cubicBezTo>
                <a:cubicBezTo>
                  <a:pt x="1665" y="384"/>
                  <a:pt x="1666" y="384"/>
                  <a:pt x="1666" y="383"/>
                </a:cubicBezTo>
                <a:cubicBezTo>
                  <a:pt x="1666" y="383"/>
                  <a:pt x="1667" y="383"/>
                  <a:pt x="1667" y="383"/>
                </a:cubicBezTo>
                <a:cubicBezTo>
                  <a:pt x="1667" y="383"/>
                  <a:pt x="1667" y="383"/>
                  <a:pt x="1667" y="383"/>
                </a:cubicBezTo>
                <a:cubicBezTo>
                  <a:pt x="1667" y="382"/>
                  <a:pt x="1668" y="382"/>
                  <a:pt x="1668" y="382"/>
                </a:cubicBezTo>
                <a:cubicBezTo>
                  <a:pt x="1668" y="382"/>
                  <a:pt x="1669" y="382"/>
                  <a:pt x="1669" y="382"/>
                </a:cubicBezTo>
                <a:cubicBezTo>
                  <a:pt x="1669" y="382"/>
                  <a:pt x="1669" y="382"/>
                  <a:pt x="1669" y="382"/>
                </a:cubicBezTo>
                <a:cubicBezTo>
                  <a:pt x="1668" y="381"/>
                  <a:pt x="1668" y="381"/>
                  <a:pt x="1668" y="381"/>
                </a:cubicBezTo>
                <a:close/>
                <a:moveTo>
                  <a:pt x="1651" y="391"/>
                </a:moveTo>
                <a:cubicBezTo>
                  <a:pt x="1650" y="391"/>
                  <a:pt x="1650" y="391"/>
                  <a:pt x="1650" y="391"/>
                </a:cubicBezTo>
                <a:cubicBezTo>
                  <a:pt x="1649" y="391"/>
                  <a:pt x="1649" y="391"/>
                  <a:pt x="1649" y="391"/>
                </a:cubicBezTo>
                <a:cubicBezTo>
                  <a:pt x="1649" y="391"/>
                  <a:pt x="1649" y="391"/>
                  <a:pt x="1649" y="391"/>
                </a:cubicBezTo>
                <a:cubicBezTo>
                  <a:pt x="1649" y="391"/>
                  <a:pt x="1650" y="391"/>
                  <a:pt x="1650" y="391"/>
                </a:cubicBezTo>
                <a:cubicBezTo>
                  <a:pt x="1650" y="391"/>
                  <a:pt x="1650" y="391"/>
                  <a:pt x="1651" y="391"/>
                </a:cubicBezTo>
                <a:close/>
                <a:moveTo>
                  <a:pt x="1679" y="377"/>
                </a:moveTo>
                <a:cubicBezTo>
                  <a:pt x="1679" y="377"/>
                  <a:pt x="1679" y="377"/>
                  <a:pt x="1680" y="377"/>
                </a:cubicBezTo>
                <a:cubicBezTo>
                  <a:pt x="1679" y="377"/>
                  <a:pt x="1679" y="377"/>
                  <a:pt x="1679" y="377"/>
                </a:cubicBezTo>
                <a:cubicBezTo>
                  <a:pt x="1679" y="377"/>
                  <a:pt x="1679" y="377"/>
                  <a:pt x="1679" y="377"/>
                </a:cubicBezTo>
                <a:close/>
                <a:moveTo>
                  <a:pt x="1681" y="373"/>
                </a:moveTo>
                <a:cubicBezTo>
                  <a:pt x="1681" y="374"/>
                  <a:pt x="1681" y="374"/>
                  <a:pt x="1681" y="374"/>
                </a:cubicBezTo>
                <a:cubicBezTo>
                  <a:pt x="1681" y="374"/>
                  <a:pt x="1681" y="374"/>
                  <a:pt x="1682" y="374"/>
                </a:cubicBezTo>
                <a:cubicBezTo>
                  <a:pt x="1681" y="374"/>
                  <a:pt x="1681" y="374"/>
                  <a:pt x="1681" y="373"/>
                </a:cubicBezTo>
                <a:cubicBezTo>
                  <a:pt x="1681" y="373"/>
                  <a:pt x="1681" y="373"/>
                  <a:pt x="1681" y="373"/>
                </a:cubicBezTo>
                <a:close/>
                <a:moveTo>
                  <a:pt x="1596" y="301"/>
                </a:moveTo>
                <a:cubicBezTo>
                  <a:pt x="1596" y="301"/>
                  <a:pt x="1596" y="301"/>
                  <a:pt x="1596" y="300"/>
                </a:cubicBezTo>
                <a:cubicBezTo>
                  <a:pt x="1596" y="300"/>
                  <a:pt x="1596" y="300"/>
                  <a:pt x="1595" y="300"/>
                </a:cubicBezTo>
                <a:cubicBezTo>
                  <a:pt x="1595" y="300"/>
                  <a:pt x="1595" y="300"/>
                  <a:pt x="1595" y="300"/>
                </a:cubicBezTo>
                <a:cubicBezTo>
                  <a:pt x="1595" y="300"/>
                  <a:pt x="1595" y="300"/>
                  <a:pt x="1594" y="300"/>
                </a:cubicBezTo>
                <a:cubicBezTo>
                  <a:pt x="1594" y="300"/>
                  <a:pt x="1594" y="300"/>
                  <a:pt x="1594" y="300"/>
                </a:cubicBezTo>
                <a:cubicBezTo>
                  <a:pt x="1594" y="300"/>
                  <a:pt x="1595" y="300"/>
                  <a:pt x="1595" y="300"/>
                </a:cubicBezTo>
                <a:cubicBezTo>
                  <a:pt x="1595" y="300"/>
                  <a:pt x="1595" y="300"/>
                  <a:pt x="1595" y="300"/>
                </a:cubicBezTo>
                <a:cubicBezTo>
                  <a:pt x="1595" y="300"/>
                  <a:pt x="1595" y="299"/>
                  <a:pt x="1595" y="299"/>
                </a:cubicBezTo>
                <a:cubicBezTo>
                  <a:pt x="1594" y="299"/>
                  <a:pt x="1594" y="299"/>
                  <a:pt x="1594" y="299"/>
                </a:cubicBezTo>
                <a:cubicBezTo>
                  <a:pt x="1593" y="299"/>
                  <a:pt x="1593" y="299"/>
                  <a:pt x="1593" y="299"/>
                </a:cubicBezTo>
                <a:cubicBezTo>
                  <a:pt x="1593" y="299"/>
                  <a:pt x="1592" y="299"/>
                  <a:pt x="1592" y="299"/>
                </a:cubicBezTo>
                <a:cubicBezTo>
                  <a:pt x="1592" y="299"/>
                  <a:pt x="1592" y="299"/>
                  <a:pt x="1592" y="299"/>
                </a:cubicBezTo>
                <a:cubicBezTo>
                  <a:pt x="1591" y="299"/>
                  <a:pt x="1591" y="299"/>
                  <a:pt x="1591" y="299"/>
                </a:cubicBezTo>
                <a:cubicBezTo>
                  <a:pt x="1591" y="300"/>
                  <a:pt x="1591" y="300"/>
                  <a:pt x="1591" y="300"/>
                </a:cubicBezTo>
                <a:cubicBezTo>
                  <a:pt x="1591" y="300"/>
                  <a:pt x="1591" y="301"/>
                  <a:pt x="1591" y="301"/>
                </a:cubicBezTo>
                <a:cubicBezTo>
                  <a:pt x="1591" y="301"/>
                  <a:pt x="1591" y="301"/>
                  <a:pt x="1592" y="301"/>
                </a:cubicBezTo>
                <a:cubicBezTo>
                  <a:pt x="1592" y="301"/>
                  <a:pt x="1592" y="301"/>
                  <a:pt x="1592" y="301"/>
                </a:cubicBezTo>
                <a:cubicBezTo>
                  <a:pt x="1592" y="301"/>
                  <a:pt x="1592" y="301"/>
                  <a:pt x="1592" y="301"/>
                </a:cubicBezTo>
                <a:cubicBezTo>
                  <a:pt x="1592" y="301"/>
                  <a:pt x="1593" y="301"/>
                  <a:pt x="1593" y="301"/>
                </a:cubicBezTo>
                <a:cubicBezTo>
                  <a:pt x="1593" y="301"/>
                  <a:pt x="1593" y="302"/>
                  <a:pt x="1593" y="302"/>
                </a:cubicBezTo>
                <a:cubicBezTo>
                  <a:pt x="1593" y="302"/>
                  <a:pt x="1594" y="302"/>
                  <a:pt x="1594" y="302"/>
                </a:cubicBezTo>
                <a:cubicBezTo>
                  <a:pt x="1594" y="302"/>
                  <a:pt x="1595" y="302"/>
                  <a:pt x="1595" y="302"/>
                </a:cubicBezTo>
                <a:cubicBezTo>
                  <a:pt x="1595" y="302"/>
                  <a:pt x="1595" y="302"/>
                  <a:pt x="1595" y="302"/>
                </a:cubicBezTo>
                <a:cubicBezTo>
                  <a:pt x="1595" y="302"/>
                  <a:pt x="1595" y="301"/>
                  <a:pt x="1595" y="301"/>
                </a:cubicBezTo>
                <a:cubicBezTo>
                  <a:pt x="1595" y="301"/>
                  <a:pt x="1595" y="301"/>
                  <a:pt x="1595" y="301"/>
                </a:cubicBezTo>
                <a:cubicBezTo>
                  <a:pt x="1595" y="301"/>
                  <a:pt x="1596" y="301"/>
                  <a:pt x="1596" y="301"/>
                </a:cubicBezTo>
                <a:close/>
                <a:moveTo>
                  <a:pt x="1676" y="379"/>
                </a:moveTo>
                <a:cubicBezTo>
                  <a:pt x="1676" y="379"/>
                  <a:pt x="1675" y="379"/>
                  <a:pt x="1675" y="380"/>
                </a:cubicBezTo>
                <a:cubicBezTo>
                  <a:pt x="1675" y="380"/>
                  <a:pt x="1675" y="380"/>
                  <a:pt x="1675" y="380"/>
                </a:cubicBezTo>
                <a:cubicBezTo>
                  <a:pt x="1676" y="380"/>
                  <a:pt x="1676" y="380"/>
                  <a:pt x="1676" y="380"/>
                </a:cubicBezTo>
                <a:cubicBezTo>
                  <a:pt x="1676" y="379"/>
                  <a:pt x="1676" y="379"/>
                  <a:pt x="1677" y="379"/>
                </a:cubicBezTo>
                <a:cubicBezTo>
                  <a:pt x="1677" y="379"/>
                  <a:pt x="1676" y="378"/>
                  <a:pt x="1676" y="378"/>
                </a:cubicBezTo>
                <a:cubicBezTo>
                  <a:pt x="1676" y="379"/>
                  <a:pt x="1676" y="379"/>
                  <a:pt x="1676" y="379"/>
                </a:cubicBezTo>
                <a:close/>
                <a:moveTo>
                  <a:pt x="1680" y="375"/>
                </a:moveTo>
                <a:cubicBezTo>
                  <a:pt x="1680" y="376"/>
                  <a:pt x="1680" y="376"/>
                  <a:pt x="1680" y="376"/>
                </a:cubicBezTo>
                <a:cubicBezTo>
                  <a:pt x="1680" y="376"/>
                  <a:pt x="1680" y="376"/>
                  <a:pt x="1680" y="376"/>
                </a:cubicBezTo>
                <a:cubicBezTo>
                  <a:pt x="1680" y="376"/>
                  <a:pt x="1680" y="375"/>
                  <a:pt x="1680" y="375"/>
                </a:cubicBezTo>
                <a:cubicBezTo>
                  <a:pt x="1680" y="375"/>
                  <a:pt x="1680" y="375"/>
                  <a:pt x="1680" y="375"/>
                </a:cubicBezTo>
                <a:close/>
                <a:moveTo>
                  <a:pt x="1593" y="305"/>
                </a:moveTo>
                <a:cubicBezTo>
                  <a:pt x="1593" y="305"/>
                  <a:pt x="1592" y="305"/>
                  <a:pt x="1592" y="305"/>
                </a:cubicBezTo>
                <a:cubicBezTo>
                  <a:pt x="1592" y="305"/>
                  <a:pt x="1592" y="306"/>
                  <a:pt x="1592" y="306"/>
                </a:cubicBezTo>
                <a:cubicBezTo>
                  <a:pt x="1592" y="306"/>
                  <a:pt x="1592" y="306"/>
                  <a:pt x="1593" y="306"/>
                </a:cubicBezTo>
                <a:cubicBezTo>
                  <a:pt x="1593" y="306"/>
                  <a:pt x="1593" y="306"/>
                  <a:pt x="1593" y="306"/>
                </a:cubicBezTo>
                <a:cubicBezTo>
                  <a:pt x="1594" y="306"/>
                  <a:pt x="1594" y="306"/>
                  <a:pt x="1594" y="306"/>
                </a:cubicBezTo>
                <a:cubicBezTo>
                  <a:pt x="1594" y="306"/>
                  <a:pt x="1594" y="306"/>
                  <a:pt x="1595" y="306"/>
                </a:cubicBezTo>
                <a:cubicBezTo>
                  <a:pt x="1595" y="306"/>
                  <a:pt x="1594" y="305"/>
                  <a:pt x="1594" y="305"/>
                </a:cubicBezTo>
                <a:cubicBezTo>
                  <a:pt x="1595" y="305"/>
                  <a:pt x="1595" y="305"/>
                  <a:pt x="1595" y="305"/>
                </a:cubicBezTo>
                <a:cubicBezTo>
                  <a:pt x="1594" y="305"/>
                  <a:pt x="1594" y="305"/>
                  <a:pt x="1593" y="305"/>
                </a:cubicBezTo>
                <a:close/>
                <a:moveTo>
                  <a:pt x="1691" y="357"/>
                </a:moveTo>
                <a:cubicBezTo>
                  <a:pt x="1691" y="357"/>
                  <a:pt x="1691" y="357"/>
                  <a:pt x="1690" y="356"/>
                </a:cubicBezTo>
                <a:cubicBezTo>
                  <a:pt x="1690" y="356"/>
                  <a:pt x="1690" y="356"/>
                  <a:pt x="1690" y="356"/>
                </a:cubicBezTo>
                <a:cubicBezTo>
                  <a:pt x="1689" y="356"/>
                  <a:pt x="1689" y="357"/>
                  <a:pt x="1689" y="357"/>
                </a:cubicBezTo>
                <a:cubicBezTo>
                  <a:pt x="1689" y="357"/>
                  <a:pt x="1689" y="357"/>
                  <a:pt x="1690" y="357"/>
                </a:cubicBezTo>
                <a:cubicBezTo>
                  <a:pt x="1690" y="357"/>
                  <a:pt x="1690" y="358"/>
                  <a:pt x="1691" y="358"/>
                </a:cubicBezTo>
                <a:cubicBezTo>
                  <a:pt x="1691" y="358"/>
                  <a:pt x="1691" y="357"/>
                  <a:pt x="1691" y="357"/>
                </a:cubicBezTo>
                <a:close/>
                <a:moveTo>
                  <a:pt x="1708" y="272"/>
                </a:moveTo>
                <a:cubicBezTo>
                  <a:pt x="1708" y="272"/>
                  <a:pt x="1708" y="272"/>
                  <a:pt x="1708" y="272"/>
                </a:cubicBezTo>
                <a:cubicBezTo>
                  <a:pt x="1708" y="272"/>
                  <a:pt x="1708" y="273"/>
                  <a:pt x="1708" y="273"/>
                </a:cubicBezTo>
                <a:cubicBezTo>
                  <a:pt x="1708" y="273"/>
                  <a:pt x="1708" y="273"/>
                  <a:pt x="1708" y="273"/>
                </a:cubicBezTo>
                <a:cubicBezTo>
                  <a:pt x="1708" y="273"/>
                  <a:pt x="1709" y="273"/>
                  <a:pt x="1709" y="272"/>
                </a:cubicBezTo>
                <a:cubicBezTo>
                  <a:pt x="1709" y="272"/>
                  <a:pt x="1708" y="272"/>
                  <a:pt x="1708" y="272"/>
                </a:cubicBezTo>
                <a:cubicBezTo>
                  <a:pt x="1708" y="272"/>
                  <a:pt x="1708" y="272"/>
                  <a:pt x="1708" y="272"/>
                </a:cubicBezTo>
                <a:close/>
                <a:moveTo>
                  <a:pt x="1723" y="298"/>
                </a:moveTo>
                <a:cubicBezTo>
                  <a:pt x="1723" y="298"/>
                  <a:pt x="1723" y="298"/>
                  <a:pt x="1723" y="298"/>
                </a:cubicBezTo>
                <a:cubicBezTo>
                  <a:pt x="1722" y="298"/>
                  <a:pt x="1722" y="298"/>
                  <a:pt x="1722" y="298"/>
                </a:cubicBezTo>
                <a:cubicBezTo>
                  <a:pt x="1722" y="298"/>
                  <a:pt x="1722" y="298"/>
                  <a:pt x="1722" y="298"/>
                </a:cubicBezTo>
                <a:cubicBezTo>
                  <a:pt x="1721" y="298"/>
                  <a:pt x="1721" y="298"/>
                  <a:pt x="1721" y="298"/>
                </a:cubicBezTo>
                <a:cubicBezTo>
                  <a:pt x="1720" y="298"/>
                  <a:pt x="1720" y="299"/>
                  <a:pt x="1719" y="299"/>
                </a:cubicBezTo>
                <a:cubicBezTo>
                  <a:pt x="1719" y="299"/>
                  <a:pt x="1719" y="299"/>
                  <a:pt x="1719" y="299"/>
                </a:cubicBezTo>
                <a:cubicBezTo>
                  <a:pt x="1718" y="299"/>
                  <a:pt x="1718" y="299"/>
                  <a:pt x="1718" y="299"/>
                </a:cubicBezTo>
                <a:cubicBezTo>
                  <a:pt x="1718" y="299"/>
                  <a:pt x="1718" y="299"/>
                  <a:pt x="1718" y="299"/>
                </a:cubicBezTo>
                <a:cubicBezTo>
                  <a:pt x="1719" y="299"/>
                  <a:pt x="1719" y="299"/>
                  <a:pt x="1719" y="299"/>
                </a:cubicBezTo>
                <a:cubicBezTo>
                  <a:pt x="1719" y="299"/>
                  <a:pt x="1720" y="299"/>
                  <a:pt x="1720" y="300"/>
                </a:cubicBezTo>
                <a:cubicBezTo>
                  <a:pt x="1719" y="300"/>
                  <a:pt x="1719" y="300"/>
                  <a:pt x="1719" y="300"/>
                </a:cubicBezTo>
                <a:cubicBezTo>
                  <a:pt x="1719" y="300"/>
                  <a:pt x="1719" y="301"/>
                  <a:pt x="1719" y="301"/>
                </a:cubicBezTo>
                <a:cubicBezTo>
                  <a:pt x="1719" y="301"/>
                  <a:pt x="1719" y="302"/>
                  <a:pt x="1719" y="302"/>
                </a:cubicBezTo>
                <a:cubicBezTo>
                  <a:pt x="1719" y="302"/>
                  <a:pt x="1719" y="303"/>
                  <a:pt x="1719" y="303"/>
                </a:cubicBezTo>
                <a:cubicBezTo>
                  <a:pt x="1719" y="303"/>
                  <a:pt x="1718" y="303"/>
                  <a:pt x="1718" y="303"/>
                </a:cubicBezTo>
                <a:cubicBezTo>
                  <a:pt x="1718" y="303"/>
                  <a:pt x="1718" y="303"/>
                  <a:pt x="1718" y="303"/>
                </a:cubicBezTo>
                <a:cubicBezTo>
                  <a:pt x="1718" y="304"/>
                  <a:pt x="1719" y="304"/>
                  <a:pt x="1719" y="304"/>
                </a:cubicBezTo>
                <a:cubicBezTo>
                  <a:pt x="1719" y="305"/>
                  <a:pt x="1719" y="305"/>
                  <a:pt x="1719" y="305"/>
                </a:cubicBezTo>
                <a:cubicBezTo>
                  <a:pt x="1719" y="304"/>
                  <a:pt x="1719" y="304"/>
                  <a:pt x="1719" y="304"/>
                </a:cubicBezTo>
                <a:cubicBezTo>
                  <a:pt x="1719" y="304"/>
                  <a:pt x="1719" y="303"/>
                  <a:pt x="1719" y="303"/>
                </a:cubicBezTo>
                <a:cubicBezTo>
                  <a:pt x="1719" y="303"/>
                  <a:pt x="1720" y="303"/>
                  <a:pt x="1720" y="303"/>
                </a:cubicBezTo>
                <a:cubicBezTo>
                  <a:pt x="1720" y="303"/>
                  <a:pt x="1720" y="303"/>
                  <a:pt x="1720" y="302"/>
                </a:cubicBezTo>
                <a:cubicBezTo>
                  <a:pt x="1720" y="302"/>
                  <a:pt x="1721" y="302"/>
                  <a:pt x="1721" y="302"/>
                </a:cubicBezTo>
                <a:cubicBezTo>
                  <a:pt x="1721" y="302"/>
                  <a:pt x="1722" y="302"/>
                  <a:pt x="1722" y="302"/>
                </a:cubicBezTo>
                <a:cubicBezTo>
                  <a:pt x="1722" y="302"/>
                  <a:pt x="1723" y="302"/>
                  <a:pt x="1724" y="302"/>
                </a:cubicBezTo>
                <a:cubicBezTo>
                  <a:pt x="1724" y="302"/>
                  <a:pt x="1724" y="302"/>
                  <a:pt x="1724" y="302"/>
                </a:cubicBezTo>
                <a:cubicBezTo>
                  <a:pt x="1724" y="301"/>
                  <a:pt x="1724" y="301"/>
                  <a:pt x="1724" y="301"/>
                </a:cubicBezTo>
                <a:cubicBezTo>
                  <a:pt x="1724" y="300"/>
                  <a:pt x="1724" y="300"/>
                  <a:pt x="1724" y="300"/>
                </a:cubicBezTo>
                <a:cubicBezTo>
                  <a:pt x="1724" y="299"/>
                  <a:pt x="1723" y="299"/>
                  <a:pt x="1723" y="298"/>
                </a:cubicBezTo>
                <a:close/>
                <a:moveTo>
                  <a:pt x="1708" y="270"/>
                </a:moveTo>
                <a:cubicBezTo>
                  <a:pt x="1708" y="270"/>
                  <a:pt x="1708" y="270"/>
                  <a:pt x="1708" y="270"/>
                </a:cubicBezTo>
                <a:cubicBezTo>
                  <a:pt x="1707" y="270"/>
                  <a:pt x="1707" y="270"/>
                  <a:pt x="1707" y="270"/>
                </a:cubicBezTo>
                <a:cubicBezTo>
                  <a:pt x="1707" y="271"/>
                  <a:pt x="1708" y="271"/>
                  <a:pt x="1708" y="271"/>
                </a:cubicBezTo>
                <a:cubicBezTo>
                  <a:pt x="1708" y="271"/>
                  <a:pt x="1708" y="271"/>
                  <a:pt x="1709" y="272"/>
                </a:cubicBezTo>
                <a:cubicBezTo>
                  <a:pt x="1709" y="271"/>
                  <a:pt x="1709" y="271"/>
                  <a:pt x="1709" y="271"/>
                </a:cubicBezTo>
                <a:cubicBezTo>
                  <a:pt x="1709" y="271"/>
                  <a:pt x="1708" y="271"/>
                  <a:pt x="1708" y="270"/>
                </a:cubicBezTo>
                <a:close/>
                <a:moveTo>
                  <a:pt x="1685" y="368"/>
                </a:moveTo>
                <a:cubicBezTo>
                  <a:pt x="1685" y="368"/>
                  <a:pt x="1685" y="368"/>
                  <a:pt x="1685" y="368"/>
                </a:cubicBezTo>
                <a:cubicBezTo>
                  <a:pt x="1684" y="368"/>
                  <a:pt x="1684" y="368"/>
                  <a:pt x="1684" y="368"/>
                </a:cubicBezTo>
                <a:cubicBezTo>
                  <a:pt x="1684" y="368"/>
                  <a:pt x="1684" y="368"/>
                  <a:pt x="1684" y="368"/>
                </a:cubicBezTo>
                <a:cubicBezTo>
                  <a:pt x="1684" y="368"/>
                  <a:pt x="1684" y="368"/>
                  <a:pt x="1684" y="368"/>
                </a:cubicBezTo>
                <a:cubicBezTo>
                  <a:pt x="1684" y="368"/>
                  <a:pt x="1685" y="368"/>
                  <a:pt x="1685" y="368"/>
                </a:cubicBezTo>
                <a:close/>
                <a:moveTo>
                  <a:pt x="1590" y="298"/>
                </a:moveTo>
                <a:cubicBezTo>
                  <a:pt x="1590" y="298"/>
                  <a:pt x="1590" y="298"/>
                  <a:pt x="1590" y="298"/>
                </a:cubicBezTo>
                <a:cubicBezTo>
                  <a:pt x="1590" y="298"/>
                  <a:pt x="1589" y="298"/>
                  <a:pt x="1589" y="298"/>
                </a:cubicBezTo>
                <a:cubicBezTo>
                  <a:pt x="1589" y="298"/>
                  <a:pt x="1588" y="298"/>
                  <a:pt x="1588" y="298"/>
                </a:cubicBezTo>
                <a:cubicBezTo>
                  <a:pt x="1588" y="298"/>
                  <a:pt x="1588" y="299"/>
                  <a:pt x="1588" y="299"/>
                </a:cubicBezTo>
                <a:cubicBezTo>
                  <a:pt x="1588" y="299"/>
                  <a:pt x="1588" y="299"/>
                  <a:pt x="1588" y="299"/>
                </a:cubicBezTo>
                <a:cubicBezTo>
                  <a:pt x="1588" y="299"/>
                  <a:pt x="1588" y="299"/>
                  <a:pt x="1588" y="299"/>
                </a:cubicBezTo>
                <a:cubicBezTo>
                  <a:pt x="1588" y="299"/>
                  <a:pt x="1588" y="299"/>
                  <a:pt x="1588" y="299"/>
                </a:cubicBezTo>
                <a:cubicBezTo>
                  <a:pt x="1588" y="299"/>
                  <a:pt x="1589" y="299"/>
                  <a:pt x="1589" y="299"/>
                </a:cubicBezTo>
                <a:cubicBezTo>
                  <a:pt x="1589" y="299"/>
                  <a:pt x="1589" y="299"/>
                  <a:pt x="1589" y="300"/>
                </a:cubicBezTo>
                <a:cubicBezTo>
                  <a:pt x="1589" y="300"/>
                  <a:pt x="1590" y="300"/>
                  <a:pt x="1590" y="300"/>
                </a:cubicBezTo>
                <a:cubicBezTo>
                  <a:pt x="1590" y="299"/>
                  <a:pt x="1590" y="299"/>
                  <a:pt x="1590" y="299"/>
                </a:cubicBezTo>
                <a:cubicBezTo>
                  <a:pt x="1590" y="299"/>
                  <a:pt x="1590" y="299"/>
                  <a:pt x="1590" y="299"/>
                </a:cubicBezTo>
                <a:cubicBezTo>
                  <a:pt x="1590" y="298"/>
                  <a:pt x="1590" y="298"/>
                  <a:pt x="1590" y="298"/>
                </a:cubicBezTo>
                <a:close/>
                <a:moveTo>
                  <a:pt x="1693" y="358"/>
                </a:moveTo>
                <a:cubicBezTo>
                  <a:pt x="1693" y="358"/>
                  <a:pt x="1693" y="358"/>
                  <a:pt x="1693" y="359"/>
                </a:cubicBezTo>
                <a:cubicBezTo>
                  <a:pt x="1692" y="359"/>
                  <a:pt x="1692" y="359"/>
                  <a:pt x="1692" y="360"/>
                </a:cubicBezTo>
                <a:cubicBezTo>
                  <a:pt x="1692" y="360"/>
                  <a:pt x="1692" y="360"/>
                  <a:pt x="1692" y="360"/>
                </a:cubicBezTo>
                <a:cubicBezTo>
                  <a:pt x="1691" y="360"/>
                  <a:pt x="1691" y="360"/>
                  <a:pt x="1691" y="360"/>
                </a:cubicBezTo>
                <a:cubicBezTo>
                  <a:pt x="1690" y="360"/>
                  <a:pt x="1690" y="361"/>
                  <a:pt x="1690" y="361"/>
                </a:cubicBezTo>
                <a:cubicBezTo>
                  <a:pt x="1690" y="361"/>
                  <a:pt x="1689" y="360"/>
                  <a:pt x="1689" y="360"/>
                </a:cubicBezTo>
                <a:cubicBezTo>
                  <a:pt x="1689" y="360"/>
                  <a:pt x="1689" y="361"/>
                  <a:pt x="1689" y="361"/>
                </a:cubicBezTo>
                <a:cubicBezTo>
                  <a:pt x="1689" y="361"/>
                  <a:pt x="1689" y="361"/>
                  <a:pt x="1690" y="361"/>
                </a:cubicBezTo>
                <a:cubicBezTo>
                  <a:pt x="1689" y="362"/>
                  <a:pt x="1689" y="362"/>
                  <a:pt x="1689" y="362"/>
                </a:cubicBezTo>
                <a:cubicBezTo>
                  <a:pt x="1689" y="362"/>
                  <a:pt x="1689" y="362"/>
                  <a:pt x="1689" y="362"/>
                </a:cubicBezTo>
                <a:cubicBezTo>
                  <a:pt x="1689" y="362"/>
                  <a:pt x="1689" y="362"/>
                  <a:pt x="1689" y="362"/>
                </a:cubicBezTo>
                <a:cubicBezTo>
                  <a:pt x="1689" y="362"/>
                  <a:pt x="1689" y="363"/>
                  <a:pt x="1690" y="363"/>
                </a:cubicBezTo>
                <a:cubicBezTo>
                  <a:pt x="1690" y="363"/>
                  <a:pt x="1690" y="363"/>
                  <a:pt x="1690" y="363"/>
                </a:cubicBezTo>
                <a:cubicBezTo>
                  <a:pt x="1690" y="363"/>
                  <a:pt x="1690" y="363"/>
                  <a:pt x="1690" y="363"/>
                </a:cubicBezTo>
                <a:cubicBezTo>
                  <a:pt x="1690" y="363"/>
                  <a:pt x="1690" y="363"/>
                  <a:pt x="1691" y="363"/>
                </a:cubicBezTo>
                <a:cubicBezTo>
                  <a:pt x="1691" y="362"/>
                  <a:pt x="1691" y="362"/>
                  <a:pt x="1691" y="362"/>
                </a:cubicBezTo>
                <a:cubicBezTo>
                  <a:pt x="1691" y="362"/>
                  <a:pt x="1692" y="362"/>
                  <a:pt x="1692" y="362"/>
                </a:cubicBezTo>
                <a:cubicBezTo>
                  <a:pt x="1692" y="362"/>
                  <a:pt x="1693" y="362"/>
                  <a:pt x="1693" y="362"/>
                </a:cubicBezTo>
                <a:cubicBezTo>
                  <a:pt x="1693" y="362"/>
                  <a:pt x="1693" y="361"/>
                  <a:pt x="1693" y="361"/>
                </a:cubicBezTo>
                <a:cubicBezTo>
                  <a:pt x="1693" y="361"/>
                  <a:pt x="1693" y="361"/>
                  <a:pt x="1694" y="361"/>
                </a:cubicBezTo>
                <a:cubicBezTo>
                  <a:pt x="1694" y="361"/>
                  <a:pt x="1694" y="361"/>
                  <a:pt x="1694" y="361"/>
                </a:cubicBezTo>
                <a:cubicBezTo>
                  <a:pt x="1694" y="360"/>
                  <a:pt x="1694" y="360"/>
                  <a:pt x="1694" y="360"/>
                </a:cubicBezTo>
                <a:cubicBezTo>
                  <a:pt x="1694" y="359"/>
                  <a:pt x="1693" y="359"/>
                  <a:pt x="1693" y="358"/>
                </a:cubicBezTo>
                <a:close/>
                <a:moveTo>
                  <a:pt x="1694" y="358"/>
                </a:moveTo>
                <a:cubicBezTo>
                  <a:pt x="1694" y="358"/>
                  <a:pt x="1694" y="359"/>
                  <a:pt x="1694" y="359"/>
                </a:cubicBezTo>
                <a:cubicBezTo>
                  <a:pt x="1694" y="359"/>
                  <a:pt x="1695" y="359"/>
                  <a:pt x="1695" y="360"/>
                </a:cubicBezTo>
                <a:cubicBezTo>
                  <a:pt x="1695" y="360"/>
                  <a:pt x="1695" y="360"/>
                  <a:pt x="1695" y="360"/>
                </a:cubicBezTo>
                <a:cubicBezTo>
                  <a:pt x="1695" y="360"/>
                  <a:pt x="1695" y="360"/>
                  <a:pt x="1696" y="360"/>
                </a:cubicBezTo>
                <a:cubicBezTo>
                  <a:pt x="1696" y="359"/>
                  <a:pt x="1696" y="359"/>
                  <a:pt x="1696" y="359"/>
                </a:cubicBezTo>
                <a:cubicBezTo>
                  <a:pt x="1696" y="359"/>
                  <a:pt x="1695" y="358"/>
                  <a:pt x="1695" y="358"/>
                </a:cubicBezTo>
                <a:cubicBezTo>
                  <a:pt x="1695" y="358"/>
                  <a:pt x="1695" y="358"/>
                  <a:pt x="1694" y="358"/>
                </a:cubicBezTo>
                <a:close/>
                <a:moveTo>
                  <a:pt x="1678" y="377"/>
                </a:moveTo>
                <a:cubicBezTo>
                  <a:pt x="1678" y="377"/>
                  <a:pt x="1678" y="378"/>
                  <a:pt x="1678" y="378"/>
                </a:cubicBezTo>
                <a:cubicBezTo>
                  <a:pt x="1678" y="378"/>
                  <a:pt x="1678" y="378"/>
                  <a:pt x="1678" y="378"/>
                </a:cubicBezTo>
                <a:cubicBezTo>
                  <a:pt x="1678" y="378"/>
                  <a:pt x="1678" y="378"/>
                  <a:pt x="1678" y="378"/>
                </a:cubicBezTo>
                <a:cubicBezTo>
                  <a:pt x="1678" y="377"/>
                  <a:pt x="1678" y="377"/>
                  <a:pt x="1678" y="377"/>
                </a:cubicBezTo>
                <a:cubicBezTo>
                  <a:pt x="1678" y="377"/>
                  <a:pt x="1678" y="377"/>
                  <a:pt x="1678" y="377"/>
                </a:cubicBezTo>
                <a:close/>
                <a:moveTo>
                  <a:pt x="1596" y="304"/>
                </a:moveTo>
                <a:cubicBezTo>
                  <a:pt x="1595" y="304"/>
                  <a:pt x="1595" y="304"/>
                  <a:pt x="1595" y="304"/>
                </a:cubicBezTo>
                <a:cubicBezTo>
                  <a:pt x="1595" y="304"/>
                  <a:pt x="1595" y="304"/>
                  <a:pt x="1595" y="304"/>
                </a:cubicBezTo>
                <a:cubicBezTo>
                  <a:pt x="1595" y="304"/>
                  <a:pt x="1595" y="304"/>
                  <a:pt x="1595" y="304"/>
                </a:cubicBezTo>
                <a:cubicBezTo>
                  <a:pt x="1595" y="304"/>
                  <a:pt x="1595" y="304"/>
                  <a:pt x="1594" y="304"/>
                </a:cubicBezTo>
                <a:cubicBezTo>
                  <a:pt x="1594" y="304"/>
                  <a:pt x="1594" y="304"/>
                  <a:pt x="1594" y="305"/>
                </a:cubicBezTo>
                <a:cubicBezTo>
                  <a:pt x="1595" y="305"/>
                  <a:pt x="1595" y="304"/>
                  <a:pt x="1595" y="304"/>
                </a:cubicBezTo>
                <a:cubicBezTo>
                  <a:pt x="1595" y="304"/>
                  <a:pt x="1595" y="304"/>
                  <a:pt x="1596" y="304"/>
                </a:cubicBezTo>
                <a:close/>
                <a:moveTo>
                  <a:pt x="1687" y="365"/>
                </a:moveTo>
                <a:cubicBezTo>
                  <a:pt x="1687" y="365"/>
                  <a:pt x="1687" y="365"/>
                  <a:pt x="1687" y="366"/>
                </a:cubicBezTo>
                <a:cubicBezTo>
                  <a:pt x="1687" y="366"/>
                  <a:pt x="1687" y="366"/>
                  <a:pt x="1687" y="366"/>
                </a:cubicBezTo>
                <a:cubicBezTo>
                  <a:pt x="1687" y="366"/>
                  <a:pt x="1687" y="367"/>
                  <a:pt x="1687" y="367"/>
                </a:cubicBezTo>
                <a:cubicBezTo>
                  <a:pt x="1687" y="367"/>
                  <a:pt x="1688" y="367"/>
                  <a:pt x="1688" y="367"/>
                </a:cubicBezTo>
                <a:cubicBezTo>
                  <a:pt x="1688" y="366"/>
                  <a:pt x="1688" y="366"/>
                  <a:pt x="1687" y="366"/>
                </a:cubicBezTo>
                <a:cubicBezTo>
                  <a:pt x="1688" y="366"/>
                  <a:pt x="1688" y="365"/>
                  <a:pt x="1688" y="365"/>
                </a:cubicBezTo>
                <a:cubicBezTo>
                  <a:pt x="1688" y="365"/>
                  <a:pt x="1688" y="365"/>
                  <a:pt x="1687" y="365"/>
                </a:cubicBezTo>
                <a:close/>
                <a:moveTo>
                  <a:pt x="1685" y="370"/>
                </a:moveTo>
                <a:cubicBezTo>
                  <a:pt x="1685" y="370"/>
                  <a:pt x="1685" y="370"/>
                  <a:pt x="1684" y="370"/>
                </a:cubicBezTo>
                <a:cubicBezTo>
                  <a:pt x="1684" y="370"/>
                  <a:pt x="1685" y="370"/>
                  <a:pt x="1685" y="370"/>
                </a:cubicBezTo>
                <a:cubicBezTo>
                  <a:pt x="1685" y="370"/>
                  <a:pt x="1685" y="370"/>
                  <a:pt x="1685" y="370"/>
                </a:cubicBezTo>
                <a:cubicBezTo>
                  <a:pt x="1685" y="370"/>
                  <a:pt x="1686" y="370"/>
                  <a:pt x="1686" y="370"/>
                </a:cubicBezTo>
                <a:cubicBezTo>
                  <a:pt x="1686" y="369"/>
                  <a:pt x="1686" y="369"/>
                  <a:pt x="1685" y="369"/>
                </a:cubicBezTo>
                <a:cubicBezTo>
                  <a:pt x="1685" y="369"/>
                  <a:pt x="1685" y="369"/>
                  <a:pt x="1685" y="370"/>
                </a:cubicBezTo>
                <a:close/>
                <a:moveTo>
                  <a:pt x="1686" y="367"/>
                </a:moveTo>
                <a:cubicBezTo>
                  <a:pt x="1686" y="367"/>
                  <a:pt x="1686" y="368"/>
                  <a:pt x="1686" y="368"/>
                </a:cubicBezTo>
                <a:cubicBezTo>
                  <a:pt x="1686" y="368"/>
                  <a:pt x="1686" y="368"/>
                  <a:pt x="1687" y="368"/>
                </a:cubicBezTo>
                <a:cubicBezTo>
                  <a:pt x="1687" y="368"/>
                  <a:pt x="1687" y="368"/>
                  <a:pt x="1687" y="368"/>
                </a:cubicBezTo>
                <a:cubicBezTo>
                  <a:pt x="1687" y="368"/>
                  <a:pt x="1687" y="368"/>
                  <a:pt x="1687" y="368"/>
                </a:cubicBezTo>
                <a:cubicBezTo>
                  <a:pt x="1687" y="368"/>
                  <a:pt x="1687" y="368"/>
                  <a:pt x="1687" y="367"/>
                </a:cubicBezTo>
                <a:cubicBezTo>
                  <a:pt x="1686" y="367"/>
                  <a:pt x="1686" y="367"/>
                  <a:pt x="1686" y="367"/>
                </a:cubicBezTo>
                <a:close/>
                <a:moveTo>
                  <a:pt x="1594" y="303"/>
                </a:moveTo>
                <a:cubicBezTo>
                  <a:pt x="1594" y="303"/>
                  <a:pt x="1594" y="303"/>
                  <a:pt x="1594" y="303"/>
                </a:cubicBezTo>
                <a:cubicBezTo>
                  <a:pt x="1594" y="303"/>
                  <a:pt x="1594" y="303"/>
                  <a:pt x="1594" y="303"/>
                </a:cubicBezTo>
                <a:cubicBezTo>
                  <a:pt x="1593" y="303"/>
                  <a:pt x="1593" y="303"/>
                  <a:pt x="1593" y="303"/>
                </a:cubicBezTo>
                <a:cubicBezTo>
                  <a:pt x="1593" y="304"/>
                  <a:pt x="1593" y="304"/>
                  <a:pt x="1594" y="304"/>
                </a:cubicBezTo>
                <a:cubicBezTo>
                  <a:pt x="1594" y="304"/>
                  <a:pt x="1594" y="304"/>
                  <a:pt x="1594" y="304"/>
                </a:cubicBezTo>
                <a:cubicBezTo>
                  <a:pt x="1594" y="304"/>
                  <a:pt x="1594" y="303"/>
                  <a:pt x="1594" y="303"/>
                </a:cubicBezTo>
                <a:close/>
                <a:moveTo>
                  <a:pt x="1101" y="33"/>
                </a:moveTo>
                <a:cubicBezTo>
                  <a:pt x="1101" y="33"/>
                  <a:pt x="1101" y="34"/>
                  <a:pt x="1101" y="34"/>
                </a:cubicBezTo>
                <a:cubicBezTo>
                  <a:pt x="1101" y="34"/>
                  <a:pt x="1102" y="35"/>
                  <a:pt x="1102" y="35"/>
                </a:cubicBezTo>
                <a:cubicBezTo>
                  <a:pt x="1102" y="35"/>
                  <a:pt x="1102" y="35"/>
                  <a:pt x="1103" y="35"/>
                </a:cubicBezTo>
                <a:cubicBezTo>
                  <a:pt x="1103" y="35"/>
                  <a:pt x="1103" y="35"/>
                  <a:pt x="1103" y="35"/>
                </a:cubicBezTo>
                <a:cubicBezTo>
                  <a:pt x="1103" y="34"/>
                  <a:pt x="1103" y="34"/>
                  <a:pt x="1102" y="34"/>
                </a:cubicBezTo>
                <a:cubicBezTo>
                  <a:pt x="1102" y="34"/>
                  <a:pt x="1102" y="33"/>
                  <a:pt x="1102" y="33"/>
                </a:cubicBezTo>
                <a:cubicBezTo>
                  <a:pt x="1101" y="33"/>
                  <a:pt x="1101" y="33"/>
                  <a:pt x="1101" y="33"/>
                </a:cubicBezTo>
                <a:close/>
                <a:moveTo>
                  <a:pt x="1302" y="81"/>
                </a:moveTo>
                <a:cubicBezTo>
                  <a:pt x="1303" y="81"/>
                  <a:pt x="1303" y="81"/>
                  <a:pt x="1303" y="81"/>
                </a:cubicBezTo>
                <a:cubicBezTo>
                  <a:pt x="1303" y="81"/>
                  <a:pt x="1304" y="81"/>
                  <a:pt x="1304" y="81"/>
                </a:cubicBezTo>
                <a:cubicBezTo>
                  <a:pt x="1304" y="81"/>
                  <a:pt x="1305" y="81"/>
                  <a:pt x="1305" y="81"/>
                </a:cubicBezTo>
                <a:cubicBezTo>
                  <a:pt x="1305" y="81"/>
                  <a:pt x="1306" y="81"/>
                  <a:pt x="1306" y="82"/>
                </a:cubicBezTo>
                <a:cubicBezTo>
                  <a:pt x="1306" y="82"/>
                  <a:pt x="1307" y="82"/>
                  <a:pt x="1307" y="82"/>
                </a:cubicBezTo>
                <a:cubicBezTo>
                  <a:pt x="1307" y="82"/>
                  <a:pt x="1307" y="81"/>
                  <a:pt x="1308" y="81"/>
                </a:cubicBezTo>
                <a:cubicBezTo>
                  <a:pt x="1308" y="81"/>
                  <a:pt x="1308" y="81"/>
                  <a:pt x="1308" y="81"/>
                </a:cubicBezTo>
                <a:cubicBezTo>
                  <a:pt x="1307" y="81"/>
                  <a:pt x="1307" y="81"/>
                  <a:pt x="1307" y="81"/>
                </a:cubicBezTo>
                <a:cubicBezTo>
                  <a:pt x="1307" y="81"/>
                  <a:pt x="1307" y="81"/>
                  <a:pt x="1307" y="81"/>
                </a:cubicBezTo>
                <a:cubicBezTo>
                  <a:pt x="1307" y="80"/>
                  <a:pt x="1307" y="80"/>
                  <a:pt x="1307" y="80"/>
                </a:cubicBezTo>
                <a:cubicBezTo>
                  <a:pt x="1307" y="80"/>
                  <a:pt x="1307" y="80"/>
                  <a:pt x="1306" y="80"/>
                </a:cubicBezTo>
                <a:cubicBezTo>
                  <a:pt x="1306" y="80"/>
                  <a:pt x="1306" y="80"/>
                  <a:pt x="1306" y="80"/>
                </a:cubicBezTo>
                <a:cubicBezTo>
                  <a:pt x="1306" y="80"/>
                  <a:pt x="1306" y="80"/>
                  <a:pt x="1306" y="80"/>
                </a:cubicBezTo>
                <a:cubicBezTo>
                  <a:pt x="1306" y="80"/>
                  <a:pt x="1305" y="80"/>
                  <a:pt x="1305" y="80"/>
                </a:cubicBezTo>
                <a:cubicBezTo>
                  <a:pt x="1305" y="80"/>
                  <a:pt x="1305" y="80"/>
                  <a:pt x="1305" y="80"/>
                </a:cubicBezTo>
                <a:cubicBezTo>
                  <a:pt x="1305" y="80"/>
                  <a:pt x="1304" y="80"/>
                  <a:pt x="1304" y="80"/>
                </a:cubicBezTo>
                <a:cubicBezTo>
                  <a:pt x="1304" y="80"/>
                  <a:pt x="1304" y="80"/>
                  <a:pt x="1304" y="80"/>
                </a:cubicBezTo>
                <a:cubicBezTo>
                  <a:pt x="1304" y="80"/>
                  <a:pt x="1304" y="80"/>
                  <a:pt x="1303" y="80"/>
                </a:cubicBezTo>
                <a:cubicBezTo>
                  <a:pt x="1303" y="80"/>
                  <a:pt x="1303" y="80"/>
                  <a:pt x="1303" y="80"/>
                </a:cubicBezTo>
                <a:cubicBezTo>
                  <a:pt x="1302" y="80"/>
                  <a:pt x="1302" y="80"/>
                  <a:pt x="1302" y="80"/>
                </a:cubicBezTo>
                <a:cubicBezTo>
                  <a:pt x="1302" y="80"/>
                  <a:pt x="1301" y="80"/>
                  <a:pt x="1301" y="80"/>
                </a:cubicBezTo>
                <a:cubicBezTo>
                  <a:pt x="1301" y="80"/>
                  <a:pt x="1301" y="81"/>
                  <a:pt x="1301" y="81"/>
                </a:cubicBezTo>
                <a:cubicBezTo>
                  <a:pt x="1302" y="81"/>
                  <a:pt x="1302" y="81"/>
                  <a:pt x="1302" y="81"/>
                </a:cubicBezTo>
                <a:close/>
                <a:moveTo>
                  <a:pt x="1743" y="341"/>
                </a:moveTo>
                <a:cubicBezTo>
                  <a:pt x="1742" y="340"/>
                  <a:pt x="1742" y="340"/>
                  <a:pt x="1742" y="340"/>
                </a:cubicBezTo>
                <a:cubicBezTo>
                  <a:pt x="1742" y="339"/>
                  <a:pt x="1742" y="339"/>
                  <a:pt x="1742" y="339"/>
                </a:cubicBezTo>
                <a:cubicBezTo>
                  <a:pt x="1741" y="339"/>
                  <a:pt x="1741" y="338"/>
                  <a:pt x="1741" y="338"/>
                </a:cubicBezTo>
                <a:cubicBezTo>
                  <a:pt x="1740" y="338"/>
                  <a:pt x="1740" y="337"/>
                  <a:pt x="1740" y="337"/>
                </a:cubicBezTo>
                <a:cubicBezTo>
                  <a:pt x="1740" y="337"/>
                  <a:pt x="1740" y="337"/>
                  <a:pt x="1740" y="337"/>
                </a:cubicBezTo>
                <a:cubicBezTo>
                  <a:pt x="1740" y="337"/>
                  <a:pt x="1741" y="337"/>
                  <a:pt x="1741" y="337"/>
                </a:cubicBezTo>
                <a:cubicBezTo>
                  <a:pt x="1741" y="336"/>
                  <a:pt x="1740" y="336"/>
                  <a:pt x="1740" y="336"/>
                </a:cubicBezTo>
                <a:cubicBezTo>
                  <a:pt x="1740" y="336"/>
                  <a:pt x="1739" y="336"/>
                  <a:pt x="1739" y="336"/>
                </a:cubicBezTo>
                <a:cubicBezTo>
                  <a:pt x="1739" y="336"/>
                  <a:pt x="1739" y="336"/>
                  <a:pt x="1738" y="336"/>
                </a:cubicBezTo>
                <a:cubicBezTo>
                  <a:pt x="1738" y="336"/>
                  <a:pt x="1738" y="336"/>
                  <a:pt x="1737" y="336"/>
                </a:cubicBezTo>
                <a:cubicBezTo>
                  <a:pt x="1737" y="336"/>
                  <a:pt x="1737" y="336"/>
                  <a:pt x="1737" y="336"/>
                </a:cubicBezTo>
                <a:cubicBezTo>
                  <a:pt x="1737" y="336"/>
                  <a:pt x="1738" y="337"/>
                  <a:pt x="1738" y="337"/>
                </a:cubicBezTo>
                <a:cubicBezTo>
                  <a:pt x="1738" y="337"/>
                  <a:pt x="1739" y="337"/>
                  <a:pt x="1739" y="337"/>
                </a:cubicBezTo>
                <a:cubicBezTo>
                  <a:pt x="1739" y="337"/>
                  <a:pt x="1739" y="338"/>
                  <a:pt x="1739" y="338"/>
                </a:cubicBezTo>
                <a:cubicBezTo>
                  <a:pt x="1739" y="338"/>
                  <a:pt x="1739" y="338"/>
                  <a:pt x="1739" y="338"/>
                </a:cubicBezTo>
                <a:cubicBezTo>
                  <a:pt x="1739" y="339"/>
                  <a:pt x="1739" y="339"/>
                  <a:pt x="1740" y="339"/>
                </a:cubicBezTo>
                <a:cubicBezTo>
                  <a:pt x="1740" y="340"/>
                  <a:pt x="1740" y="340"/>
                  <a:pt x="1740" y="340"/>
                </a:cubicBezTo>
                <a:cubicBezTo>
                  <a:pt x="1741" y="340"/>
                  <a:pt x="1741" y="340"/>
                  <a:pt x="1741" y="341"/>
                </a:cubicBezTo>
                <a:cubicBezTo>
                  <a:pt x="1741" y="341"/>
                  <a:pt x="1741" y="341"/>
                  <a:pt x="1741" y="341"/>
                </a:cubicBezTo>
                <a:cubicBezTo>
                  <a:pt x="1742" y="341"/>
                  <a:pt x="1742" y="341"/>
                  <a:pt x="1742" y="341"/>
                </a:cubicBezTo>
                <a:cubicBezTo>
                  <a:pt x="1742" y="342"/>
                  <a:pt x="1742" y="342"/>
                  <a:pt x="1743" y="342"/>
                </a:cubicBezTo>
                <a:cubicBezTo>
                  <a:pt x="1743" y="342"/>
                  <a:pt x="1743" y="343"/>
                  <a:pt x="1744" y="343"/>
                </a:cubicBezTo>
                <a:cubicBezTo>
                  <a:pt x="1744" y="343"/>
                  <a:pt x="1744" y="343"/>
                  <a:pt x="1744" y="343"/>
                </a:cubicBezTo>
                <a:cubicBezTo>
                  <a:pt x="1744" y="342"/>
                  <a:pt x="1744" y="342"/>
                  <a:pt x="1744" y="342"/>
                </a:cubicBezTo>
                <a:cubicBezTo>
                  <a:pt x="1743" y="341"/>
                  <a:pt x="1743" y="341"/>
                  <a:pt x="1743" y="341"/>
                </a:cubicBezTo>
                <a:close/>
                <a:moveTo>
                  <a:pt x="1226" y="163"/>
                </a:moveTo>
                <a:cubicBezTo>
                  <a:pt x="1226" y="163"/>
                  <a:pt x="1226" y="162"/>
                  <a:pt x="1226" y="162"/>
                </a:cubicBezTo>
                <a:cubicBezTo>
                  <a:pt x="1225" y="162"/>
                  <a:pt x="1225" y="162"/>
                  <a:pt x="1225" y="162"/>
                </a:cubicBezTo>
                <a:cubicBezTo>
                  <a:pt x="1225" y="162"/>
                  <a:pt x="1225" y="162"/>
                  <a:pt x="1225" y="163"/>
                </a:cubicBezTo>
                <a:cubicBezTo>
                  <a:pt x="1225" y="163"/>
                  <a:pt x="1225" y="163"/>
                  <a:pt x="1226" y="163"/>
                </a:cubicBezTo>
                <a:cubicBezTo>
                  <a:pt x="1226" y="163"/>
                  <a:pt x="1226" y="163"/>
                  <a:pt x="1226" y="163"/>
                </a:cubicBezTo>
                <a:cubicBezTo>
                  <a:pt x="1226" y="164"/>
                  <a:pt x="1226" y="164"/>
                  <a:pt x="1227" y="164"/>
                </a:cubicBezTo>
                <a:cubicBezTo>
                  <a:pt x="1227" y="164"/>
                  <a:pt x="1228" y="164"/>
                  <a:pt x="1228" y="164"/>
                </a:cubicBezTo>
                <a:cubicBezTo>
                  <a:pt x="1228" y="164"/>
                  <a:pt x="1228" y="164"/>
                  <a:pt x="1229" y="164"/>
                </a:cubicBezTo>
                <a:cubicBezTo>
                  <a:pt x="1228" y="163"/>
                  <a:pt x="1228" y="163"/>
                  <a:pt x="1228" y="163"/>
                </a:cubicBezTo>
                <a:cubicBezTo>
                  <a:pt x="1228" y="163"/>
                  <a:pt x="1228" y="163"/>
                  <a:pt x="1227" y="163"/>
                </a:cubicBezTo>
                <a:cubicBezTo>
                  <a:pt x="1227" y="163"/>
                  <a:pt x="1227" y="163"/>
                  <a:pt x="1226" y="163"/>
                </a:cubicBezTo>
                <a:close/>
                <a:moveTo>
                  <a:pt x="1296" y="75"/>
                </a:moveTo>
                <a:cubicBezTo>
                  <a:pt x="1295" y="75"/>
                  <a:pt x="1295" y="75"/>
                  <a:pt x="1294" y="75"/>
                </a:cubicBezTo>
                <a:cubicBezTo>
                  <a:pt x="1294" y="75"/>
                  <a:pt x="1294" y="76"/>
                  <a:pt x="1294" y="76"/>
                </a:cubicBezTo>
                <a:cubicBezTo>
                  <a:pt x="1295" y="76"/>
                  <a:pt x="1295" y="76"/>
                  <a:pt x="1296" y="76"/>
                </a:cubicBezTo>
                <a:cubicBezTo>
                  <a:pt x="1296" y="76"/>
                  <a:pt x="1297" y="76"/>
                  <a:pt x="1297" y="76"/>
                </a:cubicBezTo>
                <a:cubicBezTo>
                  <a:pt x="1297" y="76"/>
                  <a:pt x="1297" y="75"/>
                  <a:pt x="1297" y="75"/>
                </a:cubicBezTo>
                <a:cubicBezTo>
                  <a:pt x="1297" y="75"/>
                  <a:pt x="1296" y="75"/>
                  <a:pt x="1296" y="75"/>
                </a:cubicBezTo>
                <a:cubicBezTo>
                  <a:pt x="1296" y="75"/>
                  <a:pt x="1296" y="75"/>
                  <a:pt x="1296" y="75"/>
                </a:cubicBezTo>
                <a:close/>
                <a:moveTo>
                  <a:pt x="1751" y="346"/>
                </a:moveTo>
                <a:cubicBezTo>
                  <a:pt x="1751" y="346"/>
                  <a:pt x="1751" y="345"/>
                  <a:pt x="1751" y="345"/>
                </a:cubicBezTo>
                <a:cubicBezTo>
                  <a:pt x="1750" y="345"/>
                  <a:pt x="1750" y="345"/>
                  <a:pt x="1750" y="345"/>
                </a:cubicBezTo>
                <a:cubicBezTo>
                  <a:pt x="1749" y="344"/>
                  <a:pt x="1749" y="344"/>
                  <a:pt x="1749" y="344"/>
                </a:cubicBezTo>
                <a:cubicBezTo>
                  <a:pt x="1749" y="343"/>
                  <a:pt x="1748" y="343"/>
                  <a:pt x="1748" y="343"/>
                </a:cubicBezTo>
                <a:cubicBezTo>
                  <a:pt x="1748" y="343"/>
                  <a:pt x="1748" y="343"/>
                  <a:pt x="1747" y="343"/>
                </a:cubicBezTo>
                <a:cubicBezTo>
                  <a:pt x="1748" y="343"/>
                  <a:pt x="1748" y="343"/>
                  <a:pt x="1748" y="344"/>
                </a:cubicBezTo>
                <a:cubicBezTo>
                  <a:pt x="1748" y="344"/>
                  <a:pt x="1748" y="344"/>
                  <a:pt x="1749" y="344"/>
                </a:cubicBezTo>
                <a:cubicBezTo>
                  <a:pt x="1749" y="345"/>
                  <a:pt x="1749" y="345"/>
                  <a:pt x="1749" y="345"/>
                </a:cubicBezTo>
                <a:cubicBezTo>
                  <a:pt x="1750" y="346"/>
                  <a:pt x="1750" y="346"/>
                  <a:pt x="1751" y="346"/>
                </a:cubicBezTo>
                <a:cubicBezTo>
                  <a:pt x="1751" y="347"/>
                  <a:pt x="1751" y="347"/>
                  <a:pt x="1751" y="347"/>
                </a:cubicBezTo>
                <a:cubicBezTo>
                  <a:pt x="1752" y="347"/>
                  <a:pt x="1752" y="347"/>
                  <a:pt x="1753" y="347"/>
                </a:cubicBezTo>
                <a:cubicBezTo>
                  <a:pt x="1753" y="347"/>
                  <a:pt x="1753" y="347"/>
                  <a:pt x="1753" y="347"/>
                </a:cubicBezTo>
                <a:cubicBezTo>
                  <a:pt x="1752" y="347"/>
                  <a:pt x="1752" y="346"/>
                  <a:pt x="1751" y="346"/>
                </a:cubicBezTo>
                <a:close/>
                <a:moveTo>
                  <a:pt x="1307" y="75"/>
                </a:moveTo>
                <a:cubicBezTo>
                  <a:pt x="1307" y="75"/>
                  <a:pt x="1307" y="75"/>
                  <a:pt x="1306" y="74"/>
                </a:cubicBezTo>
                <a:cubicBezTo>
                  <a:pt x="1306" y="74"/>
                  <a:pt x="1306" y="74"/>
                  <a:pt x="1306" y="74"/>
                </a:cubicBezTo>
                <a:cubicBezTo>
                  <a:pt x="1306" y="74"/>
                  <a:pt x="1306" y="75"/>
                  <a:pt x="1306" y="75"/>
                </a:cubicBezTo>
                <a:cubicBezTo>
                  <a:pt x="1306" y="75"/>
                  <a:pt x="1306" y="75"/>
                  <a:pt x="1306" y="75"/>
                </a:cubicBezTo>
                <a:cubicBezTo>
                  <a:pt x="1306" y="75"/>
                  <a:pt x="1306" y="76"/>
                  <a:pt x="1306" y="76"/>
                </a:cubicBezTo>
                <a:cubicBezTo>
                  <a:pt x="1307" y="76"/>
                  <a:pt x="1307" y="76"/>
                  <a:pt x="1307" y="76"/>
                </a:cubicBezTo>
                <a:cubicBezTo>
                  <a:pt x="1307" y="76"/>
                  <a:pt x="1307" y="76"/>
                  <a:pt x="1308" y="76"/>
                </a:cubicBezTo>
                <a:cubicBezTo>
                  <a:pt x="1308" y="76"/>
                  <a:pt x="1308" y="76"/>
                  <a:pt x="1308" y="76"/>
                </a:cubicBezTo>
                <a:cubicBezTo>
                  <a:pt x="1307" y="75"/>
                  <a:pt x="1307" y="75"/>
                  <a:pt x="1307" y="75"/>
                </a:cubicBezTo>
                <a:close/>
                <a:moveTo>
                  <a:pt x="1294" y="71"/>
                </a:moveTo>
                <a:cubicBezTo>
                  <a:pt x="1294" y="71"/>
                  <a:pt x="1293" y="71"/>
                  <a:pt x="1293" y="71"/>
                </a:cubicBezTo>
                <a:cubicBezTo>
                  <a:pt x="1293" y="71"/>
                  <a:pt x="1293" y="71"/>
                  <a:pt x="1294" y="71"/>
                </a:cubicBezTo>
                <a:cubicBezTo>
                  <a:pt x="1294" y="71"/>
                  <a:pt x="1294" y="71"/>
                  <a:pt x="1295" y="71"/>
                </a:cubicBezTo>
                <a:cubicBezTo>
                  <a:pt x="1295" y="71"/>
                  <a:pt x="1295" y="71"/>
                  <a:pt x="1296" y="71"/>
                </a:cubicBezTo>
                <a:cubicBezTo>
                  <a:pt x="1296" y="71"/>
                  <a:pt x="1296" y="71"/>
                  <a:pt x="1296" y="71"/>
                </a:cubicBezTo>
                <a:cubicBezTo>
                  <a:pt x="1296" y="71"/>
                  <a:pt x="1296" y="71"/>
                  <a:pt x="1296" y="71"/>
                </a:cubicBezTo>
                <a:cubicBezTo>
                  <a:pt x="1296" y="71"/>
                  <a:pt x="1296" y="72"/>
                  <a:pt x="1296" y="72"/>
                </a:cubicBezTo>
                <a:cubicBezTo>
                  <a:pt x="1296" y="72"/>
                  <a:pt x="1297" y="71"/>
                  <a:pt x="1297" y="71"/>
                </a:cubicBezTo>
                <a:cubicBezTo>
                  <a:pt x="1298" y="71"/>
                  <a:pt x="1298" y="71"/>
                  <a:pt x="1298" y="71"/>
                </a:cubicBezTo>
                <a:cubicBezTo>
                  <a:pt x="1298" y="71"/>
                  <a:pt x="1299" y="70"/>
                  <a:pt x="1299" y="70"/>
                </a:cubicBezTo>
                <a:cubicBezTo>
                  <a:pt x="1299" y="70"/>
                  <a:pt x="1299" y="70"/>
                  <a:pt x="1299" y="70"/>
                </a:cubicBezTo>
                <a:cubicBezTo>
                  <a:pt x="1299" y="70"/>
                  <a:pt x="1299" y="69"/>
                  <a:pt x="1299" y="69"/>
                </a:cubicBezTo>
                <a:cubicBezTo>
                  <a:pt x="1299" y="69"/>
                  <a:pt x="1299" y="69"/>
                  <a:pt x="1299" y="69"/>
                </a:cubicBezTo>
                <a:cubicBezTo>
                  <a:pt x="1299" y="69"/>
                  <a:pt x="1299" y="69"/>
                  <a:pt x="1298" y="69"/>
                </a:cubicBezTo>
                <a:cubicBezTo>
                  <a:pt x="1298" y="69"/>
                  <a:pt x="1298" y="69"/>
                  <a:pt x="1298" y="69"/>
                </a:cubicBezTo>
                <a:cubicBezTo>
                  <a:pt x="1298" y="69"/>
                  <a:pt x="1297" y="69"/>
                  <a:pt x="1297" y="70"/>
                </a:cubicBezTo>
                <a:cubicBezTo>
                  <a:pt x="1296" y="70"/>
                  <a:pt x="1296" y="70"/>
                  <a:pt x="1295" y="70"/>
                </a:cubicBezTo>
                <a:cubicBezTo>
                  <a:pt x="1295" y="70"/>
                  <a:pt x="1294" y="70"/>
                  <a:pt x="1294" y="71"/>
                </a:cubicBezTo>
                <a:close/>
                <a:moveTo>
                  <a:pt x="1270" y="99"/>
                </a:moveTo>
                <a:cubicBezTo>
                  <a:pt x="1270" y="99"/>
                  <a:pt x="1271" y="99"/>
                  <a:pt x="1271" y="99"/>
                </a:cubicBezTo>
                <a:cubicBezTo>
                  <a:pt x="1271" y="99"/>
                  <a:pt x="1272" y="98"/>
                  <a:pt x="1272" y="98"/>
                </a:cubicBezTo>
                <a:cubicBezTo>
                  <a:pt x="1272" y="98"/>
                  <a:pt x="1272" y="98"/>
                  <a:pt x="1272" y="98"/>
                </a:cubicBezTo>
                <a:cubicBezTo>
                  <a:pt x="1272" y="98"/>
                  <a:pt x="1272" y="98"/>
                  <a:pt x="1272" y="97"/>
                </a:cubicBezTo>
                <a:cubicBezTo>
                  <a:pt x="1271" y="97"/>
                  <a:pt x="1271" y="97"/>
                  <a:pt x="1271" y="97"/>
                </a:cubicBezTo>
                <a:cubicBezTo>
                  <a:pt x="1270" y="97"/>
                  <a:pt x="1270" y="98"/>
                  <a:pt x="1270" y="98"/>
                </a:cubicBezTo>
                <a:cubicBezTo>
                  <a:pt x="1270" y="98"/>
                  <a:pt x="1270" y="98"/>
                  <a:pt x="1270" y="98"/>
                </a:cubicBezTo>
                <a:cubicBezTo>
                  <a:pt x="1270" y="98"/>
                  <a:pt x="1270" y="98"/>
                  <a:pt x="1270" y="99"/>
                </a:cubicBezTo>
                <a:cubicBezTo>
                  <a:pt x="1270" y="99"/>
                  <a:pt x="1270" y="99"/>
                  <a:pt x="1270" y="99"/>
                </a:cubicBezTo>
                <a:close/>
                <a:moveTo>
                  <a:pt x="1280" y="137"/>
                </a:moveTo>
                <a:cubicBezTo>
                  <a:pt x="1280" y="137"/>
                  <a:pt x="1280" y="136"/>
                  <a:pt x="1280" y="136"/>
                </a:cubicBezTo>
                <a:cubicBezTo>
                  <a:pt x="1280" y="136"/>
                  <a:pt x="1280" y="136"/>
                  <a:pt x="1280" y="136"/>
                </a:cubicBezTo>
                <a:cubicBezTo>
                  <a:pt x="1280" y="136"/>
                  <a:pt x="1280" y="137"/>
                  <a:pt x="1280" y="137"/>
                </a:cubicBezTo>
                <a:cubicBezTo>
                  <a:pt x="1280" y="137"/>
                  <a:pt x="1280" y="137"/>
                  <a:pt x="1280" y="137"/>
                </a:cubicBezTo>
                <a:cubicBezTo>
                  <a:pt x="1280" y="137"/>
                  <a:pt x="1280" y="137"/>
                  <a:pt x="1280" y="137"/>
                </a:cubicBezTo>
                <a:close/>
                <a:moveTo>
                  <a:pt x="1697" y="183"/>
                </a:moveTo>
                <a:cubicBezTo>
                  <a:pt x="1696" y="183"/>
                  <a:pt x="1696" y="183"/>
                  <a:pt x="1696" y="183"/>
                </a:cubicBezTo>
                <a:cubicBezTo>
                  <a:pt x="1695" y="183"/>
                  <a:pt x="1695" y="183"/>
                  <a:pt x="1695" y="183"/>
                </a:cubicBezTo>
                <a:cubicBezTo>
                  <a:pt x="1695" y="183"/>
                  <a:pt x="1695" y="183"/>
                  <a:pt x="1695" y="183"/>
                </a:cubicBezTo>
                <a:cubicBezTo>
                  <a:pt x="1696" y="183"/>
                  <a:pt x="1696" y="183"/>
                  <a:pt x="1696" y="183"/>
                </a:cubicBezTo>
                <a:cubicBezTo>
                  <a:pt x="1696" y="183"/>
                  <a:pt x="1697" y="183"/>
                  <a:pt x="1697" y="183"/>
                </a:cubicBezTo>
                <a:close/>
                <a:moveTo>
                  <a:pt x="1276" y="132"/>
                </a:moveTo>
                <a:cubicBezTo>
                  <a:pt x="1277" y="132"/>
                  <a:pt x="1277" y="132"/>
                  <a:pt x="1277" y="133"/>
                </a:cubicBezTo>
                <a:cubicBezTo>
                  <a:pt x="1277" y="133"/>
                  <a:pt x="1277" y="133"/>
                  <a:pt x="1277" y="133"/>
                </a:cubicBezTo>
                <a:cubicBezTo>
                  <a:pt x="1278" y="133"/>
                  <a:pt x="1278" y="133"/>
                  <a:pt x="1278" y="132"/>
                </a:cubicBezTo>
                <a:cubicBezTo>
                  <a:pt x="1277" y="132"/>
                  <a:pt x="1277" y="132"/>
                  <a:pt x="1277" y="132"/>
                </a:cubicBezTo>
                <a:cubicBezTo>
                  <a:pt x="1277" y="132"/>
                  <a:pt x="1277" y="132"/>
                  <a:pt x="1276" y="132"/>
                </a:cubicBezTo>
                <a:close/>
                <a:moveTo>
                  <a:pt x="1278" y="137"/>
                </a:moveTo>
                <a:cubicBezTo>
                  <a:pt x="1278" y="137"/>
                  <a:pt x="1279" y="137"/>
                  <a:pt x="1279" y="137"/>
                </a:cubicBezTo>
                <a:cubicBezTo>
                  <a:pt x="1279" y="136"/>
                  <a:pt x="1279" y="135"/>
                  <a:pt x="1279" y="135"/>
                </a:cubicBezTo>
                <a:cubicBezTo>
                  <a:pt x="1279" y="134"/>
                  <a:pt x="1278" y="134"/>
                  <a:pt x="1278" y="134"/>
                </a:cubicBezTo>
                <a:cubicBezTo>
                  <a:pt x="1278" y="134"/>
                  <a:pt x="1278" y="134"/>
                  <a:pt x="1278" y="134"/>
                </a:cubicBezTo>
                <a:cubicBezTo>
                  <a:pt x="1278" y="134"/>
                  <a:pt x="1278" y="134"/>
                  <a:pt x="1278" y="135"/>
                </a:cubicBezTo>
                <a:cubicBezTo>
                  <a:pt x="1278" y="135"/>
                  <a:pt x="1278" y="135"/>
                  <a:pt x="1278" y="136"/>
                </a:cubicBezTo>
                <a:cubicBezTo>
                  <a:pt x="1278" y="136"/>
                  <a:pt x="1278" y="136"/>
                  <a:pt x="1278" y="137"/>
                </a:cubicBezTo>
                <a:cubicBezTo>
                  <a:pt x="1278" y="137"/>
                  <a:pt x="1278" y="137"/>
                  <a:pt x="1278" y="137"/>
                </a:cubicBezTo>
                <a:close/>
                <a:moveTo>
                  <a:pt x="1268" y="33"/>
                </a:moveTo>
                <a:cubicBezTo>
                  <a:pt x="1268" y="33"/>
                  <a:pt x="1268" y="33"/>
                  <a:pt x="1268" y="33"/>
                </a:cubicBezTo>
                <a:cubicBezTo>
                  <a:pt x="1268" y="34"/>
                  <a:pt x="1267" y="34"/>
                  <a:pt x="1267" y="34"/>
                </a:cubicBezTo>
                <a:cubicBezTo>
                  <a:pt x="1267" y="34"/>
                  <a:pt x="1266" y="34"/>
                  <a:pt x="1266" y="34"/>
                </a:cubicBezTo>
                <a:cubicBezTo>
                  <a:pt x="1265" y="34"/>
                  <a:pt x="1265" y="34"/>
                  <a:pt x="1265" y="34"/>
                </a:cubicBezTo>
                <a:cubicBezTo>
                  <a:pt x="1264" y="35"/>
                  <a:pt x="1264" y="35"/>
                  <a:pt x="1264" y="35"/>
                </a:cubicBezTo>
                <a:cubicBezTo>
                  <a:pt x="1264" y="36"/>
                  <a:pt x="1264" y="36"/>
                  <a:pt x="1264" y="36"/>
                </a:cubicBezTo>
                <a:cubicBezTo>
                  <a:pt x="1264" y="36"/>
                  <a:pt x="1265" y="36"/>
                  <a:pt x="1265" y="37"/>
                </a:cubicBezTo>
                <a:cubicBezTo>
                  <a:pt x="1265" y="37"/>
                  <a:pt x="1265" y="37"/>
                  <a:pt x="1266" y="37"/>
                </a:cubicBezTo>
                <a:cubicBezTo>
                  <a:pt x="1266" y="37"/>
                  <a:pt x="1266" y="37"/>
                  <a:pt x="1266" y="37"/>
                </a:cubicBezTo>
                <a:cubicBezTo>
                  <a:pt x="1266" y="37"/>
                  <a:pt x="1265" y="38"/>
                  <a:pt x="1265" y="38"/>
                </a:cubicBezTo>
                <a:cubicBezTo>
                  <a:pt x="1264" y="38"/>
                  <a:pt x="1264" y="38"/>
                  <a:pt x="1264" y="38"/>
                </a:cubicBezTo>
                <a:cubicBezTo>
                  <a:pt x="1264" y="39"/>
                  <a:pt x="1264" y="39"/>
                  <a:pt x="1264" y="40"/>
                </a:cubicBezTo>
                <a:cubicBezTo>
                  <a:pt x="1264" y="40"/>
                  <a:pt x="1264" y="40"/>
                  <a:pt x="1264" y="40"/>
                </a:cubicBezTo>
                <a:cubicBezTo>
                  <a:pt x="1264" y="40"/>
                  <a:pt x="1263" y="40"/>
                  <a:pt x="1263" y="40"/>
                </a:cubicBezTo>
                <a:cubicBezTo>
                  <a:pt x="1263" y="41"/>
                  <a:pt x="1262" y="41"/>
                  <a:pt x="1262" y="41"/>
                </a:cubicBezTo>
                <a:cubicBezTo>
                  <a:pt x="1263" y="41"/>
                  <a:pt x="1263" y="41"/>
                  <a:pt x="1264" y="41"/>
                </a:cubicBezTo>
                <a:cubicBezTo>
                  <a:pt x="1264" y="42"/>
                  <a:pt x="1264" y="42"/>
                  <a:pt x="1264" y="42"/>
                </a:cubicBezTo>
                <a:cubicBezTo>
                  <a:pt x="1264" y="42"/>
                  <a:pt x="1264" y="42"/>
                  <a:pt x="1265" y="42"/>
                </a:cubicBezTo>
                <a:cubicBezTo>
                  <a:pt x="1265" y="42"/>
                  <a:pt x="1265" y="41"/>
                  <a:pt x="1264" y="41"/>
                </a:cubicBezTo>
                <a:cubicBezTo>
                  <a:pt x="1265" y="41"/>
                  <a:pt x="1265" y="41"/>
                  <a:pt x="1265" y="41"/>
                </a:cubicBezTo>
                <a:cubicBezTo>
                  <a:pt x="1265" y="41"/>
                  <a:pt x="1265" y="41"/>
                  <a:pt x="1266" y="41"/>
                </a:cubicBezTo>
                <a:cubicBezTo>
                  <a:pt x="1266" y="42"/>
                  <a:pt x="1266" y="42"/>
                  <a:pt x="1267" y="42"/>
                </a:cubicBezTo>
                <a:cubicBezTo>
                  <a:pt x="1267" y="42"/>
                  <a:pt x="1268" y="42"/>
                  <a:pt x="1268" y="42"/>
                </a:cubicBezTo>
                <a:cubicBezTo>
                  <a:pt x="1268" y="42"/>
                  <a:pt x="1268" y="42"/>
                  <a:pt x="1269" y="42"/>
                </a:cubicBezTo>
                <a:cubicBezTo>
                  <a:pt x="1269" y="42"/>
                  <a:pt x="1269" y="43"/>
                  <a:pt x="1269" y="43"/>
                </a:cubicBezTo>
                <a:cubicBezTo>
                  <a:pt x="1270" y="43"/>
                  <a:pt x="1270" y="44"/>
                  <a:pt x="1270" y="44"/>
                </a:cubicBezTo>
                <a:cubicBezTo>
                  <a:pt x="1270" y="45"/>
                  <a:pt x="1271" y="45"/>
                  <a:pt x="1271" y="45"/>
                </a:cubicBezTo>
                <a:cubicBezTo>
                  <a:pt x="1271" y="45"/>
                  <a:pt x="1272" y="45"/>
                  <a:pt x="1272" y="45"/>
                </a:cubicBezTo>
                <a:cubicBezTo>
                  <a:pt x="1273" y="46"/>
                  <a:pt x="1273" y="46"/>
                  <a:pt x="1273" y="46"/>
                </a:cubicBezTo>
                <a:cubicBezTo>
                  <a:pt x="1274" y="46"/>
                  <a:pt x="1274" y="46"/>
                  <a:pt x="1275" y="46"/>
                </a:cubicBezTo>
                <a:cubicBezTo>
                  <a:pt x="1275" y="46"/>
                  <a:pt x="1276" y="46"/>
                  <a:pt x="1276" y="46"/>
                </a:cubicBezTo>
                <a:cubicBezTo>
                  <a:pt x="1277" y="46"/>
                  <a:pt x="1277" y="46"/>
                  <a:pt x="1278" y="46"/>
                </a:cubicBezTo>
                <a:cubicBezTo>
                  <a:pt x="1278" y="46"/>
                  <a:pt x="1278" y="46"/>
                  <a:pt x="1279" y="47"/>
                </a:cubicBezTo>
                <a:cubicBezTo>
                  <a:pt x="1279" y="47"/>
                  <a:pt x="1280" y="47"/>
                  <a:pt x="1280" y="47"/>
                </a:cubicBezTo>
                <a:cubicBezTo>
                  <a:pt x="1281" y="48"/>
                  <a:pt x="1282" y="48"/>
                  <a:pt x="1283" y="48"/>
                </a:cubicBezTo>
                <a:cubicBezTo>
                  <a:pt x="1283" y="48"/>
                  <a:pt x="1284" y="48"/>
                  <a:pt x="1284" y="48"/>
                </a:cubicBezTo>
                <a:cubicBezTo>
                  <a:pt x="1285" y="48"/>
                  <a:pt x="1285" y="48"/>
                  <a:pt x="1285" y="48"/>
                </a:cubicBezTo>
                <a:cubicBezTo>
                  <a:pt x="1286" y="48"/>
                  <a:pt x="1286" y="48"/>
                  <a:pt x="1286" y="48"/>
                </a:cubicBezTo>
                <a:cubicBezTo>
                  <a:pt x="1287" y="49"/>
                  <a:pt x="1287" y="49"/>
                  <a:pt x="1287" y="49"/>
                </a:cubicBezTo>
                <a:cubicBezTo>
                  <a:pt x="1287" y="49"/>
                  <a:pt x="1288" y="50"/>
                  <a:pt x="1288" y="50"/>
                </a:cubicBezTo>
                <a:cubicBezTo>
                  <a:pt x="1289" y="50"/>
                  <a:pt x="1289" y="50"/>
                  <a:pt x="1289" y="50"/>
                </a:cubicBezTo>
                <a:cubicBezTo>
                  <a:pt x="1290" y="50"/>
                  <a:pt x="1290" y="50"/>
                  <a:pt x="1290" y="50"/>
                </a:cubicBezTo>
                <a:cubicBezTo>
                  <a:pt x="1291" y="49"/>
                  <a:pt x="1292" y="49"/>
                  <a:pt x="1292" y="49"/>
                </a:cubicBezTo>
                <a:cubicBezTo>
                  <a:pt x="1293" y="49"/>
                  <a:pt x="1293" y="49"/>
                  <a:pt x="1294" y="49"/>
                </a:cubicBezTo>
                <a:cubicBezTo>
                  <a:pt x="1294" y="49"/>
                  <a:pt x="1295" y="48"/>
                  <a:pt x="1296" y="48"/>
                </a:cubicBezTo>
                <a:cubicBezTo>
                  <a:pt x="1296" y="48"/>
                  <a:pt x="1296" y="48"/>
                  <a:pt x="1296" y="47"/>
                </a:cubicBezTo>
                <a:cubicBezTo>
                  <a:pt x="1295" y="47"/>
                  <a:pt x="1295" y="47"/>
                  <a:pt x="1294" y="46"/>
                </a:cubicBezTo>
                <a:cubicBezTo>
                  <a:pt x="1294" y="46"/>
                  <a:pt x="1294" y="46"/>
                  <a:pt x="1294" y="46"/>
                </a:cubicBezTo>
                <a:cubicBezTo>
                  <a:pt x="1293" y="46"/>
                  <a:pt x="1293" y="45"/>
                  <a:pt x="1292" y="45"/>
                </a:cubicBezTo>
                <a:cubicBezTo>
                  <a:pt x="1292" y="45"/>
                  <a:pt x="1291" y="44"/>
                  <a:pt x="1291" y="44"/>
                </a:cubicBezTo>
                <a:cubicBezTo>
                  <a:pt x="1290" y="44"/>
                  <a:pt x="1290" y="44"/>
                  <a:pt x="1289" y="44"/>
                </a:cubicBezTo>
                <a:cubicBezTo>
                  <a:pt x="1289" y="43"/>
                  <a:pt x="1289" y="43"/>
                  <a:pt x="1289" y="43"/>
                </a:cubicBezTo>
                <a:cubicBezTo>
                  <a:pt x="1290" y="43"/>
                  <a:pt x="1290" y="43"/>
                  <a:pt x="1290" y="43"/>
                </a:cubicBezTo>
                <a:cubicBezTo>
                  <a:pt x="1290" y="43"/>
                  <a:pt x="1291" y="43"/>
                  <a:pt x="1291" y="43"/>
                </a:cubicBezTo>
                <a:cubicBezTo>
                  <a:pt x="1291" y="43"/>
                  <a:pt x="1292" y="43"/>
                  <a:pt x="1292" y="43"/>
                </a:cubicBezTo>
                <a:cubicBezTo>
                  <a:pt x="1292" y="43"/>
                  <a:pt x="1292" y="43"/>
                  <a:pt x="1292" y="43"/>
                </a:cubicBezTo>
                <a:cubicBezTo>
                  <a:pt x="1292" y="42"/>
                  <a:pt x="1291" y="42"/>
                  <a:pt x="1291" y="42"/>
                </a:cubicBezTo>
                <a:cubicBezTo>
                  <a:pt x="1290" y="41"/>
                  <a:pt x="1290" y="41"/>
                  <a:pt x="1289" y="40"/>
                </a:cubicBezTo>
                <a:cubicBezTo>
                  <a:pt x="1289" y="40"/>
                  <a:pt x="1289" y="40"/>
                  <a:pt x="1290" y="39"/>
                </a:cubicBezTo>
                <a:cubicBezTo>
                  <a:pt x="1289" y="39"/>
                  <a:pt x="1289" y="39"/>
                  <a:pt x="1289" y="38"/>
                </a:cubicBezTo>
                <a:cubicBezTo>
                  <a:pt x="1289" y="38"/>
                  <a:pt x="1289" y="38"/>
                  <a:pt x="1288" y="38"/>
                </a:cubicBezTo>
                <a:cubicBezTo>
                  <a:pt x="1288" y="37"/>
                  <a:pt x="1288" y="37"/>
                  <a:pt x="1288" y="37"/>
                </a:cubicBezTo>
                <a:cubicBezTo>
                  <a:pt x="1288" y="37"/>
                  <a:pt x="1288" y="37"/>
                  <a:pt x="1288" y="36"/>
                </a:cubicBezTo>
                <a:cubicBezTo>
                  <a:pt x="1288" y="36"/>
                  <a:pt x="1287" y="36"/>
                  <a:pt x="1287" y="36"/>
                </a:cubicBezTo>
                <a:cubicBezTo>
                  <a:pt x="1286" y="35"/>
                  <a:pt x="1285" y="35"/>
                  <a:pt x="1284" y="34"/>
                </a:cubicBezTo>
                <a:cubicBezTo>
                  <a:pt x="1283" y="34"/>
                  <a:pt x="1282" y="33"/>
                  <a:pt x="1281" y="33"/>
                </a:cubicBezTo>
                <a:cubicBezTo>
                  <a:pt x="1281" y="33"/>
                  <a:pt x="1280" y="33"/>
                  <a:pt x="1279" y="33"/>
                </a:cubicBezTo>
                <a:cubicBezTo>
                  <a:pt x="1279" y="33"/>
                  <a:pt x="1279" y="33"/>
                  <a:pt x="1279" y="33"/>
                </a:cubicBezTo>
                <a:cubicBezTo>
                  <a:pt x="1279" y="34"/>
                  <a:pt x="1279" y="34"/>
                  <a:pt x="1279" y="34"/>
                </a:cubicBezTo>
                <a:cubicBezTo>
                  <a:pt x="1280" y="34"/>
                  <a:pt x="1280" y="35"/>
                  <a:pt x="1281" y="35"/>
                </a:cubicBezTo>
                <a:cubicBezTo>
                  <a:pt x="1281" y="35"/>
                  <a:pt x="1281" y="36"/>
                  <a:pt x="1281" y="36"/>
                </a:cubicBezTo>
                <a:cubicBezTo>
                  <a:pt x="1280" y="36"/>
                  <a:pt x="1280" y="36"/>
                  <a:pt x="1280" y="36"/>
                </a:cubicBezTo>
                <a:cubicBezTo>
                  <a:pt x="1280" y="37"/>
                  <a:pt x="1280" y="37"/>
                  <a:pt x="1280" y="37"/>
                </a:cubicBezTo>
                <a:cubicBezTo>
                  <a:pt x="1280" y="37"/>
                  <a:pt x="1280" y="38"/>
                  <a:pt x="1279" y="38"/>
                </a:cubicBezTo>
                <a:cubicBezTo>
                  <a:pt x="1279" y="38"/>
                  <a:pt x="1279" y="38"/>
                  <a:pt x="1279" y="39"/>
                </a:cubicBezTo>
                <a:cubicBezTo>
                  <a:pt x="1278" y="39"/>
                  <a:pt x="1278" y="39"/>
                  <a:pt x="1278" y="39"/>
                </a:cubicBezTo>
                <a:cubicBezTo>
                  <a:pt x="1278" y="39"/>
                  <a:pt x="1278" y="38"/>
                  <a:pt x="1278" y="38"/>
                </a:cubicBezTo>
                <a:cubicBezTo>
                  <a:pt x="1278" y="38"/>
                  <a:pt x="1278" y="38"/>
                  <a:pt x="1279" y="38"/>
                </a:cubicBezTo>
                <a:cubicBezTo>
                  <a:pt x="1279" y="38"/>
                  <a:pt x="1279" y="37"/>
                  <a:pt x="1279" y="37"/>
                </a:cubicBezTo>
                <a:cubicBezTo>
                  <a:pt x="1279" y="37"/>
                  <a:pt x="1279" y="37"/>
                  <a:pt x="1278" y="37"/>
                </a:cubicBezTo>
                <a:cubicBezTo>
                  <a:pt x="1279" y="36"/>
                  <a:pt x="1279" y="36"/>
                  <a:pt x="1279" y="36"/>
                </a:cubicBezTo>
                <a:cubicBezTo>
                  <a:pt x="1279" y="35"/>
                  <a:pt x="1279" y="35"/>
                  <a:pt x="1279" y="35"/>
                </a:cubicBezTo>
                <a:cubicBezTo>
                  <a:pt x="1278" y="34"/>
                  <a:pt x="1278" y="34"/>
                  <a:pt x="1277" y="33"/>
                </a:cubicBezTo>
                <a:cubicBezTo>
                  <a:pt x="1277" y="33"/>
                  <a:pt x="1276" y="32"/>
                  <a:pt x="1276" y="32"/>
                </a:cubicBezTo>
                <a:cubicBezTo>
                  <a:pt x="1275" y="32"/>
                  <a:pt x="1274" y="32"/>
                  <a:pt x="1273" y="31"/>
                </a:cubicBezTo>
                <a:cubicBezTo>
                  <a:pt x="1273" y="31"/>
                  <a:pt x="1273" y="32"/>
                  <a:pt x="1273" y="32"/>
                </a:cubicBezTo>
                <a:cubicBezTo>
                  <a:pt x="1272" y="32"/>
                  <a:pt x="1272" y="32"/>
                  <a:pt x="1272" y="32"/>
                </a:cubicBezTo>
                <a:cubicBezTo>
                  <a:pt x="1271" y="33"/>
                  <a:pt x="1271" y="33"/>
                  <a:pt x="1270" y="33"/>
                </a:cubicBezTo>
                <a:cubicBezTo>
                  <a:pt x="1269" y="33"/>
                  <a:pt x="1269" y="33"/>
                  <a:pt x="1268" y="33"/>
                </a:cubicBezTo>
                <a:close/>
                <a:moveTo>
                  <a:pt x="1275" y="104"/>
                </a:moveTo>
                <a:cubicBezTo>
                  <a:pt x="1276" y="104"/>
                  <a:pt x="1276" y="104"/>
                  <a:pt x="1276" y="104"/>
                </a:cubicBezTo>
                <a:cubicBezTo>
                  <a:pt x="1276" y="104"/>
                  <a:pt x="1276" y="104"/>
                  <a:pt x="1275" y="104"/>
                </a:cubicBezTo>
                <a:cubicBezTo>
                  <a:pt x="1275" y="103"/>
                  <a:pt x="1275" y="103"/>
                  <a:pt x="1275" y="103"/>
                </a:cubicBezTo>
                <a:cubicBezTo>
                  <a:pt x="1275" y="104"/>
                  <a:pt x="1275" y="104"/>
                  <a:pt x="1275" y="104"/>
                </a:cubicBezTo>
                <a:cubicBezTo>
                  <a:pt x="1275" y="104"/>
                  <a:pt x="1275" y="104"/>
                  <a:pt x="1275" y="104"/>
                </a:cubicBezTo>
                <a:close/>
                <a:moveTo>
                  <a:pt x="1271" y="102"/>
                </a:moveTo>
                <a:cubicBezTo>
                  <a:pt x="1271" y="102"/>
                  <a:pt x="1271" y="102"/>
                  <a:pt x="1272" y="102"/>
                </a:cubicBezTo>
                <a:cubicBezTo>
                  <a:pt x="1271" y="101"/>
                  <a:pt x="1271" y="101"/>
                  <a:pt x="1271" y="101"/>
                </a:cubicBezTo>
                <a:cubicBezTo>
                  <a:pt x="1270" y="101"/>
                  <a:pt x="1270" y="101"/>
                  <a:pt x="1270" y="101"/>
                </a:cubicBezTo>
                <a:cubicBezTo>
                  <a:pt x="1270" y="101"/>
                  <a:pt x="1270" y="101"/>
                  <a:pt x="1270" y="102"/>
                </a:cubicBezTo>
                <a:cubicBezTo>
                  <a:pt x="1270" y="102"/>
                  <a:pt x="1270" y="102"/>
                  <a:pt x="1270" y="102"/>
                </a:cubicBezTo>
                <a:cubicBezTo>
                  <a:pt x="1270" y="102"/>
                  <a:pt x="1271" y="102"/>
                  <a:pt x="1271" y="102"/>
                </a:cubicBezTo>
                <a:close/>
                <a:moveTo>
                  <a:pt x="1306" y="74"/>
                </a:moveTo>
                <a:cubicBezTo>
                  <a:pt x="1306" y="74"/>
                  <a:pt x="1307" y="74"/>
                  <a:pt x="1307" y="74"/>
                </a:cubicBezTo>
                <a:cubicBezTo>
                  <a:pt x="1307" y="73"/>
                  <a:pt x="1306" y="73"/>
                  <a:pt x="1306" y="73"/>
                </a:cubicBezTo>
                <a:cubicBezTo>
                  <a:pt x="1306" y="73"/>
                  <a:pt x="1305" y="73"/>
                  <a:pt x="1305" y="73"/>
                </a:cubicBezTo>
                <a:cubicBezTo>
                  <a:pt x="1305" y="73"/>
                  <a:pt x="1305" y="74"/>
                  <a:pt x="1305" y="74"/>
                </a:cubicBezTo>
                <a:cubicBezTo>
                  <a:pt x="1305" y="74"/>
                  <a:pt x="1305" y="74"/>
                  <a:pt x="1305" y="74"/>
                </a:cubicBezTo>
                <a:cubicBezTo>
                  <a:pt x="1305" y="74"/>
                  <a:pt x="1306" y="74"/>
                  <a:pt x="1306" y="74"/>
                </a:cubicBezTo>
                <a:close/>
                <a:moveTo>
                  <a:pt x="1239" y="95"/>
                </a:moveTo>
                <a:cubicBezTo>
                  <a:pt x="1240" y="95"/>
                  <a:pt x="1240" y="96"/>
                  <a:pt x="1240" y="96"/>
                </a:cubicBezTo>
                <a:cubicBezTo>
                  <a:pt x="1240" y="96"/>
                  <a:pt x="1240" y="96"/>
                  <a:pt x="1240" y="96"/>
                </a:cubicBezTo>
                <a:cubicBezTo>
                  <a:pt x="1240" y="96"/>
                  <a:pt x="1241" y="97"/>
                  <a:pt x="1241" y="97"/>
                </a:cubicBezTo>
                <a:cubicBezTo>
                  <a:pt x="1241" y="97"/>
                  <a:pt x="1242" y="97"/>
                  <a:pt x="1242" y="96"/>
                </a:cubicBezTo>
                <a:cubicBezTo>
                  <a:pt x="1242" y="96"/>
                  <a:pt x="1242" y="96"/>
                  <a:pt x="1242" y="96"/>
                </a:cubicBezTo>
                <a:cubicBezTo>
                  <a:pt x="1242" y="96"/>
                  <a:pt x="1242" y="96"/>
                  <a:pt x="1242" y="95"/>
                </a:cubicBezTo>
                <a:cubicBezTo>
                  <a:pt x="1242" y="95"/>
                  <a:pt x="1241" y="95"/>
                  <a:pt x="1241" y="95"/>
                </a:cubicBezTo>
                <a:cubicBezTo>
                  <a:pt x="1241" y="95"/>
                  <a:pt x="1240" y="95"/>
                  <a:pt x="1240" y="95"/>
                </a:cubicBezTo>
                <a:cubicBezTo>
                  <a:pt x="1240" y="95"/>
                  <a:pt x="1240" y="95"/>
                  <a:pt x="1239" y="95"/>
                </a:cubicBezTo>
                <a:close/>
                <a:moveTo>
                  <a:pt x="1244" y="83"/>
                </a:moveTo>
                <a:cubicBezTo>
                  <a:pt x="1244" y="83"/>
                  <a:pt x="1245" y="83"/>
                  <a:pt x="1245" y="84"/>
                </a:cubicBezTo>
                <a:cubicBezTo>
                  <a:pt x="1245" y="83"/>
                  <a:pt x="1246" y="83"/>
                  <a:pt x="1246" y="83"/>
                </a:cubicBezTo>
                <a:cubicBezTo>
                  <a:pt x="1245" y="83"/>
                  <a:pt x="1245" y="83"/>
                  <a:pt x="1244" y="83"/>
                </a:cubicBezTo>
                <a:cubicBezTo>
                  <a:pt x="1244" y="83"/>
                  <a:pt x="1244" y="82"/>
                  <a:pt x="1244" y="82"/>
                </a:cubicBezTo>
                <a:cubicBezTo>
                  <a:pt x="1244" y="82"/>
                  <a:pt x="1243" y="82"/>
                  <a:pt x="1243" y="82"/>
                </a:cubicBezTo>
                <a:cubicBezTo>
                  <a:pt x="1243" y="82"/>
                  <a:pt x="1243" y="82"/>
                  <a:pt x="1243" y="82"/>
                </a:cubicBezTo>
                <a:cubicBezTo>
                  <a:pt x="1243" y="82"/>
                  <a:pt x="1243" y="83"/>
                  <a:pt x="1243" y="83"/>
                </a:cubicBezTo>
                <a:cubicBezTo>
                  <a:pt x="1243" y="83"/>
                  <a:pt x="1244" y="83"/>
                  <a:pt x="1244" y="83"/>
                </a:cubicBezTo>
                <a:close/>
                <a:moveTo>
                  <a:pt x="1260" y="101"/>
                </a:moveTo>
                <a:cubicBezTo>
                  <a:pt x="1260" y="101"/>
                  <a:pt x="1259" y="101"/>
                  <a:pt x="1259" y="101"/>
                </a:cubicBezTo>
                <a:cubicBezTo>
                  <a:pt x="1259" y="101"/>
                  <a:pt x="1259" y="102"/>
                  <a:pt x="1259" y="102"/>
                </a:cubicBezTo>
                <a:cubicBezTo>
                  <a:pt x="1260" y="102"/>
                  <a:pt x="1260" y="102"/>
                  <a:pt x="1260" y="102"/>
                </a:cubicBezTo>
                <a:cubicBezTo>
                  <a:pt x="1261" y="102"/>
                  <a:pt x="1261" y="102"/>
                  <a:pt x="1261" y="102"/>
                </a:cubicBezTo>
                <a:cubicBezTo>
                  <a:pt x="1261" y="102"/>
                  <a:pt x="1262" y="102"/>
                  <a:pt x="1262" y="101"/>
                </a:cubicBezTo>
                <a:cubicBezTo>
                  <a:pt x="1261" y="101"/>
                  <a:pt x="1261" y="101"/>
                  <a:pt x="1260" y="101"/>
                </a:cubicBezTo>
                <a:cubicBezTo>
                  <a:pt x="1260" y="101"/>
                  <a:pt x="1260" y="101"/>
                  <a:pt x="1260" y="101"/>
                </a:cubicBezTo>
                <a:close/>
                <a:moveTo>
                  <a:pt x="1256" y="101"/>
                </a:moveTo>
                <a:cubicBezTo>
                  <a:pt x="1256" y="102"/>
                  <a:pt x="1256" y="102"/>
                  <a:pt x="1256" y="102"/>
                </a:cubicBezTo>
                <a:cubicBezTo>
                  <a:pt x="1256" y="102"/>
                  <a:pt x="1257" y="102"/>
                  <a:pt x="1257" y="102"/>
                </a:cubicBezTo>
                <a:cubicBezTo>
                  <a:pt x="1257" y="102"/>
                  <a:pt x="1258" y="102"/>
                  <a:pt x="1258" y="102"/>
                </a:cubicBezTo>
                <a:cubicBezTo>
                  <a:pt x="1258" y="101"/>
                  <a:pt x="1258" y="101"/>
                  <a:pt x="1257" y="101"/>
                </a:cubicBezTo>
                <a:cubicBezTo>
                  <a:pt x="1257" y="101"/>
                  <a:pt x="1257" y="101"/>
                  <a:pt x="1256" y="101"/>
                </a:cubicBezTo>
                <a:cubicBezTo>
                  <a:pt x="1256" y="101"/>
                  <a:pt x="1256" y="101"/>
                  <a:pt x="1256" y="101"/>
                </a:cubicBezTo>
                <a:close/>
                <a:moveTo>
                  <a:pt x="1247" y="89"/>
                </a:moveTo>
                <a:cubicBezTo>
                  <a:pt x="1248" y="89"/>
                  <a:pt x="1248" y="89"/>
                  <a:pt x="1248" y="89"/>
                </a:cubicBezTo>
                <a:cubicBezTo>
                  <a:pt x="1248" y="89"/>
                  <a:pt x="1248" y="89"/>
                  <a:pt x="1248" y="90"/>
                </a:cubicBezTo>
                <a:cubicBezTo>
                  <a:pt x="1248" y="90"/>
                  <a:pt x="1248" y="90"/>
                  <a:pt x="1248" y="90"/>
                </a:cubicBezTo>
                <a:cubicBezTo>
                  <a:pt x="1248" y="90"/>
                  <a:pt x="1248" y="90"/>
                  <a:pt x="1249" y="90"/>
                </a:cubicBezTo>
                <a:cubicBezTo>
                  <a:pt x="1248" y="89"/>
                  <a:pt x="1248" y="89"/>
                  <a:pt x="1248" y="89"/>
                </a:cubicBezTo>
                <a:cubicBezTo>
                  <a:pt x="1249" y="89"/>
                  <a:pt x="1249" y="89"/>
                  <a:pt x="1249" y="88"/>
                </a:cubicBezTo>
                <a:cubicBezTo>
                  <a:pt x="1249" y="88"/>
                  <a:pt x="1249" y="88"/>
                  <a:pt x="1249" y="88"/>
                </a:cubicBezTo>
                <a:cubicBezTo>
                  <a:pt x="1249" y="88"/>
                  <a:pt x="1249" y="88"/>
                  <a:pt x="1248" y="87"/>
                </a:cubicBezTo>
                <a:cubicBezTo>
                  <a:pt x="1248" y="87"/>
                  <a:pt x="1249" y="87"/>
                  <a:pt x="1249" y="87"/>
                </a:cubicBezTo>
                <a:cubicBezTo>
                  <a:pt x="1248" y="87"/>
                  <a:pt x="1248" y="87"/>
                  <a:pt x="1248" y="86"/>
                </a:cubicBezTo>
                <a:cubicBezTo>
                  <a:pt x="1248" y="86"/>
                  <a:pt x="1248" y="86"/>
                  <a:pt x="1247" y="86"/>
                </a:cubicBezTo>
                <a:cubicBezTo>
                  <a:pt x="1247" y="86"/>
                  <a:pt x="1247" y="86"/>
                  <a:pt x="1247" y="86"/>
                </a:cubicBezTo>
                <a:cubicBezTo>
                  <a:pt x="1247" y="86"/>
                  <a:pt x="1247" y="87"/>
                  <a:pt x="1246" y="87"/>
                </a:cubicBezTo>
                <a:cubicBezTo>
                  <a:pt x="1247" y="87"/>
                  <a:pt x="1247" y="87"/>
                  <a:pt x="1247" y="87"/>
                </a:cubicBezTo>
                <a:cubicBezTo>
                  <a:pt x="1247" y="88"/>
                  <a:pt x="1247" y="88"/>
                  <a:pt x="1247" y="88"/>
                </a:cubicBezTo>
                <a:cubicBezTo>
                  <a:pt x="1247" y="88"/>
                  <a:pt x="1247" y="88"/>
                  <a:pt x="1246" y="88"/>
                </a:cubicBezTo>
                <a:cubicBezTo>
                  <a:pt x="1246" y="88"/>
                  <a:pt x="1246" y="87"/>
                  <a:pt x="1246" y="87"/>
                </a:cubicBezTo>
                <a:cubicBezTo>
                  <a:pt x="1246" y="88"/>
                  <a:pt x="1246" y="88"/>
                  <a:pt x="1246" y="89"/>
                </a:cubicBezTo>
                <a:cubicBezTo>
                  <a:pt x="1246" y="89"/>
                  <a:pt x="1246" y="89"/>
                  <a:pt x="1247" y="89"/>
                </a:cubicBezTo>
                <a:cubicBezTo>
                  <a:pt x="1247" y="89"/>
                  <a:pt x="1247" y="89"/>
                  <a:pt x="1247" y="89"/>
                </a:cubicBezTo>
                <a:close/>
                <a:moveTo>
                  <a:pt x="1262" y="36"/>
                </a:moveTo>
                <a:cubicBezTo>
                  <a:pt x="1261" y="36"/>
                  <a:pt x="1260" y="36"/>
                  <a:pt x="1259" y="35"/>
                </a:cubicBezTo>
                <a:cubicBezTo>
                  <a:pt x="1259" y="35"/>
                  <a:pt x="1258" y="35"/>
                  <a:pt x="1257" y="35"/>
                </a:cubicBezTo>
                <a:cubicBezTo>
                  <a:pt x="1257" y="35"/>
                  <a:pt x="1256" y="35"/>
                  <a:pt x="1255" y="35"/>
                </a:cubicBezTo>
                <a:cubicBezTo>
                  <a:pt x="1255" y="35"/>
                  <a:pt x="1255" y="35"/>
                  <a:pt x="1254" y="35"/>
                </a:cubicBezTo>
                <a:cubicBezTo>
                  <a:pt x="1254" y="35"/>
                  <a:pt x="1253" y="34"/>
                  <a:pt x="1253" y="34"/>
                </a:cubicBezTo>
                <a:cubicBezTo>
                  <a:pt x="1253" y="34"/>
                  <a:pt x="1253" y="34"/>
                  <a:pt x="1252" y="34"/>
                </a:cubicBezTo>
                <a:cubicBezTo>
                  <a:pt x="1252" y="34"/>
                  <a:pt x="1252" y="34"/>
                  <a:pt x="1251" y="34"/>
                </a:cubicBezTo>
                <a:cubicBezTo>
                  <a:pt x="1251" y="34"/>
                  <a:pt x="1250" y="34"/>
                  <a:pt x="1250" y="34"/>
                </a:cubicBezTo>
                <a:cubicBezTo>
                  <a:pt x="1250" y="34"/>
                  <a:pt x="1249" y="34"/>
                  <a:pt x="1249" y="34"/>
                </a:cubicBezTo>
                <a:cubicBezTo>
                  <a:pt x="1249" y="35"/>
                  <a:pt x="1250" y="35"/>
                  <a:pt x="1250" y="35"/>
                </a:cubicBezTo>
                <a:cubicBezTo>
                  <a:pt x="1250" y="35"/>
                  <a:pt x="1251" y="35"/>
                  <a:pt x="1251" y="35"/>
                </a:cubicBezTo>
                <a:cubicBezTo>
                  <a:pt x="1251" y="36"/>
                  <a:pt x="1251" y="36"/>
                  <a:pt x="1252" y="36"/>
                </a:cubicBezTo>
                <a:cubicBezTo>
                  <a:pt x="1252" y="36"/>
                  <a:pt x="1252" y="36"/>
                  <a:pt x="1253" y="37"/>
                </a:cubicBezTo>
                <a:cubicBezTo>
                  <a:pt x="1253" y="37"/>
                  <a:pt x="1253" y="37"/>
                  <a:pt x="1254" y="38"/>
                </a:cubicBezTo>
                <a:cubicBezTo>
                  <a:pt x="1254" y="38"/>
                  <a:pt x="1255" y="38"/>
                  <a:pt x="1255" y="38"/>
                </a:cubicBezTo>
                <a:cubicBezTo>
                  <a:pt x="1256" y="38"/>
                  <a:pt x="1257" y="38"/>
                  <a:pt x="1257" y="38"/>
                </a:cubicBezTo>
                <a:cubicBezTo>
                  <a:pt x="1258" y="38"/>
                  <a:pt x="1258" y="39"/>
                  <a:pt x="1258" y="39"/>
                </a:cubicBezTo>
                <a:cubicBezTo>
                  <a:pt x="1258" y="39"/>
                  <a:pt x="1258" y="39"/>
                  <a:pt x="1258" y="39"/>
                </a:cubicBezTo>
                <a:cubicBezTo>
                  <a:pt x="1257" y="39"/>
                  <a:pt x="1256" y="39"/>
                  <a:pt x="1256" y="39"/>
                </a:cubicBezTo>
                <a:cubicBezTo>
                  <a:pt x="1255" y="39"/>
                  <a:pt x="1255" y="39"/>
                  <a:pt x="1254" y="39"/>
                </a:cubicBezTo>
                <a:cubicBezTo>
                  <a:pt x="1254" y="39"/>
                  <a:pt x="1254" y="39"/>
                  <a:pt x="1254" y="39"/>
                </a:cubicBezTo>
                <a:cubicBezTo>
                  <a:pt x="1255" y="39"/>
                  <a:pt x="1255" y="39"/>
                  <a:pt x="1255" y="40"/>
                </a:cubicBezTo>
                <a:cubicBezTo>
                  <a:pt x="1256" y="40"/>
                  <a:pt x="1256" y="40"/>
                  <a:pt x="1257" y="40"/>
                </a:cubicBezTo>
                <a:cubicBezTo>
                  <a:pt x="1257" y="40"/>
                  <a:pt x="1258" y="40"/>
                  <a:pt x="1258" y="39"/>
                </a:cubicBezTo>
                <a:cubicBezTo>
                  <a:pt x="1259" y="39"/>
                  <a:pt x="1259" y="39"/>
                  <a:pt x="1260" y="39"/>
                </a:cubicBezTo>
                <a:cubicBezTo>
                  <a:pt x="1260" y="39"/>
                  <a:pt x="1260" y="39"/>
                  <a:pt x="1260" y="39"/>
                </a:cubicBezTo>
                <a:cubicBezTo>
                  <a:pt x="1261" y="38"/>
                  <a:pt x="1261" y="38"/>
                  <a:pt x="1261" y="38"/>
                </a:cubicBezTo>
                <a:cubicBezTo>
                  <a:pt x="1261" y="38"/>
                  <a:pt x="1262" y="37"/>
                  <a:pt x="1262" y="37"/>
                </a:cubicBezTo>
                <a:cubicBezTo>
                  <a:pt x="1262" y="37"/>
                  <a:pt x="1262" y="37"/>
                  <a:pt x="1262" y="36"/>
                </a:cubicBezTo>
                <a:close/>
                <a:moveTo>
                  <a:pt x="1248" y="83"/>
                </a:moveTo>
                <a:cubicBezTo>
                  <a:pt x="1248" y="83"/>
                  <a:pt x="1249" y="83"/>
                  <a:pt x="1249" y="83"/>
                </a:cubicBezTo>
                <a:cubicBezTo>
                  <a:pt x="1249" y="83"/>
                  <a:pt x="1250" y="83"/>
                  <a:pt x="1250" y="83"/>
                </a:cubicBezTo>
                <a:cubicBezTo>
                  <a:pt x="1250" y="83"/>
                  <a:pt x="1250" y="83"/>
                  <a:pt x="1250" y="83"/>
                </a:cubicBezTo>
                <a:cubicBezTo>
                  <a:pt x="1250" y="83"/>
                  <a:pt x="1249" y="82"/>
                  <a:pt x="1248" y="82"/>
                </a:cubicBezTo>
                <a:cubicBezTo>
                  <a:pt x="1248" y="82"/>
                  <a:pt x="1248" y="82"/>
                  <a:pt x="1248" y="82"/>
                </a:cubicBezTo>
                <a:cubicBezTo>
                  <a:pt x="1247" y="82"/>
                  <a:pt x="1247" y="82"/>
                  <a:pt x="1247" y="82"/>
                </a:cubicBezTo>
                <a:cubicBezTo>
                  <a:pt x="1247" y="82"/>
                  <a:pt x="1246" y="82"/>
                  <a:pt x="1246" y="83"/>
                </a:cubicBezTo>
                <a:cubicBezTo>
                  <a:pt x="1246" y="83"/>
                  <a:pt x="1247" y="83"/>
                  <a:pt x="1247" y="83"/>
                </a:cubicBezTo>
                <a:cubicBezTo>
                  <a:pt x="1247" y="83"/>
                  <a:pt x="1248" y="83"/>
                  <a:pt x="1248" y="83"/>
                </a:cubicBezTo>
                <a:close/>
                <a:moveTo>
                  <a:pt x="1268" y="95"/>
                </a:moveTo>
                <a:cubicBezTo>
                  <a:pt x="1268" y="95"/>
                  <a:pt x="1268" y="95"/>
                  <a:pt x="1268" y="95"/>
                </a:cubicBezTo>
                <a:cubicBezTo>
                  <a:pt x="1267" y="95"/>
                  <a:pt x="1267" y="95"/>
                  <a:pt x="1267" y="95"/>
                </a:cubicBezTo>
                <a:cubicBezTo>
                  <a:pt x="1266" y="95"/>
                  <a:pt x="1266" y="95"/>
                  <a:pt x="1266" y="95"/>
                </a:cubicBezTo>
                <a:cubicBezTo>
                  <a:pt x="1265" y="95"/>
                  <a:pt x="1265" y="95"/>
                  <a:pt x="1265" y="95"/>
                </a:cubicBezTo>
                <a:cubicBezTo>
                  <a:pt x="1265" y="95"/>
                  <a:pt x="1265" y="95"/>
                  <a:pt x="1265" y="95"/>
                </a:cubicBezTo>
                <a:cubicBezTo>
                  <a:pt x="1265" y="95"/>
                  <a:pt x="1266" y="95"/>
                  <a:pt x="1266" y="95"/>
                </a:cubicBezTo>
                <a:cubicBezTo>
                  <a:pt x="1266" y="96"/>
                  <a:pt x="1267" y="96"/>
                  <a:pt x="1267" y="96"/>
                </a:cubicBezTo>
                <a:cubicBezTo>
                  <a:pt x="1267" y="96"/>
                  <a:pt x="1267" y="95"/>
                  <a:pt x="1268" y="95"/>
                </a:cubicBezTo>
                <a:close/>
                <a:moveTo>
                  <a:pt x="1269" y="99"/>
                </a:moveTo>
                <a:cubicBezTo>
                  <a:pt x="1269" y="98"/>
                  <a:pt x="1269" y="98"/>
                  <a:pt x="1269" y="98"/>
                </a:cubicBezTo>
                <a:cubicBezTo>
                  <a:pt x="1269" y="98"/>
                  <a:pt x="1269" y="98"/>
                  <a:pt x="1270" y="98"/>
                </a:cubicBezTo>
                <a:cubicBezTo>
                  <a:pt x="1269" y="98"/>
                  <a:pt x="1269" y="98"/>
                  <a:pt x="1269" y="98"/>
                </a:cubicBezTo>
                <a:cubicBezTo>
                  <a:pt x="1269" y="98"/>
                  <a:pt x="1269" y="97"/>
                  <a:pt x="1268" y="97"/>
                </a:cubicBezTo>
                <a:cubicBezTo>
                  <a:pt x="1268" y="98"/>
                  <a:pt x="1268" y="98"/>
                  <a:pt x="1268" y="98"/>
                </a:cubicBezTo>
                <a:cubicBezTo>
                  <a:pt x="1268" y="98"/>
                  <a:pt x="1268" y="98"/>
                  <a:pt x="1268" y="98"/>
                </a:cubicBezTo>
                <a:cubicBezTo>
                  <a:pt x="1268" y="98"/>
                  <a:pt x="1268" y="98"/>
                  <a:pt x="1269" y="99"/>
                </a:cubicBezTo>
                <a:close/>
                <a:moveTo>
                  <a:pt x="1685" y="180"/>
                </a:moveTo>
                <a:cubicBezTo>
                  <a:pt x="1686" y="181"/>
                  <a:pt x="1686" y="181"/>
                  <a:pt x="1686" y="181"/>
                </a:cubicBezTo>
                <a:cubicBezTo>
                  <a:pt x="1687" y="181"/>
                  <a:pt x="1687" y="182"/>
                  <a:pt x="1688" y="182"/>
                </a:cubicBezTo>
                <a:cubicBezTo>
                  <a:pt x="1688" y="183"/>
                  <a:pt x="1688" y="183"/>
                  <a:pt x="1689" y="183"/>
                </a:cubicBezTo>
                <a:cubicBezTo>
                  <a:pt x="1689" y="183"/>
                  <a:pt x="1690" y="183"/>
                  <a:pt x="1690" y="183"/>
                </a:cubicBezTo>
                <a:cubicBezTo>
                  <a:pt x="1690" y="183"/>
                  <a:pt x="1691" y="183"/>
                  <a:pt x="1691" y="183"/>
                </a:cubicBezTo>
                <a:cubicBezTo>
                  <a:pt x="1691" y="183"/>
                  <a:pt x="1691" y="182"/>
                  <a:pt x="1691" y="182"/>
                </a:cubicBezTo>
                <a:cubicBezTo>
                  <a:pt x="1691" y="182"/>
                  <a:pt x="1691" y="182"/>
                  <a:pt x="1690" y="181"/>
                </a:cubicBezTo>
                <a:cubicBezTo>
                  <a:pt x="1691" y="181"/>
                  <a:pt x="1691" y="181"/>
                  <a:pt x="1691" y="181"/>
                </a:cubicBezTo>
                <a:cubicBezTo>
                  <a:pt x="1691" y="181"/>
                  <a:pt x="1691" y="181"/>
                  <a:pt x="1691" y="180"/>
                </a:cubicBezTo>
                <a:cubicBezTo>
                  <a:pt x="1690" y="180"/>
                  <a:pt x="1690" y="180"/>
                  <a:pt x="1690" y="179"/>
                </a:cubicBezTo>
                <a:cubicBezTo>
                  <a:pt x="1690" y="179"/>
                  <a:pt x="1689" y="179"/>
                  <a:pt x="1689" y="180"/>
                </a:cubicBezTo>
                <a:cubicBezTo>
                  <a:pt x="1689" y="179"/>
                  <a:pt x="1689" y="179"/>
                  <a:pt x="1688" y="179"/>
                </a:cubicBezTo>
                <a:cubicBezTo>
                  <a:pt x="1688" y="179"/>
                  <a:pt x="1688" y="179"/>
                  <a:pt x="1688" y="178"/>
                </a:cubicBezTo>
                <a:cubicBezTo>
                  <a:pt x="1687" y="178"/>
                  <a:pt x="1687" y="178"/>
                  <a:pt x="1686" y="178"/>
                </a:cubicBezTo>
                <a:cubicBezTo>
                  <a:pt x="1686" y="178"/>
                  <a:pt x="1686" y="178"/>
                  <a:pt x="1686" y="178"/>
                </a:cubicBezTo>
                <a:cubicBezTo>
                  <a:pt x="1686" y="178"/>
                  <a:pt x="1686" y="178"/>
                  <a:pt x="1685" y="178"/>
                </a:cubicBezTo>
                <a:cubicBezTo>
                  <a:pt x="1685" y="178"/>
                  <a:pt x="1685" y="178"/>
                  <a:pt x="1685" y="178"/>
                </a:cubicBezTo>
                <a:cubicBezTo>
                  <a:pt x="1685" y="178"/>
                  <a:pt x="1685" y="178"/>
                  <a:pt x="1684" y="178"/>
                </a:cubicBezTo>
                <a:cubicBezTo>
                  <a:pt x="1684" y="178"/>
                  <a:pt x="1684" y="178"/>
                  <a:pt x="1684" y="178"/>
                </a:cubicBezTo>
                <a:cubicBezTo>
                  <a:pt x="1684" y="179"/>
                  <a:pt x="1684" y="179"/>
                  <a:pt x="1683" y="180"/>
                </a:cubicBezTo>
                <a:cubicBezTo>
                  <a:pt x="1684" y="180"/>
                  <a:pt x="1684" y="180"/>
                  <a:pt x="1684" y="180"/>
                </a:cubicBezTo>
                <a:cubicBezTo>
                  <a:pt x="1684" y="180"/>
                  <a:pt x="1685" y="180"/>
                  <a:pt x="1685" y="180"/>
                </a:cubicBezTo>
                <a:close/>
                <a:moveTo>
                  <a:pt x="1274" y="63"/>
                </a:moveTo>
                <a:cubicBezTo>
                  <a:pt x="1274" y="63"/>
                  <a:pt x="1274" y="63"/>
                  <a:pt x="1274" y="63"/>
                </a:cubicBezTo>
                <a:cubicBezTo>
                  <a:pt x="1274" y="63"/>
                  <a:pt x="1274" y="63"/>
                  <a:pt x="1274" y="62"/>
                </a:cubicBezTo>
                <a:cubicBezTo>
                  <a:pt x="1274" y="62"/>
                  <a:pt x="1274" y="62"/>
                  <a:pt x="1274" y="62"/>
                </a:cubicBezTo>
                <a:cubicBezTo>
                  <a:pt x="1273" y="62"/>
                  <a:pt x="1273" y="62"/>
                  <a:pt x="1273" y="62"/>
                </a:cubicBezTo>
                <a:cubicBezTo>
                  <a:pt x="1273" y="62"/>
                  <a:pt x="1274" y="63"/>
                  <a:pt x="1274" y="63"/>
                </a:cubicBezTo>
                <a:close/>
                <a:moveTo>
                  <a:pt x="1264" y="103"/>
                </a:moveTo>
                <a:cubicBezTo>
                  <a:pt x="1264" y="103"/>
                  <a:pt x="1264" y="103"/>
                  <a:pt x="1264" y="103"/>
                </a:cubicBezTo>
                <a:cubicBezTo>
                  <a:pt x="1265" y="103"/>
                  <a:pt x="1265" y="103"/>
                  <a:pt x="1266" y="103"/>
                </a:cubicBezTo>
                <a:cubicBezTo>
                  <a:pt x="1266" y="103"/>
                  <a:pt x="1266" y="103"/>
                  <a:pt x="1266" y="103"/>
                </a:cubicBezTo>
                <a:cubicBezTo>
                  <a:pt x="1266" y="103"/>
                  <a:pt x="1266" y="103"/>
                  <a:pt x="1265" y="103"/>
                </a:cubicBezTo>
                <a:cubicBezTo>
                  <a:pt x="1265" y="103"/>
                  <a:pt x="1264" y="103"/>
                  <a:pt x="1264" y="103"/>
                </a:cubicBezTo>
                <a:close/>
                <a:moveTo>
                  <a:pt x="1268" y="67"/>
                </a:moveTo>
                <a:cubicBezTo>
                  <a:pt x="1267" y="67"/>
                  <a:pt x="1267" y="67"/>
                  <a:pt x="1267" y="67"/>
                </a:cubicBezTo>
                <a:cubicBezTo>
                  <a:pt x="1267" y="67"/>
                  <a:pt x="1266" y="67"/>
                  <a:pt x="1266" y="67"/>
                </a:cubicBezTo>
                <a:cubicBezTo>
                  <a:pt x="1266" y="67"/>
                  <a:pt x="1266" y="67"/>
                  <a:pt x="1266" y="68"/>
                </a:cubicBezTo>
                <a:cubicBezTo>
                  <a:pt x="1266" y="68"/>
                  <a:pt x="1266" y="68"/>
                  <a:pt x="1266" y="68"/>
                </a:cubicBezTo>
                <a:cubicBezTo>
                  <a:pt x="1266" y="68"/>
                  <a:pt x="1266" y="69"/>
                  <a:pt x="1266" y="69"/>
                </a:cubicBezTo>
                <a:cubicBezTo>
                  <a:pt x="1266" y="69"/>
                  <a:pt x="1266" y="69"/>
                  <a:pt x="1267" y="69"/>
                </a:cubicBezTo>
                <a:cubicBezTo>
                  <a:pt x="1267" y="69"/>
                  <a:pt x="1267" y="69"/>
                  <a:pt x="1268" y="69"/>
                </a:cubicBezTo>
                <a:cubicBezTo>
                  <a:pt x="1268" y="69"/>
                  <a:pt x="1268" y="68"/>
                  <a:pt x="1268" y="68"/>
                </a:cubicBezTo>
                <a:cubicBezTo>
                  <a:pt x="1268" y="68"/>
                  <a:pt x="1268" y="68"/>
                  <a:pt x="1268" y="67"/>
                </a:cubicBezTo>
                <a:cubicBezTo>
                  <a:pt x="1268" y="67"/>
                  <a:pt x="1268" y="67"/>
                  <a:pt x="1268" y="67"/>
                </a:cubicBezTo>
                <a:close/>
                <a:moveTo>
                  <a:pt x="1274" y="94"/>
                </a:moveTo>
                <a:cubicBezTo>
                  <a:pt x="1274" y="94"/>
                  <a:pt x="1273" y="94"/>
                  <a:pt x="1273" y="93"/>
                </a:cubicBezTo>
                <a:cubicBezTo>
                  <a:pt x="1273" y="93"/>
                  <a:pt x="1272" y="93"/>
                  <a:pt x="1272" y="93"/>
                </a:cubicBezTo>
                <a:cubicBezTo>
                  <a:pt x="1272" y="93"/>
                  <a:pt x="1271" y="93"/>
                  <a:pt x="1271" y="93"/>
                </a:cubicBezTo>
                <a:cubicBezTo>
                  <a:pt x="1271" y="93"/>
                  <a:pt x="1271" y="93"/>
                  <a:pt x="1271" y="94"/>
                </a:cubicBezTo>
                <a:cubicBezTo>
                  <a:pt x="1271" y="94"/>
                  <a:pt x="1271" y="94"/>
                  <a:pt x="1271" y="94"/>
                </a:cubicBezTo>
                <a:cubicBezTo>
                  <a:pt x="1271" y="93"/>
                  <a:pt x="1270" y="93"/>
                  <a:pt x="1270" y="93"/>
                </a:cubicBezTo>
                <a:cubicBezTo>
                  <a:pt x="1270" y="93"/>
                  <a:pt x="1270" y="93"/>
                  <a:pt x="1270" y="93"/>
                </a:cubicBezTo>
                <a:cubicBezTo>
                  <a:pt x="1270" y="93"/>
                  <a:pt x="1270" y="94"/>
                  <a:pt x="1270" y="94"/>
                </a:cubicBezTo>
                <a:cubicBezTo>
                  <a:pt x="1270" y="94"/>
                  <a:pt x="1271" y="94"/>
                  <a:pt x="1271" y="94"/>
                </a:cubicBezTo>
                <a:cubicBezTo>
                  <a:pt x="1271" y="94"/>
                  <a:pt x="1271" y="94"/>
                  <a:pt x="1272" y="95"/>
                </a:cubicBezTo>
                <a:cubicBezTo>
                  <a:pt x="1272" y="95"/>
                  <a:pt x="1272" y="95"/>
                  <a:pt x="1273" y="95"/>
                </a:cubicBezTo>
                <a:cubicBezTo>
                  <a:pt x="1273" y="95"/>
                  <a:pt x="1273" y="95"/>
                  <a:pt x="1273" y="95"/>
                </a:cubicBezTo>
                <a:cubicBezTo>
                  <a:pt x="1273" y="95"/>
                  <a:pt x="1273" y="95"/>
                  <a:pt x="1273" y="95"/>
                </a:cubicBezTo>
                <a:cubicBezTo>
                  <a:pt x="1273" y="95"/>
                  <a:pt x="1273" y="94"/>
                  <a:pt x="1273" y="94"/>
                </a:cubicBezTo>
                <a:cubicBezTo>
                  <a:pt x="1273" y="94"/>
                  <a:pt x="1273" y="94"/>
                  <a:pt x="1274" y="94"/>
                </a:cubicBezTo>
                <a:cubicBezTo>
                  <a:pt x="1274" y="94"/>
                  <a:pt x="1274" y="94"/>
                  <a:pt x="1274" y="94"/>
                </a:cubicBezTo>
                <a:close/>
                <a:moveTo>
                  <a:pt x="1527" y="78"/>
                </a:moveTo>
                <a:cubicBezTo>
                  <a:pt x="1527" y="78"/>
                  <a:pt x="1528" y="78"/>
                  <a:pt x="1528" y="78"/>
                </a:cubicBezTo>
                <a:cubicBezTo>
                  <a:pt x="1528" y="77"/>
                  <a:pt x="1528" y="77"/>
                  <a:pt x="1528" y="77"/>
                </a:cubicBezTo>
                <a:cubicBezTo>
                  <a:pt x="1528" y="77"/>
                  <a:pt x="1528" y="77"/>
                  <a:pt x="1528" y="77"/>
                </a:cubicBezTo>
                <a:cubicBezTo>
                  <a:pt x="1528" y="76"/>
                  <a:pt x="1528" y="76"/>
                  <a:pt x="1527" y="76"/>
                </a:cubicBezTo>
                <a:cubicBezTo>
                  <a:pt x="1527" y="76"/>
                  <a:pt x="1526" y="77"/>
                  <a:pt x="1525" y="77"/>
                </a:cubicBezTo>
                <a:cubicBezTo>
                  <a:pt x="1525" y="77"/>
                  <a:pt x="1525" y="78"/>
                  <a:pt x="1524" y="78"/>
                </a:cubicBezTo>
                <a:cubicBezTo>
                  <a:pt x="1525" y="78"/>
                  <a:pt x="1525" y="78"/>
                  <a:pt x="1526" y="78"/>
                </a:cubicBezTo>
                <a:cubicBezTo>
                  <a:pt x="1526" y="78"/>
                  <a:pt x="1527" y="78"/>
                  <a:pt x="1527" y="78"/>
                </a:cubicBezTo>
                <a:close/>
                <a:moveTo>
                  <a:pt x="1487" y="88"/>
                </a:moveTo>
                <a:cubicBezTo>
                  <a:pt x="1487" y="88"/>
                  <a:pt x="1487" y="88"/>
                  <a:pt x="1487" y="88"/>
                </a:cubicBezTo>
                <a:cubicBezTo>
                  <a:pt x="1487" y="89"/>
                  <a:pt x="1487" y="89"/>
                  <a:pt x="1487" y="89"/>
                </a:cubicBezTo>
                <a:cubicBezTo>
                  <a:pt x="1487" y="89"/>
                  <a:pt x="1486" y="89"/>
                  <a:pt x="1486" y="88"/>
                </a:cubicBezTo>
                <a:cubicBezTo>
                  <a:pt x="1486" y="89"/>
                  <a:pt x="1486" y="89"/>
                  <a:pt x="1486" y="89"/>
                </a:cubicBezTo>
                <a:cubicBezTo>
                  <a:pt x="1486" y="89"/>
                  <a:pt x="1487" y="90"/>
                  <a:pt x="1487" y="90"/>
                </a:cubicBezTo>
                <a:cubicBezTo>
                  <a:pt x="1487" y="90"/>
                  <a:pt x="1487" y="90"/>
                  <a:pt x="1487" y="90"/>
                </a:cubicBezTo>
                <a:cubicBezTo>
                  <a:pt x="1487" y="91"/>
                  <a:pt x="1487" y="91"/>
                  <a:pt x="1487" y="91"/>
                </a:cubicBezTo>
                <a:cubicBezTo>
                  <a:pt x="1487" y="91"/>
                  <a:pt x="1488" y="91"/>
                  <a:pt x="1488" y="91"/>
                </a:cubicBezTo>
                <a:cubicBezTo>
                  <a:pt x="1488" y="92"/>
                  <a:pt x="1489" y="92"/>
                  <a:pt x="1489" y="92"/>
                </a:cubicBezTo>
                <a:cubicBezTo>
                  <a:pt x="1489" y="92"/>
                  <a:pt x="1489" y="92"/>
                  <a:pt x="1489" y="93"/>
                </a:cubicBezTo>
                <a:cubicBezTo>
                  <a:pt x="1489" y="93"/>
                  <a:pt x="1489" y="93"/>
                  <a:pt x="1489" y="93"/>
                </a:cubicBezTo>
                <a:cubicBezTo>
                  <a:pt x="1489" y="93"/>
                  <a:pt x="1489" y="93"/>
                  <a:pt x="1489" y="93"/>
                </a:cubicBezTo>
                <a:cubicBezTo>
                  <a:pt x="1490" y="93"/>
                  <a:pt x="1490" y="93"/>
                  <a:pt x="1490" y="93"/>
                </a:cubicBezTo>
                <a:cubicBezTo>
                  <a:pt x="1490" y="93"/>
                  <a:pt x="1491" y="93"/>
                  <a:pt x="1491" y="94"/>
                </a:cubicBezTo>
                <a:cubicBezTo>
                  <a:pt x="1491" y="94"/>
                  <a:pt x="1491" y="94"/>
                  <a:pt x="1491" y="94"/>
                </a:cubicBezTo>
                <a:cubicBezTo>
                  <a:pt x="1491" y="94"/>
                  <a:pt x="1491" y="94"/>
                  <a:pt x="1490" y="94"/>
                </a:cubicBezTo>
                <a:cubicBezTo>
                  <a:pt x="1490" y="94"/>
                  <a:pt x="1490" y="94"/>
                  <a:pt x="1490" y="94"/>
                </a:cubicBezTo>
                <a:cubicBezTo>
                  <a:pt x="1490" y="94"/>
                  <a:pt x="1489" y="94"/>
                  <a:pt x="1489" y="94"/>
                </a:cubicBezTo>
                <a:cubicBezTo>
                  <a:pt x="1489" y="94"/>
                  <a:pt x="1489" y="94"/>
                  <a:pt x="1489" y="94"/>
                </a:cubicBezTo>
                <a:cubicBezTo>
                  <a:pt x="1489" y="94"/>
                  <a:pt x="1489" y="95"/>
                  <a:pt x="1489" y="95"/>
                </a:cubicBezTo>
                <a:cubicBezTo>
                  <a:pt x="1490" y="96"/>
                  <a:pt x="1491" y="96"/>
                  <a:pt x="1492" y="97"/>
                </a:cubicBezTo>
                <a:cubicBezTo>
                  <a:pt x="1493" y="98"/>
                  <a:pt x="1493" y="98"/>
                  <a:pt x="1494" y="98"/>
                </a:cubicBezTo>
                <a:cubicBezTo>
                  <a:pt x="1494" y="98"/>
                  <a:pt x="1495" y="98"/>
                  <a:pt x="1496" y="99"/>
                </a:cubicBezTo>
                <a:cubicBezTo>
                  <a:pt x="1496" y="99"/>
                  <a:pt x="1496" y="99"/>
                  <a:pt x="1497" y="99"/>
                </a:cubicBezTo>
                <a:cubicBezTo>
                  <a:pt x="1497" y="100"/>
                  <a:pt x="1497" y="100"/>
                  <a:pt x="1498" y="100"/>
                </a:cubicBezTo>
                <a:cubicBezTo>
                  <a:pt x="1498" y="100"/>
                  <a:pt x="1498" y="101"/>
                  <a:pt x="1498" y="101"/>
                </a:cubicBezTo>
                <a:cubicBezTo>
                  <a:pt x="1498" y="101"/>
                  <a:pt x="1498" y="101"/>
                  <a:pt x="1499" y="102"/>
                </a:cubicBezTo>
                <a:cubicBezTo>
                  <a:pt x="1499" y="102"/>
                  <a:pt x="1500" y="102"/>
                  <a:pt x="1500" y="102"/>
                </a:cubicBezTo>
                <a:cubicBezTo>
                  <a:pt x="1501" y="102"/>
                  <a:pt x="1502" y="102"/>
                  <a:pt x="1502" y="102"/>
                </a:cubicBezTo>
                <a:cubicBezTo>
                  <a:pt x="1503" y="103"/>
                  <a:pt x="1503" y="103"/>
                  <a:pt x="1504" y="103"/>
                </a:cubicBezTo>
                <a:cubicBezTo>
                  <a:pt x="1504" y="103"/>
                  <a:pt x="1504" y="103"/>
                  <a:pt x="1505" y="104"/>
                </a:cubicBezTo>
                <a:cubicBezTo>
                  <a:pt x="1505" y="104"/>
                  <a:pt x="1506" y="104"/>
                  <a:pt x="1506" y="104"/>
                </a:cubicBezTo>
                <a:cubicBezTo>
                  <a:pt x="1506" y="104"/>
                  <a:pt x="1506" y="103"/>
                  <a:pt x="1507" y="103"/>
                </a:cubicBezTo>
                <a:cubicBezTo>
                  <a:pt x="1507" y="103"/>
                  <a:pt x="1507" y="103"/>
                  <a:pt x="1507" y="103"/>
                </a:cubicBezTo>
                <a:cubicBezTo>
                  <a:pt x="1507" y="102"/>
                  <a:pt x="1507" y="102"/>
                  <a:pt x="1506" y="102"/>
                </a:cubicBezTo>
                <a:cubicBezTo>
                  <a:pt x="1506" y="101"/>
                  <a:pt x="1507" y="101"/>
                  <a:pt x="1507" y="101"/>
                </a:cubicBezTo>
                <a:cubicBezTo>
                  <a:pt x="1506" y="101"/>
                  <a:pt x="1506" y="101"/>
                  <a:pt x="1506" y="101"/>
                </a:cubicBezTo>
                <a:cubicBezTo>
                  <a:pt x="1506" y="101"/>
                  <a:pt x="1505" y="101"/>
                  <a:pt x="1505" y="100"/>
                </a:cubicBezTo>
                <a:cubicBezTo>
                  <a:pt x="1505" y="100"/>
                  <a:pt x="1505" y="100"/>
                  <a:pt x="1505" y="100"/>
                </a:cubicBezTo>
                <a:cubicBezTo>
                  <a:pt x="1505" y="100"/>
                  <a:pt x="1506" y="100"/>
                  <a:pt x="1506" y="100"/>
                </a:cubicBezTo>
                <a:cubicBezTo>
                  <a:pt x="1506" y="100"/>
                  <a:pt x="1506" y="100"/>
                  <a:pt x="1506" y="100"/>
                </a:cubicBezTo>
                <a:cubicBezTo>
                  <a:pt x="1506" y="100"/>
                  <a:pt x="1506" y="100"/>
                  <a:pt x="1507" y="101"/>
                </a:cubicBezTo>
                <a:cubicBezTo>
                  <a:pt x="1507" y="101"/>
                  <a:pt x="1507" y="101"/>
                  <a:pt x="1508" y="101"/>
                </a:cubicBezTo>
                <a:cubicBezTo>
                  <a:pt x="1508" y="101"/>
                  <a:pt x="1508" y="102"/>
                  <a:pt x="1508" y="102"/>
                </a:cubicBezTo>
                <a:cubicBezTo>
                  <a:pt x="1508" y="102"/>
                  <a:pt x="1508" y="102"/>
                  <a:pt x="1508" y="102"/>
                </a:cubicBezTo>
                <a:cubicBezTo>
                  <a:pt x="1508" y="102"/>
                  <a:pt x="1509" y="102"/>
                  <a:pt x="1509" y="102"/>
                </a:cubicBezTo>
                <a:cubicBezTo>
                  <a:pt x="1509" y="102"/>
                  <a:pt x="1510" y="102"/>
                  <a:pt x="1510" y="102"/>
                </a:cubicBezTo>
                <a:cubicBezTo>
                  <a:pt x="1511" y="101"/>
                  <a:pt x="1511" y="101"/>
                  <a:pt x="1512" y="101"/>
                </a:cubicBezTo>
                <a:cubicBezTo>
                  <a:pt x="1512" y="100"/>
                  <a:pt x="1513" y="100"/>
                  <a:pt x="1514" y="100"/>
                </a:cubicBezTo>
                <a:cubicBezTo>
                  <a:pt x="1515" y="100"/>
                  <a:pt x="1515" y="100"/>
                  <a:pt x="1516" y="100"/>
                </a:cubicBezTo>
                <a:cubicBezTo>
                  <a:pt x="1516" y="100"/>
                  <a:pt x="1516" y="100"/>
                  <a:pt x="1517" y="100"/>
                </a:cubicBezTo>
                <a:cubicBezTo>
                  <a:pt x="1517" y="100"/>
                  <a:pt x="1517" y="100"/>
                  <a:pt x="1517" y="100"/>
                </a:cubicBezTo>
                <a:cubicBezTo>
                  <a:pt x="1517" y="100"/>
                  <a:pt x="1517" y="101"/>
                  <a:pt x="1517" y="101"/>
                </a:cubicBezTo>
                <a:cubicBezTo>
                  <a:pt x="1517" y="101"/>
                  <a:pt x="1517" y="101"/>
                  <a:pt x="1518" y="101"/>
                </a:cubicBezTo>
                <a:cubicBezTo>
                  <a:pt x="1518" y="101"/>
                  <a:pt x="1518" y="102"/>
                  <a:pt x="1519" y="102"/>
                </a:cubicBezTo>
                <a:cubicBezTo>
                  <a:pt x="1519" y="102"/>
                  <a:pt x="1519" y="102"/>
                  <a:pt x="1520" y="102"/>
                </a:cubicBezTo>
                <a:cubicBezTo>
                  <a:pt x="1520" y="101"/>
                  <a:pt x="1520" y="101"/>
                  <a:pt x="1520" y="101"/>
                </a:cubicBezTo>
                <a:cubicBezTo>
                  <a:pt x="1521" y="101"/>
                  <a:pt x="1521" y="101"/>
                  <a:pt x="1522" y="101"/>
                </a:cubicBezTo>
                <a:cubicBezTo>
                  <a:pt x="1522" y="101"/>
                  <a:pt x="1523" y="101"/>
                  <a:pt x="1523" y="101"/>
                </a:cubicBezTo>
                <a:cubicBezTo>
                  <a:pt x="1523" y="101"/>
                  <a:pt x="1523" y="100"/>
                  <a:pt x="1523" y="100"/>
                </a:cubicBezTo>
                <a:cubicBezTo>
                  <a:pt x="1522" y="100"/>
                  <a:pt x="1521" y="100"/>
                  <a:pt x="1521" y="100"/>
                </a:cubicBezTo>
                <a:cubicBezTo>
                  <a:pt x="1520" y="100"/>
                  <a:pt x="1520" y="100"/>
                  <a:pt x="1519" y="100"/>
                </a:cubicBezTo>
                <a:cubicBezTo>
                  <a:pt x="1518" y="99"/>
                  <a:pt x="1518" y="99"/>
                  <a:pt x="1518" y="99"/>
                </a:cubicBezTo>
                <a:cubicBezTo>
                  <a:pt x="1517" y="98"/>
                  <a:pt x="1516" y="98"/>
                  <a:pt x="1516" y="98"/>
                </a:cubicBezTo>
                <a:cubicBezTo>
                  <a:pt x="1515" y="98"/>
                  <a:pt x="1515" y="97"/>
                  <a:pt x="1515" y="97"/>
                </a:cubicBezTo>
                <a:cubicBezTo>
                  <a:pt x="1515" y="97"/>
                  <a:pt x="1514" y="97"/>
                  <a:pt x="1514" y="97"/>
                </a:cubicBezTo>
                <a:cubicBezTo>
                  <a:pt x="1514" y="97"/>
                  <a:pt x="1514" y="96"/>
                  <a:pt x="1513" y="96"/>
                </a:cubicBezTo>
                <a:cubicBezTo>
                  <a:pt x="1513" y="96"/>
                  <a:pt x="1512" y="95"/>
                  <a:pt x="1512" y="95"/>
                </a:cubicBezTo>
                <a:cubicBezTo>
                  <a:pt x="1512" y="95"/>
                  <a:pt x="1511" y="94"/>
                  <a:pt x="1511" y="94"/>
                </a:cubicBezTo>
                <a:cubicBezTo>
                  <a:pt x="1511" y="94"/>
                  <a:pt x="1511" y="93"/>
                  <a:pt x="1511" y="93"/>
                </a:cubicBezTo>
                <a:cubicBezTo>
                  <a:pt x="1511" y="93"/>
                  <a:pt x="1511" y="92"/>
                  <a:pt x="1511" y="92"/>
                </a:cubicBezTo>
                <a:cubicBezTo>
                  <a:pt x="1511" y="92"/>
                  <a:pt x="1510" y="92"/>
                  <a:pt x="1510" y="91"/>
                </a:cubicBezTo>
                <a:cubicBezTo>
                  <a:pt x="1510" y="91"/>
                  <a:pt x="1510" y="91"/>
                  <a:pt x="1510" y="90"/>
                </a:cubicBezTo>
                <a:cubicBezTo>
                  <a:pt x="1510" y="90"/>
                  <a:pt x="1509" y="90"/>
                  <a:pt x="1509" y="90"/>
                </a:cubicBezTo>
                <a:cubicBezTo>
                  <a:pt x="1509" y="90"/>
                  <a:pt x="1509" y="90"/>
                  <a:pt x="1509" y="89"/>
                </a:cubicBezTo>
                <a:cubicBezTo>
                  <a:pt x="1509" y="89"/>
                  <a:pt x="1510" y="89"/>
                  <a:pt x="1510" y="89"/>
                </a:cubicBezTo>
                <a:cubicBezTo>
                  <a:pt x="1510" y="89"/>
                  <a:pt x="1509" y="89"/>
                  <a:pt x="1509" y="89"/>
                </a:cubicBezTo>
                <a:cubicBezTo>
                  <a:pt x="1510" y="89"/>
                  <a:pt x="1510" y="89"/>
                  <a:pt x="1510" y="89"/>
                </a:cubicBezTo>
                <a:cubicBezTo>
                  <a:pt x="1510" y="89"/>
                  <a:pt x="1510" y="89"/>
                  <a:pt x="1511" y="89"/>
                </a:cubicBezTo>
                <a:cubicBezTo>
                  <a:pt x="1511" y="88"/>
                  <a:pt x="1511" y="88"/>
                  <a:pt x="1511" y="88"/>
                </a:cubicBezTo>
                <a:cubicBezTo>
                  <a:pt x="1510" y="88"/>
                  <a:pt x="1510" y="88"/>
                  <a:pt x="1510" y="88"/>
                </a:cubicBezTo>
                <a:cubicBezTo>
                  <a:pt x="1510" y="87"/>
                  <a:pt x="1510" y="87"/>
                  <a:pt x="1509" y="87"/>
                </a:cubicBezTo>
                <a:cubicBezTo>
                  <a:pt x="1508" y="87"/>
                  <a:pt x="1508" y="87"/>
                  <a:pt x="1507" y="86"/>
                </a:cubicBezTo>
                <a:cubicBezTo>
                  <a:pt x="1507" y="86"/>
                  <a:pt x="1506" y="86"/>
                  <a:pt x="1506" y="86"/>
                </a:cubicBezTo>
                <a:cubicBezTo>
                  <a:pt x="1505" y="85"/>
                  <a:pt x="1505" y="85"/>
                  <a:pt x="1505" y="85"/>
                </a:cubicBezTo>
                <a:cubicBezTo>
                  <a:pt x="1504" y="85"/>
                  <a:pt x="1504" y="85"/>
                  <a:pt x="1503" y="85"/>
                </a:cubicBezTo>
                <a:cubicBezTo>
                  <a:pt x="1503" y="84"/>
                  <a:pt x="1503" y="84"/>
                  <a:pt x="1502" y="84"/>
                </a:cubicBezTo>
                <a:cubicBezTo>
                  <a:pt x="1502" y="84"/>
                  <a:pt x="1502" y="84"/>
                  <a:pt x="1502" y="84"/>
                </a:cubicBezTo>
                <a:cubicBezTo>
                  <a:pt x="1502" y="84"/>
                  <a:pt x="1503" y="85"/>
                  <a:pt x="1503" y="85"/>
                </a:cubicBezTo>
                <a:cubicBezTo>
                  <a:pt x="1504" y="86"/>
                  <a:pt x="1504" y="86"/>
                  <a:pt x="1504" y="86"/>
                </a:cubicBezTo>
                <a:cubicBezTo>
                  <a:pt x="1504" y="86"/>
                  <a:pt x="1504" y="86"/>
                  <a:pt x="1505" y="86"/>
                </a:cubicBezTo>
                <a:cubicBezTo>
                  <a:pt x="1504" y="86"/>
                  <a:pt x="1504" y="86"/>
                  <a:pt x="1503" y="86"/>
                </a:cubicBezTo>
                <a:cubicBezTo>
                  <a:pt x="1503" y="86"/>
                  <a:pt x="1503" y="86"/>
                  <a:pt x="1503" y="86"/>
                </a:cubicBezTo>
                <a:cubicBezTo>
                  <a:pt x="1502" y="86"/>
                  <a:pt x="1502" y="86"/>
                  <a:pt x="1502" y="85"/>
                </a:cubicBezTo>
                <a:cubicBezTo>
                  <a:pt x="1502" y="86"/>
                  <a:pt x="1501" y="86"/>
                  <a:pt x="1501" y="86"/>
                </a:cubicBezTo>
                <a:cubicBezTo>
                  <a:pt x="1501" y="86"/>
                  <a:pt x="1501" y="86"/>
                  <a:pt x="1501" y="87"/>
                </a:cubicBezTo>
                <a:cubicBezTo>
                  <a:pt x="1501" y="87"/>
                  <a:pt x="1501" y="87"/>
                  <a:pt x="1502" y="88"/>
                </a:cubicBezTo>
                <a:cubicBezTo>
                  <a:pt x="1502" y="88"/>
                  <a:pt x="1502" y="88"/>
                  <a:pt x="1502" y="89"/>
                </a:cubicBezTo>
                <a:cubicBezTo>
                  <a:pt x="1502" y="89"/>
                  <a:pt x="1503" y="90"/>
                  <a:pt x="1503" y="90"/>
                </a:cubicBezTo>
                <a:cubicBezTo>
                  <a:pt x="1503" y="91"/>
                  <a:pt x="1503" y="91"/>
                  <a:pt x="1503" y="91"/>
                </a:cubicBezTo>
                <a:cubicBezTo>
                  <a:pt x="1503" y="91"/>
                  <a:pt x="1503" y="91"/>
                  <a:pt x="1503" y="91"/>
                </a:cubicBezTo>
                <a:cubicBezTo>
                  <a:pt x="1502" y="91"/>
                  <a:pt x="1502" y="91"/>
                  <a:pt x="1501" y="91"/>
                </a:cubicBezTo>
                <a:cubicBezTo>
                  <a:pt x="1501" y="90"/>
                  <a:pt x="1501" y="90"/>
                  <a:pt x="1500" y="90"/>
                </a:cubicBezTo>
                <a:cubicBezTo>
                  <a:pt x="1500" y="89"/>
                  <a:pt x="1500" y="89"/>
                  <a:pt x="1500" y="88"/>
                </a:cubicBezTo>
                <a:cubicBezTo>
                  <a:pt x="1500" y="88"/>
                  <a:pt x="1499" y="88"/>
                  <a:pt x="1499" y="88"/>
                </a:cubicBezTo>
                <a:cubicBezTo>
                  <a:pt x="1499" y="88"/>
                  <a:pt x="1498" y="88"/>
                  <a:pt x="1498" y="88"/>
                </a:cubicBezTo>
                <a:cubicBezTo>
                  <a:pt x="1498" y="88"/>
                  <a:pt x="1497" y="88"/>
                  <a:pt x="1497" y="88"/>
                </a:cubicBezTo>
                <a:cubicBezTo>
                  <a:pt x="1497" y="88"/>
                  <a:pt x="1497" y="88"/>
                  <a:pt x="1497" y="87"/>
                </a:cubicBezTo>
                <a:cubicBezTo>
                  <a:pt x="1496" y="87"/>
                  <a:pt x="1496" y="87"/>
                  <a:pt x="1496" y="87"/>
                </a:cubicBezTo>
                <a:cubicBezTo>
                  <a:pt x="1496" y="87"/>
                  <a:pt x="1496" y="86"/>
                  <a:pt x="1496" y="86"/>
                </a:cubicBezTo>
                <a:cubicBezTo>
                  <a:pt x="1496" y="86"/>
                  <a:pt x="1496" y="86"/>
                  <a:pt x="1496" y="85"/>
                </a:cubicBezTo>
                <a:cubicBezTo>
                  <a:pt x="1495" y="85"/>
                  <a:pt x="1495" y="85"/>
                  <a:pt x="1494" y="85"/>
                </a:cubicBezTo>
                <a:cubicBezTo>
                  <a:pt x="1494" y="85"/>
                  <a:pt x="1494" y="84"/>
                  <a:pt x="1493" y="84"/>
                </a:cubicBezTo>
                <a:cubicBezTo>
                  <a:pt x="1493" y="84"/>
                  <a:pt x="1492" y="84"/>
                  <a:pt x="1492" y="83"/>
                </a:cubicBezTo>
                <a:cubicBezTo>
                  <a:pt x="1491" y="83"/>
                  <a:pt x="1491" y="83"/>
                  <a:pt x="1491" y="83"/>
                </a:cubicBezTo>
                <a:cubicBezTo>
                  <a:pt x="1491" y="83"/>
                  <a:pt x="1491" y="83"/>
                  <a:pt x="1491" y="82"/>
                </a:cubicBezTo>
                <a:cubicBezTo>
                  <a:pt x="1490" y="82"/>
                  <a:pt x="1490" y="82"/>
                  <a:pt x="1489" y="82"/>
                </a:cubicBezTo>
                <a:cubicBezTo>
                  <a:pt x="1489" y="82"/>
                  <a:pt x="1488" y="82"/>
                  <a:pt x="1488" y="82"/>
                </a:cubicBezTo>
                <a:cubicBezTo>
                  <a:pt x="1488" y="83"/>
                  <a:pt x="1488" y="83"/>
                  <a:pt x="1488" y="83"/>
                </a:cubicBezTo>
                <a:cubicBezTo>
                  <a:pt x="1488" y="84"/>
                  <a:pt x="1488" y="84"/>
                  <a:pt x="1487" y="84"/>
                </a:cubicBezTo>
                <a:cubicBezTo>
                  <a:pt x="1487" y="84"/>
                  <a:pt x="1487" y="84"/>
                  <a:pt x="1487" y="85"/>
                </a:cubicBezTo>
                <a:cubicBezTo>
                  <a:pt x="1487" y="85"/>
                  <a:pt x="1487" y="85"/>
                  <a:pt x="1487" y="85"/>
                </a:cubicBezTo>
                <a:cubicBezTo>
                  <a:pt x="1486" y="85"/>
                  <a:pt x="1486" y="86"/>
                  <a:pt x="1485" y="86"/>
                </a:cubicBezTo>
                <a:cubicBezTo>
                  <a:pt x="1485" y="86"/>
                  <a:pt x="1485" y="86"/>
                  <a:pt x="1485" y="86"/>
                </a:cubicBezTo>
                <a:cubicBezTo>
                  <a:pt x="1485" y="87"/>
                  <a:pt x="1486" y="87"/>
                  <a:pt x="1486" y="88"/>
                </a:cubicBezTo>
                <a:cubicBezTo>
                  <a:pt x="1486" y="88"/>
                  <a:pt x="1486" y="88"/>
                  <a:pt x="1487" y="88"/>
                </a:cubicBezTo>
                <a:close/>
                <a:moveTo>
                  <a:pt x="1526" y="114"/>
                </a:moveTo>
                <a:cubicBezTo>
                  <a:pt x="1526" y="115"/>
                  <a:pt x="1525" y="115"/>
                  <a:pt x="1525" y="115"/>
                </a:cubicBezTo>
                <a:cubicBezTo>
                  <a:pt x="1525" y="115"/>
                  <a:pt x="1524" y="115"/>
                  <a:pt x="1523" y="116"/>
                </a:cubicBezTo>
                <a:cubicBezTo>
                  <a:pt x="1523" y="116"/>
                  <a:pt x="1524" y="116"/>
                  <a:pt x="1524" y="116"/>
                </a:cubicBezTo>
                <a:cubicBezTo>
                  <a:pt x="1523" y="117"/>
                  <a:pt x="1523" y="117"/>
                  <a:pt x="1523" y="118"/>
                </a:cubicBezTo>
                <a:cubicBezTo>
                  <a:pt x="1523" y="118"/>
                  <a:pt x="1522" y="119"/>
                  <a:pt x="1522" y="119"/>
                </a:cubicBezTo>
                <a:cubicBezTo>
                  <a:pt x="1521" y="119"/>
                  <a:pt x="1521" y="120"/>
                  <a:pt x="1520" y="120"/>
                </a:cubicBezTo>
                <a:cubicBezTo>
                  <a:pt x="1520" y="120"/>
                  <a:pt x="1520" y="120"/>
                  <a:pt x="1520" y="120"/>
                </a:cubicBezTo>
                <a:cubicBezTo>
                  <a:pt x="1520" y="120"/>
                  <a:pt x="1521" y="120"/>
                  <a:pt x="1521" y="121"/>
                </a:cubicBezTo>
                <a:cubicBezTo>
                  <a:pt x="1521" y="121"/>
                  <a:pt x="1521" y="121"/>
                  <a:pt x="1522" y="121"/>
                </a:cubicBezTo>
                <a:cubicBezTo>
                  <a:pt x="1522" y="120"/>
                  <a:pt x="1523" y="120"/>
                  <a:pt x="1523" y="120"/>
                </a:cubicBezTo>
                <a:cubicBezTo>
                  <a:pt x="1524" y="120"/>
                  <a:pt x="1524" y="120"/>
                  <a:pt x="1525" y="120"/>
                </a:cubicBezTo>
                <a:cubicBezTo>
                  <a:pt x="1526" y="120"/>
                  <a:pt x="1526" y="120"/>
                  <a:pt x="1527" y="121"/>
                </a:cubicBezTo>
                <a:cubicBezTo>
                  <a:pt x="1527" y="121"/>
                  <a:pt x="1528" y="121"/>
                  <a:pt x="1529" y="121"/>
                </a:cubicBezTo>
                <a:cubicBezTo>
                  <a:pt x="1530" y="121"/>
                  <a:pt x="1530" y="122"/>
                  <a:pt x="1531" y="122"/>
                </a:cubicBezTo>
                <a:cubicBezTo>
                  <a:pt x="1532" y="122"/>
                  <a:pt x="1533" y="122"/>
                  <a:pt x="1533" y="122"/>
                </a:cubicBezTo>
                <a:cubicBezTo>
                  <a:pt x="1534" y="122"/>
                  <a:pt x="1534" y="122"/>
                  <a:pt x="1535" y="122"/>
                </a:cubicBezTo>
                <a:cubicBezTo>
                  <a:pt x="1535" y="122"/>
                  <a:pt x="1536" y="123"/>
                  <a:pt x="1537" y="123"/>
                </a:cubicBezTo>
                <a:cubicBezTo>
                  <a:pt x="1537" y="123"/>
                  <a:pt x="1537" y="123"/>
                  <a:pt x="1538" y="123"/>
                </a:cubicBezTo>
                <a:cubicBezTo>
                  <a:pt x="1538" y="123"/>
                  <a:pt x="1539" y="123"/>
                  <a:pt x="1539" y="123"/>
                </a:cubicBezTo>
                <a:cubicBezTo>
                  <a:pt x="1539" y="123"/>
                  <a:pt x="1538" y="123"/>
                  <a:pt x="1538" y="122"/>
                </a:cubicBezTo>
                <a:cubicBezTo>
                  <a:pt x="1538" y="122"/>
                  <a:pt x="1538" y="122"/>
                  <a:pt x="1538" y="121"/>
                </a:cubicBezTo>
                <a:cubicBezTo>
                  <a:pt x="1538" y="121"/>
                  <a:pt x="1537" y="120"/>
                  <a:pt x="1537" y="120"/>
                </a:cubicBezTo>
                <a:cubicBezTo>
                  <a:pt x="1536" y="119"/>
                  <a:pt x="1535" y="119"/>
                  <a:pt x="1535" y="118"/>
                </a:cubicBezTo>
                <a:cubicBezTo>
                  <a:pt x="1534" y="118"/>
                  <a:pt x="1534" y="118"/>
                  <a:pt x="1533" y="117"/>
                </a:cubicBezTo>
                <a:cubicBezTo>
                  <a:pt x="1533" y="117"/>
                  <a:pt x="1532" y="117"/>
                  <a:pt x="1532" y="117"/>
                </a:cubicBezTo>
                <a:cubicBezTo>
                  <a:pt x="1531" y="116"/>
                  <a:pt x="1531" y="116"/>
                  <a:pt x="1531" y="116"/>
                </a:cubicBezTo>
                <a:cubicBezTo>
                  <a:pt x="1530" y="116"/>
                  <a:pt x="1530" y="116"/>
                  <a:pt x="1530" y="115"/>
                </a:cubicBezTo>
                <a:cubicBezTo>
                  <a:pt x="1529" y="115"/>
                  <a:pt x="1529" y="115"/>
                  <a:pt x="1529" y="115"/>
                </a:cubicBezTo>
                <a:cubicBezTo>
                  <a:pt x="1528" y="115"/>
                  <a:pt x="1528" y="115"/>
                  <a:pt x="1527" y="115"/>
                </a:cubicBezTo>
                <a:cubicBezTo>
                  <a:pt x="1527" y="115"/>
                  <a:pt x="1527" y="114"/>
                  <a:pt x="1526" y="114"/>
                </a:cubicBezTo>
                <a:close/>
                <a:moveTo>
                  <a:pt x="1535" y="97"/>
                </a:moveTo>
                <a:cubicBezTo>
                  <a:pt x="1536" y="98"/>
                  <a:pt x="1536" y="98"/>
                  <a:pt x="1536" y="98"/>
                </a:cubicBezTo>
                <a:cubicBezTo>
                  <a:pt x="1537" y="99"/>
                  <a:pt x="1538" y="100"/>
                  <a:pt x="1540" y="100"/>
                </a:cubicBezTo>
                <a:cubicBezTo>
                  <a:pt x="1541" y="101"/>
                  <a:pt x="1542" y="101"/>
                  <a:pt x="1543" y="102"/>
                </a:cubicBezTo>
                <a:cubicBezTo>
                  <a:pt x="1543" y="102"/>
                  <a:pt x="1544" y="102"/>
                  <a:pt x="1545" y="103"/>
                </a:cubicBezTo>
                <a:cubicBezTo>
                  <a:pt x="1545" y="103"/>
                  <a:pt x="1546" y="103"/>
                  <a:pt x="1547" y="103"/>
                </a:cubicBezTo>
                <a:cubicBezTo>
                  <a:pt x="1547" y="103"/>
                  <a:pt x="1548" y="103"/>
                  <a:pt x="1548" y="104"/>
                </a:cubicBezTo>
                <a:cubicBezTo>
                  <a:pt x="1549" y="104"/>
                  <a:pt x="1549" y="104"/>
                  <a:pt x="1550" y="104"/>
                </a:cubicBezTo>
                <a:cubicBezTo>
                  <a:pt x="1550" y="104"/>
                  <a:pt x="1551" y="104"/>
                  <a:pt x="1551" y="104"/>
                </a:cubicBezTo>
                <a:cubicBezTo>
                  <a:pt x="1552" y="104"/>
                  <a:pt x="1553" y="104"/>
                  <a:pt x="1554" y="104"/>
                </a:cubicBezTo>
                <a:cubicBezTo>
                  <a:pt x="1554" y="104"/>
                  <a:pt x="1554" y="104"/>
                  <a:pt x="1555" y="104"/>
                </a:cubicBezTo>
                <a:cubicBezTo>
                  <a:pt x="1555" y="103"/>
                  <a:pt x="1555" y="103"/>
                  <a:pt x="1556" y="103"/>
                </a:cubicBezTo>
                <a:cubicBezTo>
                  <a:pt x="1556" y="103"/>
                  <a:pt x="1556" y="102"/>
                  <a:pt x="1556" y="102"/>
                </a:cubicBezTo>
                <a:cubicBezTo>
                  <a:pt x="1555" y="102"/>
                  <a:pt x="1555" y="102"/>
                  <a:pt x="1555" y="101"/>
                </a:cubicBezTo>
                <a:cubicBezTo>
                  <a:pt x="1554" y="101"/>
                  <a:pt x="1554" y="101"/>
                  <a:pt x="1554" y="101"/>
                </a:cubicBezTo>
                <a:cubicBezTo>
                  <a:pt x="1554" y="101"/>
                  <a:pt x="1554" y="101"/>
                  <a:pt x="1554" y="101"/>
                </a:cubicBezTo>
                <a:cubicBezTo>
                  <a:pt x="1554" y="100"/>
                  <a:pt x="1554" y="100"/>
                  <a:pt x="1554" y="100"/>
                </a:cubicBezTo>
                <a:cubicBezTo>
                  <a:pt x="1554" y="100"/>
                  <a:pt x="1554" y="100"/>
                  <a:pt x="1553" y="100"/>
                </a:cubicBezTo>
                <a:cubicBezTo>
                  <a:pt x="1553" y="100"/>
                  <a:pt x="1553" y="100"/>
                  <a:pt x="1552" y="100"/>
                </a:cubicBezTo>
                <a:cubicBezTo>
                  <a:pt x="1552" y="99"/>
                  <a:pt x="1551" y="99"/>
                  <a:pt x="1551" y="99"/>
                </a:cubicBezTo>
                <a:cubicBezTo>
                  <a:pt x="1550" y="99"/>
                  <a:pt x="1549" y="98"/>
                  <a:pt x="1547" y="98"/>
                </a:cubicBezTo>
                <a:cubicBezTo>
                  <a:pt x="1547" y="98"/>
                  <a:pt x="1546" y="98"/>
                  <a:pt x="1545" y="98"/>
                </a:cubicBezTo>
                <a:cubicBezTo>
                  <a:pt x="1545" y="98"/>
                  <a:pt x="1545" y="98"/>
                  <a:pt x="1544" y="98"/>
                </a:cubicBezTo>
                <a:cubicBezTo>
                  <a:pt x="1544" y="98"/>
                  <a:pt x="1544" y="98"/>
                  <a:pt x="1544" y="98"/>
                </a:cubicBezTo>
                <a:cubicBezTo>
                  <a:pt x="1544" y="98"/>
                  <a:pt x="1544" y="97"/>
                  <a:pt x="1544" y="97"/>
                </a:cubicBezTo>
                <a:cubicBezTo>
                  <a:pt x="1543" y="97"/>
                  <a:pt x="1543" y="97"/>
                  <a:pt x="1543" y="97"/>
                </a:cubicBezTo>
                <a:cubicBezTo>
                  <a:pt x="1542" y="97"/>
                  <a:pt x="1542" y="97"/>
                  <a:pt x="1541" y="97"/>
                </a:cubicBezTo>
                <a:cubicBezTo>
                  <a:pt x="1541" y="96"/>
                  <a:pt x="1540" y="96"/>
                  <a:pt x="1540" y="96"/>
                </a:cubicBezTo>
                <a:cubicBezTo>
                  <a:pt x="1539" y="96"/>
                  <a:pt x="1539" y="96"/>
                  <a:pt x="1539" y="96"/>
                </a:cubicBezTo>
                <a:cubicBezTo>
                  <a:pt x="1539" y="96"/>
                  <a:pt x="1539" y="96"/>
                  <a:pt x="1539" y="96"/>
                </a:cubicBezTo>
                <a:cubicBezTo>
                  <a:pt x="1538" y="96"/>
                  <a:pt x="1538" y="96"/>
                  <a:pt x="1538" y="96"/>
                </a:cubicBezTo>
                <a:cubicBezTo>
                  <a:pt x="1537" y="96"/>
                  <a:pt x="1536" y="96"/>
                  <a:pt x="1535" y="95"/>
                </a:cubicBezTo>
                <a:cubicBezTo>
                  <a:pt x="1535" y="95"/>
                  <a:pt x="1535" y="95"/>
                  <a:pt x="1535" y="95"/>
                </a:cubicBezTo>
                <a:cubicBezTo>
                  <a:pt x="1535" y="95"/>
                  <a:pt x="1535" y="94"/>
                  <a:pt x="1535" y="94"/>
                </a:cubicBezTo>
                <a:cubicBezTo>
                  <a:pt x="1534" y="94"/>
                  <a:pt x="1534" y="94"/>
                  <a:pt x="1534" y="94"/>
                </a:cubicBezTo>
                <a:cubicBezTo>
                  <a:pt x="1534" y="94"/>
                  <a:pt x="1534" y="95"/>
                  <a:pt x="1534" y="95"/>
                </a:cubicBezTo>
                <a:cubicBezTo>
                  <a:pt x="1534" y="96"/>
                  <a:pt x="1535" y="97"/>
                  <a:pt x="1535" y="97"/>
                </a:cubicBezTo>
                <a:close/>
                <a:moveTo>
                  <a:pt x="1521" y="113"/>
                </a:moveTo>
                <a:cubicBezTo>
                  <a:pt x="1521" y="113"/>
                  <a:pt x="1521" y="112"/>
                  <a:pt x="1521" y="112"/>
                </a:cubicBezTo>
                <a:cubicBezTo>
                  <a:pt x="1521" y="112"/>
                  <a:pt x="1520" y="111"/>
                  <a:pt x="1520" y="111"/>
                </a:cubicBezTo>
                <a:cubicBezTo>
                  <a:pt x="1520" y="110"/>
                  <a:pt x="1519" y="110"/>
                  <a:pt x="1519" y="110"/>
                </a:cubicBezTo>
                <a:cubicBezTo>
                  <a:pt x="1519" y="110"/>
                  <a:pt x="1519" y="109"/>
                  <a:pt x="1519" y="109"/>
                </a:cubicBezTo>
                <a:cubicBezTo>
                  <a:pt x="1518" y="109"/>
                  <a:pt x="1518" y="109"/>
                  <a:pt x="1517" y="109"/>
                </a:cubicBezTo>
                <a:cubicBezTo>
                  <a:pt x="1517" y="109"/>
                  <a:pt x="1516" y="109"/>
                  <a:pt x="1516" y="109"/>
                </a:cubicBezTo>
                <a:cubicBezTo>
                  <a:pt x="1516" y="110"/>
                  <a:pt x="1516" y="110"/>
                  <a:pt x="1516" y="110"/>
                </a:cubicBezTo>
                <a:cubicBezTo>
                  <a:pt x="1516" y="110"/>
                  <a:pt x="1516" y="111"/>
                  <a:pt x="1516" y="111"/>
                </a:cubicBezTo>
                <a:cubicBezTo>
                  <a:pt x="1516" y="111"/>
                  <a:pt x="1516" y="111"/>
                  <a:pt x="1516" y="111"/>
                </a:cubicBezTo>
                <a:cubicBezTo>
                  <a:pt x="1516" y="112"/>
                  <a:pt x="1516" y="112"/>
                  <a:pt x="1516" y="112"/>
                </a:cubicBezTo>
                <a:cubicBezTo>
                  <a:pt x="1517" y="112"/>
                  <a:pt x="1517" y="112"/>
                  <a:pt x="1517" y="112"/>
                </a:cubicBezTo>
                <a:cubicBezTo>
                  <a:pt x="1518" y="113"/>
                  <a:pt x="1518" y="113"/>
                  <a:pt x="1518" y="114"/>
                </a:cubicBezTo>
                <a:cubicBezTo>
                  <a:pt x="1518" y="114"/>
                  <a:pt x="1519" y="114"/>
                  <a:pt x="1519" y="114"/>
                </a:cubicBezTo>
                <a:cubicBezTo>
                  <a:pt x="1519" y="114"/>
                  <a:pt x="1520" y="114"/>
                  <a:pt x="1520" y="114"/>
                </a:cubicBezTo>
                <a:cubicBezTo>
                  <a:pt x="1520" y="114"/>
                  <a:pt x="1520" y="114"/>
                  <a:pt x="1520" y="114"/>
                </a:cubicBezTo>
                <a:cubicBezTo>
                  <a:pt x="1520" y="114"/>
                  <a:pt x="1520" y="113"/>
                  <a:pt x="1520" y="113"/>
                </a:cubicBezTo>
                <a:cubicBezTo>
                  <a:pt x="1520" y="113"/>
                  <a:pt x="1521" y="113"/>
                  <a:pt x="1521" y="113"/>
                </a:cubicBezTo>
                <a:close/>
                <a:moveTo>
                  <a:pt x="1241" y="117"/>
                </a:moveTo>
                <a:cubicBezTo>
                  <a:pt x="1241" y="118"/>
                  <a:pt x="1241" y="118"/>
                  <a:pt x="1241" y="118"/>
                </a:cubicBezTo>
                <a:cubicBezTo>
                  <a:pt x="1241" y="118"/>
                  <a:pt x="1241" y="118"/>
                  <a:pt x="1241" y="119"/>
                </a:cubicBezTo>
                <a:cubicBezTo>
                  <a:pt x="1242" y="119"/>
                  <a:pt x="1242" y="119"/>
                  <a:pt x="1242" y="119"/>
                </a:cubicBezTo>
                <a:cubicBezTo>
                  <a:pt x="1242" y="118"/>
                  <a:pt x="1243" y="118"/>
                  <a:pt x="1243" y="118"/>
                </a:cubicBezTo>
                <a:cubicBezTo>
                  <a:pt x="1244" y="118"/>
                  <a:pt x="1244" y="118"/>
                  <a:pt x="1244" y="118"/>
                </a:cubicBezTo>
                <a:cubicBezTo>
                  <a:pt x="1244" y="118"/>
                  <a:pt x="1245" y="118"/>
                  <a:pt x="1245" y="117"/>
                </a:cubicBezTo>
                <a:cubicBezTo>
                  <a:pt x="1245" y="117"/>
                  <a:pt x="1246" y="117"/>
                  <a:pt x="1246" y="117"/>
                </a:cubicBezTo>
                <a:cubicBezTo>
                  <a:pt x="1246" y="117"/>
                  <a:pt x="1247" y="117"/>
                  <a:pt x="1247" y="117"/>
                </a:cubicBezTo>
                <a:cubicBezTo>
                  <a:pt x="1247" y="116"/>
                  <a:pt x="1247" y="116"/>
                  <a:pt x="1247" y="116"/>
                </a:cubicBezTo>
                <a:cubicBezTo>
                  <a:pt x="1247" y="116"/>
                  <a:pt x="1247" y="116"/>
                  <a:pt x="1247" y="116"/>
                </a:cubicBezTo>
                <a:cubicBezTo>
                  <a:pt x="1246" y="116"/>
                  <a:pt x="1246" y="116"/>
                  <a:pt x="1245" y="115"/>
                </a:cubicBezTo>
                <a:cubicBezTo>
                  <a:pt x="1245" y="115"/>
                  <a:pt x="1244" y="115"/>
                  <a:pt x="1244" y="115"/>
                </a:cubicBezTo>
                <a:cubicBezTo>
                  <a:pt x="1243" y="116"/>
                  <a:pt x="1243" y="116"/>
                  <a:pt x="1243" y="116"/>
                </a:cubicBezTo>
                <a:cubicBezTo>
                  <a:pt x="1243" y="116"/>
                  <a:pt x="1243" y="116"/>
                  <a:pt x="1243" y="117"/>
                </a:cubicBezTo>
                <a:cubicBezTo>
                  <a:pt x="1243" y="117"/>
                  <a:pt x="1242" y="117"/>
                  <a:pt x="1242" y="117"/>
                </a:cubicBezTo>
                <a:cubicBezTo>
                  <a:pt x="1242" y="117"/>
                  <a:pt x="1241" y="117"/>
                  <a:pt x="1241" y="117"/>
                </a:cubicBezTo>
                <a:close/>
                <a:moveTo>
                  <a:pt x="1640" y="161"/>
                </a:moveTo>
                <a:cubicBezTo>
                  <a:pt x="1640" y="161"/>
                  <a:pt x="1640" y="161"/>
                  <a:pt x="1641" y="161"/>
                </a:cubicBezTo>
                <a:cubicBezTo>
                  <a:pt x="1641" y="161"/>
                  <a:pt x="1641" y="161"/>
                  <a:pt x="1641" y="161"/>
                </a:cubicBezTo>
                <a:cubicBezTo>
                  <a:pt x="1640" y="160"/>
                  <a:pt x="1640" y="160"/>
                  <a:pt x="1640" y="160"/>
                </a:cubicBezTo>
                <a:cubicBezTo>
                  <a:pt x="1640" y="160"/>
                  <a:pt x="1639" y="160"/>
                  <a:pt x="1639" y="160"/>
                </a:cubicBezTo>
                <a:cubicBezTo>
                  <a:pt x="1639" y="161"/>
                  <a:pt x="1639" y="161"/>
                  <a:pt x="1640" y="161"/>
                </a:cubicBezTo>
                <a:cubicBezTo>
                  <a:pt x="1640" y="161"/>
                  <a:pt x="1640" y="161"/>
                  <a:pt x="1640" y="161"/>
                </a:cubicBezTo>
                <a:close/>
                <a:moveTo>
                  <a:pt x="1513" y="89"/>
                </a:moveTo>
                <a:cubicBezTo>
                  <a:pt x="1513" y="89"/>
                  <a:pt x="1513" y="89"/>
                  <a:pt x="1513" y="90"/>
                </a:cubicBezTo>
                <a:cubicBezTo>
                  <a:pt x="1513" y="90"/>
                  <a:pt x="1513" y="90"/>
                  <a:pt x="1513" y="90"/>
                </a:cubicBezTo>
                <a:cubicBezTo>
                  <a:pt x="1513" y="91"/>
                  <a:pt x="1514" y="91"/>
                  <a:pt x="1514" y="91"/>
                </a:cubicBezTo>
                <a:cubicBezTo>
                  <a:pt x="1514" y="91"/>
                  <a:pt x="1514" y="91"/>
                  <a:pt x="1514" y="92"/>
                </a:cubicBezTo>
                <a:cubicBezTo>
                  <a:pt x="1514" y="92"/>
                  <a:pt x="1514" y="92"/>
                  <a:pt x="1514" y="92"/>
                </a:cubicBezTo>
                <a:cubicBezTo>
                  <a:pt x="1514" y="92"/>
                  <a:pt x="1514" y="92"/>
                  <a:pt x="1514" y="93"/>
                </a:cubicBezTo>
                <a:cubicBezTo>
                  <a:pt x="1513" y="93"/>
                  <a:pt x="1513" y="93"/>
                  <a:pt x="1513" y="93"/>
                </a:cubicBezTo>
                <a:cubicBezTo>
                  <a:pt x="1513" y="93"/>
                  <a:pt x="1513" y="94"/>
                  <a:pt x="1513" y="94"/>
                </a:cubicBezTo>
                <a:cubicBezTo>
                  <a:pt x="1514" y="95"/>
                  <a:pt x="1515" y="96"/>
                  <a:pt x="1515" y="96"/>
                </a:cubicBezTo>
                <a:cubicBezTo>
                  <a:pt x="1516" y="97"/>
                  <a:pt x="1516" y="97"/>
                  <a:pt x="1517" y="97"/>
                </a:cubicBezTo>
                <a:cubicBezTo>
                  <a:pt x="1517" y="98"/>
                  <a:pt x="1518" y="98"/>
                  <a:pt x="1519" y="99"/>
                </a:cubicBezTo>
                <a:cubicBezTo>
                  <a:pt x="1520" y="99"/>
                  <a:pt x="1520" y="99"/>
                  <a:pt x="1520" y="99"/>
                </a:cubicBezTo>
                <a:cubicBezTo>
                  <a:pt x="1521" y="99"/>
                  <a:pt x="1521" y="99"/>
                  <a:pt x="1522" y="99"/>
                </a:cubicBezTo>
                <a:cubicBezTo>
                  <a:pt x="1522" y="99"/>
                  <a:pt x="1522" y="99"/>
                  <a:pt x="1523" y="99"/>
                </a:cubicBezTo>
                <a:cubicBezTo>
                  <a:pt x="1523" y="99"/>
                  <a:pt x="1523" y="100"/>
                  <a:pt x="1524" y="100"/>
                </a:cubicBezTo>
                <a:cubicBezTo>
                  <a:pt x="1524" y="100"/>
                  <a:pt x="1524" y="100"/>
                  <a:pt x="1524" y="100"/>
                </a:cubicBezTo>
                <a:cubicBezTo>
                  <a:pt x="1524" y="100"/>
                  <a:pt x="1525" y="100"/>
                  <a:pt x="1525" y="99"/>
                </a:cubicBezTo>
                <a:cubicBezTo>
                  <a:pt x="1525" y="99"/>
                  <a:pt x="1526" y="99"/>
                  <a:pt x="1526" y="99"/>
                </a:cubicBezTo>
                <a:cubicBezTo>
                  <a:pt x="1526" y="98"/>
                  <a:pt x="1526" y="98"/>
                  <a:pt x="1527" y="98"/>
                </a:cubicBezTo>
                <a:cubicBezTo>
                  <a:pt x="1527" y="98"/>
                  <a:pt x="1527" y="98"/>
                  <a:pt x="1527" y="97"/>
                </a:cubicBezTo>
                <a:cubicBezTo>
                  <a:pt x="1527" y="97"/>
                  <a:pt x="1527" y="97"/>
                  <a:pt x="1527" y="97"/>
                </a:cubicBezTo>
                <a:cubicBezTo>
                  <a:pt x="1526" y="96"/>
                  <a:pt x="1526" y="96"/>
                  <a:pt x="1525" y="96"/>
                </a:cubicBezTo>
                <a:cubicBezTo>
                  <a:pt x="1525" y="96"/>
                  <a:pt x="1525" y="95"/>
                  <a:pt x="1524" y="95"/>
                </a:cubicBezTo>
                <a:cubicBezTo>
                  <a:pt x="1525" y="95"/>
                  <a:pt x="1525" y="94"/>
                  <a:pt x="1525" y="94"/>
                </a:cubicBezTo>
                <a:cubicBezTo>
                  <a:pt x="1525" y="94"/>
                  <a:pt x="1525" y="94"/>
                  <a:pt x="1526" y="94"/>
                </a:cubicBezTo>
                <a:cubicBezTo>
                  <a:pt x="1526" y="94"/>
                  <a:pt x="1527" y="94"/>
                  <a:pt x="1527" y="94"/>
                </a:cubicBezTo>
                <a:cubicBezTo>
                  <a:pt x="1527" y="94"/>
                  <a:pt x="1527" y="94"/>
                  <a:pt x="1527" y="94"/>
                </a:cubicBezTo>
                <a:cubicBezTo>
                  <a:pt x="1526" y="93"/>
                  <a:pt x="1525" y="93"/>
                  <a:pt x="1524" y="92"/>
                </a:cubicBezTo>
                <a:cubicBezTo>
                  <a:pt x="1523" y="92"/>
                  <a:pt x="1522" y="92"/>
                  <a:pt x="1521" y="91"/>
                </a:cubicBezTo>
                <a:cubicBezTo>
                  <a:pt x="1521" y="91"/>
                  <a:pt x="1521" y="91"/>
                  <a:pt x="1520" y="91"/>
                </a:cubicBezTo>
                <a:cubicBezTo>
                  <a:pt x="1520" y="91"/>
                  <a:pt x="1519" y="91"/>
                  <a:pt x="1519" y="91"/>
                </a:cubicBezTo>
                <a:cubicBezTo>
                  <a:pt x="1518" y="90"/>
                  <a:pt x="1517" y="89"/>
                  <a:pt x="1516" y="89"/>
                </a:cubicBezTo>
                <a:cubicBezTo>
                  <a:pt x="1516" y="89"/>
                  <a:pt x="1515" y="89"/>
                  <a:pt x="1515" y="88"/>
                </a:cubicBezTo>
                <a:cubicBezTo>
                  <a:pt x="1514" y="88"/>
                  <a:pt x="1514" y="88"/>
                  <a:pt x="1513" y="88"/>
                </a:cubicBezTo>
                <a:cubicBezTo>
                  <a:pt x="1513" y="88"/>
                  <a:pt x="1512" y="88"/>
                  <a:pt x="1511" y="87"/>
                </a:cubicBezTo>
                <a:cubicBezTo>
                  <a:pt x="1512" y="88"/>
                  <a:pt x="1512" y="88"/>
                  <a:pt x="1512" y="88"/>
                </a:cubicBezTo>
                <a:cubicBezTo>
                  <a:pt x="1512" y="89"/>
                  <a:pt x="1512" y="89"/>
                  <a:pt x="1513" y="89"/>
                </a:cubicBezTo>
                <a:close/>
                <a:moveTo>
                  <a:pt x="1527" y="142"/>
                </a:moveTo>
                <a:cubicBezTo>
                  <a:pt x="1527" y="142"/>
                  <a:pt x="1527" y="142"/>
                  <a:pt x="1527" y="142"/>
                </a:cubicBezTo>
                <a:cubicBezTo>
                  <a:pt x="1527" y="142"/>
                  <a:pt x="1526" y="143"/>
                  <a:pt x="1526" y="143"/>
                </a:cubicBezTo>
                <a:cubicBezTo>
                  <a:pt x="1526" y="143"/>
                  <a:pt x="1524" y="142"/>
                  <a:pt x="1524" y="142"/>
                </a:cubicBezTo>
                <a:cubicBezTo>
                  <a:pt x="1525" y="143"/>
                  <a:pt x="1525" y="143"/>
                  <a:pt x="1525" y="143"/>
                </a:cubicBezTo>
                <a:cubicBezTo>
                  <a:pt x="1526" y="144"/>
                  <a:pt x="1526" y="144"/>
                  <a:pt x="1526" y="144"/>
                </a:cubicBezTo>
                <a:cubicBezTo>
                  <a:pt x="1526" y="144"/>
                  <a:pt x="1526" y="144"/>
                  <a:pt x="1526" y="143"/>
                </a:cubicBezTo>
                <a:cubicBezTo>
                  <a:pt x="1527" y="144"/>
                  <a:pt x="1527" y="144"/>
                  <a:pt x="1528" y="144"/>
                </a:cubicBezTo>
                <a:cubicBezTo>
                  <a:pt x="1528" y="144"/>
                  <a:pt x="1528" y="144"/>
                  <a:pt x="1528" y="143"/>
                </a:cubicBezTo>
                <a:cubicBezTo>
                  <a:pt x="1528" y="143"/>
                  <a:pt x="1528" y="143"/>
                  <a:pt x="1528" y="143"/>
                </a:cubicBezTo>
                <a:cubicBezTo>
                  <a:pt x="1528" y="143"/>
                  <a:pt x="1528" y="142"/>
                  <a:pt x="1528" y="142"/>
                </a:cubicBezTo>
                <a:cubicBezTo>
                  <a:pt x="1528" y="142"/>
                  <a:pt x="1528" y="142"/>
                  <a:pt x="1527" y="142"/>
                </a:cubicBezTo>
                <a:close/>
                <a:moveTo>
                  <a:pt x="1656" y="182"/>
                </a:moveTo>
                <a:cubicBezTo>
                  <a:pt x="1656" y="181"/>
                  <a:pt x="1656" y="181"/>
                  <a:pt x="1656" y="181"/>
                </a:cubicBezTo>
                <a:cubicBezTo>
                  <a:pt x="1656" y="181"/>
                  <a:pt x="1656" y="181"/>
                  <a:pt x="1656" y="180"/>
                </a:cubicBezTo>
                <a:cubicBezTo>
                  <a:pt x="1656" y="180"/>
                  <a:pt x="1656" y="180"/>
                  <a:pt x="1655" y="179"/>
                </a:cubicBezTo>
                <a:cubicBezTo>
                  <a:pt x="1655" y="179"/>
                  <a:pt x="1655" y="179"/>
                  <a:pt x="1655" y="179"/>
                </a:cubicBezTo>
                <a:cubicBezTo>
                  <a:pt x="1655" y="179"/>
                  <a:pt x="1655" y="179"/>
                  <a:pt x="1655" y="180"/>
                </a:cubicBezTo>
                <a:cubicBezTo>
                  <a:pt x="1655" y="180"/>
                  <a:pt x="1655" y="180"/>
                  <a:pt x="1656" y="181"/>
                </a:cubicBezTo>
                <a:cubicBezTo>
                  <a:pt x="1656" y="181"/>
                  <a:pt x="1656" y="181"/>
                  <a:pt x="1656" y="182"/>
                </a:cubicBezTo>
                <a:close/>
                <a:moveTo>
                  <a:pt x="1657" y="180"/>
                </a:moveTo>
                <a:cubicBezTo>
                  <a:pt x="1657" y="180"/>
                  <a:pt x="1657" y="180"/>
                  <a:pt x="1657" y="179"/>
                </a:cubicBezTo>
                <a:cubicBezTo>
                  <a:pt x="1657" y="179"/>
                  <a:pt x="1656" y="179"/>
                  <a:pt x="1656" y="179"/>
                </a:cubicBezTo>
                <a:cubicBezTo>
                  <a:pt x="1656" y="179"/>
                  <a:pt x="1656" y="178"/>
                  <a:pt x="1656" y="178"/>
                </a:cubicBezTo>
                <a:cubicBezTo>
                  <a:pt x="1656" y="178"/>
                  <a:pt x="1655" y="179"/>
                  <a:pt x="1655" y="179"/>
                </a:cubicBezTo>
                <a:cubicBezTo>
                  <a:pt x="1656" y="179"/>
                  <a:pt x="1656" y="179"/>
                  <a:pt x="1656" y="180"/>
                </a:cubicBezTo>
                <a:cubicBezTo>
                  <a:pt x="1656" y="180"/>
                  <a:pt x="1656" y="180"/>
                  <a:pt x="1657" y="180"/>
                </a:cubicBezTo>
                <a:close/>
                <a:moveTo>
                  <a:pt x="1658" y="179"/>
                </a:moveTo>
                <a:cubicBezTo>
                  <a:pt x="1658" y="179"/>
                  <a:pt x="1658" y="179"/>
                  <a:pt x="1658" y="179"/>
                </a:cubicBezTo>
                <a:cubicBezTo>
                  <a:pt x="1658" y="179"/>
                  <a:pt x="1658" y="179"/>
                  <a:pt x="1658" y="178"/>
                </a:cubicBezTo>
                <a:cubicBezTo>
                  <a:pt x="1658" y="178"/>
                  <a:pt x="1657" y="178"/>
                  <a:pt x="1657" y="178"/>
                </a:cubicBezTo>
                <a:cubicBezTo>
                  <a:pt x="1657" y="178"/>
                  <a:pt x="1657" y="178"/>
                  <a:pt x="1657" y="178"/>
                </a:cubicBezTo>
                <a:cubicBezTo>
                  <a:pt x="1657" y="179"/>
                  <a:pt x="1657" y="179"/>
                  <a:pt x="1657" y="179"/>
                </a:cubicBezTo>
                <a:cubicBezTo>
                  <a:pt x="1657" y="179"/>
                  <a:pt x="1657" y="179"/>
                  <a:pt x="1658" y="179"/>
                </a:cubicBezTo>
                <a:close/>
                <a:moveTo>
                  <a:pt x="1649" y="164"/>
                </a:moveTo>
                <a:cubicBezTo>
                  <a:pt x="1649" y="164"/>
                  <a:pt x="1649" y="164"/>
                  <a:pt x="1650" y="164"/>
                </a:cubicBezTo>
                <a:cubicBezTo>
                  <a:pt x="1649" y="164"/>
                  <a:pt x="1649" y="163"/>
                  <a:pt x="1649" y="163"/>
                </a:cubicBezTo>
                <a:cubicBezTo>
                  <a:pt x="1649" y="163"/>
                  <a:pt x="1649" y="163"/>
                  <a:pt x="1649" y="163"/>
                </a:cubicBezTo>
                <a:cubicBezTo>
                  <a:pt x="1649" y="164"/>
                  <a:pt x="1649" y="164"/>
                  <a:pt x="1649" y="164"/>
                </a:cubicBezTo>
                <a:cubicBezTo>
                  <a:pt x="1649" y="164"/>
                  <a:pt x="1649" y="164"/>
                  <a:pt x="1649" y="164"/>
                </a:cubicBezTo>
                <a:close/>
                <a:moveTo>
                  <a:pt x="1653" y="180"/>
                </a:moveTo>
                <a:cubicBezTo>
                  <a:pt x="1653" y="180"/>
                  <a:pt x="1653" y="179"/>
                  <a:pt x="1654" y="179"/>
                </a:cubicBezTo>
                <a:cubicBezTo>
                  <a:pt x="1654" y="179"/>
                  <a:pt x="1654" y="179"/>
                  <a:pt x="1654" y="179"/>
                </a:cubicBezTo>
                <a:cubicBezTo>
                  <a:pt x="1654" y="179"/>
                  <a:pt x="1654" y="179"/>
                  <a:pt x="1654" y="179"/>
                </a:cubicBezTo>
                <a:cubicBezTo>
                  <a:pt x="1654" y="178"/>
                  <a:pt x="1653" y="178"/>
                  <a:pt x="1653" y="178"/>
                </a:cubicBezTo>
                <a:cubicBezTo>
                  <a:pt x="1653" y="178"/>
                  <a:pt x="1653" y="178"/>
                  <a:pt x="1653" y="178"/>
                </a:cubicBezTo>
                <a:cubicBezTo>
                  <a:pt x="1653" y="178"/>
                  <a:pt x="1652" y="178"/>
                  <a:pt x="1652" y="178"/>
                </a:cubicBezTo>
                <a:cubicBezTo>
                  <a:pt x="1652" y="178"/>
                  <a:pt x="1652" y="179"/>
                  <a:pt x="1652" y="179"/>
                </a:cubicBezTo>
                <a:cubicBezTo>
                  <a:pt x="1653" y="179"/>
                  <a:pt x="1653" y="179"/>
                  <a:pt x="1653" y="180"/>
                </a:cubicBezTo>
                <a:close/>
                <a:moveTo>
                  <a:pt x="1207" y="142"/>
                </a:moveTo>
                <a:cubicBezTo>
                  <a:pt x="1207" y="142"/>
                  <a:pt x="1207" y="142"/>
                  <a:pt x="1207" y="141"/>
                </a:cubicBezTo>
                <a:cubicBezTo>
                  <a:pt x="1207" y="141"/>
                  <a:pt x="1207" y="141"/>
                  <a:pt x="1207" y="141"/>
                </a:cubicBezTo>
                <a:cubicBezTo>
                  <a:pt x="1207" y="141"/>
                  <a:pt x="1206" y="141"/>
                  <a:pt x="1206" y="141"/>
                </a:cubicBezTo>
                <a:cubicBezTo>
                  <a:pt x="1206" y="141"/>
                  <a:pt x="1206" y="141"/>
                  <a:pt x="1206" y="142"/>
                </a:cubicBezTo>
                <a:cubicBezTo>
                  <a:pt x="1206" y="142"/>
                  <a:pt x="1206" y="142"/>
                  <a:pt x="1206" y="142"/>
                </a:cubicBezTo>
                <a:cubicBezTo>
                  <a:pt x="1206" y="142"/>
                  <a:pt x="1206" y="142"/>
                  <a:pt x="1206" y="142"/>
                </a:cubicBezTo>
                <a:cubicBezTo>
                  <a:pt x="1206" y="142"/>
                  <a:pt x="1206" y="142"/>
                  <a:pt x="1207" y="142"/>
                </a:cubicBezTo>
                <a:cubicBezTo>
                  <a:pt x="1207" y="142"/>
                  <a:pt x="1207" y="142"/>
                  <a:pt x="1207" y="142"/>
                </a:cubicBezTo>
                <a:close/>
                <a:moveTo>
                  <a:pt x="1645" y="162"/>
                </a:moveTo>
                <a:cubicBezTo>
                  <a:pt x="1645" y="162"/>
                  <a:pt x="1646" y="162"/>
                  <a:pt x="1646" y="162"/>
                </a:cubicBezTo>
                <a:cubicBezTo>
                  <a:pt x="1645" y="162"/>
                  <a:pt x="1645" y="161"/>
                  <a:pt x="1644" y="161"/>
                </a:cubicBezTo>
                <a:cubicBezTo>
                  <a:pt x="1644" y="161"/>
                  <a:pt x="1644" y="161"/>
                  <a:pt x="1644" y="161"/>
                </a:cubicBezTo>
                <a:cubicBezTo>
                  <a:pt x="1644" y="161"/>
                  <a:pt x="1644" y="162"/>
                  <a:pt x="1644" y="162"/>
                </a:cubicBezTo>
                <a:cubicBezTo>
                  <a:pt x="1645" y="162"/>
                  <a:pt x="1645" y="162"/>
                  <a:pt x="1645" y="162"/>
                </a:cubicBezTo>
                <a:close/>
                <a:moveTo>
                  <a:pt x="1302" y="75"/>
                </a:moveTo>
                <a:cubicBezTo>
                  <a:pt x="1301" y="75"/>
                  <a:pt x="1301" y="75"/>
                  <a:pt x="1301" y="75"/>
                </a:cubicBezTo>
                <a:cubicBezTo>
                  <a:pt x="1301" y="75"/>
                  <a:pt x="1301" y="75"/>
                  <a:pt x="1300" y="76"/>
                </a:cubicBezTo>
                <a:cubicBezTo>
                  <a:pt x="1300" y="76"/>
                  <a:pt x="1300" y="76"/>
                  <a:pt x="1299" y="76"/>
                </a:cubicBezTo>
                <a:cubicBezTo>
                  <a:pt x="1299" y="76"/>
                  <a:pt x="1299" y="76"/>
                  <a:pt x="1300" y="76"/>
                </a:cubicBezTo>
                <a:cubicBezTo>
                  <a:pt x="1300" y="76"/>
                  <a:pt x="1300" y="76"/>
                  <a:pt x="1300" y="76"/>
                </a:cubicBezTo>
                <a:cubicBezTo>
                  <a:pt x="1301" y="76"/>
                  <a:pt x="1301" y="76"/>
                  <a:pt x="1301" y="76"/>
                </a:cubicBezTo>
                <a:cubicBezTo>
                  <a:pt x="1301" y="76"/>
                  <a:pt x="1301" y="76"/>
                  <a:pt x="1301" y="76"/>
                </a:cubicBezTo>
                <a:cubicBezTo>
                  <a:pt x="1301" y="76"/>
                  <a:pt x="1302" y="77"/>
                  <a:pt x="1302" y="77"/>
                </a:cubicBezTo>
                <a:cubicBezTo>
                  <a:pt x="1302" y="77"/>
                  <a:pt x="1302" y="77"/>
                  <a:pt x="1302" y="77"/>
                </a:cubicBezTo>
                <a:cubicBezTo>
                  <a:pt x="1302" y="76"/>
                  <a:pt x="1302" y="76"/>
                  <a:pt x="1302" y="76"/>
                </a:cubicBezTo>
                <a:cubicBezTo>
                  <a:pt x="1302" y="76"/>
                  <a:pt x="1302" y="76"/>
                  <a:pt x="1302" y="76"/>
                </a:cubicBezTo>
                <a:cubicBezTo>
                  <a:pt x="1302" y="76"/>
                  <a:pt x="1302" y="75"/>
                  <a:pt x="1302" y="75"/>
                </a:cubicBezTo>
                <a:cubicBezTo>
                  <a:pt x="1302" y="75"/>
                  <a:pt x="1302" y="75"/>
                  <a:pt x="1302" y="75"/>
                </a:cubicBezTo>
                <a:close/>
                <a:moveTo>
                  <a:pt x="1038" y="196"/>
                </a:moveTo>
                <a:cubicBezTo>
                  <a:pt x="1038" y="196"/>
                  <a:pt x="1038" y="196"/>
                  <a:pt x="1037" y="196"/>
                </a:cubicBezTo>
                <a:cubicBezTo>
                  <a:pt x="1037" y="195"/>
                  <a:pt x="1037" y="196"/>
                  <a:pt x="1037" y="196"/>
                </a:cubicBezTo>
                <a:cubicBezTo>
                  <a:pt x="1037" y="196"/>
                  <a:pt x="1038" y="196"/>
                  <a:pt x="1038" y="197"/>
                </a:cubicBezTo>
                <a:cubicBezTo>
                  <a:pt x="1038" y="196"/>
                  <a:pt x="1038" y="196"/>
                  <a:pt x="1038" y="196"/>
                </a:cubicBezTo>
                <a:close/>
                <a:moveTo>
                  <a:pt x="1299" y="45"/>
                </a:moveTo>
                <a:cubicBezTo>
                  <a:pt x="1300" y="45"/>
                  <a:pt x="1300" y="45"/>
                  <a:pt x="1300" y="45"/>
                </a:cubicBezTo>
                <a:cubicBezTo>
                  <a:pt x="1300" y="45"/>
                  <a:pt x="1301" y="46"/>
                  <a:pt x="1301" y="46"/>
                </a:cubicBezTo>
                <a:cubicBezTo>
                  <a:pt x="1301" y="46"/>
                  <a:pt x="1301" y="46"/>
                  <a:pt x="1301" y="46"/>
                </a:cubicBezTo>
                <a:cubicBezTo>
                  <a:pt x="1301" y="46"/>
                  <a:pt x="1301" y="46"/>
                  <a:pt x="1301" y="47"/>
                </a:cubicBezTo>
                <a:cubicBezTo>
                  <a:pt x="1301" y="47"/>
                  <a:pt x="1302" y="48"/>
                  <a:pt x="1302" y="49"/>
                </a:cubicBezTo>
                <a:cubicBezTo>
                  <a:pt x="1302" y="49"/>
                  <a:pt x="1302" y="49"/>
                  <a:pt x="1303" y="49"/>
                </a:cubicBezTo>
                <a:cubicBezTo>
                  <a:pt x="1303" y="50"/>
                  <a:pt x="1303" y="50"/>
                  <a:pt x="1304" y="50"/>
                </a:cubicBezTo>
                <a:cubicBezTo>
                  <a:pt x="1304" y="50"/>
                  <a:pt x="1303" y="50"/>
                  <a:pt x="1303" y="50"/>
                </a:cubicBezTo>
                <a:cubicBezTo>
                  <a:pt x="1303" y="50"/>
                  <a:pt x="1302" y="50"/>
                  <a:pt x="1302" y="50"/>
                </a:cubicBezTo>
                <a:cubicBezTo>
                  <a:pt x="1302" y="50"/>
                  <a:pt x="1301" y="51"/>
                  <a:pt x="1301" y="51"/>
                </a:cubicBezTo>
                <a:cubicBezTo>
                  <a:pt x="1301" y="51"/>
                  <a:pt x="1302" y="52"/>
                  <a:pt x="1302" y="52"/>
                </a:cubicBezTo>
                <a:cubicBezTo>
                  <a:pt x="1302" y="53"/>
                  <a:pt x="1302" y="53"/>
                  <a:pt x="1302" y="53"/>
                </a:cubicBezTo>
                <a:cubicBezTo>
                  <a:pt x="1302" y="54"/>
                  <a:pt x="1302" y="54"/>
                  <a:pt x="1302" y="54"/>
                </a:cubicBezTo>
                <a:cubicBezTo>
                  <a:pt x="1302" y="54"/>
                  <a:pt x="1302" y="55"/>
                  <a:pt x="1302" y="55"/>
                </a:cubicBezTo>
                <a:cubicBezTo>
                  <a:pt x="1302" y="55"/>
                  <a:pt x="1302" y="55"/>
                  <a:pt x="1302" y="55"/>
                </a:cubicBezTo>
                <a:cubicBezTo>
                  <a:pt x="1302" y="56"/>
                  <a:pt x="1302" y="56"/>
                  <a:pt x="1302" y="56"/>
                </a:cubicBezTo>
                <a:cubicBezTo>
                  <a:pt x="1302" y="56"/>
                  <a:pt x="1302" y="57"/>
                  <a:pt x="1303" y="57"/>
                </a:cubicBezTo>
                <a:cubicBezTo>
                  <a:pt x="1303" y="57"/>
                  <a:pt x="1303" y="58"/>
                  <a:pt x="1303" y="58"/>
                </a:cubicBezTo>
                <a:cubicBezTo>
                  <a:pt x="1303" y="59"/>
                  <a:pt x="1304" y="59"/>
                  <a:pt x="1304" y="59"/>
                </a:cubicBezTo>
                <a:cubicBezTo>
                  <a:pt x="1304" y="59"/>
                  <a:pt x="1304" y="59"/>
                  <a:pt x="1304" y="60"/>
                </a:cubicBezTo>
                <a:cubicBezTo>
                  <a:pt x="1304" y="60"/>
                  <a:pt x="1304" y="60"/>
                  <a:pt x="1304" y="60"/>
                </a:cubicBezTo>
                <a:cubicBezTo>
                  <a:pt x="1304" y="60"/>
                  <a:pt x="1306" y="60"/>
                  <a:pt x="1306" y="60"/>
                </a:cubicBezTo>
                <a:cubicBezTo>
                  <a:pt x="1306" y="60"/>
                  <a:pt x="1307" y="60"/>
                  <a:pt x="1307" y="59"/>
                </a:cubicBezTo>
                <a:cubicBezTo>
                  <a:pt x="1308" y="59"/>
                  <a:pt x="1308" y="59"/>
                  <a:pt x="1309" y="59"/>
                </a:cubicBezTo>
                <a:cubicBezTo>
                  <a:pt x="1309" y="58"/>
                  <a:pt x="1309" y="58"/>
                  <a:pt x="1310" y="58"/>
                </a:cubicBezTo>
                <a:cubicBezTo>
                  <a:pt x="1310" y="58"/>
                  <a:pt x="1309" y="58"/>
                  <a:pt x="1309" y="58"/>
                </a:cubicBezTo>
                <a:cubicBezTo>
                  <a:pt x="1310" y="58"/>
                  <a:pt x="1310" y="58"/>
                  <a:pt x="1310" y="57"/>
                </a:cubicBezTo>
                <a:cubicBezTo>
                  <a:pt x="1311" y="57"/>
                  <a:pt x="1312" y="57"/>
                  <a:pt x="1313" y="57"/>
                </a:cubicBezTo>
                <a:cubicBezTo>
                  <a:pt x="1313" y="57"/>
                  <a:pt x="1313" y="57"/>
                  <a:pt x="1314" y="57"/>
                </a:cubicBezTo>
                <a:cubicBezTo>
                  <a:pt x="1314" y="57"/>
                  <a:pt x="1314" y="57"/>
                  <a:pt x="1314" y="57"/>
                </a:cubicBezTo>
                <a:cubicBezTo>
                  <a:pt x="1315" y="57"/>
                  <a:pt x="1315" y="57"/>
                  <a:pt x="1315" y="57"/>
                </a:cubicBezTo>
                <a:cubicBezTo>
                  <a:pt x="1315" y="57"/>
                  <a:pt x="1316" y="57"/>
                  <a:pt x="1316" y="57"/>
                </a:cubicBezTo>
                <a:cubicBezTo>
                  <a:pt x="1316" y="57"/>
                  <a:pt x="1316" y="57"/>
                  <a:pt x="1317" y="56"/>
                </a:cubicBezTo>
                <a:cubicBezTo>
                  <a:pt x="1317" y="56"/>
                  <a:pt x="1317" y="56"/>
                  <a:pt x="1318" y="56"/>
                </a:cubicBezTo>
                <a:cubicBezTo>
                  <a:pt x="1319" y="56"/>
                  <a:pt x="1319" y="56"/>
                  <a:pt x="1320" y="56"/>
                </a:cubicBezTo>
                <a:cubicBezTo>
                  <a:pt x="1320" y="56"/>
                  <a:pt x="1320" y="55"/>
                  <a:pt x="1321" y="55"/>
                </a:cubicBezTo>
                <a:cubicBezTo>
                  <a:pt x="1321" y="55"/>
                  <a:pt x="1321" y="55"/>
                  <a:pt x="1321" y="55"/>
                </a:cubicBezTo>
                <a:cubicBezTo>
                  <a:pt x="1322" y="55"/>
                  <a:pt x="1322" y="54"/>
                  <a:pt x="1323" y="54"/>
                </a:cubicBezTo>
                <a:cubicBezTo>
                  <a:pt x="1323" y="53"/>
                  <a:pt x="1323" y="53"/>
                  <a:pt x="1323" y="53"/>
                </a:cubicBezTo>
                <a:cubicBezTo>
                  <a:pt x="1322" y="52"/>
                  <a:pt x="1322" y="52"/>
                  <a:pt x="1321" y="52"/>
                </a:cubicBezTo>
                <a:cubicBezTo>
                  <a:pt x="1321" y="51"/>
                  <a:pt x="1321" y="51"/>
                  <a:pt x="1321" y="51"/>
                </a:cubicBezTo>
                <a:cubicBezTo>
                  <a:pt x="1321" y="50"/>
                  <a:pt x="1321" y="50"/>
                  <a:pt x="1321" y="50"/>
                </a:cubicBezTo>
                <a:cubicBezTo>
                  <a:pt x="1320" y="49"/>
                  <a:pt x="1320" y="49"/>
                  <a:pt x="1319" y="49"/>
                </a:cubicBezTo>
                <a:cubicBezTo>
                  <a:pt x="1319" y="49"/>
                  <a:pt x="1318" y="49"/>
                  <a:pt x="1318" y="48"/>
                </a:cubicBezTo>
                <a:cubicBezTo>
                  <a:pt x="1318" y="48"/>
                  <a:pt x="1317" y="49"/>
                  <a:pt x="1317" y="49"/>
                </a:cubicBezTo>
                <a:cubicBezTo>
                  <a:pt x="1317" y="48"/>
                  <a:pt x="1317" y="48"/>
                  <a:pt x="1316" y="48"/>
                </a:cubicBezTo>
                <a:cubicBezTo>
                  <a:pt x="1316" y="48"/>
                  <a:pt x="1315" y="48"/>
                  <a:pt x="1315" y="47"/>
                </a:cubicBezTo>
                <a:cubicBezTo>
                  <a:pt x="1314" y="47"/>
                  <a:pt x="1314" y="47"/>
                  <a:pt x="1314" y="46"/>
                </a:cubicBezTo>
                <a:cubicBezTo>
                  <a:pt x="1313" y="46"/>
                  <a:pt x="1313" y="46"/>
                  <a:pt x="1313" y="46"/>
                </a:cubicBezTo>
                <a:cubicBezTo>
                  <a:pt x="1313" y="46"/>
                  <a:pt x="1313" y="46"/>
                  <a:pt x="1313" y="46"/>
                </a:cubicBezTo>
                <a:cubicBezTo>
                  <a:pt x="1312" y="46"/>
                  <a:pt x="1312" y="46"/>
                  <a:pt x="1312" y="46"/>
                </a:cubicBezTo>
                <a:cubicBezTo>
                  <a:pt x="1312" y="46"/>
                  <a:pt x="1312" y="46"/>
                  <a:pt x="1312" y="45"/>
                </a:cubicBezTo>
                <a:cubicBezTo>
                  <a:pt x="1311" y="45"/>
                  <a:pt x="1311" y="45"/>
                  <a:pt x="1311" y="45"/>
                </a:cubicBezTo>
                <a:cubicBezTo>
                  <a:pt x="1310" y="45"/>
                  <a:pt x="1310" y="45"/>
                  <a:pt x="1310" y="45"/>
                </a:cubicBezTo>
                <a:cubicBezTo>
                  <a:pt x="1310" y="45"/>
                  <a:pt x="1310" y="45"/>
                  <a:pt x="1310" y="45"/>
                </a:cubicBezTo>
                <a:cubicBezTo>
                  <a:pt x="1309" y="45"/>
                  <a:pt x="1309" y="45"/>
                  <a:pt x="1309" y="45"/>
                </a:cubicBezTo>
                <a:cubicBezTo>
                  <a:pt x="1309" y="45"/>
                  <a:pt x="1308" y="44"/>
                  <a:pt x="1308" y="44"/>
                </a:cubicBezTo>
                <a:cubicBezTo>
                  <a:pt x="1308" y="44"/>
                  <a:pt x="1307" y="44"/>
                  <a:pt x="1307" y="43"/>
                </a:cubicBezTo>
                <a:cubicBezTo>
                  <a:pt x="1307" y="44"/>
                  <a:pt x="1307" y="44"/>
                  <a:pt x="1307" y="44"/>
                </a:cubicBezTo>
                <a:cubicBezTo>
                  <a:pt x="1307" y="44"/>
                  <a:pt x="1308" y="44"/>
                  <a:pt x="1308" y="45"/>
                </a:cubicBezTo>
                <a:cubicBezTo>
                  <a:pt x="1308" y="45"/>
                  <a:pt x="1308" y="45"/>
                  <a:pt x="1308" y="45"/>
                </a:cubicBezTo>
                <a:cubicBezTo>
                  <a:pt x="1308" y="45"/>
                  <a:pt x="1307" y="45"/>
                  <a:pt x="1307" y="45"/>
                </a:cubicBezTo>
                <a:cubicBezTo>
                  <a:pt x="1307" y="46"/>
                  <a:pt x="1307" y="46"/>
                  <a:pt x="1307" y="46"/>
                </a:cubicBezTo>
                <a:cubicBezTo>
                  <a:pt x="1307" y="46"/>
                  <a:pt x="1307" y="46"/>
                  <a:pt x="1306" y="46"/>
                </a:cubicBezTo>
                <a:cubicBezTo>
                  <a:pt x="1306" y="46"/>
                  <a:pt x="1306" y="45"/>
                  <a:pt x="1306" y="45"/>
                </a:cubicBezTo>
                <a:cubicBezTo>
                  <a:pt x="1306" y="44"/>
                  <a:pt x="1306" y="44"/>
                  <a:pt x="1306" y="43"/>
                </a:cubicBezTo>
                <a:cubicBezTo>
                  <a:pt x="1306" y="43"/>
                  <a:pt x="1305" y="42"/>
                  <a:pt x="1305" y="42"/>
                </a:cubicBezTo>
                <a:cubicBezTo>
                  <a:pt x="1305" y="42"/>
                  <a:pt x="1304" y="42"/>
                  <a:pt x="1304" y="42"/>
                </a:cubicBezTo>
                <a:cubicBezTo>
                  <a:pt x="1303" y="42"/>
                  <a:pt x="1303" y="41"/>
                  <a:pt x="1302" y="41"/>
                </a:cubicBezTo>
                <a:cubicBezTo>
                  <a:pt x="1302" y="41"/>
                  <a:pt x="1302" y="41"/>
                  <a:pt x="1301" y="41"/>
                </a:cubicBezTo>
                <a:cubicBezTo>
                  <a:pt x="1301" y="41"/>
                  <a:pt x="1301" y="41"/>
                  <a:pt x="1301" y="42"/>
                </a:cubicBezTo>
                <a:cubicBezTo>
                  <a:pt x="1301" y="42"/>
                  <a:pt x="1301" y="42"/>
                  <a:pt x="1301" y="42"/>
                </a:cubicBezTo>
                <a:cubicBezTo>
                  <a:pt x="1301" y="42"/>
                  <a:pt x="1302" y="43"/>
                  <a:pt x="1302" y="43"/>
                </a:cubicBezTo>
                <a:cubicBezTo>
                  <a:pt x="1302" y="43"/>
                  <a:pt x="1302" y="43"/>
                  <a:pt x="1303" y="44"/>
                </a:cubicBezTo>
                <a:cubicBezTo>
                  <a:pt x="1303" y="44"/>
                  <a:pt x="1302" y="44"/>
                  <a:pt x="1302" y="44"/>
                </a:cubicBezTo>
                <a:cubicBezTo>
                  <a:pt x="1302" y="44"/>
                  <a:pt x="1301" y="44"/>
                  <a:pt x="1301" y="44"/>
                </a:cubicBezTo>
                <a:cubicBezTo>
                  <a:pt x="1301" y="44"/>
                  <a:pt x="1301" y="43"/>
                  <a:pt x="1301" y="43"/>
                </a:cubicBezTo>
                <a:cubicBezTo>
                  <a:pt x="1301" y="43"/>
                  <a:pt x="1300" y="43"/>
                  <a:pt x="1300" y="43"/>
                </a:cubicBezTo>
                <a:cubicBezTo>
                  <a:pt x="1300" y="43"/>
                  <a:pt x="1300" y="43"/>
                  <a:pt x="1300" y="43"/>
                </a:cubicBezTo>
                <a:cubicBezTo>
                  <a:pt x="1300" y="43"/>
                  <a:pt x="1300" y="43"/>
                  <a:pt x="1300" y="43"/>
                </a:cubicBezTo>
                <a:cubicBezTo>
                  <a:pt x="1300" y="43"/>
                  <a:pt x="1300" y="44"/>
                  <a:pt x="1300" y="44"/>
                </a:cubicBezTo>
                <a:cubicBezTo>
                  <a:pt x="1300" y="44"/>
                  <a:pt x="1300" y="44"/>
                  <a:pt x="1300" y="44"/>
                </a:cubicBezTo>
                <a:cubicBezTo>
                  <a:pt x="1299" y="44"/>
                  <a:pt x="1299" y="45"/>
                  <a:pt x="1299" y="45"/>
                </a:cubicBezTo>
                <a:close/>
                <a:moveTo>
                  <a:pt x="1099" y="157"/>
                </a:moveTo>
                <a:cubicBezTo>
                  <a:pt x="1099" y="157"/>
                  <a:pt x="1099" y="157"/>
                  <a:pt x="1099" y="157"/>
                </a:cubicBezTo>
                <a:cubicBezTo>
                  <a:pt x="1098" y="157"/>
                  <a:pt x="1098" y="157"/>
                  <a:pt x="1098" y="156"/>
                </a:cubicBezTo>
                <a:cubicBezTo>
                  <a:pt x="1098" y="156"/>
                  <a:pt x="1098" y="156"/>
                  <a:pt x="1097" y="156"/>
                </a:cubicBezTo>
                <a:cubicBezTo>
                  <a:pt x="1097" y="157"/>
                  <a:pt x="1097" y="157"/>
                  <a:pt x="1097" y="157"/>
                </a:cubicBezTo>
                <a:cubicBezTo>
                  <a:pt x="1098" y="157"/>
                  <a:pt x="1098" y="157"/>
                  <a:pt x="1098" y="157"/>
                </a:cubicBezTo>
                <a:cubicBezTo>
                  <a:pt x="1098" y="157"/>
                  <a:pt x="1098" y="157"/>
                  <a:pt x="1099" y="157"/>
                </a:cubicBezTo>
                <a:close/>
                <a:moveTo>
                  <a:pt x="1148" y="147"/>
                </a:moveTo>
                <a:cubicBezTo>
                  <a:pt x="1148" y="147"/>
                  <a:pt x="1148" y="147"/>
                  <a:pt x="1148" y="147"/>
                </a:cubicBezTo>
                <a:cubicBezTo>
                  <a:pt x="1149" y="147"/>
                  <a:pt x="1149" y="147"/>
                  <a:pt x="1149" y="147"/>
                </a:cubicBezTo>
                <a:cubicBezTo>
                  <a:pt x="1149" y="147"/>
                  <a:pt x="1149" y="147"/>
                  <a:pt x="1149" y="146"/>
                </a:cubicBezTo>
                <a:cubicBezTo>
                  <a:pt x="1149" y="146"/>
                  <a:pt x="1148" y="147"/>
                  <a:pt x="1148" y="147"/>
                </a:cubicBezTo>
                <a:cubicBezTo>
                  <a:pt x="1148" y="147"/>
                  <a:pt x="1148" y="147"/>
                  <a:pt x="1148" y="147"/>
                </a:cubicBezTo>
                <a:close/>
                <a:moveTo>
                  <a:pt x="1330" y="56"/>
                </a:moveTo>
                <a:cubicBezTo>
                  <a:pt x="1330" y="56"/>
                  <a:pt x="1330" y="56"/>
                  <a:pt x="1331" y="56"/>
                </a:cubicBezTo>
                <a:cubicBezTo>
                  <a:pt x="1331" y="56"/>
                  <a:pt x="1331" y="56"/>
                  <a:pt x="1331" y="56"/>
                </a:cubicBezTo>
                <a:cubicBezTo>
                  <a:pt x="1331" y="56"/>
                  <a:pt x="1331" y="56"/>
                  <a:pt x="1330" y="56"/>
                </a:cubicBezTo>
                <a:cubicBezTo>
                  <a:pt x="1331" y="55"/>
                  <a:pt x="1331" y="55"/>
                  <a:pt x="1331" y="55"/>
                </a:cubicBezTo>
                <a:cubicBezTo>
                  <a:pt x="1331" y="55"/>
                  <a:pt x="1331" y="55"/>
                  <a:pt x="1332" y="55"/>
                </a:cubicBezTo>
                <a:cubicBezTo>
                  <a:pt x="1332" y="55"/>
                  <a:pt x="1331" y="55"/>
                  <a:pt x="1331" y="55"/>
                </a:cubicBezTo>
                <a:cubicBezTo>
                  <a:pt x="1331" y="55"/>
                  <a:pt x="1331" y="55"/>
                  <a:pt x="1330" y="55"/>
                </a:cubicBezTo>
                <a:cubicBezTo>
                  <a:pt x="1330" y="55"/>
                  <a:pt x="1330" y="55"/>
                  <a:pt x="1329" y="55"/>
                </a:cubicBezTo>
                <a:cubicBezTo>
                  <a:pt x="1329" y="55"/>
                  <a:pt x="1329" y="55"/>
                  <a:pt x="1329" y="56"/>
                </a:cubicBezTo>
                <a:cubicBezTo>
                  <a:pt x="1329" y="56"/>
                  <a:pt x="1329" y="56"/>
                  <a:pt x="1329" y="56"/>
                </a:cubicBezTo>
                <a:cubicBezTo>
                  <a:pt x="1329" y="56"/>
                  <a:pt x="1328" y="56"/>
                  <a:pt x="1328" y="56"/>
                </a:cubicBezTo>
                <a:cubicBezTo>
                  <a:pt x="1329" y="56"/>
                  <a:pt x="1329" y="56"/>
                  <a:pt x="1329" y="57"/>
                </a:cubicBezTo>
                <a:cubicBezTo>
                  <a:pt x="1329" y="57"/>
                  <a:pt x="1329" y="56"/>
                  <a:pt x="1330" y="56"/>
                </a:cubicBezTo>
                <a:close/>
                <a:moveTo>
                  <a:pt x="1067" y="166"/>
                </a:moveTo>
                <a:cubicBezTo>
                  <a:pt x="1067" y="166"/>
                  <a:pt x="1067" y="166"/>
                  <a:pt x="1066" y="166"/>
                </a:cubicBezTo>
                <a:cubicBezTo>
                  <a:pt x="1066" y="166"/>
                  <a:pt x="1066" y="166"/>
                  <a:pt x="1066" y="166"/>
                </a:cubicBezTo>
                <a:cubicBezTo>
                  <a:pt x="1066" y="166"/>
                  <a:pt x="1066" y="167"/>
                  <a:pt x="1066" y="167"/>
                </a:cubicBezTo>
                <a:cubicBezTo>
                  <a:pt x="1066" y="167"/>
                  <a:pt x="1066" y="167"/>
                  <a:pt x="1066" y="167"/>
                </a:cubicBezTo>
                <a:cubicBezTo>
                  <a:pt x="1066" y="168"/>
                  <a:pt x="1066" y="168"/>
                  <a:pt x="1067" y="168"/>
                </a:cubicBezTo>
                <a:cubicBezTo>
                  <a:pt x="1067" y="168"/>
                  <a:pt x="1067" y="168"/>
                  <a:pt x="1067" y="168"/>
                </a:cubicBezTo>
                <a:cubicBezTo>
                  <a:pt x="1067" y="168"/>
                  <a:pt x="1067" y="168"/>
                  <a:pt x="1067" y="167"/>
                </a:cubicBezTo>
                <a:cubicBezTo>
                  <a:pt x="1067" y="167"/>
                  <a:pt x="1067" y="167"/>
                  <a:pt x="1067" y="167"/>
                </a:cubicBezTo>
                <a:cubicBezTo>
                  <a:pt x="1067" y="167"/>
                  <a:pt x="1067" y="167"/>
                  <a:pt x="1067" y="166"/>
                </a:cubicBezTo>
                <a:cubicBezTo>
                  <a:pt x="1067" y="166"/>
                  <a:pt x="1067" y="166"/>
                  <a:pt x="1067" y="166"/>
                </a:cubicBezTo>
                <a:close/>
                <a:moveTo>
                  <a:pt x="1449" y="112"/>
                </a:moveTo>
                <a:cubicBezTo>
                  <a:pt x="1449" y="113"/>
                  <a:pt x="1449" y="113"/>
                  <a:pt x="1449" y="113"/>
                </a:cubicBezTo>
                <a:cubicBezTo>
                  <a:pt x="1449" y="113"/>
                  <a:pt x="1450" y="113"/>
                  <a:pt x="1450" y="113"/>
                </a:cubicBezTo>
                <a:cubicBezTo>
                  <a:pt x="1450" y="113"/>
                  <a:pt x="1450" y="112"/>
                  <a:pt x="1450" y="112"/>
                </a:cubicBezTo>
                <a:cubicBezTo>
                  <a:pt x="1450" y="112"/>
                  <a:pt x="1450" y="112"/>
                  <a:pt x="1450" y="111"/>
                </a:cubicBezTo>
                <a:cubicBezTo>
                  <a:pt x="1450" y="111"/>
                  <a:pt x="1449" y="111"/>
                  <a:pt x="1449" y="111"/>
                </a:cubicBezTo>
                <a:cubicBezTo>
                  <a:pt x="1448" y="112"/>
                  <a:pt x="1448" y="112"/>
                  <a:pt x="1448" y="112"/>
                </a:cubicBezTo>
                <a:cubicBezTo>
                  <a:pt x="1448" y="112"/>
                  <a:pt x="1448" y="112"/>
                  <a:pt x="1448" y="112"/>
                </a:cubicBezTo>
                <a:cubicBezTo>
                  <a:pt x="1448" y="112"/>
                  <a:pt x="1449" y="112"/>
                  <a:pt x="1449" y="112"/>
                </a:cubicBezTo>
                <a:close/>
                <a:moveTo>
                  <a:pt x="1497" y="111"/>
                </a:moveTo>
                <a:cubicBezTo>
                  <a:pt x="1497" y="111"/>
                  <a:pt x="1496" y="111"/>
                  <a:pt x="1496" y="110"/>
                </a:cubicBezTo>
                <a:cubicBezTo>
                  <a:pt x="1495" y="110"/>
                  <a:pt x="1495" y="110"/>
                  <a:pt x="1495" y="109"/>
                </a:cubicBezTo>
                <a:cubicBezTo>
                  <a:pt x="1494" y="109"/>
                  <a:pt x="1494" y="109"/>
                  <a:pt x="1494" y="109"/>
                </a:cubicBezTo>
                <a:cubicBezTo>
                  <a:pt x="1494" y="109"/>
                  <a:pt x="1494" y="109"/>
                  <a:pt x="1494" y="109"/>
                </a:cubicBezTo>
                <a:cubicBezTo>
                  <a:pt x="1494" y="109"/>
                  <a:pt x="1494" y="110"/>
                  <a:pt x="1494" y="110"/>
                </a:cubicBezTo>
                <a:cubicBezTo>
                  <a:pt x="1494" y="110"/>
                  <a:pt x="1494" y="110"/>
                  <a:pt x="1494" y="111"/>
                </a:cubicBezTo>
                <a:cubicBezTo>
                  <a:pt x="1495" y="111"/>
                  <a:pt x="1495" y="111"/>
                  <a:pt x="1496" y="111"/>
                </a:cubicBezTo>
                <a:cubicBezTo>
                  <a:pt x="1496" y="111"/>
                  <a:pt x="1496" y="111"/>
                  <a:pt x="1497" y="112"/>
                </a:cubicBezTo>
                <a:cubicBezTo>
                  <a:pt x="1497" y="112"/>
                  <a:pt x="1497" y="112"/>
                  <a:pt x="1498" y="112"/>
                </a:cubicBezTo>
                <a:cubicBezTo>
                  <a:pt x="1498" y="112"/>
                  <a:pt x="1499" y="113"/>
                  <a:pt x="1499" y="113"/>
                </a:cubicBezTo>
                <a:cubicBezTo>
                  <a:pt x="1499" y="113"/>
                  <a:pt x="1499" y="113"/>
                  <a:pt x="1500" y="113"/>
                </a:cubicBezTo>
                <a:cubicBezTo>
                  <a:pt x="1500" y="113"/>
                  <a:pt x="1500" y="113"/>
                  <a:pt x="1500" y="113"/>
                </a:cubicBezTo>
                <a:cubicBezTo>
                  <a:pt x="1499" y="112"/>
                  <a:pt x="1499" y="112"/>
                  <a:pt x="1498" y="111"/>
                </a:cubicBezTo>
                <a:cubicBezTo>
                  <a:pt x="1498" y="111"/>
                  <a:pt x="1498" y="111"/>
                  <a:pt x="1497" y="111"/>
                </a:cubicBezTo>
                <a:close/>
                <a:moveTo>
                  <a:pt x="1331" y="57"/>
                </a:moveTo>
                <a:cubicBezTo>
                  <a:pt x="1332" y="57"/>
                  <a:pt x="1332" y="58"/>
                  <a:pt x="1333" y="58"/>
                </a:cubicBezTo>
                <a:cubicBezTo>
                  <a:pt x="1333" y="58"/>
                  <a:pt x="1334" y="58"/>
                  <a:pt x="1335" y="58"/>
                </a:cubicBezTo>
                <a:cubicBezTo>
                  <a:pt x="1335" y="58"/>
                  <a:pt x="1335" y="58"/>
                  <a:pt x="1335" y="58"/>
                </a:cubicBezTo>
                <a:cubicBezTo>
                  <a:pt x="1336" y="58"/>
                  <a:pt x="1336" y="58"/>
                  <a:pt x="1336" y="58"/>
                </a:cubicBezTo>
                <a:cubicBezTo>
                  <a:pt x="1336" y="58"/>
                  <a:pt x="1337" y="58"/>
                  <a:pt x="1337" y="58"/>
                </a:cubicBezTo>
                <a:cubicBezTo>
                  <a:pt x="1337" y="57"/>
                  <a:pt x="1337" y="57"/>
                  <a:pt x="1337" y="57"/>
                </a:cubicBezTo>
                <a:cubicBezTo>
                  <a:pt x="1336" y="57"/>
                  <a:pt x="1336" y="56"/>
                  <a:pt x="1336" y="56"/>
                </a:cubicBezTo>
                <a:cubicBezTo>
                  <a:pt x="1336" y="56"/>
                  <a:pt x="1335" y="56"/>
                  <a:pt x="1335" y="56"/>
                </a:cubicBezTo>
                <a:cubicBezTo>
                  <a:pt x="1335" y="56"/>
                  <a:pt x="1335" y="56"/>
                  <a:pt x="1334" y="56"/>
                </a:cubicBezTo>
                <a:cubicBezTo>
                  <a:pt x="1334" y="56"/>
                  <a:pt x="1334" y="57"/>
                  <a:pt x="1333" y="57"/>
                </a:cubicBezTo>
                <a:cubicBezTo>
                  <a:pt x="1333" y="57"/>
                  <a:pt x="1332" y="57"/>
                  <a:pt x="1332" y="56"/>
                </a:cubicBezTo>
                <a:cubicBezTo>
                  <a:pt x="1332" y="57"/>
                  <a:pt x="1331" y="57"/>
                  <a:pt x="1331" y="57"/>
                </a:cubicBezTo>
                <a:cubicBezTo>
                  <a:pt x="1331" y="57"/>
                  <a:pt x="1331" y="57"/>
                  <a:pt x="1331" y="57"/>
                </a:cubicBezTo>
                <a:close/>
                <a:moveTo>
                  <a:pt x="1432" y="119"/>
                </a:moveTo>
                <a:cubicBezTo>
                  <a:pt x="1432" y="119"/>
                  <a:pt x="1433" y="119"/>
                  <a:pt x="1433" y="119"/>
                </a:cubicBezTo>
                <a:cubicBezTo>
                  <a:pt x="1433" y="119"/>
                  <a:pt x="1434" y="119"/>
                  <a:pt x="1434" y="119"/>
                </a:cubicBezTo>
                <a:cubicBezTo>
                  <a:pt x="1434" y="119"/>
                  <a:pt x="1434" y="119"/>
                  <a:pt x="1434" y="120"/>
                </a:cubicBezTo>
                <a:cubicBezTo>
                  <a:pt x="1434" y="119"/>
                  <a:pt x="1434" y="119"/>
                  <a:pt x="1434" y="119"/>
                </a:cubicBezTo>
                <a:cubicBezTo>
                  <a:pt x="1434" y="119"/>
                  <a:pt x="1434" y="119"/>
                  <a:pt x="1434" y="119"/>
                </a:cubicBezTo>
                <a:cubicBezTo>
                  <a:pt x="1433" y="118"/>
                  <a:pt x="1433" y="118"/>
                  <a:pt x="1433" y="118"/>
                </a:cubicBezTo>
                <a:cubicBezTo>
                  <a:pt x="1432" y="118"/>
                  <a:pt x="1432" y="118"/>
                  <a:pt x="1432" y="118"/>
                </a:cubicBezTo>
                <a:cubicBezTo>
                  <a:pt x="1432" y="118"/>
                  <a:pt x="1431" y="118"/>
                  <a:pt x="1431" y="118"/>
                </a:cubicBezTo>
                <a:cubicBezTo>
                  <a:pt x="1431" y="118"/>
                  <a:pt x="1431" y="118"/>
                  <a:pt x="1431" y="118"/>
                </a:cubicBezTo>
                <a:cubicBezTo>
                  <a:pt x="1431" y="118"/>
                  <a:pt x="1432" y="118"/>
                  <a:pt x="1432" y="119"/>
                </a:cubicBezTo>
                <a:cubicBezTo>
                  <a:pt x="1432" y="119"/>
                  <a:pt x="1432" y="119"/>
                  <a:pt x="1432" y="119"/>
                </a:cubicBezTo>
                <a:close/>
                <a:moveTo>
                  <a:pt x="1478" y="88"/>
                </a:moveTo>
                <a:cubicBezTo>
                  <a:pt x="1479" y="89"/>
                  <a:pt x="1479" y="89"/>
                  <a:pt x="1480" y="90"/>
                </a:cubicBezTo>
                <a:cubicBezTo>
                  <a:pt x="1480" y="90"/>
                  <a:pt x="1481" y="91"/>
                  <a:pt x="1481" y="92"/>
                </a:cubicBezTo>
                <a:cubicBezTo>
                  <a:pt x="1481" y="92"/>
                  <a:pt x="1481" y="93"/>
                  <a:pt x="1482" y="93"/>
                </a:cubicBezTo>
                <a:cubicBezTo>
                  <a:pt x="1482" y="94"/>
                  <a:pt x="1482" y="94"/>
                  <a:pt x="1483" y="94"/>
                </a:cubicBezTo>
                <a:cubicBezTo>
                  <a:pt x="1483" y="94"/>
                  <a:pt x="1483" y="94"/>
                  <a:pt x="1483" y="94"/>
                </a:cubicBezTo>
                <a:cubicBezTo>
                  <a:pt x="1483" y="94"/>
                  <a:pt x="1484" y="93"/>
                  <a:pt x="1484" y="93"/>
                </a:cubicBezTo>
                <a:cubicBezTo>
                  <a:pt x="1483" y="92"/>
                  <a:pt x="1483" y="92"/>
                  <a:pt x="1483" y="91"/>
                </a:cubicBezTo>
                <a:cubicBezTo>
                  <a:pt x="1483" y="91"/>
                  <a:pt x="1483" y="90"/>
                  <a:pt x="1483" y="90"/>
                </a:cubicBezTo>
                <a:cubicBezTo>
                  <a:pt x="1482" y="90"/>
                  <a:pt x="1482" y="90"/>
                  <a:pt x="1482" y="89"/>
                </a:cubicBezTo>
                <a:cubicBezTo>
                  <a:pt x="1481" y="89"/>
                  <a:pt x="1480" y="89"/>
                  <a:pt x="1480" y="89"/>
                </a:cubicBezTo>
                <a:cubicBezTo>
                  <a:pt x="1479" y="88"/>
                  <a:pt x="1479" y="88"/>
                  <a:pt x="1479" y="87"/>
                </a:cubicBezTo>
                <a:cubicBezTo>
                  <a:pt x="1479" y="87"/>
                  <a:pt x="1478" y="87"/>
                  <a:pt x="1478" y="87"/>
                </a:cubicBezTo>
                <a:cubicBezTo>
                  <a:pt x="1478" y="87"/>
                  <a:pt x="1478" y="87"/>
                  <a:pt x="1477" y="86"/>
                </a:cubicBezTo>
                <a:cubicBezTo>
                  <a:pt x="1477" y="87"/>
                  <a:pt x="1477" y="87"/>
                  <a:pt x="1478" y="87"/>
                </a:cubicBezTo>
                <a:cubicBezTo>
                  <a:pt x="1478" y="87"/>
                  <a:pt x="1478" y="88"/>
                  <a:pt x="1478" y="88"/>
                </a:cubicBezTo>
                <a:close/>
                <a:moveTo>
                  <a:pt x="1387" y="102"/>
                </a:moveTo>
                <a:cubicBezTo>
                  <a:pt x="1388" y="102"/>
                  <a:pt x="1388" y="102"/>
                  <a:pt x="1388" y="102"/>
                </a:cubicBezTo>
                <a:cubicBezTo>
                  <a:pt x="1388" y="102"/>
                  <a:pt x="1388" y="103"/>
                  <a:pt x="1388" y="103"/>
                </a:cubicBezTo>
                <a:cubicBezTo>
                  <a:pt x="1388" y="103"/>
                  <a:pt x="1388" y="103"/>
                  <a:pt x="1388" y="103"/>
                </a:cubicBezTo>
                <a:cubicBezTo>
                  <a:pt x="1387" y="103"/>
                  <a:pt x="1387" y="103"/>
                  <a:pt x="1387" y="103"/>
                </a:cubicBezTo>
                <a:cubicBezTo>
                  <a:pt x="1387" y="103"/>
                  <a:pt x="1387" y="103"/>
                  <a:pt x="1386" y="103"/>
                </a:cubicBezTo>
                <a:cubicBezTo>
                  <a:pt x="1387" y="103"/>
                  <a:pt x="1387" y="103"/>
                  <a:pt x="1387" y="104"/>
                </a:cubicBezTo>
                <a:cubicBezTo>
                  <a:pt x="1387" y="104"/>
                  <a:pt x="1388" y="104"/>
                  <a:pt x="1389" y="104"/>
                </a:cubicBezTo>
                <a:cubicBezTo>
                  <a:pt x="1390" y="104"/>
                  <a:pt x="1390" y="105"/>
                  <a:pt x="1391" y="105"/>
                </a:cubicBezTo>
                <a:cubicBezTo>
                  <a:pt x="1392" y="105"/>
                  <a:pt x="1392" y="105"/>
                  <a:pt x="1393" y="105"/>
                </a:cubicBezTo>
                <a:cubicBezTo>
                  <a:pt x="1393" y="106"/>
                  <a:pt x="1393" y="106"/>
                  <a:pt x="1393" y="106"/>
                </a:cubicBezTo>
                <a:cubicBezTo>
                  <a:pt x="1394" y="106"/>
                  <a:pt x="1394" y="106"/>
                  <a:pt x="1394" y="106"/>
                </a:cubicBezTo>
                <a:cubicBezTo>
                  <a:pt x="1394" y="106"/>
                  <a:pt x="1395" y="105"/>
                  <a:pt x="1395" y="105"/>
                </a:cubicBezTo>
                <a:cubicBezTo>
                  <a:pt x="1395" y="105"/>
                  <a:pt x="1395" y="105"/>
                  <a:pt x="1395" y="105"/>
                </a:cubicBezTo>
                <a:cubicBezTo>
                  <a:pt x="1395" y="105"/>
                  <a:pt x="1395" y="105"/>
                  <a:pt x="1395" y="105"/>
                </a:cubicBezTo>
                <a:cubicBezTo>
                  <a:pt x="1395" y="104"/>
                  <a:pt x="1395" y="104"/>
                  <a:pt x="1395" y="104"/>
                </a:cubicBezTo>
                <a:cubicBezTo>
                  <a:pt x="1395" y="104"/>
                  <a:pt x="1395" y="103"/>
                  <a:pt x="1395" y="103"/>
                </a:cubicBezTo>
                <a:cubicBezTo>
                  <a:pt x="1395" y="103"/>
                  <a:pt x="1395" y="102"/>
                  <a:pt x="1395" y="102"/>
                </a:cubicBezTo>
                <a:cubicBezTo>
                  <a:pt x="1394" y="102"/>
                  <a:pt x="1394" y="102"/>
                  <a:pt x="1394" y="101"/>
                </a:cubicBezTo>
                <a:cubicBezTo>
                  <a:pt x="1394" y="101"/>
                  <a:pt x="1394" y="101"/>
                  <a:pt x="1394" y="101"/>
                </a:cubicBezTo>
                <a:cubicBezTo>
                  <a:pt x="1394" y="101"/>
                  <a:pt x="1394" y="101"/>
                  <a:pt x="1393" y="101"/>
                </a:cubicBezTo>
                <a:cubicBezTo>
                  <a:pt x="1393" y="101"/>
                  <a:pt x="1392" y="100"/>
                  <a:pt x="1391" y="100"/>
                </a:cubicBezTo>
                <a:cubicBezTo>
                  <a:pt x="1390" y="101"/>
                  <a:pt x="1389" y="101"/>
                  <a:pt x="1389" y="101"/>
                </a:cubicBezTo>
                <a:cubicBezTo>
                  <a:pt x="1388" y="101"/>
                  <a:pt x="1388" y="101"/>
                  <a:pt x="1388" y="101"/>
                </a:cubicBezTo>
                <a:cubicBezTo>
                  <a:pt x="1387" y="101"/>
                  <a:pt x="1387" y="101"/>
                  <a:pt x="1387" y="101"/>
                </a:cubicBezTo>
                <a:cubicBezTo>
                  <a:pt x="1387" y="101"/>
                  <a:pt x="1387" y="101"/>
                  <a:pt x="1387" y="102"/>
                </a:cubicBezTo>
                <a:close/>
                <a:moveTo>
                  <a:pt x="1343" y="68"/>
                </a:moveTo>
                <a:cubicBezTo>
                  <a:pt x="1343" y="68"/>
                  <a:pt x="1343" y="68"/>
                  <a:pt x="1343" y="68"/>
                </a:cubicBezTo>
                <a:cubicBezTo>
                  <a:pt x="1343" y="68"/>
                  <a:pt x="1343" y="68"/>
                  <a:pt x="1344" y="68"/>
                </a:cubicBezTo>
                <a:cubicBezTo>
                  <a:pt x="1344" y="68"/>
                  <a:pt x="1344" y="68"/>
                  <a:pt x="1344" y="68"/>
                </a:cubicBezTo>
                <a:cubicBezTo>
                  <a:pt x="1344" y="67"/>
                  <a:pt x="1344" y="67"/>
                  <a:pt x="1344" y="66"/>
                </a:cubicBezTo>
                <a:cubicBezTo>
                  <a:pt x="1343" y="66"/>
                  <a:pt x="1343" y="66"/>
                  <a:pt x="1343" y="66"/>
                </a:cubicBezTo>
                <a:cubicBezTo>
                  <a:pt x="1342" y="66"/>
                  <a:pt x="1342" y="66"/>
                  <a:pt x="1342" y="66"/>
                </a:cubicBezTo>
                <a:cubicBezTo>
                  <a:pt x="1342" y="66"/>
                  <a:pt x="1342" y="66"/>
                  <a:pt x="1342" y="67"/>
                </a:cubicBezTo>
                <a:cubicBezTo>
                  <a:pt x="1342" y="67"/>
                  <a:pt x="1343" y="67"/>
                  <a:pt x="1343" y="68"/>
                </a:cubicBezTo>
                <a:cubicBezTo>
                  <a:pt x="1343" y="68"/>
                  <a:pt x="1343" y="68"/>
                  <a:pt x="1343" y="68"/>
                </a:cubicBezTo>
                <a:close/>
                <a:moveTo>
                  <a:pt x="1266" y="98"/>
                </a:moveTo>
                <a:cubicBezTo>
                  <a:pt x="1266" y="98"/>
                  <a:pt x="1266" y="98"/>
                  <a:pt x="1266" y="98"/>
                </a:cubicBezTo>
                <a:cubicBezTo>
                  <a:pt x="1266" y="98"/>
                  <a:pt x="1266" y="98"/>
                  <a:pt x="1266" y="98"/>
                </a:cubicBezTo>
                <a:cubicBezTo>
                  <a:pt x="1265" y="98"/>
                  <a:pt x="1265" y="98"/>
                  <a:pt x="1264" y="98"/>
                </a:cubicBezTo>
                <a:cubicBezTo>
                  <a:pt x="1264" y="98"/>
                  <a:pt x="1264" y="98"/>
                  <a:pt x="1264" y="98"/>
                </a:cubicBezTo>
                <a:cubicBezTo>
                  <a:pt x="1264" y="99"/>
                  <a:pt x="1265" y="99"/>
                  <a:pt x="1265" y="99"/>
                </a:cubicBezTo>
                <a:cubicBezTo>
                  <a:pt x="1265" y="99"/>
                  <a:pt x="1265" y="99"/>
                  <a:pt x="1265" y="99"/>
                </a:cubicBezTo>
                <a:cubicBezTo>
                  <a:pt x="1265" y="99"/>
                  <a:pt x="1265" y="99"/>
                  <a:pt x="1265" y="98"/>
                </a:cubicBezTo>
                <a:cubicBezTo>
                  <a:pt x="1265" y="98"/>
                  <a:pt x="1265" y="98"/>
                  <a:pt x="1265" y="98"/>
                </a:cubicBezTo>
                <a:cubicBezTo>
                  <a:pt x="1266" y="98"/>
                  <a:pt x="1266" y="98"/>
                  <a:pt x="1266" y="98"/>
                </a:cubicBezTo>
                <a:close/>
                <a:moveTo>
                  <a:pt x="1110" y="35"/>
                </a:moveTo>
                <a:cubicBezTo>
                  <a:pt x="1110" y="35"/>
                  <a:pt x="1110" y="35"/>
                  <a:pt x="1111" y="35"/>
                </a:cubicBezTo>
                <a:cubicBezTo>
                  <a:pt x="1110" y="35"/>
                  <a:pt x="1110" y="35"/>
                  <a:pt x="1110" y="35"/>
                </a:cubicBezTo>
                <a:cubicBezTo>
                  <a:pt x="1110" y="35"/>
                  <a:pt x="1110" y="35"/>
                  <a:pt x="1109" y="35"/>
                </a:cubicBezTo>
                <a:cubicBezTo>
                  <a:pt x="1109" y="35"/>
                  <a:pt x="1109" y="35"/>
                  <a:pt x="1109" y="35"/>
                </a:cubicBezTo>
                <a:cubicBezTo>
                  <a:pt x="1109" y="35"/>
                  <a:pt x="1109" y="35"/>
                  <a:pt x="1108" y="35"/>
                </a:cubicBezTo>
                <a:cubicBezTo>
                  <a:pt x="1108" y="35"/>
                  <a:pt x="1108" y="35"/>
                  <a:pt x="1108" y="35"/>
                </a:cubicBezTo>
                <a:cubicBezTo>
                  <a:pt x="1109" y="35"/>
                  <a:pt x="1109" y="35"/>
                  <a:pt x="1109" y="35"/>
                </a:cubicBezTo>
                <a:cubicBezTo>
                  <a:pt x="1110" y="35"/>
                  <a:pt x="1110" y="35"/>
                  <a:pt x="1110" y="35"/>
                </a:cubicBezTo>
                <a:close/>
                <a:moveTo>
                  <a:pt x="1107" y="38"/>
                </a:moveTo>
                <a:cubicBezTo>
                  <a:pt x="1108" y="38"/>
                  <a:pt x="1108" y="38"/>
                  <a:pt x="1108" y="38"/>
                </a:cubicBezTo>
                <a:cubicBezTo>
                  <a:pt x="1108" y="37"/>
                  <a:pt x="1108" y="37"/>
                  <a:pt x="1109" y="37"/>
                </a:cubicBezTo>
                <a:cubicBezTo>
                  <a:pt x="1109" y="37"/>
                  <a:pt x="1109" y="37"/>
                  <a:pt x="1108" y="37"/>
                </a:cubicBezTo>
                <a:cubicBezTo>
                  <a:pt x="1108" y="36"/>
                  <a:pt x="1108" y="36"/>
                  <a:pt x="1108" y="36"/>
                </a:cubicBezTo>
                <a:cubicBezTo>
                  <a:pt x="1108" y="36"/>
                  <a:pt x="1108" y="36"/>
                  <a:pt x="1107" y="36"/>
                </a:cubicBezTo>
                <a:cubicBezTo>
                  <a:pt x="1107" y="36"/>
                  <a:pt x="1107" y="36"/>
                  <a:pt x="1107" y="37"/>
                </a:cubicBezTo>
                <a:cubicBezTo>
                  <a:pt x="1106" y="37"/>
                  <a:pt x="1106" y="37"/>
                  <a:pt x="1106" y="37"/>
                </a:cubicBezTo>
                <a:cubicBezTo>
                  <a:pt x="1106" y="37"/>
                  <a:pt x="1106" y="37"/>
                  <a:pt x="1106" y="37"/>
                </a:cubicBezTo>
                <a:cubicBezTo>
                  <a:pt x="1106" y="37"/>
                  <a:pt x="1107" y="37"/>
                  <a:pt x="1107" y="38"/>
                </a:cubicBezTo>
                <a:close/>
                <a:moveTo>
                  <a:pt x="1106" y="35"/>
                </a:moveTo>
                <a:cubicBezTo>
                  <a:pt x="1107" y="35"/>
                  <a:pt x="1107" y="35"/>
                  <a:pt x="1107" y="35"/>
                </a:cubicBezTo>
                <a:cubicBezTo>
                  <a:pt x="1107" y="35"/>
                  <a:pt x="1107" y="35"/>
                  <a:pt x="1107" y="35"/>
                </a:cubicBezTo>
                <a:cubicBezTo>
                  <a:pt x="1107" y="35"/>
                  <a:pt x="1108" y="35"/>
                  <a:pt x="1108" y="35"/>
                </a:cubicBezTo>
                <a:cubicBezTo>
                  <a:pt x="1107" y="35"/>
                  <a:pt x="1107" y="35"/>
                  <a:pt x="1107" y="35"/>
                </a:cubicBezTo>
                <a:cubicBezTo>
                  <a:pt x="1107" y="35"/>
                  <a:pt x="1107" y="35"/>
                  <a:pt x="1106" y="35"/>
                </a:cubicBezTo>
                <a:close/>
                <a:moveTo>
                  <a:pt x="1114" y="27"/>
                </a:moveTo>
                <a:cubicBezTo>
                  <a:pt x="1114" y="27"/>
                  <a:pt x="1115" y="27"/>
                  <a:pt x="1115" y="27"/>
                </a:cubicBezTo>
                <a:cubicBezTo>
                  <a:pt x="1115" y="26"/>
                  <a:pt x="1115" y="26"/>
                  <a:pt x="1115" y="26"/>
                </a:cubicBezTo>
                <a:cubicBezTo>
                  <a:pt x="1115" y="26"/>
                  <a:pt x="1115" y="26"/>
                  <a:pt x="1115" y="25"/>
                </a:cubicBezTo>
                <a:cubicBezTo>
                  <a:pt x="1114" y="25"/>
                  <a:pt x="1114" y="25"/>
                  <a:pt x="1113" y="25"/>
                </a:cubicBezTo>
                <a:cubicBezTo>
                  <a:pt x="1113" y="25"/>
                  <a:pt x="1113" y="25"/>
                  <a:pt x="1113" y="25"/>
                </a:cubicBezTo>
                <a:cubicBezTo>
                  <a:pt x="1113" y="25"/>
                  <a:pt x="1113" y="25"/>
                  <a:pt x="1112" y="25"/>
                </a:cubicBezTo>
                <a:cubicBezTo>
                  <a:pt x="1112" y="25"/>
                  <a:pt x="1112" y="25"/>
                  <a:pt x="1112" y="25"/>
                </a:cubicBezTo>
                <a:cubicBezTo>
                  <a:pt x="1112" y="25"/>
                  <a:pt x="1112" y="26"/>
                  <a:pt x="1112" y="26"/>
                </a:cubicBezTo>
                <a:cubicBezTo>
                  <a:pt x="1113" y="26"/>
                  <a:pt x="1113" y="26"/>
                  <a:pt x="1114" y="27"/>
                </a:cubicBezTo>
                <a:close/>
                <a:moveTo>
                  <a:pt x="1114" y="29"/>
                </a:moveTo>
                <a:cubicBezTo>
                  <a:pt x="1114" y="29"/>
                  <a:pt x="1114" y="29"/>
                  <a:pt x="1114" y="29"/>
                </a:cubicBezTo>
                <a:cubicBezTo>
                  <a:pt x="1114" y="29"/>
                  <a:pt x="1114" y="29"/>
                  <a:pt x="1114" y="29"/>
                </a:cubicBezTo>
                <a:cubicBezTo>
                  <a:pt x="1114" y="29"/>
                  <a:pt x="1114" y="29"/>
                  <a:pt x="1114" y="30"/>
                </a:cubicBezTo>
                <a:cubicBezTo>
                  <a:pt x="1115" y="30"/>
                  <a:pt x="1115" y="30"/>
                  <a:pt x="1115" y="30"/>
                </a:cubicBezTo>
                <a:cubicBezTo>
                  <a:pt x="1116" y="30"/>
                  <a:pt x="1116" y="30"/>
                  <a:pt x="1116" y="29"/>
                </a:cubicBezTo>
                <a:cubicBezTo>
                  <a:pt x="1116" y="29"/>
                  <a:pt x="1116" y="29"/>
                  <a:pt x="1116" y="29"/>
                </a:cubicBezTo>
                <a:cubicBezTo>
                  <a:pt x="1116" y="29"/>
                  <a:pt x="1117" y="29"/>
                  <a:pt x="1117" y="29"/>
                </a:cubicBezTo>
                <a:cubicBezTo>
                  <a:pt x="1117" y="29"/>
                  <a:pt x="1117" y="28"/>
                  <a:pt x="1117" y="28"/>
                </a:cubicBezTo>
                <a:cubicBezTo>
                  <a:pt x="1116" y="28"/>
                  <a:pt x="1116" y="28"/>
                  <a:pt x="1116" y="28"/>
                </a:cubicBezTo>
                <a:cubicBezTo>
                  <a:pt x="1116" y="28"/>
                  <a:pt x="1116" y="28"/>
                  <a:pt x="1116" y="28"/>
                </a:cubicBezTo>
                <a:cubicBezTo>
                  <a:pt x="1115" y="28"/>
                  <a:pt x="1115" y="28"/>
                  <a:pt x="1115" y="28"/>
                </a:cubicBezTo>
                <a:cubicBezTo>
                  <a:pt x="1115" y="28"/>
                  <a:pt x="1115" y="28"/>
                  <a:pt x="1114" y="29"/>
                </a:cubicBezTo>
                <a:close/>
                <a:moveTo>
                  <a:pt x="1115" y="33"/>
                </a:moveTo>
                <a:cubicBezTo>
                  <a:pt x="1116" y="33"/>
                  <a:pt x="1116" y="33"/>
                  <a:pt x="1116" y="33"/>
                </a:cubicBezTo>
                <a:cubicBezTo>
                  <a:pt x="1116" y="32"/>
                  <a:pt x="1116" y="32"/>
                  <a:pt x="1116" y="32"/>
                </a:cubicBezTo>
                <a:cubicBezTo>
                  <a:pt x="1116" y="32"/>
                  <a:pt x="1116" y="32"/>
                  <a:pt x="1116" y="32"/>
                </a:cubicBezTo>
                <a:cubicBezTo>
                  <a:pt x="1116" y="32"/>
                  <a:pt x="1115" y="32"/>
                  <a:pt x="1115" y="32"/>
                </a:cubicBezTo>
                <a:cubicBezTo>
                  <a:pt x="1115" y="32"/>
                  <a:pt x="1115" y="32"/>
                  <a:pt x="1115" y="32"/>
                </a:cubicBezTo>
                <a:cubicBezTo>
                  <a:pt x="1114" y="32"/>
                  <a:pt x="1114" y="32"/>
                  <a:pt x="1114" y="32"/>
                </a:cubicBezTo>
                <a:cubicBezTo>
                  <a:pt x="1114" y="32"/>
                  <a:pt x="1114" y="32"/>
                  <a:pt x="1114" y="33"/>
                </a:cubicBezTo>
                <a:cubicBezTo>
                  <a:pt x="1115" y="33"/>
                  <a:pt x="1115" y="33"/>
                  <a:pt x="1115" y="33"/>
                </a:cubicBezTo>
                <a:close/>
                <a:moveTo>
                  <a:pt x="1105" y="25"/>
                </a:moveTo>
                <a:cubicBezTo>
                  <a:pt x="1105" y="25"/>
                  <a:pt x="1105" y="26"/>
                  <a:pt x="1105" y="26"/>
                </a:cubicBezTo>
                <a:cubicBezTo>
                  <a:pt x="1105" y="26"/>
                  <a:pt x="1106" y="26"/>
                  <a:pt x="1106" y="26"/>
                </a:cubicBezTo>
                <a:cubicBezTo>
                  <a:pt x="1106" y="26"/>
                  <a:pt x="1107" y="26"/>
                  <a:pt x="1107" y="26"/>
                </a:cubicBezTo>
                <a:cubicBezTo>
                  <a:pt x="1108" y="26"/>
                  <a:pt x="1108" y="26"/>
                  <a:pt x="1109" y="27"/>
                </a:cubicBezTo>
                <a:cubicBezTo>
                  <a:pt x="1110" y="27"/>
                  <a:pt x="1110" y="28"/>
                  <a:pt x="1111" y="28"/>
                </a:cubicBezTo>
                <a:cubicBezTo>
                  <a:pt x="1112" y="28"/>
                  <a:pt x="1112" y="28"/>
                  <a:pt x="1112" y="29"/>
                </a:cubicBezTo>
                <a:cubicBezTo>
                  <a:pt x="1112" y="29"/>
                  <a:pt x="1113" y="29"/>
                  <a:pt x="1113" y="29"/>
                </a:cubicBezTo>
                <a:cubicBezTo>
                  <a:pt x="1113" y="28"/>
                  <a:pt x="1113" y="28"/>
                  <a:pt x="1113" y="28"/>
                </a:cubicBezTo>
                <a:cubicBezTo>
                  <a:pt x="1114" y="28"/>
                  <a:pt x="1114" y="27"/>
                  <a:pt x="1114" y="27"/>
                </a:cubicBezTo>
                <a:cubicBezTo>
                  <a:pt x="1114" y="27"/>
                  <a:pt x="1114" y="27"/>
                  <a:pt x="1114" y="27"/>
                </a:cubicBezTo>
                <a:cubicBezTo>
                  <a:pt x="1113" y="27"/>
                  <a:pt x="1113" y="27"/>
                  <a:pt x="1113" y="27"/>
                </a:cubicBezTo>
                <a:cubicBezTo>
                  <a:pt x="1112" y="27"/>
                  <a:pt x="1112" y="27"/>
                  <a:pt x="1112" y="27"/>
                </a:cubicBezTo>
                <a:cubicBezTo>
                  <a:pt x="1111" y="27"/>
                  <a:pt x="1111" y="27"/>
                  <a:pt x="1110" y="26"/>
                </a:cubicBezTo>
                <a:cubicBezTo>
                  <a:pt x="1110" y="26"/>
                  <a:pt x="1109" y="26"/>
                  <a:pt x="1108" y="25"/>
                </a:cubicBezTo>
                <a:cubicBezTo>
                  <a:pt x="1108" y="25"/>
                  <a:pt x="1107" y="25"/>
                  <a:pt x="1107" y="25"/>
                </a:cubicBezTo>
                <a:cubicBezTo>
                  <a:pt x="1106" y="25"/>
                  <a:pt x="1106" y="25"/>
                  <a:pt x="1105" y="25"/>
                </a:cubicBezTo>
                <a:close/>
                <a:moveTo>
                  <a:pt x="1111" y="39"/>
                </a:moveTo>
                <a:cubicBezTo>
                  <a:pt x="1111" y="39"/>
                  <a:pt x="1111" y="39"/>
                  <a:pt x="1112" y="39"/>
                </a:cubicBezTo>
                <a:cubicBezTo>
                  <a:pt x="1112" y="39"/>
                  <a:pt x="1112" y="39"/>
                  <a:pt x="1112" y="39"/>
                </a:cubicBezTo>
                <a:cubicBezTo>
                  <a:pt x="1113" y="39"/>
                  <a:pt x="1114" y="39"/>
                  <a:pt x="1114" y="39"/>
                </a:cubicBezTo>
                <a:cubicBezTo>
                  <a:pt x="1115" y="39"/>
                  <a:pt x="1115" y="39"/>
                  <a:pt x="1116" y="39"/>
                </a:cubicBezTo>
                <a:cubicBezTo>
                  <a:pt x="1116" y="39"/>
                  <a:pt x="1116" y="39"/>
                  <a:pt x="1116" y="39"/>
                </a:cubicBezTo>
                <a:cubicBezTo>
                  <a:pt x="1116" y="39"/>
                  <a:pt x="1115" y="38"/>
                  <a:pt x="1115" y="38"/>
                </a:cubicBezTo>
                <a:cubicBezTo>
                  <a:pt x="1115" y="38"/>
                  <a:pt x="1115" y="38"/>
                  <a:pt x="1115" y="37"/>
                </a:cubicBezTo>
                <a:cubicBezTo>
                  <a:pt x="1115" y="37"/>
                  <a:pt x="1115" y="37"/>
                  <a:pt x="1115" y="37"/>
                </a:cubicBezTo>
                <a:cubicBezTo>
                  <a:pt x="1115" y="36"/>
                  <a:pt x="1115" y="36"/>
                  <a:pt x="1114" y="36"/>
                </a:cubicBezTo>
                <a:cubicBezTo>
                  <a:pt x="1114" y="36"/>
                  <a:pt x="1114" y="35"/>
                  <a:pt x="1114" y="35"/>
                </a:cubicBezTo>
                <a:cubicBezTo>
                  <a:pt x="1113" y="35"/>
                  <a:pt x="1113" y="35"/>
                  <a:pt x="1113" y="35"/>
                </a:cubicBezTo>
                <a:cubicBezTo>
                  <a:pt x="1112" y="35"/>
                  <a:pt x="1112" y="35"/>
                  <a:pt x="1111" y="35"/>
                </a:cubicBezTo>
                <a:cubicBezTo>
                  <a:pt x="1111" y="36"/>
                  <a:pt x="1110" y="36"/>
                  <a:pt x="1110" y="36"/>
                </a:cubicBezTo>
                <a:cubicBezTo>
                  <a:pt x="1110" y="36"/>
                  <a:pt x="1110" y="36"/>
                  <a:pt x="1110" y="36"/>
                </a:cubicBezTo>
                <a:cubicBezTo>
                  <a:pt x="1110" y="37"/>
                  <a:pt x="1110" y="37"/>
                  <a:pt x="1111" y="37"/>
                </a:cubicBezTo>
                <a:cubicBezTo>
                  <a:pt x="1111" y="38"/>
                  <a:pt x="1111" y="38"/>
                  <a:pt x="1111" y="39"/>
                </a:cubicBezTo>
                <a:close/>
                <a:moveTo>
                  <a:pt x="1644" y="389"/>
                </a:moveTo>
                <a:cubicBezTo>
                  <a:pt x="1645" y="389"/>
                  <a:pt x="1645" y="388"/>
                  <a:pt x="1645" y="388"/>
                </a:cubicBezTo>
                <a:cubicBezTo>
                  <a:pt x="1646" y="388"/>
                  <a:pt x="1646" y="388"/>
                  <a:pt x="1646" y="388"/>
                </a:cubicBezTo>
                <a:cubicBezTo>
                  <a:pt x="1647" y="388"/>
                  <a:pt x="1647" y="387"/>
                  <a:pt x="1648" y="387"/>
                </a:cubicBezTo>
                <a:cubicBezTo>
                  <a:pt x="1648" y="387"/>
                  <a:pt x="1648" y="387"/>
                  <a:pt x="1648" y="387"/>
                </a:cubicBezTo>
                <a:cubicBezTo>
                  <a:pt x="1648" y="387"/>
                  <a:pt x="1648" y="387"/>
                  <a:pt x="1648" y="387"/>
                </a:cubicBezTo>
                <a:cubicBezTo>
                  <a:pt x="1648" y="387"/>
                  <a:pt x="1647" y="386"/>
                  <a:pt x="1647" y="386"/>
                </a:cubicBezTo>
                <a:cubicBezTo>
                  <a:pt x="1647" y="386"/>
                  <a:pt x="1647" y="386"/>
                  <a:pt x="1647" y="386"/>
                </a:cubicBezTo>
                <a:cubicBezTo>
                  <a:pt x="1646" y="386"/>
                  <a:pt x="1646" y="386"/>
                  <a:pt x="1646" y="386"/>
                </a:cubicBezTo>
                <a:cubicBezTo>
                  <a:pt x="1646" y="386"/>
                  <a:pt x="1646" y="386"/>
                  <a:pt x="1646" y="386"/>
                </a:cubicBezTo>
                <a:cubicBezTo>
                  <a:pt x="1646" y="386"/>
                  <a:pt x="1645" y="386"/>
                  <a:pt x="1645" y="386"/>
                </a:cubicBezTo>
                <a:cubicBezTo>
                  <a:pt x="1645" y="387"/>
                  <a:pt x="1645" y="387"/>
                  <a:pt x="1645" y="387"/>
                </a:cubicBezTo>
                <a:cubicBezTo>
                  <a:pt x="1644" y="387"/>
                  <a:pt x="1644" y="388"/>
                  <a:pt x="1644" y="388"/>
                </a:cubicBezTo>
                <a:cubicBezTo>
                  <a:pt x="1644" y="388"/>
                  <a:pt x="1643" y="388"/>
                  <a:pt x="1643" y="388"/>
                </a:cubicBezTo>
                <a:cubicBezTo>
                  <a:pt x="1643" y="389"/>
                  <a:pt x="1643" y="389"/>
                  <a:pt x="1643" y="389"/>
                </a:cubicBezTo>
                <a:cubicBezTo>
                  <a:pt x="1643" y="389"/>
                  <a:pt x="1644" y="390"/>
                  <a:pt x="1644" y="390"/>
                </a:cubicBezTo>
                <a:cubicBezTo>
                  <a:pt x="1644" y="390"/>
                  <a:pt x="1644" y="389"/>
                  <a:pt x="1644" y="389"/>
                </a:cubicBezTo>
                <a:close/>
                <a:moveTo>
                  <a:pt x="1105" y="35"/>
                </a:moveTo>
                <a:cubicBezTo>
                  <a:pt x="1105" y="35"/>
                  <a:pt x="1105" y="35"/>
                  <a:pt x="1105" y="35"/>
                </a:cubicBezTo>
                <a:cubicBezTo>
                  <a:pt x="1104" y="35"/>
                  <a:pt x="1104" y="35"/>
                  <a:pt x="1104" y="34"/>
                </a:cubicBezTo>
                <a:cubicBezTo>
                  <a:pt x="1104" y="35"/>
                  <a:pt x="1104" y="35"/>
                  <a:pt x="1104" y="35"/>
                </a:cubicBezTo>
                <a:cubicBezTo>
                  <a:pt x="1104" y="35"/>
                  <a:pt x="1104" y="35"/>
                  <a:pt x="1104" y="35"/>
                </a:cubicBezTo>
                <a:cubicBezTo>
                  <a:pt x="1103" y="35"/>
                  <a:pt x="1103" y="36"/>
                  <a:pt x="1103" y="36"/>
                </a:cubicBezTo>
                <a:cubicBezTo>
                  <a:pt x="1103" y="36"/>
                  <a:pt x="1104" y="36"/>
                  <a:pt x="1104" y="36"/>
                </a:cubicBezTo>
                <a:cubicBezTo>
                  <a:pt x="1104" y="36"/>
                  <a:pt x="1104" y="36"/>
                  <a:pt x="1104" y="36"/>
                </a:cubicBezTo>
                <a:cubicBezTo>
                  <a:pt x="1105" y="36"/>
                  <a:pt x="1105" y="35"/>
                  <a:pt x="1105" y="35"/>
                </a:cubicBezTo>
                <a:close/>
                <a:moveTo>
                  <a:pt x="1109" y="32"/>
                </a:moveTo>
                <a:cubicBezTo>
                  <a:pt x="1109" y="32"/>
                  <a:pt x="1109" y="32"/>
                  <a:pt x="1110" y="32"/>
                </a:cubicBezTo>
                <a:cubicBezTo>
                  <a:pt x="1110" y="32"/>
                  <a:pt x="1110" y="32"/>
                  <a:pt x="1111" y="32"/>
                </a:cubicBezTo>
                <a:cubicBezTo>
                  <a:pt x="1111" y="32"/>
                  <a:pt x="1111" y="32"/>
                  <a:pt x="1112" y="32"/>
                </a:cubicBezTo>
                <a:cubicBezTo>
                  <a:pt x="1112" y="32"/>
                  <a:pt x="1112" y="32"/>
                  <a:pt x="1112" y="32"/>
                </a:cubicBezTo>
                <a:cubicBezTo>
                  <a:pt x="1111" y="31"/>
                  <a:pt x="1111" y="31"/>
                  <a:pt x="1111" y="31"/>
                </a:cubicBezTo>
                <a:cubicBezTo>
                  <a:pt x="1110" y="31"/>
                  <a:pt x="1110" y="31"/>
                  <a:pt x="1110" y="31"/>
                </a:cubicBezTo>
                <a:cubicBezTo>
                  <a:pt x="1110" y="31"/>
                  <a:pt x="1109" y="31"/>
                  <a:pt x="1109" y="31"/>
                </a:cubicBezTo>
                <a:cubicBezTo>
                  <a:pt x="1109" y="31"/>
                  <a:pt x="1108" y="31"/>
                  <a:pt x="1108" y="31"/>
                </a:cubicBezTo>
                <a:cubicBezTo>
                  <a:pt x="1107" y="31"/>
                  <a:pt x="1107" y="31"/>
                  <a:pt x="1107" y="31"/>
                </a:cubicBezTo>
                <a:cubicBezTo>
                  <a:pt x="1107" y="32"/>
                  <a:pt x="1107" y="32"/>
                  <a:pt x="1107" y="32"/>
                </a:cubicBezTo>
                <a:cubicBezTo>
                  <a:pt x="1107" y="32"/>
                  <a:pt x="1107" y="32"/>
                  <a:pt x="1107" y="32"/>
                </a:cubicBezTo>
                <a:cubicBezTo>
                  <a:pt x="1108" y="32"/>
                  <a:pt x="1108" y="32"/>
                  <a:pt x="1108" y="32"/>
                </a:cubicBezTo>
                <a:cubicBezTo>
                  <a:pt x="1108" y="32"/>
                  <a:pt x="1109" y="32"/>
                  <a:pt x="1109" y="32"/>
                </a:cubicBezTo>
                <a:close/>
                <a:moveTo>
                  <a:pt x="1652" y="281"/>
                </a:moveTo>
                <a:cubicBezTo>
                  <a:pt x="1652" y="281"/>
                  <a:pt x="1652" y="281"/>
                  <a:pt x="1652" y="281"/>
                </a:cubicBezTo>
                <a:cubicBezTo>
                  <a:pt x="1652" y="281"/>
                  <a:pt x="1652" y="281"/>
                  <a:pt x="1651" y="281"/>
                </a:cubicBezTo>
                <a:cubicBezTo>
                  <a:pt x="1651" y="281"/>
                  <a:pt x="1651" y="281"/>
                  <a:pt x="1651" y="281"/>
                </a:cubicBezTo>
                <a:cubicBezTo>
                  <a:pt x="1651" y="281"/>
                  <a:pt x="1650" y="281"/>
                  <a:pt x="1650" y="282"/>
                </a:cubicBezTo>
                <a:cubicBezTo>
                  <a:pt x="1651" y="282"/>
                  <a:pt x="1651" y="282"/>
                  <a:pt x="1651" y="282"/>
                </a:cubicBezTo>
                <a:cubicBezTo>
                  <a:pt x="1651" y="282"/>
                  <a:pt x="1652" y="282"/>
                  <a:pt x="1652" y="281"/>
                </a:cubicBezTo>
                <a:close/>
                <a:moveTo>
                  <a:pt x="1104" y="31"/>
                </a:moveTo>
                <a:cubicBezTo>
                  <a:pt x="1105" y="31"/>
                  <a:pt x="1105" y="31"/>
                  <a:pt x="1106" y="31"/>
                </a:cubicBezTo>
                <a:cubicBezTo>
                  <a:pt x="1106" y="31"/>
                  <a:pt x="1107" y="31"/>
                  <a:pt x="1107" y="31"/>
                </a:cubicBezTo>
                <a:cubicBezTo>
                  <a:pt x="1107" y="30"/>
                  <a:pt x="1106" y="30"/>
                  <a:pt x="1106" y="30"/>
                </a:cubicBezTo>
                <a:cubicBezTo>
                  <a:pt x="1106" y="30"/>
                  <a:pt x="1106" y="30"/>
                  <a:pt x="1106" y="30"/>
                </a:cubicBezTo>
                <a:cubicBezTo>
                  <a:pt x="1106" y="30"/>
                  <a:pt x="1105" y="30"/>
                  <a:pt x="1105" y="30"/>
                </a:cubicBezTo>
                <a:cubicBezTo>
                  <a:pt x="1105" y="30"/>
                  <a:pt x="1105" y="30"/>
                  <a:pt x="1105" y="30"/>
                </a:cubicBezTo>
                <a:cubicBezTo>
                  <a:pt x="1104" y="30"/>
                  <a:pt x="1104" y="30"/>
                  <a:pt x="1104" y="29"/>
                </a:cubicBezTo>
                <a:cubicBezTo>
                  <a:pt x="1104" y="29"/>
                  <a:pt x="1104" y="29"/>
                  <a:pt x="1104" y="30"/>
                </a:cubicBezTo>
                <a:cubicBezTo>
                  <a:pt x="1103" y="29"/>
                  <a:pt x="1103" y="29"/>
                  <a:pt x="1102" y="29"/>
                </a:cubicBezTo>
                <a:cubicBezTo>
                  <a:pt x="1102" y="29"/>
                  <a:pt x="1101" y="29"/>
                  <a:pt x="1101" y="29"/>
                </a:cubicBezTo>
                <a:cubicBezTo>
                  <a:pt x="1101" y="30"/>
                  <a:pt x="1100" y="30"/>
                  <a:pt x="1100" y="30"/>
                </a:cubicBezTo>
                <a:cubicBezTo>
                  <a:pt x="1100" y="30"/>
                  <a:pt x="1100" y="30"/>
                  <a:pt x="1100" y="30"/>
                </a:cubicBezTo>
                <a:cubicBezTo>
                  <a:pt x="1100" y="30"/>
                  <a:pt x="1101" y="30"/>
                  <a:pt x="1101" y="31"/>
                </a:cubicBezTo>
                <a:cubicBezTo>
                  <a:pt x="1101" y="31"/>
                  <a:pt x="1102" y="31"/>
                  <a:pt x="1102" y="31"/>
                </a:cubicBezTo>
                <a:cubicBezTo>
                  <a:pt x="1102" y="31"/>
                  <a:pt x="1103" y="31"/>
                  <a:pt x="1103" y="31"/>
                </a:cubicBezTo>
                <a:cubicBezTo>
                  <a:pt x="1103" y="31"/>
                  <a:pt x="1104" y="31"/>
                  <a:pt x="1104" y="31"/>
                </a:cubicBezTo>
                <a:close/>
                <a:moveTo>
                  <a:pt x="1106" y="34"/>
                </a:moveTo>
                <a:cubicBezTo>
                  <a:pt x="1106" y="34"/>
                  <a:pt x="1105" y="34"/>
                  <a:pt x="1105" y="34"/>
                </a:cubicBezTo>
                <a:cubicBezTo>
                  <a:pt x="1105" y="34"/>
                  <a:pt x="1104" y="34"/>
                  <a:pt x="1104" y="33"/>
                </a:cubicBezTo>
                <a:cubicBezTo>
                  <a:pt x="1104" y="34"/>
                  <a:pt x="1104" y="34"/>
                  <a:pt x="1104" y="34"/>
                </a:cubicBezTo>
                <a:cubicBezTo>
                  <a:pt x="1104" y="34"/>
                  <a:pt x="1104" y="34"/>
                  <a:pt x="1104" y="34"/>
                </a:cubicBezTo>
                <a:cubicBezTo>
                  <a:pt x="1104" y="34"/>
                  <a:pt x="1106" y="35"/>
                  <a:pt x="1106" y="35"/>
                </a:cubicBezTo>
                <a:cubicBezTo>
                  <a:pt x="1106" y="35"/>
                  <a:pt x="1106" y="34"/>
                  <a:pt x="1106" y="34"/>
                </a:cubicBezTo>
                <a:close/>
                <a:moveTo>
                  <a:pt x="1103" y="37"/>
                </a:moveTo>
                <a:cubicBezTo>
                  <a:pt x="1103" y="38"/>
                  <a:pt x="1103" y="38"/>
                  <a:pt x="1104" y="38"/>
                </a:cubicBezTo>
                <a:cubicBezTo>
                  <a:pt x="1104" y="38"/>
                  <a:pt x="1104" y="38"/>
                  <a:pt x="1104" y="38"/>
                </a:cubicBezTo>
                <a:cubicBezTo>
                  <a:pt x="1104" y="38"/>
                  <a:pt x="1104" y="38"/>
                  <a:pt x="1104" y="38"/>
                </a:cubicBezTo>
                <a:cubicBezTo>
                  <a:pt x="1104" y="37"/>
                  <a:pt x="1104" y="37"/>
                  <a:pt x="1104" y="37"/>
                </a:cubicBezTo>
                <a:cubicBezTo>
                  <a:pt x="1104" y="37"/>
                  <a:pt x="1103" y="37"/>
                  <a:pt x="1103" y="37"/>
                </a:cubicBezTo>
                <a:cubicBezTo>
                  <a:pt x="1103" y="37"/>
                  <a:pt x="1103" y="37"/>
                  <a:pt x="1103" y="37"/>
                </a:cubicBezTo>
                <a:close/>
                <a:moveTo>
                  <a:pt x="1618" y="320"/>
                </a:moveTo>
                <a:cubicBezTo>
                  <a:pt x="1618" y="321"/>
                  <a:pt x="1618" y="321"/>
                  <a:pt x="1618" y="322"/>
                </a:cubicBezTo>
                <a:cubicBezTo>
                  <a:pt x="1618" y="322"/>
                  <a:pt x="1618" y="323"/>
                  <a:pt x="1618" y="323"/>
                </a:cubicBezTo>
                <a:cubicBezTo>
                  <a:pt x="1618" y="323"/>
                  <a:pt x="1618" y="324"/>
                  <a:pt x="1618" y="324"/>
                </a:cubicBezTo>
                <a:cubicBezTo>
                  <a:pt x="1618" y="324"/>
                  <a:pt x="1618" y="324"/>
                  <a:pt x="1618" y="325"/>
                </a:cubicBezTo>
                <a:cubicBezTo>
                  <a:pt x="1618" y="325"/>
                  <a:pt x="1618" y="326"/>
                  <a:pt x="1618" y="327"/>
                </a:cubicBezTo>
                <a:cubicBezTo>
                  <a:pt x="1618" y="327"/>
                  <a:pt x="1618" y="328"/>
                  <a:pt x="1618" y="328"/>
                </a:cubicBezTo>
                <a:cubicBezTo>
                  <a:pt x="1619" y="328"/>
                  <a:pt x="1619" y="329"/>
                  <a:pt x="1619" y="329"/>
                </a:cubicBezTo>
                <a:cubicBezTo>
                  <a:pt x="1619" y="329"/>
                  <a:pt x="1619" y="329"/>
                  <a:pt x="1619" y="329"/>
                </a:cubicBezTo>
                <a:cubicBezTo>
                  <a:pt x="1619" y="329"/>
                  <a:pt x="1619" y="329"/>
                  <a:pt x="1619" y="329"/>
                </a:cubicBezTo>
                <a:cubicBezTo>
                  <a:pt x="1619" y="330"/>
                  <a:pt x="1620" y="331"/>
                  <a:pt x="1621" y="332"/>
                </a:cubicBezTo>
                <a:cubicBezTo>
                  <a:pt x="1621" y="332"/>
                  <a:pt x="1621" y="332"/>
                  <a:pt x="1622" y="333"/>
                </a:cubicBezTo>
                <a:cubicBezTo>
                  <a:pt x="1622" y="333"/>
                  <a:pt x="1622" y="334"/>
                  <a:pt x="1622" y="334"/>
                </a:cubicBezTo>
                <a:cubicBezTo>
                  <a:pt x="1622" y="335"/>
                  <a:pt x="1622" y="335"/>
                  <a:pt x="1622" y="335"/>
                </a:cubicBezTo>
                <a:cubicBezTo>
                  <a:pt x="1622" y="336"/>
                  <a:pt x="1622" y="336"/>
                  <a:pt x="1622" y="336"/>
                </a:cubicBezTo>
                <a:cubicBezTo>
                  <a:pt x="1622" y="337"/>
                  <a:pt x="1622" y="337"/>
                  <a:pt x="1622" y="338"/>
                </a:cubicBezTo>
                <a:cubicBezTo>
                  <a:pt x="1622" y="338"/>
                  <a:pt x="1622" y="338"/>
                  <a:pt x="1622" y="338"/>
                </a:cubicBezTo>
                <a:cubicBezTo>
                  <a:pt x="1622" y="339"/>
                  <a:pt x="1622" y="339"/>
                  <a:pt x="1623" y="339"/>
                </a:cubicBezTo>
                <a:cubicBezTo>
                  <a:pt x="1623" y="339"/>
                  <a:pt x="1623" y="340"/>
                  <a:pt x="1623" y="340"/>
                </a:cubicBezTo>
                <a:cubicBezTo>
                  <a:pt x="1623" y="340"/>
                  <a:pt x="1623" y="340"/>
                  <a:pt x="1623" y="340"/>
                </a:cubicBezTo>
                <a:cubicBezTo>
                  <a:pt x="1623" y="340"/>
                  <a:pt x="1623" y="341"/>
                  <a:pt x="1623" y="341"/>
                </a:cubicBezTo>
                <a:cubicBezTo>
                  <a:pt x="1623" y="341"/>
                  <a:pt x="1623" y="342"/>
                  <a:pt x="1623" y="342"/>
                </a:cubicBezTo>
                <a:cubicBezTo>
                  <a:pt x="1623" y="343"/>
                  <a:pt x="1623" y="343"/>
                  <a:pt x="1623" y="343"/>
                </a:cubicBezTo>
                <a:cubicBezTo>
                  <a:pt x="1623" y="344"/>
                  <a:pt x="1623" y="344"/>
                  <a:pt x="1624" y="344"/>
                </a:cubicBezTo>
                <a:cubicBezTo>
                  <a:pt x="1623" y="345"/>
                  <a:pt x="1623" y="345"/>
                  <a:pt x="1623" y="346"/>
                </a:cubicBezTo>
                <a:cubicBezTo>
                  <a:pt x="1623" y="346"/>
                  <a:pt x="1623" y="346"/>
                  <a:pt x="1623" y="346"/>
                </a:cubicBezTo>
                <a:cubicBezTo>
                  <a:pt x="1623" y="347"/>
                  <a:pt x="1623" y="347"/>
                  <a:pt x="1623" y="347"/>
                </a:cubicBezTo>
                <a:cubicBezTo>
                  <a:pt x="1623" y="347"/>
                  <a:pt x="1623" y="348"/>
                  <a:pt x="1623" y="348"/>
                </a:cubicBezTo>
                <a:cubicBezTo>
                  <a:pt x="1623" y="349"/>
                  <a:pt x="1623" y="349"/>
                  <a:pt x="1623" y="350"/>
                </a:cubicBezTo>
                <a:cubicBezTo>
                  <a:pt x="1623" y="350"/>
                  <a:pt x="1623" y="350"/>
                  <a:pt x="1622" y="350"/>
                </a:cubicBezTo>
                <a:cubicBezTo>
                  <a:pt x="1622" y="351"/>
                  <a:pt x="1622" y="351"/>
                  <a:pt x="1622" y="351"/>
                </a:cubicBezTo>
                <a:cubicBezTo>
                  <a:pt x="1623" y="352"/>
                  <a:pt x="1623" y="352"/>
                  <a:pt x="1623" y="352"/>
                </a:cubicBezTo>
                <a:cubicBezTo>
                  <a:pt x="1623" y="353"/>
                  <a:pt x="1624" y="354"/>
                  <a:pt x="1624" y="355"/>
                </a:cubicBezTo>
                <a:cubicBezTo>
                  <a:pt x="1624" y="355"/>
                  <a:pt x="1624" y="355"/>
                  <a:pt x="1624" y="355"/>
                </a:cubicBezTo>
                <a:cubicBezTo>
                  <a:pt x="1624" y="356"/>
                  <a:pt x="1624" y="356"/>
                  <a:pt x="1624" y="356"/>
                </a:cubicBezTo>
                <a:cubicBezTo>
                  <a:pt x="1624" y="357"/>
                  <a:pt x="1624" y="357"/>
                  <a:pt x="1624" y="358"/>
                </a:cubicBezTo>
                <a:cubicBezTo>
                  <a:pt x="1624" y="358"/>
                  <a:pt x="1623" y="359"/>
                  <a:pt x="1623" y="359"/>
                </a:cubicBezTo>
                <a:cubicBezTo>
                  <a:pt x="1624" y="360"/>
                  <a:pt x="1624" y="360"/>
                  <a:pt x="1624" y="360"/>
                </a:cubicBezTo>
                <a:cubicBezTo>
                  <a:pt x="1624" y="361"/>
                  <a:pt x="1624" y="361"/>
                  <a:pt x="1624" y="361"/>
                </a:cubicBezTo>
                <a:cubicBezTo>
                  <a:pt x="1624" y="362"/>
                  <a:pt x="1624" y="362"/>
                  <a:pt x="1625" y="363"/>
                </a:cubicBezTo>
                <a:cubicBezTo>
                  <a:pt x="1625" y="363"/>
                  <a:pt x="1625" y="363"/>
                  <a:pt x="1625" y="364"/>
                </a:cubicBezTo>
                <a:cubicBezTo>
                  <a:pt x="1624" y="364"/>
                  <a:pt x="1624" y="364"/>
                  <a:pt x="1624" y="365"/>
                </a:cubicBezTo>
                <a:cubicBezTo>
                  <a:pt x="1624" y="365"/>
                  <a:pt x="1623" y="365"/>
                  <a:pt x="1623" y="366"/>
                </a:cubicBezTo>
                <a:cubicBezTo>
                  <a:pt x="1623" y="366"/>
                  <a:pt x="1623" y="367"/>
                  <a:pt x="1623" y="367"/>
                </a:cubicBezTo>
                <a:cubicBezTo>
                  <a:pt x="1623" y="367"/>
                  <a:pt x="1624" y="368"/>
                  <a:pt x="1624" y="368"/>
                </a:cubicBezTo>
                <a:cubicBezTo>
                  <a:pt x="1624" y="368"/>
                  <a:pt x="1624" y="369"/>
                  <a:pt x="1624" y="369"/>
                </a:cubicBezTo>
                <a:cubicBezTo>
                  <a:pt x="1625" y="370"/>
                  <a:pt x="1625" y="370"/>
                  <a:pt x="1625" y="370"/>
                </a:cubicBezTo>
                <a:cubicBezTo>
                  <a:pt x="1626" y="370"/>
                  <a:pt x="1626" y="370"/>
                  <a:pt x="1626" y="369"/>
                </a:cubicBezTo>
                <a:cubicBezTo>
                  <a:pt x="1626" y="369"/>
                  <a:pt x="1626" y="369"/>
                  <a:pt x="1626" y="369"/>
                </a:cubicBezTo>
                <a:cubicBezTo>
                  <a:pt x="1626" y="369"/>
                  <a:pt x="1626" y="368"/>
                  <a:pt x="1626" y="368"/>
                </a:cubicBezTo>
                <a:cubicBezTo>
                  <a:pt x="1626" y="368"/>
                  <a:pt x="1626" y="367"/>
                  <a:pt x="1626" y="367"/>
                </a:cubicBezTo>
                <a:cubicBezTo>
                  <a:pt x="1626" y="367"/>
                  <a:pt x="1626" y="366"/>
                  <a:pt x="1627" y="366"/>
                </a:cubicBezTo>
                <a:cubicBezTo>
                  <a:pt x="1627" y="366"/>
                  <a:pt x="1627" y="366"/>
                  <a:pt x="1628" y="366"/>
                </a:cubicBezTo>
                <a:cubicBezTo>
                  <a:pt x="1628" y="366"/>
                  <a:pt x="1628" y="366"/>
                  <a:pt x="1628" y="366"/>
                </a:cubicBezTo>
                <a:cubicBezTo>
                  <a:pt x="1628" y="366"/>
                  <a:pt x="1628" y="367"/>
                  <a:pt x="1628" y="367"/>
                </a:cubicBezTo>
                <a:cubicBezTo>
                  <a:pt x="1628" y="367"/>
                  <a:pt x="1628" y="367"/>
                  <a:pt x="1629" y="367"/>
                </a:cubicBezTo>
                <a:cubicBezTo>
                  <a:pt x="1629" y="367"/>
                  <a:pt x="1630" y="368"/>
                  <a:pt x="1631" y="368"/>
                </a:cubicBezTo>
                <a:cubicBezTo>
                  <a:pt x="1631" y="368"/>
                  <a:pt x="1631" y="368"/>
                  <a:pt x="1631" y="368"/>
                </a:cubicBezTo>
                <a:cubicBezTo>
                  <a:pt x="1631" y="368"/>
                  <a:pt x="1631" y="368"/>
                  <a:pt x="1631" y="368"/>
                </a:cubicBezTo>
                <a:cubicBezTo>
                  <a:pt x="1632" y="368"/>
                  <a:pt x="1632" y="368"/>
                  <a:pt x="1632" y="368"/>
                </a:cubicBezTo>
                <a:cubicBezTo>
                  <a:pt x="1632" y="368"/>
                  <a:pt x="1631" y="368"/>
                  <a:pt x="1631" y="368"/>
                </a:cubicBezTo>
                <a:cubicBezTo>
                  <a:pt x="1631" y="369"/>
                  <a:pt x="1631" y="369"/>
                  <a:pt x="1631" y="369"/>
                </a:cubicBezTo>
                <a:cubicBezTo>
                  <a:pt x="1631" y="369"/>
                  <a:pt x="1632" y="370"/>
                  <a:pt x="1632" y="370"/>
                </a:cubicBezTo>
                <a:cubicBezTo>
                  <a:pt x="1632" y="370"/>
                  <a:pt x="1632" y="371"/>
                  <a:pt x="1632" y="371"/>
                </a:cubicBezTo>
                <a:cubicBezTo>
                  <a:pt x="1632" y="371"/>
                  <a:pt x="1632" y="371"/>
                  <a:pt x="1632" y="371"/>
                </a:cubicBezTo>
                <a:cubicBezTo>
                  <a:pt x="1632" y="371"/>
                  <a:pt x="1632" y="371"/>
                  <a:pt x="1632" y="371"/>
                </a:cubicBezTo>
                <a:cubicBezTo>
                  <a:pt x="1632" y="371"/>
                  <a:pt x="1632" y="371"/>
                  <a:pt x="1632" y="371"/>
                </a:cubicBezTo>
                <a:cubicBezTo>
                  <a:pt x="1633" y="370"/>
                  <a:pt x="1633" y="370"/>
                  <a:pt x="1633" y="370"/>
                </a:cubicBezTo>
                <a:cubicBezTo>
                  <a:pt x="1633" y="370"/>
                  <a:pt x="1633" y="369"/>
                  <a:pt x="1633" y="369"/>
                </a:cubicBezTo>
                <a:cubicBezTo>
                  <a:pt x="1633" y="369"/>
                  <a:pt x="1633" y="368"/>
                  <a:pt x="1632" y="368"/>
                </a:cubicBezTo>
                <a:cubicBezTo>
                  <a:pt x="1632" y="368"/>
                  <a:pt x="1632" y="367"/>
                  <a:pt x="1632" y="367"/>
                </a:cubicBezTo>
                <a:cubicBezTo>
                  <a:pt x="1632" y="367"/>
                  <a:pt x="1632" y="367"/>
                  <a:pt x="1632" y="366"/>
                </a:cubicBezTo>
                <a:cubicBezTo>
                  <a:pt x="1632" y="366"/>
                  <a:pt x="1632" y="366"/>
                  <a:pt x="1632" y="366"/>
                </a:cubicBezTo>
                <a:cubicBezTo>
                  <a:pt x="1631" y="366"/>
                  <a:pt x="1631" y="366"/>
                  <a:pt x="1631" y="366"/>
                </a:cubicBezTo>
                <a:cubicBezTo>
                  <a:pt x="1630" y="366"/>
                  <a:pt x="1630" y="365"/>
                  <a:pt x="1630" y="365"/>
                </a:cubicBezTo>
                <a:cubicBezTo>
                  <a:pt x="1630" y="365"/>
                  <a:pt x="1630" y="364"/>
                  <a:pt x="1630" y="364"/>
                </a:cubicBezTo>
                <a:cubicBezTo>
                  <a:pt x="1630" y="363"/>
                  <a:pt x="1630" y="363"/>
                  <a:pt x="1630" y="363"/>
                </a:cubicBezTo>
                <a:cubicBezTo>
                  <a:pt x="1629" y="362"/>
                  <a:pt x="1629" y="362"/>
                  <a:pt x="1629" y="362"/>
                </a:cubicBezTo>
                <a:cubicBezTo>
                  <a:pt x="1628" y="361"/>
                  <a:pt x="1628" y="361"/>
                  <a:pt x="1628" y="361"/>
                </a:cubicBezTo>
                <a:cubicBezTo>
                  <a:pt x="1628" y="361"/>
                  <a:pt x="1627" y="360"/>
                  <a:pt x="1627" y="360"/>
                </a:cubicBezTo>
                <a:cubicBezTo>
                  <a:pt x="1627" y="360"/>
                  <a:pt x="1627" y="359"/>
                  <a:pt x="1627" y="359"/>
                </a:cubicBezTo>
                <a:cubicBezTo>
                  <a:pt x="1627" y="358"/>
                  <a:pt x="1627" y="358"/>
                  <a:pt x="1627" y="358"/>
                </a:cubicBezTo>
                <a:cubicBezTo>
                  <a:pt x="1627" y="357"/>
                  <a:pt x="1627" y="357"/>
                  <a:pt x="1627" y="357"/>
                </a:cubicBezTo>
                <a:cubicBezTo>
                  <a:pt x="1627" y="356"/>
                  <a:pt x="1627" y="356"/>
                  <a:pt x="1627" y="355"/>
                </a:cubicBezTo>
                <a:cubicBezTo>
                  <a:pt x="1628" y="355"/>
                  <a:pt x="1628" y="355"/>
                  <a:pt x="1628" y="354"/>
                </a:cubicBezTo>
                <a:cubicBezTo>
                  <a:pt x="1628" y="354"/>
                  <a:pt x="1628" y="353"/>
                  <a:pt x="1627" y="353"/>
                </a:cubicBezTo>
                <a:cubicBezTo>
                  <a:pt x="1628" y="353"/>
                  <a:pt x="1628" y="352"/>
                  <a:pt x="1628" y="352"/>
                </a:cubicBezTo>
                <a:cubicBezTo>
                  <a:pt x="1628" y="352"/>
                  <a:pt x="1628" y="352"/>
                  <a:pt x="1628" y="351"/>
                </a:cubicBezTo>
                <a:cubicBezTo>
                  <a:pt x="1628" y="351"/>
                  <a:pt x="1628" y="351"/>
                  <a:pt x="1628" y="350"/>
                </a:cubicBezTo>
                <a:cubicBezTo>
                  <a:pt x="1628" y="350"/>
                  <a:pt x="1628" y="350"/>
                  <a:pt x="1629" y="350"/>
                </a:cubicBezTo>
                <a:cubicBezTo>
                  <a:pt x="1629" y="350"/>
                  <a:pt x="1629" y="350"/>
                  <a:pt x="1629" y="349"/>
                </a:cubicBezTo>
                <a:cubicBezTo>
                  <a:pt x="1629" y="349"/>
                  <a:pt x="1629" y="349"/>
                  <a:pt x="1629" y="349"/>
                </a:cubicBezTo>
                <a:cubicBezTo>
                  <a:pt x="1629" y="349"/>
                  <a:pt x="1630" y="349"/>
                  <a:pt x="1630" y="349"/>
                </a:cubicBezTo>
                <a:cubicBezTo>
                  <a:pt x="1630" y="349"/>
                  <a:pt x="1630" y="349"/>
                  <a:pt x="1630" y="350"/>
                </a:cubicBezTo>
                <a:cubicBezTo>
                  <a:pt x="1631" y="350"/>
                  <a:pt x="1631" y="350"/>
                  <a:pt x="1632" y="350"/>
                </a:cubicBezTo>
                <a:cubicBezTo>
                  <a:pt x="1632" y="350"/>
                  <a:pt x="1632" y="350"/>
                  <a:pt x="1633" y="350"/>
                </a:cubicBezTo>
                <a:cubicBezTo>
                  <a:pt x="1633" y="351"/>
                  <a:pt x="1633" y="351"/>
                  <a:pt x="1634" y="351"/>
                </a:cubicBezTo>
                <a:cubicBezTo>
                  <a:pt x="1634" y="352"/>
                  <a:pt x="1634" y="352"/>
                  <a:pt x="1634" y="353"/>
                </a:cubicBezTo>
                <a:cubicBezTo>
                  <a:pt x="1634" y="353"/>
                  <a:pt x="1635" y="353"/>
                  <a:pt x="1635" y="353"/>
                </a:cubicBezTo>
                <a:cubicBezTo>
                  <a:pt x="1635" y="354"/>
                  <a:pt x="1635" y="354"/>
                  <a:pt x="1636" y="354"/>
                </a:cubicBezTo>
                <a:cubicBezTo>
                  <a:pt x="1636" y="355"/>
                  <a:pt x="1636" y="355"/>
                  <a:pt x="1636" y="355"/>
                </a:cubicBezTo>
                <a:cubicBezTo>
                  <a:pt x="1636" y="356"/>
                  <a:pt x="1637" y="356"/>
                  <a:pt x="1637" y="356"/>
                </a:cubicBezTo>
                <a:cubicBezTo>
                  <a:pt x="1637" y="355"/>
                  <a:pt x="1637" y="355"/>
                  <a:pt x="1637" y="355"/>
                </a:cubicBezTo>
                <a:cubicBezTo>
                  <a:pt x="1636" y="354"/>
                  <a:pt x="1636" y="354"/>
                  <a:pt x="1636" y="353"/>
                </a:cubicBezTo>
                <a:cubicBezTo>
                  <a:pt x="1636" y="353"/>
                  <a:pt x="1635" y="353"/>
                  <a:pt x="1635" y="352"/>
                </a:cubicBezTo>
                <a:cubicBezTo>
                  <a:pt x="1635" y="352"/>
                  <a:pt x="1634" y="351"/>
                  <a:pt x="1634" y="351"/>
                </a:cubicBezTo>
                <a:cubicBezTo>
                  <a:pt x="1634" y="351"/>
                  <a:pt x="1634" y="350"/>
                  <a:pt x="1634" y="350"/>
                </a:cubicBezTo>
                <a:cubicBezTo>
                  <a:pt x="1634" y="350"/>
                  <a:pt x="1634" y="349"/>
                  <a:pt x="1634" y="349"/>
                </a:cubicBezTo>
                <a:cubicBezTo>
                  <a:pt x="1634" y="349"/>
                  <a:pt x="1634" y="349"/>
                  <a:pt x="1634" y="349"/>
                </a:cubicBezTo>
                <a:cubicBezTo>
                  <a:pt x="1633" y="348"/>
                  <a:pt x="1633" y="348"/>
                  <a:pt x="1633" y="347"/>
                </a:cubicBezTo>
                <a:cubicBezTo>
                  <a:pt x="1633" y="347"/>
                  <a:pt x="1633" y="346"/>
                  <a:pt x="1633" y="346"/>
                </a:cubicBezTo>
                <a:cubicBezTo>
                  <a:pt x="1633" y="346"/>
                  <a:pt x="1633" y="346"/>
                  <a:pt x="1632" y="346"/>
                </a:cubicBezTo>
                <a:cubicBezTo>
                  <a:pt x="1632" y="345"/>
                  <a:pt x="1632" y="345"/>
                  <a:pt x="1632" y="345"/>
                </a:cubicBezTo>
                <a:cubicBezTo>
                  <a:pt x="1632" y="344"/>
                  <a:pt x="1632" y="344"/>
                  <a:pt x="1631" y="343"/>
                </a:cubicBezTo>
                <a:cubicBezTo>
                  <a:pt x="1631" y="342"/>
                  <a:pt x="1631" y="342"/>
                  <a:pt x="1631" y="341"/>
                </a:cubicBezTo>
                <a:cubicBezTo>
                  <a:pt x="1631" y="340"/>
                  <a:pt x="1631" y="340"/>
                  <a:pt x="1631" y="340"/>
                </a:cubicBezTo>
                <a:cubicBezTo>
                  <a:pt x="1630" y="339"/>
                  <a:pt x="1630" y="338"/>
                  <a:pt x="1629" y="337"/>
                </a:cubicBezTo>
                <a:cubicBezTo>
                  <a:pt x="1629" y="337"/>
                  <a:pt x="1629" y="336"/>
                  <a:pt x="1629" y="336"/>
                </a:cubicBezTo>
                <a:cubicBezTo>
                  <a:pt x="1629" y="336"/>
                  <a:pt x="1629" y="335"/>
                  <a:pt x="1628" y="335"/>
                </a:cubicBezTo>
                <a:cubicBezTo>
                  <a:pt x="1628" y="335"/>
                  <a:pt x="1629" y="335"/>
                  <a:pt x="1629" y="335"/>
                </a:cubicBezTo>
                <a:cubicBezTo>
                  <a:pt x="1629" y="334"/>
                  <a:pt x="1628" y="334"/>
                  <a:pt x="1628" y="334"/>
                </a:cubicBezTo>
                <a:cubicBezTo>
                  <a:pt x="1628" y="334"/>
                  <a:pt x="1628" y="333"/>
                  <a:pt x="1628" y="333"/>
                </a:cubicBezTo>
                <a:cubicBezTo>
                  <a:pt x="1628" y="333"/>
                  <a:pt x="1628" y="333"/>
                  <a:pt x="1628" y="334"/>
                </a:cubicBezTo>
                <a:cubicBezTo>
                  <a:pt x="1627" y="333"/>
                  <a:pt x="1627" y="333"/>
                  <a:pt x="1627" y="333"/>
                </a:cubicBezTo>
                <a:cubicBezTo>
                  <a:pt x="1627" y="333"/>
                  <a:pt x="1627" y="333"/>
                  <a:pt x="1627" y="333"/>
                </a:cubicBezTo>
                <a:cubicBezTo>
                  <a:pt x="1627" y="333"/>
                  <a:pt x="1627" y="333"/>
                  <a:pt x="1627" y="332"/>
                </a:cubicBezTo>
                <a:cubicBezTo>
                  <a:pt x="1627" y="332"/>
                  <a:pt x="1627" y="332"/>
                  <a:pt x="1627" y="332"/>
                </a:cubicBezTo>
                <a:cubicBezTo>
                  <a:pt x="1627" y="332"/>
                  <a:pt x="1627" y="331"/>
                  <a:pt x="1626" y="331"/>
                </a:cubicBezTo>
                <a:cubicBezTo>
                  <a:pt x="1626" y="331"/>
                  <a:pt x="1626" y="330"/>
                  <a:pt x="1626" y="330"/>
                </a:cubicBezTo>
                <a:cubicBezTo>
                  <a:pt x="1626" y="329"/>
                  <a:pt x="1626" y="329"/>
                  <a:pt x="1626" y="329"/>
                </a:cubicBezTo>
                <a:cubicBezTo>
                  <a:pt x="1625" y="328"/>
                  <a:pt x="1625" y="328"/>
                  <a:pt x="1625" y="328"/>
                </a:cubicBezTo>
                <a:cubicBezTo>
                  <a:pt x="1625" y="328"/>
                  <a:pt x="1625" y="327"/>
                  <a:pt x="1625" y="327"/>
                </a:cubicBezTo>
                <a:cubicBezTo>
                  <a:pt x="1626" y="327"/>
                  <a:pt x="1626" y="327"/>
                  <a:pt x="1626" y="327"/>
                </a:cubicBezTo>
                <a:cubicBezTo>
                  <a:pt x="1626" y="327"/>
                  <a:pt x="1626" y="327"/>
                  <a:pt x="1626" y="327"/>
                </a:cubicBezTo>
                <a:cubicBezTo>
                  <a:pt x="1626" y="327"/>
                  <a:pt x="1626" y="326"/>
                  <a:pt x="1626" y="326"/>
                </a:cubicBezTo>
                <a:cubicBezTo>
                  <a:pt x="1626" y="325"/>
                  <a:pt x="1626" y="325"/>
                  <a:pt x="1626" y="325"/>
                </a:cubicBezTo>
                <a:cubicBezTo>
                  <a:pt x="1626" y="324"/>
                  <a:pt x="1626" y="324"/>
                  <a:pt x="1626" y="324"/>
                </a:cubicBezTo>
                <a:cubicBezTo>
                  <a:pt x="1626" y="324"/>
                  <a:pt x="1626" y="323"/>
                  <a:pt x="1626" y="323"/>
                </a:cubicBezTo>
                <a:cubicBezTo>
                  <a:pt x="1625" y="323"/>
                  <a:pt x="1625" y="322"/>
                  <a:pt x="1625" y="322"/>
                </a:cubicBezTo>
                <a:cubicBezTo>
                  <a:pt x="1625" y="322"/>
                  <a:pt x="1625" y="322"/>
                  <a:pt x="1625" y="321"/>
                </a:cubicBezTo>
                <a:cubicBezTo>
                  <a:pt x="1625" y="321"/>
                  <a:pt x="1625" y="321"/>
                  <a:pt x="1624" y="321"/>
                </a:cubicBezTo>
                <a:cubicBezTo>
                  <a:pt x="1624" y="321"/>
                  <a:pt x="1624" y="321"/>
                  <a:pt x="1625" y="320"/>
                </a:cubicBezTo>
                <a:cubicBezTo>
                  <a:pt x="1625" y="320"/>
                  <a:pt x="1625" y="321"/>
                  <a:pt x="1625" y="321"/>
                </a:cubicBezTo>
                <a:cubicBezTo>
                  <a:pt x="1625" y="321"/>
                  <a:pt x="1625" y="321"/>
                  <a:pt x="1626" y="322"/>
                </a:cubicBezTo>
                <a:cubicBezTo>
                  <a:pt x="1626" y="322"/>
                  <a:pt x="1626" y="322"/>
                  <a:pt x="1626" y="323"/>
                </a:cubicBezTo>
                <a:cubicBezTo>
                  <a:pt x="1626" y="323"/>
                  <a:pt x="1626" y="322"/>
                  <a:pt x="1626" y="322"/>
                </a:cubicBezTo>
                <a:cubicBezTo>
                  <a:pt x="1626" y="321"/>
                  <a:pt x="1626" y="321"/>
                  <a:pt x="1625" y="320"/>
                </a:cubicBezTo>
                <a:cubicBezTo>
                  <a:pt x="1625" y="320"/>
                  <a:pt x="1625" y="319"/>
                  <a:pt x="1625" y="319"/>
                </a:cubicBezTo>
                <a:cubicBezTo>
                  <a:pt x="1624" y="319"/>
                  <a:pt x="1624" y="319"/>
                  <a:pt x="1624" y="319"/>
                </a:cubicBezTo>
                <a:cubicBezTo>
                  <a:pt x="1624" y="318"/>
                  <a:pt x="1624" y="318"/>
                  <a:pt x="1624" y="318"/>
                </a:cubicBezTo>
                <a:cubicBezTo>
                  <a:pt x="1624" y="317"/>
                  <a:pt x="1623" y="317"/>
                  <a:pt x="1622" y="316"/>
                </a:cubicBezTo>
                <a:cubicBezTo>
                  <a:pt x="1622" y="316"/>
                  <a:pt x="1622" y="315"/>
                  <a:pt x="1622" y="315"/>
                </a:cubicBezTo>
                <a:cubicBezTo>
                  <a:pt x="1622" y="315"/>
                  <a:pt x="1622" y="314"/>
                  <a:pt x="1623" y="314"/>
                </a:cubicBezTo>
                <a:cubicBezTo>
                  <a:pt x="1622" y="314"/>
                  <a:pt x="1622" y="313"/>
                  <a:pt x="1622" y="313"/>
                </a:cubicBezTo>
                <a:cubicBezTo>
                  <a:pt x="1622" y="313"/>
                  <a:pt x="1621" y="313"/>
                  <a:pt x="1621" y="312"/>
                </a:cubicBezTo>
                <a:cubicBezTo>
                  <a:pt x="1620" y="312"/>
                  <a:pt x="1620" y="311"/>
                  <a:pt x="1620" y="311"/>
                </a:cubicBezTo>
                <a:cubicBezTo>
                  <a:pt x="1620" y="311"/>
                  <a:pt x="1620" y="311"/>
                  <a:pt x="1620" y="311"/>
                </a:cubicBezTo>
                <a:cubicBezTo>
                  <a:pt x="1620" y="311"/>
                  <a:pt x="1620" y="311"/>
                  <a:pt x="1619" y="311"/>
                </a:cubicBezTo>
                <a:cubicBezTo>
                  <a:pt x="1620" y="311"/>
                  <a:pt x="1620" y="311"/>
                  <a:pt x="1620" y="311"/>
                </a:cubicBezTo>
                <a:cubicBezTo>
                  <a:pt x="1620" y="311"/>
                  <a:pt x="1620" y="311"/>
                  <a:pt x="1620" y="312"/>
                </a:cubicBezTo>
                <a:cubicBezTo>
                  <a:pt x="1619" y="312"/>
                  <a:pt x="1619" y="312"/>
                  <a:pt x="1619" y="312"/>
                </a:cubicBezTo>
                <a:cubicBezTo>
                  <a:pt x="1619" y="311"/>
                  <a:pt x="1618" y="311"/>
                  <a:pt x="1618" y="311"/>
                </a:cubicBezTo>
                <a:cubicBezTo>
                  <a:pt x="1618" y="311"/>
                  <a:pt x="1618" y="311"/>
                  <a:pt x="1617" y="311"/>
                </a:cubicBezTo>
                <a:cubicBezTo>
                  <a:pt x="1618" y="311"/>
                  <a:pt x="1618" y="312"/>
                  <a:pt x="1618" y="312"/>
                </a:cubicBezTo>
                <a:cubicBezTo>
                  <a:pt x="1619" y="313"/>
                  <a:pt x="1619" y="313"/>
                  <a:pt x="1620" y="314"/>
                </a:cubicBezTo>
                <a:cubicBezTo>
                  <a:pt x="1620" y="314"/>
                  <a:pt x="1620" y="314"/>
                  <a:pt x="1620" y="314"/>
                </a:cubicBezTo>
                <a:cubicBezTo>
                  <a:pt x="1620" y="315"/>
                  <a:pt x="1620" y="315"/>
                  <a:pt x="1620" y="315"/>
                </a:cubicBezTo>
                <a:cubicBezTo>
                  <a:pt x="1620" y="315"/>
                  <a:pt x="1620" y="315"/>
                  <a:pt x="1620" y="315"/>
                </a:cubicBezTo>
                <a:cubicBezTo>
                  <a:pt x="1621" y="315"/>
                  <a:pt x="1621" y="315"/>
                  <a:pt x="1621" y="315"/>
                </a:cubicBezTo>
                <a:cubicBezTo>
                  <a:pt x="1621" y="315"/>
                  <a:pt x="1621" y="315"/>
                  <a:pt x="1621" y="316"/>
                </a:cubicBezTo>
                <a:cubicBezTo>
                  <a:pt x="1621" y="316"/>
                  <a:pt x="1621" y="316"/>
                  <a:pt x="1621" y="316"/>
                </a:cubicBezTo>
                <a:cubicBezTo>
                  <a:pt x="1620" y="316"/>
                  <a:pt x="1620" y="316"/>
                  <a:pt x="1620" y="316"/>
                </a:cubicBezTo>
                <a:cubicBezTo>
                  <a:pt x="1620" y="316"/>
                  <a:pt x="1620" y="316"/>
                  <a:pt x="1620" y="316"/>
                </a:cubicBezTo>
                <a:cubicBezTo>
                  <a:pt x="1620" y="316"/>
                  <a:pt x="1620" y="316"/>
                  <a:pt x="1621" y="317"/>
                </a:cubicBezTo>
                <a:cubicBezTo>
                  <a:pt x="1621" y="317"/>
                  <a:pt x="1621" y="317"/>
                  <a:pt x="1621" y="317"/>
                </a:cubicBezTo>
                <a:cubicBezTo>
                  <a:pt x="1620" y="317"/>
                  <a:pt x="1620" y="317"/>
                  <a:pt x="1620" y="317"/>
                </a:cubicBezTo>
                <a:cubicBezTo>
                  <a:pt x="1619" y="317"/>
                  <a:pt x="1619" y="317"/>
                  <a:pt x="1619" y="317"/>
                </a:cubicBezTo>
                <a:cubicBezTo>
                  <a:pt x="1619" y="317"/>
                  <a:pt x="1619" y="316"/>
                  <a:pt x="1618" y="316"/>
                </a:cubicBezTo>
                <a:cubicBezTo>
                  <a:pt x="1618" y="316"/>
                  <a:pt x="1618" y="316"/>
                  <a:pt x="1618" y="316"/>
                </a:cubicBezTo>
                <a:cubicBezTo>
                  <a:pt x="1617" y="317"/>
                  <a:pt x="1617" y="317"/>
                  <a:pt x="1617" y="317"/>
                </a:cubicBezTo>
                <a:cubicBezTo>
                  <a:pt x="1617" y="317"/>
                  <a:pt x="1617" y="318"/>
                  <a:pt x="1617" y="318"/>
                </a:cubicBezTo>
                <a:cubicBezTo>
                  <a:pt x="1617" y="318"/>
                  <a:pt x="1617" y="319"/>
                  <a:pt x="1617" y="319"/>
                </a:cubicBezTo>
                <a:cubicBezTo>
                  <a:pt x="1617" y="319"/>
                  <a:pt x="1618" y="320"/>
                  <a:pt x="1618" y="320"/>
                </a:cubicBezTo>
                <a:close/>
                <a:moveTo>
                  <a:pt x="1089" y="41"/>
                </a:moveTo>
                <a:cubicBezTo>
                  <a:pt x="1089" y="41"/>
                  <a:pt x="1089" y="41"/>
                  <a:pt x="1089" y="41"/>
                </a:cubicBezTo>
                <a:cubicBezTo>
                  <a:pt x="1089" y="41"/>
                  <a:pt x="1090" y="41"/>
                  <a:pt x="1090" y="41"/>
                </a:cubicBezTo>
                <a:cubicBezTo>
                  <a:pt x="1090" y="42"/>
                  <a:pt x="1090" y="42"/>
                  <a:pt x="1090" y="42"/>
                </a:cubicBezTo>
                <a:cubicBezTo>
                  <a:pt x="1090" y="42"/>
                  <a:pt x="1091" y="42"/>
                  <a:pt x="1091" y="42"/>
                </a:cubicBezTo>
                <a:cubicBezTo>
                  <a:pt x="1092" y="42"/>
                  <a:pt x="1092" y="42"/>
                  <a:pt x="1092" y="42"/>
                </a:cubicBezTo>
                <a:cubicBezTo>
                  <a:pt x="1093" y="42"/>
                  <a:pt x="1093" y="42"/>
                  <a:pt x="1094" y="42"/>
                </a:cubicBezTo>
                <a:cubicBezTo>
                  <a:pt x="1094" y="42"/>
                  <a:pt x="1094" y="42"/>
                  <a:pt x="1095" y="42"/>
                </a:cubicBezTo>
                <a:cubicBezTo>
                  <a:pt x="1094" y="41"/>
                  <a:pt x="1094" y="41"/>
                  <a:pt x="1094" y="41"/>
                </a:cubicBezTo>
                <a:cubicBezTo>
                  <a:pt x="1094" y="41"/>
                  <a:pt x="1093" y="41"/>
                  <a:pt x="1093" y="41"/>
                </a:cubicBezTo>
                <a:cubicBezTo>
                  <a:pt x="1093" y="40"/>
                  <a:pt x="1093" y="40"/>
                  <a:pt x="1093" y="40"/>
                </a:cubicBezTo>
                <a:cubicBezTo>
                  <a:pt x="1092" y="40"/>
                  <a:pt x="1092" y="39"/>
                  <a:pt x="1092" y="39"/>
                </a:cubicBezTo>
                <a:cubicBezTo>
                  <a:pt x="1091" y="39"/>
                  <a:pt x="1091" y="39"/>
                  <a:pt x="1091" y="39"/>
                </a:cubicBezTo>
                <a:cubicBezTo>
                  <a:pt x="1091" y="39"/>
                  <a:pt x="1091" y="40"/>
                  <a:pt x="1091" y="40"/>
                </a:cubicBezTo>
                <a:cubicBezTo>
                  <a:pt x="1091" y="40"/>
                  <a:pt x="1091" y="41"/>
                  <a:pt x="1091" y="41"/>
                </a:cubicBezTo>
                <a:cubicBezTo>
                  <a:pt x="1090" y="41"/>
                  <a:pt x="1090" y="41"/>
                  <a:pt x="1089" y="41"/>
                </a:cubicBezTo>
                <a:close/>
                <a:moveTo>
                  <a:pt x="1098" y="38"/>
                </a:moveTo>
                <a:cubicBezTo>
                  <a:pt x="1098" y="38"/>
                  <a:pt x="1098" y="39"/>
                  <a:pt x="1099" y="39"/>
                </a:cubicBezTo>
                <a:cubicBezTo>
                  <a:pt x="1099" y="39"/>
                  <a:pt x="1100" y="39"/>
                  <a:pt x="1100" y="39"/>
                </a:cubicBezTo>
                <a:cubicBezTo>
                  <a:pt x="1101" y="39"/>
                  <a:pt x="1101" y="39"/>
                  <a:pt x="1102" y="39"/>
                </a:cubicBezTo>
                <a:cubicBezTo>
                  <a:pt x="1102" y="38"/>
                  <a:pt x="1102" y="38"/>
                  <a:pt x="1102" y="38"/>
                </a:cubicBezTo>
                <a:cubicBezTo>
                  <a:pt x="1102" y="38"/>
                  <a:pt x="1102" y="37"/>
                  <a:pt x="1102" y="37"/>
                </a:cubicBezTo>
                <a:cubicBezTo>
                  <a:pt x="1102" y="37"/>
                  <a:pt x="1101" y="37"/>
                  <a:pt x="1101" y="37"/>
                </a:cubicBezTo>
                <a:cubicBezTo>
                  <a:pt x="1101" y="37"/>
                  <a:pt x="1101" y="37"/>
                  <a:pt x="1100" y="36"/>
                </a:cubicBezTo>
                <a:cubicBezTo>
                  <a:pt x="1100" y="36"/>
                  <a:pt x="1100" y="36"/>
                  <a:pt x="1099" y="36"/>
                </a:cubicBezTo>
                <a:cubicBezTo>
                  <a:pt x="1099" y="37"/>
                  <a:pt x="1099" y="37"/>
                  <a:pt x="1099" y="37"/>
                </a:cubicBezTo>
                <a:cubicBezTo>
                  <a:pt x="1099" y="37"/>
                  <a:pt x="1099" y="37"/>
                  <a:pt x="1099" y="37"/>
                </a:cubicBezTo>
                <a:cubicBezTo>
                  <a:pt x="1099" y="38"/>
                  <a:pt x="1099" y="38"/>
                  <a:pt x="1099" y="38"/>
                </a:cubicBezTo>
                <a:cubicBezTo>
                  <a:pt x="1099" y="38"/>
                  <a:pt x="1098" y="38"/>
                  <a:pt x="1098" y="38"/>
                </a:cubicBezTo>
                <a:close/>
                <a:moveTo>
                  <a:pt x="1089" y="38"/>
                </a:moveTo>
                <a:cubicBezTo>
                  <a:pt x="1089" y="38"/>
                  <a:pt x="1089" y="38"/>
                  <a:pt x="1088" y="38"/>
                </a:cubicBezTo>
                <a:cubicBezTo>
                  <a:pt x="1088" y="38"/>
                  <a:pt x="1087" y="37"/>
                  <a:pt x="1087" y="37"/>
                </a:cubicBezTo>
                <a:cubicBezTo>
                  <a:pt x="1087" y="38"/>
                  <a:pt x="1087" y="38"/>
                  <a:pt x="1087" y="38"/>
                </a:cubicBezTo>
                <a:cubicBezTo>
                  <a:pt x="1087" y="38"/>
                  <a:pt x="1086" y="38"/>
                  <a:pt x="1086" y="39"/>
                </a:cubicBezTo>
                <a:cubicBezTo>
                  <a:pt x="1087" y="39"/>
                  <a:pt x="1087" y="39"/>
                  <a:pt x="1087" y="39"/>
                </a:cubicBezTo>
                <a:cubicBezTo>
                  <a:pt x="1087" y="40"/>
                  <a:pt x="1088" y="40"/>
                  <a:pt x="1088" y="40"/>
                </a:cubicBezTo>
                <a:cubicBezTo>
                  <a:pt x="1089" y="40"/>
                  <a:pt x="1089" y="40"/>
                  <a:pt x="1089" y="39"/>
                </a:cubicBezTo>
                <a:cubicBezTo>
                  <a:pt x="1089" y="39"/>
                  <a:pt x="1089" y="39"/>
                  <a:pt x="1089" y="39"/>
                </a:cubicBezTo>
                <a:cubicBezTo>
                  <a:pt x="1089" y="39"/>
                  <a:pt x="1089" y="38"/>
                  <a:pt x="1089" y="38"/>
                </a:cubicBezTo>
                <a:close/>
                <a:moveTo>
                  <a:pt x="1100" y="35"/>
                </a:moveTo>
                <a:cubicBezTo>
                  <a:pt x="1100" y="35"/>
                  <a:pt x="1101" y="35"/>
                  <a:pt x="1101" y="35"/>
                </a:cubicBezTo>
                <a:cubicBezTo>
                  <a:pt x="1101" y="35"/>
                  <a:pt x="1100" y="35"/>
                  <a:pt x="1100" y="34"/>
                </a:cubicBezTo>
                <a:cubicBezTo>
                  <a:pt x="1100" y="34"/>
                  <a:pt x="1100" y="34"/>
                  <a:pt x="1100" y="33"/>
                </a:cubicBezTo>
                <a:cubicBezTo>
                  <a:pt x="1100" y="33"/>
                  <a:pt x="1100" y="33"/>
                  <a:pt x="1099" y="33"/>
                </a:cubicBezTo>
                <a:cubicBezTo>
                  <a:pt x="1099" y="33"/>
                  <a:pt x="1099" y="34"/>
                  <a:pt x="1099" y="34"/>
                </a:cubicBezTo>
                <a:cubicBezTo>
                  <a:pt x="1099" y="34"/>
                  <a:pt x="1099" y="34"/>
                  <a:pt x="1099" y="34"/>
                </a:cubicBezTo>
                <a:cubicBezTo>
                  <a:pt x="1099" y="35"/>
                  <a:pt x="1099" y="35"/>
                  <a:pt x="1099" y="35"/>
                </a:cubicBezTo>
                <a:cubicBezTo>
                  <a:pt x="1099" y="35"/>
                  <a:pt x="1100" y="35"/>
                  <a:pt x="1100" y="35"/>
                </a:cubicBezTo>
                <a:close/>
                <a:moveTo>
                  <a:pt x="1113" y="21"/>
                </a:moveTo>
                <a:cubicBezTo>
                  <a:pt x="1114" y="21"/>
                  <a:pt x="1114" y="21"/>
                  <a:pt x="1114" y="21"/>
                </a:cubicBezTo>
                <a:cubicBezTo>
                  <a:pt x="1114" y="21"/>
                  <a:pt x="1114" y="21"/>
                  <a:pt x="1114" y="21"/>
                </a:cubicBezTo>
                <a:cubicBezTo>
                  <a:pt x="1114" y="21"/>
                  <a:pt x="1114" y="20"/>
                  <a:pt x="1114" y="20"/>
                </a:cubicBezTo>
                <a:cubicBezTo>
                  <a:pt x="1114" y="20"/>
                  <a:pt x="1114" y="20"/>
                  <a:pt x="1113" y="20"/>
                </a:cubicBezTo>
                <a:cubicBezTo>
                  <a:pt x="1113" y="20"/>
                  <a:pt x="1113" y="20"/>
                  <a:pt x="1113" y="20"/>
                </a:cubicBezTo>
                <a:cubicBezTo>
                  <a:pt x="1113" y="20"/>
                  <a:pt x="1112" y="20"/>
                  <a:pt x="1112" y="20"/>
                </a:cubicBezTo>
                <a:cubicBezTo>
                  <a:pt x="1112" y="21"/>
                  <a:pt x="1112" y="21"/>
                  <a:pt x="1112" y="21"/>
                </a:cubicBezTo>
                <a:cubicBezTo>
                  <a:pt x="1113" y="21"/>
                  <a:pt x="1113" y="21"/>
                  <a:pt x="1113" y="21"/>
                </a:cubicBezTo>
                <a:close/>
                <a:moveTo>
                  <a:pt x="1086" y="27"/>
                </a:moveTo>
                <a:cubicBezTo>
                  <a:pt x="1086" y="26"/>
                  <a:pt x="1086" y="26"/>
                  <a:pt x="1086" y="26"/>
                </a:cubicBezTo>
                <a:cubicBezTo>
                  <a:pt x="1086" y="26"/>
                  <a:pt x="1086" y="26"/>
                  <a:pt x="1086" y="26"/>
                </a:cubicBezTo>
                <a:cubicBezTo>
                  <a:pt x="1086" y="25"/>
                  <a:pt x="1086" y="25"/>
                  <a:pt x="1086" y="25"/>
                </a:cubicBezTo>
                <a:cubicBezTo>
                  <a:pt x="1086" y="25"/>
                  <a:pt x="1085" y="25"/>
                  <a:pt x="1085" y="25"/>
                </a:cubicBezTo>
                <a:cubicBezTo>
                  <a:pt x="1085" y="25"/>
                  <a:pt x="1085" y="25"/>
                  <a:pt x="1084" y="25"/>
                </a:cubicBezTo>
                <a:cubicBezTo>
                  <a:pt x="1084" y="26"/>
                  <a:pt x="1084" y="26"/>
                  <a:pt x="1084" y="26"/>
                </a:cubicBezTo>
                <a:cubicBezTo>
                  <a:pt x="1084" y="26"/>
                  <a:pt x="1084" y="26"/>
                  <a:pt x="1084" y="26"/>
                </a:cubicBezTo>
                <a:cubicBezTo>
                  <a:pt x="1085" y="26"/>
                  <a:pt x="1085" y="27"/>
                  <a:pt x="1086" y="27"/>
                </a:cubicBezTo>
                <a:close/>
                <a:moveTo>
                  <a:pt x="1079" y="34"/>
                </a:moveTo>
                <a:cubicBezTo>
                  <a:pt x="1079" y="34"/>
                  <a:pt x="1078" y="34"/>
                  <a:pt x="1078" y="34"/>
                </a:cubicBezTo>
                <a:cubicBezTo>
                  <a:pt x="1078" y="34"/>
                  <a:pt x="1077" y="34"/>
                  <a:pt x="1077" y="34"/>
                </a:cubicBezTo>
                <a:cubicBezTo>
                  <a:pt x="1077" y="34"/>
                  <a:pt x="1076" y="33"/>
                  <a:pt x="1076" y="33"/>
                </a:cubicBezTo>
                <a:cubicBezTo>
                  <a:pt x="1076" y="33"/>
                  <a:pt x="1075" y="33"/>
                  <a:pt x="1075" y="33"/>
                </a:cubicBezTo>
                <a:cubicBezTo>
                  <a:pt x="1075" y="33"/>
                  <a:pt x="1075" y="33"/>
                  <a:pt x="1075" y="33"/>
                </a:cubicBezTo>
                <a:cubicBezTo>
                  <a:pt x="1075" y="33"/>
                  <a:pt x="1075" y="33"/>
                  <a:pt x="1075" y="34"/>
                </a:cubicBezTo>
                <a:cubicBezTo>
                  <a:pt x="1074" y="34"/>
                  <a:pt x="1074" y="34"/>
                  <a:pt x="1074" y="34"/>
                </a:cubicBezTo>
                <a:cubicBezTo>
                  <a:pt x="1074" y="34"/>
                  <a:pt x="1074" y="34"/>
                  <a:pt x="1074" y="35"/>
                </a:cubicBezTo>
                <a:cubicBezTo>
                  <a:pt x="1075" y="35"/>
                  <a:pt x="1075" y="35"/>
                  <a:pt x="1075" y="35"/>
                </a:cubicBezTo>
                <a:cubicBezTo>
                  <a:pt x="1075" y="35"/>
                  <a:pt x="1076" y="35"/>
                  <a:pt x="1076" y="34"/>
                </a:cubicBezTo>
                <a:cubicBezTo>
                  <a:pt x="1076" y="35"/>
                  <a:pt x="1077" y="35"/>
                  <a:pt x="1077" y="35"/>
                </a:cubicBezTo>
                <a:cubicBezTo>
                  <a:pt x="1077" y="35"/>
                  <a:pt x="1077" y="35"/>
                  <a:pt x="1077" y="36"/>
                </a:cubicBezTo>
                <a:cubicBezTo>
                  <a:pt x="1078" y="36"/>
                  <a:pt x="1078" y="36"/>
                  <a:pt x="1078" y="36"/>
                </a:cubicBezTo>
                <a:cubicBezTo>
                  <a:pt x="1078" y="36"/>
                  <a:pt x="1079" y="36"/>
                  <a:pt x="1079" y="36"/>
                </a:cubicBezTo>
                <a:cubicBezTo>
                  <a:pt x="1078" y="36"/>
                  <a:pt x="1078" y="36"/>
                  <a:pt x="1078" y="36"/>
                </a:cubicBezTo>
                <a:cubicBezTo>
                  <a:pt x="1077" y="36"/>
                  <a:pt x="1077" y="36"/>
                  <a:pt x="1076" y="36"/>
                </a:cubicBezTo>
                <a:cubicBezTo>
                  <a:pt x="1076" y="36"/>
                  <a:pt x="1076" y="37"/>
                  <a:pt x="1075" y="37"/>
                </a:cubicBezTo>
                <a:cubicBezTo>
                  <a:pt x="1075" y="37"/>
                  <a:pt x="1076" y="38"/>
                  <a:pt x="1076" y="39"/>
                </a:cubicBezTo>
                <a:cubicBezTo>
                  <a:pt x="1076" y="39"/>
                  <a:pt x="1076" y="39"/>
                  <a:pt x="1076" y="39"/>
                </a:cubicBezTo>
                <a:cubicBezTo>
                  <a:pt x="1076" y="39"/>
                  <a:pt x="1076" y="39"/>
                  <a:pt x="1076" y="40"/>
                </a:cubicBezTo>
                <a:cubicBezTo>
                  <a:pt x="1076" y="40"/>
                  <a:pt x="1076" y="40"/>
                  <a:pt x="1076" y="40"/>
                </a:cubicBezTo>
                <a:cubicBezTo>
                  <a:pt x="1077" y="40"/>
                  <a:pt x="1077" y="40"/>
                  <a:pt x="1077" y="40"/>
                </a:cubicBezTo>
                <a:cubicBezTo>
                  <a:pt x="1077" y="40"/>
                  <a:pt x="1078" y="40"/>
                  <a:pt x="1078" y="40"/>
                </a:cubicBezTo>
                <a:cubicBezTo>
                  <a:pt x="1078" y="40"/>
                  <a:pt x="1078" y="40"/>
                  <a:pt x="1079" y="39"/>
                </a:cubicBezTo>
                <a:cubicBezTo>
                  <a:pt x="1079" y="39"/>
                  <a:pt x="1079" y="39"/>
                  <a:pt x="1079" y="39"/>
                </a:cubicBezTo>
                <a:cubicBezTo>
                  <a:pt x="1079" y="39"/>
                  <a:pt x="1079" y="39"/>
                  <a:pt x="1079" y="39"/>
                </a:cubicBezTo>
                <a:cubicBezTo>
                  <a:pt x="1080" y="39"/>
                  <a:pt x="1080" y="39"/>
                  <a:pt x="1080" y="39"/>
                </a:cubicBezTo>
                <a:cubicBezTo>
                  <a:pt x="1080" y="40"/>
                  <a:pt x="1080" y="40"/>
                  <a:pt x="1080" y="41"/>
                </a:cubicBezTo>
                <a:cubicBezTo>
                  <a:pt x="1081" y="41"/>
                  <a:pt x="1081" y="41"/>
                  <a:pt x="1081" y="41"/>
                </a:cubicBezTo>
                <a:cubicBezTo>
                  <a:pt x="1081" y="41"/>
                  <a:pt x="1081" y="41"/>
                  <a:pt x="1082" y="41"/>
                </a:cubicBezTo>
                <a:cubicBezTo>
                  <a:pt x="1082" y="40"/>
                  <a:pt x="1082" y="40"/>
                  <a:pt x="1082" y="40"/>
                </a:cubicBezTo>
                <a:cubicBezTo>
                  <a:pt x="1082" y="40"/>
                  <a:pt x="1082" y="40"/>
                  <a:pt x="1082" y="40"/>
                </a:cubicBezTo>
                <a:cubicBezTo>
                  <a:pt x="1082" y="39"/>
                  <a:pt x="1082" y="39"/>
                  <a:pt x="1082" y="39"/>
                </a:cubicBezTo>
                <a:cubicBezTo>
                  <a:pt x="1083" y="39"/>
                  <a:pt x="1083" y="39"/>
                  <a:pt x="1083" y="39"/>
                </a:cubicBezTo>
                <a:cubicBezTo>
                  <a:pt x="1083" y="39"/>
                  <a:pt x="1084" y="39"/>
                  <a:pt x="1084" y="39"/>
                </a:cubicBezTo>
                <a:cubicBezTo>
                  <a:pt x="1084" y="39"/>
                  <a:pt x="1084" y="39"/>
                  <a:pt x="1084" y="38"/>
                </a:cubicBezTo>
                <a:cubicBezTo>
                  <a:pt x="1084" y="38"/>
                  <a:pt x="1084" y="38"/>
                  <a:pt x="1084" y="37"/>
                </a:cubicBezTo>
                <a:cubicBezTo>
                  <a:pt x="1084" y="37"/>
                  <a:pt x="1083" y="37"/>
                  <a:pt x="1083" y="37"/>
                </a:cubicBezTo>
                <a:cubicBezTo>
                  <a:pt x="1083" y="36"/>
                  <a:pt x="1083" y="36"/>
                  <a:pt x="1083" y="36"/>
                </a:cubicBezTo>
                <a:cubicBezTo>
                  <a:pt x="1083" y="36"/>
                  <a:pt x="1084" y="36"/>
                  <a:pt x="1084" y="36"/>
                </a:cubicBezTo>
                <a:cubicBezTo>
                  <a:pt x="1085" y="36"/>
                  <a:pt x="1085" y="36"/>
                  <a:pt x="1085" y="36"/>
                </a:cubicBezTo>
                <a:cubicBezTo>
                  <a:pt x="1086" y="36"/>
                  <a:pt x="1087" y="36"/>
                  <a:pt x="1087" y="36"/>
                </a:cubicBezTo>
                <a:cubicBezTo>
                  <a:pt x="1087" y="36"/>
                  <a:pt x="1087" y="36"/>
                  <a:pt x="1088" y="36"/>
                </a:cubicBezTo>
                <a:cubicBezTo>
                  <a:pt x="1088" y="36"/>
                  <a:pt x="1088" y="36"/>
                  <a:pt x="1088" y="36"/>
                </a:cubicBezTo>
                <a:cubicBezTo>
                  <a:pt x="1088" y="35"/>
                  <a:pt x="1087" y="35"/>
                  <a:pt x="1087" y="35"/>
                </a:cubicBezTo>
                <a:cubicBezTo>
                  <a:pt x="1087" y="35"/>
                  <a:pt x="1087" y="35"/>
                  <a:pt x="1087" y="35"/>
                </a:cubicBezTo>
                <a:cubicBezTo>
                  <a:pt x="1087" y="35"/>
                  <a:pt x="1086" y="35"/>
                  <a:pt x="1086" y="35"/>
                </a:cubicBezTo>
                <a:cubicBezTo>
                  <a:pt x="1086" y="35"/>
                  <a:pt x="1086" y="35"/>
                  <a:pt x="1086" y="35"/>
                </a:cubicBezTo>
                <a:cubicBezTo>
                  <a:pt x="1086" y="34"/>
                  <a:pt x="1086" y="34"/>
                  <a:pt x="1086" y="34"/>
                </a:cubicBezTo>
                <a:cubicBezTo>
                  <a:pt x="1086" y="34"/>
                  <a:pt x="1086" y="34"/>
                  <a:pt x="1087" y="34"/>
                </a:cubicBezTo>
                <a:cubicBezTo>
                  <a:pt x="1087" y="34"/>
                  <a:pt x="1087" y="34"/>
                  <a:pt x="1087" y="34"/>
                </a:cubicBezTo>
                <a:cubicBezTo>
                  <a:pt x="1087" y="34"/>
                  <a:pt x="1087" y="34"/>
                  <a:pt x="1087" y="34"/>
                </a:cubicBezTo>
                <a:cubicBezTo>
                  <a:pt x="1088" y="34"/>
                  <a:pt x="1088" y="34"/>
                  <a:pt x="1088" y="34"/>
                </a:cubicBezTo>
                <a:cubicBezTo>
                  <a:pt x="1088" y="34"/>
                  <a:pt x="1089" y="34"/>
                  <a:pt x="1089" y="34"/>
                </a:cubicBezTo>
                <a:cubicBezTo>
                  <a:pt x="1089" y="34"/>
                  <a:pt x="1090" y="34"/>
                  <a:pt x="1090" y="33"/>
                </a:cubicBezTo>
                <a:cubicBezTo>
                  <a:pt x="1090" y="33"/>
                  <a:pt x="1091" y="33"/>
                  <a:pt x="1091" y="33"/>
                </a:cubicBezTo>
                <a:cubicBezTo>
                  <a:pt x="1091" y="33"/>
                  <a:pt x="1091" y="33"/>
                  <a:pt x="1091" y="33"/>
                </a:cubicBezTo>
                <a:cubicBezTo>
                  <a:pt x="1091" y="32"/>
                  <a:pt x="1091" y="32"/>
                  <a:pt x="1090" y="32"/>
                </a:cubicBezTo>
                <a:cubicBezTo>
                  <a:pt x="1090" y="32"/>
                  <a:pt x="1090" y="32"/>
                  <a:pt x="1090" y="32"/>
                </a:cubicBezTo>
                <a:cubicBezTo>
                  <a:pt x="1090" y="31"/>
                  <a:pt x="1090" y="31"/>
                  <a:pt x="1089" y="31"/>
                </a:cubicBezTo>
                <a:cubicBezTo>
                  <a:pt x="1089" y="31"/>
                  <a:pt x="1089" y="31"/>
                  <a:pt x="1089" y="30"/>
                </a:cubicBezTo>
                <a:cubicBezTo>
                  <a:pt x="1089" y="30"/>
                  <a:pt x="1089" y="30"/>
                  <a:pt x="1088" y="30"/>
                </a:cubicBezTo>
                <a:cubicBezTo>
                  <a:pt x="1088" y="30"/>
                  <a:pt x="1088" y="30"/>
                  <a:pt x="1087" y="31"/>
                </a:cubicBezTo>
                <a:cubicBezTo>
                  <a:pt x="1087" y="31"/>
                  <a:pt x="1086" y="31"/>
                  <a:pt x="1086" y="31"/>
                </a:cubicBezTo>
                <a:cubicBezTo>
                  <a:pt x="1086" y="31"/>
                  <a:pt x="1086" y="31"/>
                  <a:pt x="1086" y="31"/>
                </a:cubicBezTo>
                <a:cubicBezTo>
                  <a:pt x="1086" y="31"/>
                  <a:pt x="1086" y="31"/>
                  <a:pt x="1085" y="31"/>
                </a:cubicBezTo>
                <a:cubicBezTo>
                  <a:pt x="1086" y="31"/>
                  <a:pt x="1086" y="31"/>
                  <a:pt x="1086" y="30"/>
                </a:cubicBezTo>
                <a:cubicBezTo>
                  <a:pt x="1086" y="30"/>
                  <a:pt x="1086" y="30"/>
                  <a:pt x="1087" y="30"/>
                </a:cubicBezTo>
                <a:cubicBezTo>
                  <a:pt x="1087" y="30"/>
                  <a:pt x="1087" y="29"/>
                  <a:pt x="1087" y="29"/>
                </a:cubicBezTo>
                <a:cubicBezTo>
                  <a:pt x="1087" y="29"/>
                  <a:pt x="1087" y="29"/>
                  <a:pt x="1088" y="28"/>
                </a:cubicBezTo>
                <a:cubicBezTo>
                  <a:pt x="1088" y="28"/>
                  <a:pt x="1087" y="28"/>
                  <a:pt x="1087" y="28"/>
                </a:cubicBezTo>
                <a:cubicBezTo>
                  <a:pt x="1087" y="28"/>
                  <a:pt x="1086" y="29"/>
                  <a:pt x="1086" y="29"/>
                </a:cubicBezTo>
                <a:cubicBezTo>
                  <a:pt x="1086" y="29"/>
                  <a:pt x="1085" y="29"/>
                  <a:pt x="1085" y="30"/>
                </a:cubicBezTo>
                <a:cubicBezTo>
                  <a:pt x="1085" y="30"/>
                  <a:pt x="1085" y="30"/>
                  <a:pt x="1085" y="30"/>
                </a:cubicBezTo>
                <a:cubicBezTo>
                  <a:pt x="1085" y="30"/>
                  <a:pt x="1085" y="30"/>
                  <a:pt x="1085" y="29"/>
                </a:cubicBezTo>
                <a:cubicBezTo>
                  <a:pt x="1085" y="29"/>
                  <a:pt x="1085" y="29"/>
                  <a:pt x="1085" y="29"/>
                </a:cubicBezTo>
                <a:cubicBezTo>
                  <a:pt x="1085" y="29"/>
                  <a:pt x="1085" y="29"/>
                  <a:pt x="1085" y="28"/>
                </a:cubicBezTo>
                <a:cubicBezTo>
                  <a:pt x="1085" y="28"/>
                  <a:pt x="1084" y="29"/>
                  <a:pt x="1084" y="29"/>
                </a:cubicBezTo>
                <a:cubicBezTo>
                  <a:pt x="1084" y="29"/>
                  <a:pt x="1084" y="29"/>
                  <a:pt x="1084" y="30"/>
                </a:cubicBezTo>
                <a:cubicBezTo>
                  <a:pt x="1083" y="30"/>
                  <a:pt x="1083" y="30"/>
                  <a:pt x="1083" y="30"/>
                </a:cubicBezTo>
                <a:cubicBezTo>
                  <a:pt x="1083" y="30"/>
                  <a:pt x="1083" y="30"/>
                  <a:pt x="1083" y="30"/>
                </a:cubicBezTo>
                <a:cubicBezTo>
                  <a:pt x="1083" y="30"/>
                  <a:pt x="1083" y="30"/>
                  <a:pt x="1083" y="31"/>
                </a:cubicBezTo>
                <a:cubicBezTo>
                  <a:pt x="1083" y="31"/>
                  <a:pt x="1084" y="31"/>
                  <a:pt x="1084" y="31"/>
                </a:cubicBezTo>
                <a:cubicBezTo>
                  <a:pt x="1084" y="31"/>
                  <a:pt x="1084" y="31"/>
                  <a:pt x="1084" y="31"/>
                </a:cubicBezTo>
                <a:cubicBezTo>
                  <a:pt x="1084" y="31"/>
                  <a:pt x="1084" y="31"/>
                  <a:pt x="1084" y="31"/>
                </a:cubicBezTo>
                <a:cubicBezTo>
                  <a:pt x="1084" y="31"/>
                  <a:pt x="1084" y="31"/>
                  <a:pt x="1083" y="31"/>
                </a:cubicBezTo>
                <a:cubicBezTo>
                  <a:pt x="1083" y="31"/>
                  <a:pt x="1083" y="32"/>
                  <a:pt x="1083" y="32"/>
                </a:cubicBezTo>
                <a:cubicBezTo>
                  <a:pt x="1083" y="32"/>
                  <a:pt x="1083" y="32"/>
                  <a:pt x="1083" y="33"/>
                </a:cubicBezTo>
                <a:cubicBezTo>
                  <a:pt x="1082" y="33"/>
                  <a:pt x="1082" y="33"/>
                  <a:pt x="1082" y="33"/>
                </a:cubicBezTo>
                <a:cubicBezTo>
                  <a:pt x="1082" y="33"/>
                  <a:pt x="1082" y="33"/>
                  <a:pt x="1081" y="33"/>
                </a:cubicBezTo>
                <a:cubicBezTo>
                  <a:pt x="1081" y="33"/>
                  <a:pt x="1081" y="34"/>
                  <a:pt x="1080" y="34"/>
                </a:cubicBezTo>
                <a:cubicBezTo>
                  <a:pt x="1080" y="34"/>
                  <a:pt x="1080" y="34"/>
                  <a:pt x="1079" y="34"/>
                </a:cubicBezTo>
                <a:close/>
                <a:moveTo>
                  <a:pt x="1067" y="35"/>
                </a:moveTo>
                <a:cubicBezTo>
                  <a:pt x="1068" y="35"/>
                  <a:pt x="1068" y="35"/>
                  <a:pt x="1068" y="35"/>
                </a:cubicBezTo>
                <a:cubicBezTo>
                  <a:pt x="1069" y="35"/>
                  <a:pt x="1069" y="36"/>
                  <a:pt x="1069" y="36"/>
                </a:cubicBezTo>
                <a:cubicBezTo>
                  <a:pt x="1069" y="36"/>
                  <a:pt x="1069" y="36"/>
                  <a:pt x="1070" y="36"/>
                </a:cubicBezTo>
                <a:cubicBezTo>
                  <a:pt x="1070" y="36"/>
                  <a:pt x="1070" y="36"/>
                  <a:pt x="1070" y="36"/>
                </a:cubicBezTo>
                <a:cubicBezTo>
                  <a:pt x="1070" y="35"/>
                  <a:pt x="1070" y="35"/>
                  <a:pt x="1070" y="35"/>
                </a:cubicBezTo>
                <a:cubicBezTo>
                  <a:pt x="1070" y="35"/>
                  <a:pt x="1071" y="35"/>
                  <a:pt x="1071" y="35"/>
                </a:cubicBezTo>
                <a:cubicBezTo>
                  <a:pt x="1071" y="35"/>
                  <a:pt x="1071" y="35"/>
                  <a:pt x="1072" y="35"/>
                </a:cubicBezTo>
                <a:cubicBezTo>
                  <a:pt x="1072" y="36"/>
                  <a:pt x="1072" y="36"/>
                  <a:pt x="1072" y="36"/>
                </a:cubicBezTo>
                <a:cubicBezTo>
                  <a:pt x="1073" y="37"/>
                  <a:pt x="1073" y="37"/>
                  <a:pt x="1073" y="37"/>
                </a:cubicBezTo>
                <a:cubicBezTo>
                  <a:pt x="1073" y="37"/>
                  <a:pt x="1073" y="37"/>
                  <a:pt x="1074" y="36"/>
                </a:cubicBezTo>
                <a:cubicBezTo>
                  <a:pt x="1073" y="36"/>
                  <a:pt x="1073" y="36"/>
                  <a:pt x="1073" y="36"/>
                </a:cubicBezTo>
                <a:cubicBezTo>
                  <a:pt x="1073" y="35"/>
                  <a:pt x="1073" y="35"/>
                  <a:pt x="1073" y="35"/>
                </a:cubicBezTo>
                <a:cubicBezTo>
                  <a:pt x="1072" y="34"/>
                  <a:pt x="1072" y="34"/>
                  <a:pt x="1072" y="34"/>
                </a:cubicBezTo>
                <a:cubicBezTo>
                  <a:pt x="1072" y="34"/>
                  <a:pt x="1072" y="34"/>
                  <a:pt x="1071" y="34"/>
                </a:cubicBezTo>
                <a:cubicBezTo>
                  <a:pt x="1071" y="34"/>
                  <a:pt x="1071" y="33"/>
                  <a:pt x="1071" y="33"/>
                </a:cubicBezTo>
                <a:cubicBezTo>
                  <a:pt x="1071" y="33"/>
                  <a:pt x="1072" y="33"/>
                  <a:pt x="1072" y="32"/>
                </a:cubicBezTo>
                <a:cubicBezTo>
                  <a:pt x="1073" y="32"/>
                  <a:pt x="1073" y="32"/>
                  <a:pt x="1073" y="32"/>
                </a:cubicBezTo>
                <a:cubicBezTo>
                  <a:pt x="1074" y="32"/>
                  <a:pt x="1074" y="32"/>
                  <a:pt x="1075" y="32"/>
                </a:cubicBezTo>
                <a:cubicBezTo>
                  <a:pt x="1075" y="32"/>
                  <a:pt x="1075" y="31"/>
                  <a:pt x="1076" y="31"/>
                </a:cubicBezTo>
                <a:cubicBezTo>
                  <a:pt x="1076" y="31"/>
                  <a:pt x="1076" y="32"/>
                  <a:pt x="1077" y="32"/>
                </a:cubicBezTo>
                <a:cubicBezTo>
                  <a:pt x="1077" y="32"/>
                  <a:pt x="1077" y="32"/>
                  <a:pt x="1077" y="32"/>
                </a:cubicBezTo>
                <a:cubicBezTo>
                  <a:pt x="1078" y="33"/>
                  <a:pt x="1078" y="33"/>
                  <a:pt x="1078" y="33"/>
                </a:cubicBezTo>
                <a:cubicBezTo>
                  <a:pt x="1079" y="33"/>
                  <a:pt x="1079" y="33"/>
                  <a:pt x="1080" y="33"/>
                </a:cubicBezTo>
                <a:cubicBezTo>
                  <a:pt x="1080" y="33"/>
                  <a:pt x="1080" y="33"/>
                  <a:pt x="1080" y="33"/>
                </a:cubicBezTo>
                <a:cubicBezTo>
                  <a:pt x="1080" y="33"/>
                  <a:pt x="1081" y="33"/>
                  <a:pt x="1081" y="32"/>
                </a:cubicBezTo>
                <a:cubicBezTo>
                  <a:pt x="1081" y="32"/>
                  <a:pt x="1080" y="32"/>
                  <a:pt x="1080" y="32"/>
                </a:cubicBezTo>
                <a:cubicBezTo>
                  <a:pt x="1080" y="32"/>
                  <a:pt x="1079" y="32"/>
                  <a:pt x="1079" y="32"/>
                </a:cubicBezTo>
                <a:cubicBezTo>
                  <a:pt x="1078" y="31"/>
                  <a:pt x="1077" y="31"/>
                  <a:pt x="1076" y="30"/>
                </a:cubicBezTo>
                <a:cubicBezTo>
                  <a:pt x="1075" y="30"/>
                  <a:pt x="1074" y="30"/>
                  <a:pt x="1073" y="30"/>
                </a:cubicBezTo>
                <a:cubicBezTo>
                  <a:pt x="1072" y="30"/>
                  <a:pt x="1072" y="30"/>
                  <a:pt x="1071" y="30"/>
                </a:cubicBezTo>
                <a:cubicBezTo>
                  <a:pt x="1070" y="30"/>
                  <a:pt x="1070" y="31"/>
                  <a:pt x="1069" y="31"/>
                </a:cubicBezTo>
                <a:cubicBezTo>
                  <a:pt x="1068" y="31"/>
                  <a:pt x="1068" y="32"/>
                  <a:pt x="1068" y="32"/>
                </a:cubicBezTo>
                <a:cubicBezTo>
                  <a:pt x="1067" y="32"/>
                  <a:pt x="1067" y="32"/>
                  <a:pt x="1066" y="32"/>
                </a:cubicBezTo>
                <a:cubicBezTo>
                  <a:pt x="1066" y="32"/>
                  <a:pt x="1065" y="33"/>
                  <a:pt x="1065" y="33"/>
                </a:cubicBezTo>
                <a:cubicBezTo>
                  <a:pt x="1065" y="33"/>
                  <a:pt x="1065" y="34"/>
                  <a:pt x="1065" y="35"/>
                </a:cubicBezTo>
                <a:cubicBezTo>
                  <a:pt x="1065" y="35"/>
                  <a:pt x="1065" y="35"/>
                  <a:pt x="1066" y="35"/>
                </a:cubicBezTo>
                <a:cubicBezTo>
                  <a:pt x="1066" y="35"/>
                  <a:pt x="1067" y="35"/>
                  <a:pt x="1067" y="35"/>
                </a:cubicBezTo>
                <a:close/>
                <a:moveTo>
                  <a:pt x="1109" y="18"/>
                </a:moveTo>
                <a:cubicBezTo>
                  <a:pt x="1110" y="18"/>
                  <a:pt x="1110" y="18"/>
                  <a:pt x="1110" y="18"/>
                </a:cubicBezTo>
                <a:cubicBezTo>
                  <a:pt x="1110" y="18"/>
                  <a:pt x="1110" y="18"/>
                  <a:pt x="1110" y="18"/>
                </a:cubicBezTo>
                <a:cubicBezTo>
                  <a:pt x="1110" y="18"/>
                  <a:pt x="1109" y="18"/>
                  <a:pt x="1109" y="18"/>
                </a:cubicBezTo>
                <a:cubicBezTo>
                  <a:pt x="1109" y="18"/>
                  <a:pt x="1109" y="18"/>
                  <a:pt x="1109" y="18"/>
                </a:cubicBezTo>
                <a:close/>
                <a:moveTo>
                  <a:pt x="1108" y="17"/>
                </a:moveTo>
                <a:cubicBezTo>
                  <a:pt x="1108" y="17"/>
                  <a:pt x="1108" y="17"/>
                  <a:pt x="1108" y="17"/>
                </a:cubicBezTo>
                <a:cubicBezTo>
                  <a:pt x="1109" y="17"/>
                  <a:pt x="1109" y="17"/>
                  <a:pt x="1109" y="17"/>
                </a:cubicBezTo>
                <a:cubicBezTo>
                  <a:pt x="1110" y="17"/>
                  <a:pt x="1110" y="17"/>
                  <a:pt x="1111" y="17"/>
                </a:cubicBezTo>
                <a:cubicBezTo>
                  <a:pt x="1111" y="17"/>
                  <a:pt x="1111" y="17"/>
                  <a:pt x="1111" y="16"/>
                </a:cubicBezTo>
                <a:cubicBezTo>
                  <a:pt x="1111" y="16"/>
                  <a:pt x="1111" y="16"/>
                  <a:pt x="1111" y="16"/>
                </a:cubicBezTo>
                <a:cubicBezTo>
                  <a:pt x="1111" y="16"/>
                  <a:pt x="1111" y="16"/>
                  <a:pt x="1111" y="16"/>
                </a:cubicBezTo>
                <a:cubicBezTo>
                  <a:pt x="1111" y="16"/>
                  <a:pt x="1111" y="15"/>
                  <a:pt x="1111" y="15"/>
                </a:cubicBezTo>
                <a:cubicBezTo>
                  <a:pt x="1111" y="15"/>
                  <a:pt x="1110" y="15"/>
                  <a:pt x="1110" y="15"/>
                </a:cubicBezTo>
                <a:cubicBezTo>
                  <a:pt x="1110" y="15"/>
                  <a:pt x="1110" y="15"/>
                  <a:pt x="1109" y="15"/>
                </a:cubicBezTo>
                <a:cubicBezTo>
                  <a:pt x="1109" y="15"/>
                  <a:pt x="1108" y="15"/>
                  <a:pt x="1108" y="15"/>
                </a:cubicBezTo>
                <a:cubicBezTo>
                  <a:pt x="1107" y="15"/>
                  <a:pt x="1107" y="15"/>
                  <a:pt x="1107" y="15"/>
                </a:cubicBezTo>
                <a:cubicBezTo>
                  <a:pt x="1107" y="15"/>
                  <a:pt x="1107" y="15"/>
                  <a:pt x="1107" y="16"/>
                </a:cubicBezTo>
                <a:cubicBezTo>
                  <a:pt x="1107" y="16"/>
                  <a:pt x="1107" y="16"/>
                  <a:pt x="1107" y="16"/>
                </a:cubicBezTo>
                <a:cubicBezTo>
                  <a:pt x="1107" y="16"/>
                  <a:pt x="1107" y="16"/>
                  <a:pt x="1108" y="17"/>
                </a:cubicBezTo>
                <a:close/>
                <a:moveTo>
                  <a:pt x="1109" y="25"/>
                </a:moveTo>
                <a:cubicBezTo>
                  <a:pt x="1110" y="25"/>
                  <a:pt x="1110" y="25"/>
                  <a:pt x="1111" y="25"/>
                </a:cubicBezTo>
                <a:cubicBezTo>
                  <a:pt x="1111" y="25"/>
                  <a:pt x="1111" y="25"/>
                  <a:pt x="1111" y="24"/>
                </a:cubicBezTo>
                <a:cubicBezTo>
                  <a:pt x="1111" y="24"/>
                  <a:pt x="1111" y="24"/>
                  <a:pt x="1111" y="24"/>
                </a:cubicBezTo>
                <a:cubicBezTo>
                  <a:pt x="1111" y="24"/>
                  <a:pt x="1110" y="24"/>
                  <a:pt x="1110" y="23"/>
                </a:cubicBezTo>
                <a:cubicBezTo>
                  <a:pt x="1110" y="24"/>
                  <a:pt x="1110" y="24"/>
                  <a:pt x="1110" y="24"/>
                </a:cubicBezTo>
                <a:cubicBezTo>
                  <a:pt x="1109" y="24"/>
                  <a:pt x="1109" y="24"/>
                  <a:pt x="1109" y="24"/>
                </a:cubicBezTo>
                <a:cubicBezTo>
                  <a:pt x="1108" y="24"/>
                  <a:pt x="1108" y="25"/>
                  <a:pt x="1108" y="25"/>
                </a:cubicBezTo>
                <a:cubicBezTo>
                  <a:pt x="1108" y="25"/>
                  <a:pt x="1108" y="25"/>
                  <a:pt x="1109" y="25"/>
                </a:cubicBezTo>
                <a:cubicBezTo>
                  <a:pt x="1109" y="25"/>
                  <a:pt x="1109" y="25"/>
                  <a:pt x="1109" y="25"/>
                </a:cubicBezTo>
                <a:close/>
                <a:moveTo>
                  <a:pt x="1106" y="21"/>
                </a:moveTo>
                <a:cubicBezTo>
                  <a:pt x="1107" y="21"/>
                  <a:pt x="1107" y="21"/>
                  <a:pt x="1107" y="21"/>
                </a:cubicBezTo>
                <a:cubicBezTo>
                  <a:pt x="1108" y="21"/>
                  <a:pt x="1108" y="21"/>
                  <a:pt x="1108" y="21"/>
                </a:cubicBezTo>
                <a:cubicBezTo>
                  <a:pt x="1108" y="21"/>
                  <a:pt x="1108" y="21"/>
                  <a:pt x="1109" y="21"/>
                </a:cubicBezTo>
                <a:cubicBezTo>
                  <a:pt x="1109" y="21"/>
                  <a:pt x="1109" y="21"/>
                  <a:pt x="1109" y="21"/>
                </a:cubicBezTo>
                <a:cubicBezTo>
                  <a:pt x="1110" y="21"/>
                  <a:pt x="1110" y="20"/>
                  <a:pt x="1110" y="20"/>
                </a:cubicBezTo>
                <a:cubicBezTo>
                  <a:pt x="1110" y="20"/>
                  <a:pt x="1111" y="20"/>
                  <a:pt x="1111" y="20"/>
                </a:cubicBezTo>
                <a:cubicBezTo>
                  <a:pt x="1111" y="20"/>
                  <a:pt x="1111" y="20"/>
                  <a:pt x="1111" y="20"/>
                </a:cubicBezTo>
                <a:cubicBezTo>
                  <a:pt x="1111" y="20"/>
                  <a:pt x="1111" y="20"/>
                  <a:pt x="1111" y="19"/>
                </a:cubicBezTo>
                <a:cubicBezTo>
                  <a:pt x="1110" y="19"/>
                  <a:pt x="1110" y="19"/>
                  <a:pt x="1110" y="19"/>
                </a:cubicBezTo>
                <a:cubicBezTo>
                  <a:pt x="1110" y="19"/>
                  <a:pt x="1109" y="19"/>
                  <a:pt x="1109" y="19"/>
                </a:cubicBezTo>
                <a:cubicBezTo>
                  <a:pt x="1109" y="19"/>
                  <a:pt x="1108" y="19"/>
                  <a:pt x="1108" y="19"/>
                </a:cubicBezTo>
                <a:cubicBezTo>
                  <a:pt x="1108" y="19"/>
                  <a:pt x="1108" y="19"/>
                  <a:pt x="1107" y="19"/>
                </a:cubicBezTo>
                <a:cubicBezTo>
                  <a:pt x="1107" y="19"/>
                  <a:pt x="1107" y="19"/>
                  <a:pt x="1106" y="19"/>
                </a:cubicBezTo>
                <a:cubicBezTo>
                  <a:pt x="1106" y="19"/>
                  <a:pt x="1105" y="19"/>
                  <a:pt x="1105" y="20"/>
                </a:cubicBezTo>
                <a:cubicBezTo>
                  <a:pt x="1105" y="20"/>
                  <a:pt x="1105" y="20"/>
                  <a:pt x="1105" y="20"/>
                </a:cubicBezTo>
                <a:cubicBezTo>
                  <a:pt x="1105" y="20"/>
                  <a:pt x="1105" y="20"/>
                  <a:pt x="1105" y="21"/>
                </a:cubicBezTo>
                <a:cubicBezTo>
                  <a:pt x="1106" y="21"/>
                  <a:pt x="1106" y="21"/>
                  <a:pt x="1106" y="21"/>
                </a:cubicBezTo>
                <a:close/>
                <a:moveTo>
                  <a:pt x="1100" y="27"/>
                </a:moveTo>
                <a:cubicBezTo>
                  <a:pt x="1100" y="27"/>
                  <a:pt x="1100" y="28"/>
                  <a:pt x="1100" y="28"/>
                </a:cubicBezTo>
                <a:cubicBezTo>
                  <a:pt x="1101" y="28"/>
                  <a:pt x="1101" y="28"/>
                  <a:pt x="1102" y="28"/>
                </a:cubicBezTo>
                <a:cubicBezTo>
                  <a:pt x="1102" y="28"/>
                  <a:pt x="1102" y="28"/>
                  <a:pt x="1103" y="28"/>
                </a:cubicBezTo>
                <a:cubicBezTo>
                  <a:pt x="1103" y="28"/>
                  <a:pt x="1103" y="28"/>
                  <a:pt x="1103" y="28"/>
                </a:cubicBezTo>
                <a:cubicBezTo>
                  <a:pt x="1104" y="28"/>
                  <a:pt x="1104" y="28"/>
                  <a:pt x="1104" y="28"/>
                </a:cubicBezTo>
                <a:cubicBezTo>
                  <a:pt x="1104" y="28"/>
                  <a:pt x="1105" y="29"/>
                  <a:pt x="1105" y="29"/>
                </a:cubicBezTo>
                <a:cubicBezTo>
                  <a:pt x="1105" y="29"/>
                  <a:pt x="1105" y="29"/>
                  <a:pt x="1105" y="29"/>
                </a:cubicBezTo>
                <a:cubicBezTo>
                  <a:pt x="1106" y="29"/>
                  <a:pt x="1106" y="29"/>
                  <a:pt x="1106" y="29"/>
                </a:cubicBezTo>
                <a:cubicBezTo>
                  <a:pt x="1106" y="29"/>
                  <a:pt x="1106" y="29"/>
                  <a:pt x="1107" y="30"/>
                </a:cubicBezTo>
                <a:cubicBezTo>
                  <a:pt x="1107" y="30"/>
                  <a:pt x="1108" y="30"/>
                  <a:pt x="1108" y="30"/>
                </a:cubicBezTo>
                <a:cubicBezTo>
                  <a:pt x="1109" y="30"/>
                  <a:pt x="1109" y="30"/>
                  <a:pt x="1110" y="30"/>
                </a:cubicBezTo>
                <a:cubicBezTo>
                  <a:pt x="1110" y="30"/>
                  <a:pt x="1111" y="30"/>
                  <a:pt x="1111" y="31"/>
                </a:cubicBezTo>
                <a:cubicBezTo>
                  <a:pt x="1111" y="31"/>
                  <a:pt x="1112" y="31"/>
                  <a:pt x="1112" y="31"/>
                </a:cubicBezTo>
                <a:cubicBezTo>
                  <a:pt x="1112" y="31"/>
                  <a:pt x="1113" y="31"/>
                  <a:pt x="1113" y="31"/>
                </a:cubicBezTo>
                <a:cubicBezTo>
                  <a:pt x="1113" y="30"/>
                  <a:pt x="1113" y="30"/>
                  <a:pt x="1113" y="30"/>
                </a:cubicBezTo>
                <a:cubicBezTo>
                  <a:pt x="1113" y="30"/>
                  <a:pt x="1113" y="29"/>
                  <a:pt x="1112" y="29"/>
                </a:cubicBezTo>
                <a:cubicBezTo>
                  <a:pt x="1112" y="29"/>
                  <a:pt x="1112" y="29"/>
                  <a:pt x="1111" y="29"/>
                </a:cubicBezTo>
                <a:cubicBezTo>
                  <a:pt x="1111" y="29"/>
                  <a:pt x="1110" y="29"/>
                  <a:pt x="1109" y="28"/>
                </a:cubicBezTo>
                <a:cubicBezTo>
                  <a:pt x="1109" y="28"/>
                  <a:pt x="1108" y="28"/>
                  <a:pt x="1108" y="27"/>
                </a:cubicBezTo>
                <a:cubicBezTo>
                  <a:pt x="1107" y="27"/>
                  <a:pt x="1107" y="27"/>
                  <a:pt x="1107" y="27"/>
                </a:cubicBezTo>
                <a:cubicBezTo>
                  <a:pt x="1107" y="27"/>
                  <a:pt x="1107" y="27"/>
                  <a:pt x="1106" y="27"/>
                </a:cubicBezTo>
                <a:cubicBezTo>
                  <a:pt x="1106" y="27"/>
                  <a:pt x="1105" y="27"/>
                  <a:pt x="1105" y="27"/>
                </a:cubicBezTo>
                <a:cubicBezTo>
                  <a:pt x="1104" y="27"/>
                  <a:pt x="1104" y="27"/>
                  <a:pt x="1104" y="26"/>
                </a:cubicBezTo>
                <a:cubicBezTo>
                  <a:pt x="1103" y="26"/>
                  <a:pt x="1102" y="26"/>
                  <a:pt x="1101" y="26"/>
                </a:cubicBezTo>
                <a:cubicBezTo>
                  <a:pt x="1100" y="26"/>
                  <a:pt x="1100" y="26"/>
                  <a:pt x="1099" y="26"/>
                </a:cubicBezTo>
                <a:cubicBezTo>
                  <a:pt x="1100" y="27"/>
                  <a:pt x="1100" y="27"/>
                  <a:pt x="1100" y="27"/>
                </a:cubicBezTo>
                <a:cubicBezTo>
                  <a:pt x="1100" y="27"/>
                  <a:pt x="1100" y="27"/>
                  <a:pt x="1100" y="27"/>
                </a:cubicBezTo>
                <a:close/>
                <a:moveTo>
                  <a:pt x="1104" y="25"/>
                </a:moveTo>
                <a:cubicBezTo>
                  <a:pt x="1104" y="25"/>
                  <a:pt x="1105" y="25"/>
                  <a:pt x="1105" y="25"/>
                </a:cubicBezTo>
                <a:cubicBezTo>
                  <a:pt x="1105" y="25"/>
                  <a:pt x="1107" y="25"/>
                  <a:pt x="1107" y="25"/>
                </a:cubicBezTo>
                <a:cubicBezTo>
                  <a:pt x="1107" y="24"/>
                  <a:pt x="1108" y="24"/>
                  <a:pt x="1108" y="24"/>
                </a:cubicBezTo>
                <a:cubicBezTo>
                  <a:pt x="1109" y="23"/>
                  <a:pt x="1109" y="23"/>
                  <a:pt x="1109" y="23"/>
                </a:cubicBezTo>
                <a:cubicBezTo>
                  <a:pt x="1110" y="23"/>
                  <a:pt x="1110" y="22"/>
                  <a:pt x="1110" y="22"/>
                </a:cubicBezTo>
                <a:cubicBezTo>
                  <a:pt x="1110" y="22"/>
                  <a:pt x="1110" y="22"/>
                  <a:pt x="1110" y="22"/>
                </a:cubicBezTo>
                <a:cubicBezTo>
                  <a:pt x="1110" y="22"/>
                  <a:pt x="1110" y="22"/>
                  <a:pt x="1109" y="22"/>
                </a:cubicBezTo>
                <a:cubicBezTo>
                  <a:pt x="1109" y="22"/>
                  <a:pt x="1108" y="22"/>
                  <a:pt x="1108" y="22"/>
                </a:cubicBezTo>
                <a:cubicBezTo>
                  <a:pt x="1108" y="22"/>
                  <a:pt x="1107" y="22"/>
                  <a:pt x="1107" y="22"/>
                </a:cubicBezTo>
                <a:cubicBezTo>
                  <a:pt x="1106" y="22"/>
                  <a:pt x="1106" y="21"/>
                  <a:pt x="1105" y="21"/>
                </a:cubicBezTo>
                <a:cubicBezTo>
                  <a:pt x="1105" y="22"/>
                  <a:pt x="1105" y="22"/>
                  <a:pt x="1105" y="22"/>
                </a:cubicBezTo>
                <a:cubicBezTo>
                  <a:pt x="1105" y="22"/>
                  <a:pt x="1104" y="22"/>
                  <a:pt x="1104" y="23"/>
                </a:cubicBezTo>
                <a:cubicBezTo>
                  <a:pt x="1104" y="23"/>
                  <a:pt x="1105" y="23"/>
                  <a:pt x="1105" y="23"/>
                </a:cubicBezTo>
                <a:cubicBezTo>
                  <a:pt x="1105" y="23"/>
                  <a:pt x="1105" y="23"/>
                  <a:pt x="1106" y="23"/>
                </a:cubicBezTo>
                <a:cubicBezTo>
                  <a:pt x="1106" y="23"/>
                  <a:pt x="1106" y="23"/>
                  <a:pt x="1106" y="24"/>
                </a:cubicBezTo>
                <a:cubicBezTo>
                  <a:pt x="1106" y="24"/>
                  <a:pt x="1106" y="24"/>
                  <a:pt x="1106" y="24"/>
                </a:cubicBezTo>
                <a:cubicBezTo>
                  <a:pt x="1106" y="24"/>
                  <a:pt x="1105" y="24"/>
                  <a:pt x="1105" y="24"/>
                </a:cubicBezTo>
                <a:cubicBezTo>
                  <a:pt x="1104" y="24"/>
                  <a:pt x="1103" y="24"/>
                  <a:pt x="1103" y="24"/>
                </a:cubicBezTo>
                <a:cubicBezTo>
                  <a:pt x="1103" y="24"/>
                  <a:pt x="1102" y="25"/>
                  <a:pt x="1102" y="25"/>
                </a:cubicBezTo>
                <a:cubicBezTo>
                  <a:pt x="1102" y="25"/>
                  <a:pt x="1103" y="25"/>
                  <a:pt x="1103" y="25"/>
                </a:cubicBezTo>
                <a:cubicBezTo>
                  <a:pt x="1103" y="25"/>
                  <a:pt x="1104" y="25"/>
                  <a:pt x="1104" y="25"/>
                </a:cubicBezTo>
                <a:close/>
                <a:moveTo>
                  <a:pt x="1138" y="125"/>
                </a:moveTo>
                <a:cubicBezTo>
                  <a:pt x="1138" y="125"/>
                  <a:pt x="1137" y="125"/>
                  <a:pt x="1137" y="124"/>
                </a:cubicBezTo>
                <a:cubicBezTo>
                  <a:pt x="1137" y="124"/>
                  <a:pt x="1137" y="124"/>
                  <a:pt x="1137" y="124"/>
                </a:cubicBezTo>
                <a:cubicBezTo>
                  <a:pt x="1136" y="124"/>
                  <a:pt x="1136" y="124"/>
                  <a:pt x="1136" y="124"/>
                </a:cubicBezTo>
                <a:cubicBezTo>
                  <a:pt x="1135" y="124"/>
                  <a:pt x="1135" y="124"/>
                  <a:pt x="1134" y="124"/>
                </a:cubicBezTo>
                <a:cubicBezTo>
                  <a:pt x="1134" y="124"/>
                  <a:pt x="1134" y="124"/>
                  <a:pt x="1134" y="124"/>
                </a:cubicBezTo>
                <a:cubicBezTo>
                  <a:pt x="1134" y="124"/>
                  <a:pt x="1134" y="124"/>
                  <a:pt x="1134" y="124"/>
                </a:cubicBezTo>
                <a:cubicBezTo>
                  <a:pt x="1134" y="125"/>
                  <a:pt x="1134" y="125"/>
                  <a:pt x="1135" y="125"/>
                </a:cubicBezTo>
                <a:cubicBezTo>
                  <a:pt x="1135" y="125"/>
                  <a:pt x="1135" y="125"/>
                  <a:pt x="1135" y="125"/>
                </a:cubicBezTo>
                <a:cubicBezTo>
                  <a:pt x="1135" y="125"/>
                  <a:pt x="1136" y="125"/>
                  <a:pt x="1136" y="125"/>
                </a:cubicBezTo>
                <a:cubicBezTo>
                  <a:pt x="1136" y="125"/>
                  <a:pt x="1136" y="125"/>
                  <a:pt x="1136" y="126"/>
                </a:cubicBezTo>
                <a:cubicBezTo>
                  <a:pt x="1136" y="126"/>
                  <a:pt x="1137" y="126"/>
                  <a:pt x="1137" y="126"/>
                </a:cubicBezTo>
                <a:cubicBezTo>
                  <a:pt x="1137" y="126"/>
                  <a:pt x="1137" y="126"/>
                  <a:pt x="1138" y="127"/>
                </a:cubicBezTo>
                <a:cubicBezTo>
                  <a:pt x="1138" y="127"/>
                  <a:pt x="1138" y="127"/>
                  <a:pt x="1138" y="127"/>
                </a:cubicBezTo>
                <a:cubicBezTo>
                  <a:pt x="1138" y="127"/>
                  <a:pt x="1138" y="127"/>
                  <a:pt x="1138" y="126"/>
                </a:cubicBezTo>
                <a:cubicBezTo>
                  <a:pt x="1138" y="126"/>
                  <a:pt x="1138" y="126"/>
                  <a:pt x="1138" y="126"/>
                </a:cubicBezTo>
                <a:cubicBezTo>
                  <a:pt x="1138" y="126"/>
                  <a:pt x="1138" y="126"/>
                  <a:pt x="1138" y="125"/>
                </a:cubicBezTo>
                <a:cubicBezTo>
                  <a:pt x="1138" y="125"/>
                  <a:pt x="1138" y="125"/>
                  <a:pt x="1138" y="125"/>
                </a:cubicBezTo>
                <a:close/>
                <a:moveTo>
                  <a:pt x="1198" y="43"/>
                </a:moveTo>
                <a:cubicBezTo>
                  <a:pt x="1198" y="43"/>
                  <a:pt x="1197" y="43"/>
                  <a:pt x="1197" y="43"/>
                </a:cubicBezTo>
                <a:cubicBezTo>
                  <a:pt x="1197" y="42"/>
                  <a:pt x="1196" y="42"/>
                  <a:pt x="1196" y="42"/>
                </a:cubicBezTo>
                <a:cubicBezTo>
                  <a:pt x="1196" y="42"/>
                  <a:pt x="1196" y="42"/>
                  <a:pt x="1195" y="42"/>
                </a:cubicBezTo>
                <a:cubicBezTo>
                  <a:pt x="1195" y="42"/>
                  <a:pt x="1195" y="42"/>
                  <a:pt x="1195" y="43"/>
                </a:cubicBezTo>
                <a:cubicBezTo>
                  <a:pt x="1195" y="43"/>
                  <a:pt x="1195" y="43"/>
                  <a:pt x="1195" y="43"/>
                </a:cubicBezTo>
                <a:cubicBezTo>
                  <a:pt x="1196" y="43"/>
                  <a:pt x="1196" y="43"/>
                  <a:pt x="1197" y="43"/>
                </a:cubicBezTo>
                <a:cubicBezTo>
                  <a:pt x="1197" y="43"/>
                  <a:pt x="1197" y="44"/>
                  <a:pt x="1197" y="44"/>
                </a:cubicBezTo>
                <a:cubicBezTo>
                  <a:pt x="1198" y="44"/>
                  <a:pt x="1198" y="44"/>
                  <a:pt x="1198" y="44"/>
                </a:cubicBezTo>
                <a:cubicBezTo>
                  <a:pt x="1199" y="44"/>
                  <a:pt x="1199" y="44"/>
                  <a:pt x="1200" y="44"/>
                </a:cubicBezTo>
                <a:cubicBezTo>
                  <a:pt x="1200" y="43"/>
                  <a:pt x="1200" y="43"/>
                  <a:pt x="1200" y="43"/>
                </a:cubicBezTo>
                <a:cubicBezTo>
                  <a:pt x="1200" y="43"/>
                  <a:pt x="1200" y="43"/>
                  <a:pt x="1199" y="43"/>
                </a:cubicBezTo>
                <a:cubicBezTo>
                  <a:pt x="1199" y="43"/>
                  <a:pt x="1198" y="43"/>
                  <a:pt x="1198" y="43"/>
                </a:cubicBezTo>
                <a:close/>
                <a:moveTo>
                  <a:pt x="1145" y="83"/>
                </a:moveTo>
                <a:cubicBezTo>
                  <a:pt x="1145" y="83"/>
                  <a:pt x="1145" y="83"/>
                  <a:pt x="1145" y="83"/>
                </a:cubicBezTo>
                <a:cubicBezTo>
                  <a:pt x="1146" y="83"/>
                  <a:pt x="1146" y="83"/>
                  <a:pt x="1147" y="82"/>
                </a:cubicBezTo>
                <a:cubicBezTo>
                  <a:pt x="1147" y="82"/>
                  <a:pt x="1147" y="82"/>
                  <a:pt x="1147" y="82"/>
                </a:cubicBezTo>
                <a:cubicBezTo>
                  <a:pt x="1147" y="82"/>
                  <a:pt x="1147" y="82"/>
                  <a:pt x="1147" y="82"/>
                </a:cubicBezTo>
                <a:cubicBezTo>
                  <a:pt x="1146" y="82"/>
                  <a:pt x="1146" y="82"/>
                  <a:pt x="1145" y="82"/>
                </a:cubicBezTo>
                <a:cubicBezTo>
                  <a:pt x="1145" y="82"/>
                  <a:pt x="1145" y="82"/>
                  <a:pt x="1144" y="82"/>
                </a:cubicBezTo>
                <a:cubicBezTo>
                  <a:pt x="1144" y="83"/>
                  <a:pt x="1144" y="83"/>
                  <a:pt x="1144" y="83"/>
                </a:cubicBezTo>
                <a:cubicBezTo>
                  <a:pt x="1144" y="83"/>
                  <a:pt x="1144" y="83"/>
                  <a:pt x="1144" y="83"/>
                </a:cubicBezTo>
                <a:cubicBezTo>
                  <a:pt x="1144" y="83"/>
                  <a:pt x="1145" y="83"/>
                  <a:pt x="1145" y="83"/>
                </a:cubicBezTo>
                <a:close/>
                <a:moveTo>
                  <a:pt x="1195" y="27"/>
                </a:moveTo>
                <a:cubicBezTo>
                  <a:pt x="1196" y="27"/>
                  <a:pt x="1197" y="27"/>
                  <a:pt x="1198" y="27"/>
                </a:cubicBezTo>
                <a:cubicBezTo>
                  <a:pt x="1198" y="27"/>
                  <a:pt x="1199" y="27"/>
                  <a:pt x="1199" y="27"/>
                </a:cubicBezTo>
                <a:cubicBezTo>
                  <a:pt x="1200" y="27"/>
                  <a:pt x="1200" y="27"/>
                  <a:pt x="1200" y="27"/>
                </a:cubicBezTo>
                <a:cubicBezTo>
                  <a:pt x="1200" y="27"/>
                  <a:pt x="1200" y="26"/>
                  <a:pt x="1200" y="26"/>
                </a:cubicBezTo>
                <a:cubicBezTo>
                  <a:pt x="1199" y="26"/>
                  <a:pt x="1198" y="26"/>
                  <a:pt x="1198" y="26"/>
                </a:cubicBezTo>
                <a:cubicBezTo>
                  <a:pt x="1197" y="26"/>
                  <a:pt x="1197" y="25"/>
                  <a:pt x="1196" y="25"/>
                </a:cubicBezTo>
                <a:cubicBezTo>
                  <a:pt x="1195" y="26"/>
                  <a:pt x="1195" y="26"/>
                  <a:pt x="1194" y="26"/>
                </a:cubicBezTo>
                <a:cubicBezTo>
                  <a:pt x="1194" y="26"/>
                  <a:pt x="1194" y="26"/>
                  <a:pt x="1194" y="27"/>
                </a:cubicBezTo>
                <a:cubicBezTo>
                  <a:pt x="1194" y="27"/>
                  <a:pt x="1194" y="27"/>
                  <a:pt x="1194" y="27"/>
                </a:cubicBezTo>
                <a:cubicBezTo>
                  <a:pt x="1194" y="27"/>
                  <a:pt x="1195" y="27"/>
                  <a:pt x="1195" y="27"/>
                </a:cubicBezTo>
                <a:close/>
                <a:moveTo>
                  <a:pt x="1142" y="89"/>
                </a:moveTo>
                <a:cubicBezTo>
                  <a:pt x="1141" y="89"/>
                  <a:pt x="1141" y="89"/>
                  <a:pt x="1141" y="88"/>
                </a:cubicBezTo>
                <a:cubicBezTo>
                  <a:pt x="1140" y="89"/>
                  <a:pt x="1140" y="89"/>
                  <a:pt x="1139" y="89"/>
                </a:cubicBezTo>
                <a:cubicBezTo>
                  <a:pt x="1139" y="89"/>
                  <a:pt x="1139" y="89"/>
                  <a:pt x="1139" y="89"/>
                </a:cubicBezTo>
                <a:cubicBezTo>
                  <a:pt x="1139" y="89"/>
                  <a:pt x="1139" y="90"/>
                  <a:pt x="1139" y="90"/>
                </a:cubicBezTo>
                <a:cubicBezTo>
                  <a:pt x="1139" y="90"/>
                  <a:pt x="1138" y="90"/>
                  <a:pt x="1138" y="90"/>
                </a:cubicBezTo>
                <a:cubicBezTo>
                  <a:pt x="1138" y="90"/>
                  <a:pt x="1137" y="91"/>
                  <a:pt x="1137" y="91"/>
                </a:cubicBezTo>
                <a:cubicBezTo>
                  <a:pt x="1137" y="91"/>
                  <a:pt x="1137" y="91"/>
                  <a:pt x="1136" y="90"/>
                </a:cubicBezTo>
                <a:cubicBezTo>
                  <a:pt x="1136" y="90"/>
                  <a:pt x="1136" y="90"/>
                  <a:pt x="1136" y="90"/>
                </a:cubicBezTo>
                <a:cubicBezTo>
                  <a:pt x="1136" y="90"/>
                  <a:pt x="1136" y="89"/>
                  <a:pt x="1135" y="89"/>
                </a:cubicBezTo>
                <a:cubicBezTo>
                  <a:pt x="1135" y="89"/>
                  <a:pt x="1135" y="89"/>
                  <a:pt x="1135" y="89"/>
                </a:cubicBezTo>
                <a:cubicBezTo>
                  <a:pt x="1135" y="90"/>
                  <a:pt x="1135" y="90"/>
                  <a:pt x="1135" y="90"/>
                </a:cubicBezTo>
                <a:cubicBezTo>
                  <a:pt x="1135" y="91"/>
                  <a:pt x="1135" y="91"/>
                  <a:pt x="1135" y="91"/>
                </a:cubicBezTo>
                <a:cubicBezTo>
                  <a:pt x="1135" y="91"/>
                  <a:pt x="1135" y="92"/>
                  <a:pt x="1136" y="92"/>
                </a:cubicBezTo>
                <a:cubicBezTo>
                  <a:pt x="1136" y="92"/>
                  <a:pt x="1136" y="92"/>
                  <a:pt x="1136" y="92"/>
                </a:cubicBezTo>
                <a:cubicBezTo>
                  <a:pt x="1137" y="92"/>
                  <a:pt x="1137" y="92"/>
                  <a:pt x="1137" y="92"/>
                </a:cubicBezTo>
                <a:cubicBezTo>
                  <a:pt x="1137" y="92"/>
                  <a:pt x="1137" y="92"/>
                  <a:pt x="1137" y="92"/>
                </a:cubicBezTo>
                <a:cubicBezTo>
                  <a:pt x="1137" y="93"/>
                  <a:pt x="1136" y="93"/>
                  <a:pt x="1136" y="93"/>
                </a:cubicBezTo>
                <a:cubicBezTo>
                  <a:pt x="1136" y="93"/>
                  <a:pt x="1136" y="93"/>
                  <a:pt x="1136" y="93"/>
                </a:cubicBezTo>
                <a:cubicBezTo>
                  <a:pt x="1137" y="93"/>
                  <a:pt x="1137" y="94"/>
                  <a:pt x="1137" y="94"/>
                </a:cubicBezTo>
                <a:cubicBezTo>
                  <a:pt x="1137" y="94"/>
                  <a:pt x="1138" y="93"/>
                  <a:pt x="1138" y="93"/>
                </a:cubicBezTo>
                <a:cubicBezTo>
                  <a:pt x="1138" y="93"/>
                  <a:pt x="1138" y="93"/>
                  <a:pt x="1138" y="93"/>
                </a:cubicBezTo>
                <a:cubicBezTo>
                  <a:pt x="1138" y="93"/>
                  <a:pt x="1139" y="94"/>
                  <a:pt x="1139" y="94"/>
                </a:cubicBezTo>
                <a:cubicBezTo>
                  <a:pt x="1139" y="94"/>
                  <a:pt x="1140" y="94"/>
                  <a:pt x="1140" y="94"/>
                </a:cubicBezTo>
                <a:cubicBezTo>
                  <a:pt x="1140" y="94"/>
                  <a:pt x="1140" y="94"/>
                  <a:pt x="1141" y="93"/>
                </a:cubicBezTo>
                <a:cubicBezTo>
                  <a:pt x="1141" y="94"/>
                  <a:pt x="1141" y="94"/>
                  <a:pt x="1141" y="94"/>
                </a:cubicBezTo>
                <a:cubicBezTo>
                  <a:pt x="1141" y="94"/>
                  <a:pt x="1141" y="94"/>
                  <a:pt x="1141" y="94"/>
                </a:cubicBezTo>
                <a:cubicBezTo>
                  <a:pt x="1140" y="94"/>
                  <a:pt x="1140" y="94"/>
                  <a:pt x="1140" y="94"/>
                </a:cubicBezTo>
                <a:cubicBezTo>
                  <a:pt x="1139" y="94"/>
                  <a:pt x="1139" y="94"/>
                  <a:pt x="1138" y="94"/>
                </a:cubicBezTo>
                <a:cubicBezTo>
                  <a:pt x="1138" y="94"/>
                  <a:pt x="1138" y="94"/>
                  <a:pt x="1138" y="94"/>
                </a:cubicBezTo>
                <a:cubicBezTo>
                  <a:pt x="1137" y="94"/>
                  <a:pt x="1137" y="94"/>
                  <a:pt x="1137" y="94"/>
                </a:cubicBezTo>
                <a:cubicBezTo>
                  <a:pt x="1137" y="94"/>
                  <a:pt x="1137" y="94"/>
                  <a:pt x="1136" y="95"/>
                </a:cubicBezTo>
                <a:cubicBezTo>
                  <a:pt x="1137" y="95"/>
                  <a:pt x="1137" y="95"/>
                  <a:pt x="1137" y="95"/>
                </a:cubicBezTo>
                <a:cubicBezTo>
                  <a:pt x="1137" y="96"/>
                  <a:pt x="1137" y="96"/>
                  <a:pt x="1138" y="96"/>
                </a:cubicBezTo>
                <a:cubicBezTo>
                  <a:pt x="1138" y="96"/>
                  <a:pt x="1138" y="96"/>
                  <a:pt x="1138" y="96"/>
                </a:cubicBezTo>
                <a:cubicBezTo>
                  <a:pt x="1139" y="96"/>
                  <a:pt x="1139" y="96"/>
                  <a:pt x="1139" y="96"/>
                </a:cubicBezTo>
                <a:cubicBezTo>
                  <a:pt x="1139" y="96"/>
                  <a:pt x="1139" y="96"/>
                  <a:pt x="1140" y="96"/>
                </a:cubicBezTo>
                <a:cubicBezTo>
                  <a:pt x="1139" y="96"/>
                  <a:pt x="1139" y="96"/>
                  <a:pt x="1139" y="96"/>
                </a:cubicBezTo>
                <a:cubicBezTo>
                  <a:pt x="1139" y="96"/>
                  <a:pt x="1138" y="97"/>
                  <a:pt x="1138" y="97"/>
                </a:cubicBezTo>
                <a:cubicBezTo>
                  <a:pt x="1137" y="97"/>
                  <a:pt x="1137" y="97"/>
                  <a:pt x="1137" y="96"/>
                </a:cubicBezTo>
                <a:cubicBezTo>
                  <a:pt x="1136" y="97"/>
                  <a:pt x="1136" y="97"/>
                  <a:pt x="1136" y="97"/>
                </a:cubicBezTo>
                <a:cubicBezTo>
                  <a:pt x="1136" y="97"/>
                  <a:pt x="1136" y="97"/>
                  <a:pt x="1136" y="97"/>
                </a:cubicBezTo>
                <a:cubicBezTo>
                  <a:pt x="1136" y="97"/>
                  <a:pt x="1136" y="97"/>
                  <a:pt x="1136" y="97"/>
                </a:cubicBezTo>
                <a:cubicBezTo>
                  <a:pt x="1137" y="97"/>
                  <a:pt x="1137" y="97"/>
                  <a:pt x="1137" y="97"/>
                </a:cubicBezTo>
                <a:cubicBezTo>
                  <a:pt x="1138" y="97"/>
                  <a:pt x="1138" y="98"/>
                  <a:pt x="1138" y="98"/>
                </a:cubicBezTo>
                <a:cubicBezTo>
                  <a:pt x="1138" y="98"/>
                  <a:pt x="1138" y="98"/>
                  <a:pt x="1138" y="98"/>
                </a:cubicBezTo>
                <a:cubicBezTo>
                  <a:pt x="1138" y="98"/>
                  <a:pt x="1138" y="98"/>
                  <a:pt x="1138" y="98"/>
                </a:cubicBezTo>
                <a:cubicBezTo>
                  <a:pt x="1137" y="98"/>
                  <a:pt x="1137" y="98"/>
                  <a:pt x="1136" y="98"/>
                </a:cubicBezTo>
                <a:cubicBezTo>
                  <a:pt x="1136" y="98"/>
                  <a:pt x="1136" y="98"/>
                  <a:pt x="1136" y="98"/>
                </a:cubicBezTo>
                <a:cubicBezTo>
                  <a:pt x="1137" y="98"/>
                  <a:pt x="1137" y="98"/>
                  <a:pt x="1137" y="99"/>
                </a:cubicBezTo>
                <a:cubicBezTo>
                  <a:pt x="1137" y="99"/>
                  <a:pt x="1138" y="99"/>
                  <a:pt x="1138" y="99"/>
                </a:cubicBezTo>
                <a:cubicBezTo>
                  <a:pt x="1139" y="99"/>
                  <a:pt x="1139" y="99"/>
                  <a:pt x="1140" y="100"/>
                </a:cubicBezTo>
                <a:cubicBezTo>
                  <a:pt x="1140" y="100"/>
                  <a:pt x="1140" y="100"/>
                  <a:pt x="1141" y="100"/>
                </a:cubicBezTo>
                <a:cubicBezTo>
                  <a:pt x="1141" y="100"/>
                  <a:pt x="1141" y="100"/>
                  <a:pt x="1141" y="100"/>
                </a:cubicBezTo>
                <a:cubicBezTo>
                  <a:pt x="1141" y="100"/>
                  <a:pt x="1141" y="100"/>
                  <a:pt x="1141" y="101"/>
                </a:cubicBezTo>
                <a:cubicBezTo>
                  <a:pt x="1141" y="100"/>
                  <a:pt x="1140" y="100"/>
                  <a:pt x="1140" y="100"/>
                </a:cubicBezTo>
                <a:cubicBezTo>
                  <a:pt x="1140" y="100"/>
                  <a:pt x="1139" y="100"/>
                  <a:pt x="1139" y="100"/>
                </a:cubicBezTo>
                <a:cubicBezTo>
                  <a:pt x="1139" y="100"/>
                  <a:pt x="1138" y="99"/>
                  <a:pt x="1138" y="99"/>
                </a:cubicBezTo>
                <a:cubicBezTo>
                  <a:pt x="1138" y="99"/>
                  <a:pt x="1137" y="99"/>
                  <a:pt x="1137" y="99"/>
                </a:cubicBezTo>
                <a:cubicBezTo>
                  <a:pt x="1137" y="99"/>
                  <a:pt x="1136" y="99"/>
                  <a:pt x="1136" y="99"/>
                </a:cubicBezTo>
                <a:cubicBezTo>
                  <a:pt x="1136" y="99"/>
                  <a:pt x="1135" y="99"/>
                  <a:pt x="1135" y="99"/>
                </a:cubicBezTo>
                <a:cubicBezTo>
                  <a:pt x="1135" y="99"/>
                  <a:pt x="1135" y="99"/>
                  <a:pt x="1135" y="100"/>
                </a:cubicBezTo>
                <a:cubicBezTo>
                  <a:pt x="1135" y="100"/>
                  <a:pt x="1135" y="100"/>
                  <a:pt x="1134" y="100"/>
                </a:cubicBezTo>
                <a:cubicBezTo>
                  <a:pt x="1134" y="100"/>
                  <a:pt x="1134" y="100"/>
                  <a:pt x="1134" y="100"/>
                </a:cubicBezTo>
                <a:cubicBezTo>
                  <a:pt x="1135" y="100"/>
                  <a:pt x="1135" y="101"/>
                  <a:pt x="1135" y="101"/>
                </a:cubicBezTo>
                <a:cubicBezTo>
                  <a:pt x="1135" y="101"/>
                  <a:pt x="1135" y="101"/>
                  <a:pt x="1135" y="101"/>
                </a:cubicBezTo>
                <a:cubicBezTo>
                  <a:pt x="1134" y="101"/>
                  <a:pt x="1134" y="101"/>
                  <a:pt x="1134" y="101"/>
                </a:cubicBezTo>
                <a:cubicBezTo>
                  <a:pt x="1134" y="101"/>
                  <a:pt x="1134" y="101"/>
                  <a:pt x="1134" y="101"/>
                </a:cubicBezTo>
                <a:cubicBezTo>
                  <a:pt x="1133" y="101"/>
                  <a:pt x="1133" y="101"/>
                  <a:pt x="1133" y="101"/>
                </a:cubicBezTo>
                <a:cubicBezTo>
                  <a:pt x="1133" y="102"/>
                  <a:pt x="1133" y="102"/>
                  <a:pt x="1132" y="102"/>
                </a:cubicBezTo>
                <a:cubicBezTo>
                  <a:pt x="1132" y="102"/>
                  <a:pt x="1133" y="102"/>
                  <a:pt x="1133" y="102"/>
                </a:cubicBezTo>
                <a:cubicBezTo>
                  <a:pt x="1132" y="102"/>
                  <a:pt x="1132" y="102"/>
                  <a:pt x="1132" y="102"/>
                </a:cubicBezTo>
                <a:cubicBezTo>
                  <a:pt x="1132" y="102"/>
                  <a:pt x="1132" y="103"/>
                  <a:pt x="1131" y="103"/>
                </a:cubicBezTo>
                <a:cubicBezTo>
                  <a:pt x="1131" y="103"/>
                  <a:pt x="1131" y="103"/>
                  <a:pt x="1131" y="103"/>
                </a:cubicBezTo>
                <a:cubicBezTo>
                  <a:pt x="1132" y="103"/>
                  <a:pt x="1132" y="103"/>
                  <a:pt x="1132" y="104"/>
                </a:cubicBezTo>
                <a:cubicBezTo>
                  <a:pt x="1133" y="104"/>
                  <a:pt x="1133" y="104"/>
                  <a:pt x="1133" y="104"/>
                </a:cubicBezTo>
                <a:cubicBezTo>
                  <a:pt x="1134" y="104"/>
                  <a:pt x="1134" y="104"/>
                  <a:pt x="1134" y="104"/>
                </a:cubicBezTo>
                <a:cubicBezTo>
                  <a:pt x="1134" y="104"/>
                  <a:pt x="1134" y="104"/>
                  <a:pt x="1134" y="104"/>
                </a:cubicBezTo>
                <a:cubicBezTo>
                  <a:pt x="1135" y="104"/>
                  <a:pt x="1135" y="103"/>
                  <a:pt x="1135" y="103"/>
                </a:cubicBezTo>
                <a:cubicBezTo>
                  <a:pt x="1136" y="103"/>
                  <a:pt x="1136" y="103"/>
                  <a:pt x="1137" y="103"/>
                </a:cubicBezTo>
                <a:cubicBezTo>
                  <a:pt x="1137" y="103"/>
                  <a:pt x="1138" y="103"/>
                  <a:pt x="1138" y="103"/>
                </a:cubicBezTo>
                <a:cubicBezTo>
                  <a:pt x="1138" y="103"/>
                  <a:pt x="1139" y="103"/>
                  <a:pt x="1139" y="103"/>
                </a:cubicBezTo>
                <a:cubicBezTo>
                  <a:pt x="1139" y="103"/>
                  <a:pt x="1139" y="103"/>
                  <a:pt x="1140" y="103"/>
                </a:cubicBezTo>
                <a:cubicBezTo>
                  <a:pt x="1140" y="103"/>
                  <a:pt x="1140" y="103"/>
                  <a:pt x="1140" y="104"/>
                </a:cubicBezTo>
                <a:cubicBezTo>
                  <a:pt x="1139" y="104"/>
                  <a:pt x="1139" y="104"/>
                  <a:pt x="1139" y="104"/>
                </a:cubicBezTo>
                <a:cubicBezTo>
                  <a:pt x="1139" y="103"/>
                  <a:pt x="1139" y="103"/>
                  <a:pt x="1138" y="103"/>
                </a:cubicBezTo>
                <a:cubicBezTo>
                  <a:pt x="1138" y="103"/>
                  <a:pt x="1138" y="103"/>
                  <a:pt x="1138" y="103"/>
                </a:cubicBezTo>
                <a:cubicBezTo>
                  <a:pt x="1138" y="103"/>
                  <a:pt x="1137" y="103"/>
                  <a:pt x="1137" y="103"/>
                </a:cubicBezTo>
                <a:cubicBezTo>
                  <a:pt x="1137" y="104"/>
                  <a:pt x="1136" y="104"/>
                  <a:pt x="1136" y="104"/>
                </a:cubicBezTo>
                <a:cubicBezTo>
                  <a:pt x="1135" y="104"/>
                  <a:pt x="1135" y="104"/>
                  <a:pt x="1135" y="104"/>
                </a:cubicBezTo>
                <a:cubicBezTo>
                  <a:pt x="1135" y="105"/>
                  <a:pt x="1135" y="105"/>
                  <a:pt x="1135" y="105"/>
                </a:cubicBezTo>
                <a:cubicBezTo>
                  <a:pt x="1135" y="105"/>
                  <a:pt x="1135" y="105"/>
                  <a:pt x="1135" y="106"/>
                </a:cubicBezTo>
                <a:cubicBezTo>
                  <a:pt x="1135" y="106"/>
                  <a:pt x="1135" y="106"/>
                  <a:pt x="1135" y="106"/>
                </a:cubicBezTo>
                <a:cubicBezTo>
                  <a:pt x="1135" y="106"/>
                  <a:pt x="1134" y="106"/>
                  <a:pt x="1134" y="106"/>
                </a:cubicBezTo>
                <a:cubicBezTo>
                  <a:pt x="1135" y="106"/>
                  <a:pt x="1136" y="106"/>
                  <a:pt x="1136" y="106"/>
                </a:cubicBezTo>
                <a:cubicBezTo>
                  <a:pt x="1137" y="106"/>
                  <a:pt x="1137" y="106"/>
                  <a:pt x="1138" y="106"/>
                </a:cubicBezTo>
                <a:cubicBezTo>
                  <a:pt x="1138" y="106"/>
                  <a:pt x="1139" y="106"/>
                  <a:pt x="1139" y="106"/>
                </a:cubicBezTo>
                <a:cubicBezTo>
                  <a:pt x="1140" y="106"/>
                  <a:pt x="1140" y="106"/>
                  <a:pt x="1141" y="106"/>
                </a:cubicBezTo>
                <a:cubicBezTo>
                  <a:pt x="1141" y="106"/>
                  <a:pt x="1141" y="106"/>
                  <a:pt x="1141" y="107"/>
                </a:cubicBezTo>
                <a:cubicBezTo>
                  <a:pt x="1141" y="107"/>
                  <a:pt x="1142" y="107"/>
                  <a:pt x="1142" y="107"/>
                </a:cubicBezTo>
                <a:cubicBezTo>
                  <a:pt x="1143" y="107"/>
                  <a:pt x="1143" y="107"/>
                  <a:pt x="1143" y="107"/>
                </a:cubicBezTo>
                <a:cubicBezTo>
                  <a:pt x="1143" y="107"/>
                  <a:pt x="1143" y="106"/>
                  <a:pt x="1143" y="106"/>
                </a:cubicBezTo>
                <a:cubicBezTo>
                  <a:pt x="1143" y="106"/>
                  <a:pt x="1143" y="106"/>
                  <a:pt x="1143" y="106"/>
                </a:cubicBezTo>
                <a:cubicBezTo>
                  <a:pt x="1143" y="106"/>
                  <a:pt x="1143" y="106"/>
                  <a:pt x="1143" y="106"/>
                </a:cubicBezTo>
                <a:cubicBezTo>
                  <a:pt x="1144" y="106"/>
                  <a:pt x="1144" y="106"/>
                  <a:pt x="1144" y="107"/>
                </a:cubicBezTo>
                <a:cubicBezTo>
                  <a:pt x="1144" y="107"/>
                  <a:pt x="1145" y="107"/>
                  <a:pt x="1145" y="107"/>
                </a:cubicBezTo>
                <a:cubicBezTo>
                  <a:pt x="1145" y="107"/>
                  <a:pt x="1146" y="107"/>
                  <a:pt x="1147" y="107"/>
                </a:cubicBezTo>
                <a:cubicBezTo>
                  <a:pt x="1147" y="107"/>
                  <a:pt x="1147" y="107"/>
                  <a:pt x="1147" y="107"/>
                </a:cubicBezTo>
                <a:cubicBezTo>
                  <a:pt x="1147" y="107"/>
                  <a:pt x="1148" y="107"/>
                  <a:pt x="1148" y="107"/>
                </a:cubicBezTo>
                <a:cubicBezTo>
                  <a:pt x="1148" y="107"/>
                  <a:pt x="1148" y="106"/>
                  <a:pt x="1149" y="106"/>
                </a:cubicBezTo>
                <a:cubicBezTo>
                  <a:pt x="1149" y="106"/>
                  <a:pt x="1149" y="105"/>
                  <a:pt x="1149" y="105"/>
                </a:cubicBezTo>
                <a:cubicBezTo>
                  <a:pt x="1149" y="105"/>
                  <a:pt x="1149" y="105"/>
                  <a:pt x="1149" y="104"/>
                </a:cubicBezTo>
                <a:cubicBezTo>
                  <a:pt x="1149" y="104"/>
                  <a:pt x="1150" y="104"/>
                  <a:pt x="1150" y="104"/>
                </a:cubicBezTo>
                <a:cubicBezTo>
                  <a:pt x="1149" y="104"/>
                  <a:pt x="1149" y="103"/>
                  <a:pt x="1149" y="103"/>
                </a:cubicBezTo>
                <a:cubicBezTo>
                  <a:pt x="1149" y="103"/>
                  <a:pt x="1149" y="103"/>
                  <a:pt x="1148" y="102"/>
                </a:cubicBezTo>
                <a:cubicBezTo>
                  <a:pt x="1148" y="102"/>
                  <a:pt x="1148" y="102"/>
                  <a:pt x="1147" y="102"/>
                </a:cubicBezTo>
                <a:cubicBezTo>
                  <a:pt x="1147" y="102"/>
                  <a:pt x="1147" y="102"/>
                  <a:pt x="1146" y="102"/>
                </a:cubicBezTo>
                <a:cubicBezTo>
                  <a:pt x="1146" y="102"/>
                  <a:pt x="1146" y="102"/>
                  <a:pt x="1146" y="102"/>
                </a:cubicBezTo>
                <a:cubicBezTo>
                  <a:pt x="1146" y="102"/>
                  <a:pt x="1146" y="101"/>
                  <a:pt x="1147" y="101"/>
                </a:cubicBezTo>
                <a:cubicBezTo>
                  <a:pt x="1147" y="101"/>
                  <a:pt x="1147" y="102"/>
                  <a:pt x="1148" y="102"/>
                </a:cubicBezTo>
                <a:cubicBezTo>
                  <a:pt x="1148" y="102"/>
                  <a:pt x="1148" y="102"/>
                  <a:pt x="1148" y="102"/>
                </a:cubicBezTo>
                <a:cubicBezTo>
                  <a:pt x="1149" y="102"/>
                  <a:pt x="1149" y="102"/>
                  <a:pt x="1149" y="102"/>
                </a:cubicBezTo>
                <a:cubicBezTo>
                  <a:pt x="1149" y="102"/>
                  <a:pt x="1149" y="103"/>
                  <a:pt x="1149" y="103"/>
                </a:cubicBezTo>
                <a:cubicBezTo>
                  <a:pt x="1149" y="103"/>
                  <a:pt x="1149" y="103"/>
                  <a:pt x="1150" y="103"/>
                </a:cubicBezTo>
                <a:cubicBezTo>
                  <a:pt x="1150" y="103"/>
                  <a:pt x="1150" y="103"/>
                  <a:pt x="1150" y="103"/>
                </a:cubicBezTo>
                <a:cubicBezTo>
                  <a:pt x="1150" y="102"/>
                  <a:pt x="1150" y="102"/>
                  <a:pt x="1150" y="101"/>
                </a:cubicBezTo>
                <a:cubicBezTo>
                  <a:pt x="1149" y="101"/>
                  <a:pt x="1149" y="101"/>
                  <a:pt x="1149" y="100"/>
                </a:cubicBezTo>
                <a:cubicBezTo>
                  <a:pt x="1148" y="100"/>
                  <a:pt x="1148" y="99"/>
                  <a:pt x="1148" y="99"/>
                </a:cubicBezTo>
                <a:cubicBezTo>
                  <a:pt x="1148" y="99"/>
                  <a:pt x="1148" y="99"/>
                  <a:pt x="1148" y="99"/>
                </a:cubicBezTo>
                <a:cubicBezTo>
                  <a:pt x="1148" y="99"/>
                  <a:pt x="1149" y="99"/>
                  <a:pt x="1149" y="99"/>
                </a:cubicBezTo>
                <a:cubicBezTo>
                  <a:pt x="1149" y="100"/>
                  <a:pt x="1149" y="100"/>
                  <a:pt x="1149" y="100"/>
                </a:cubicBezTo>
                <a:cubicBezTo>
                  <a:pt x="1149" y="100"/>
                  <a:pt x="1150" y="100"/>
                  <a:pt x="1150" y="100"/>
                </a:cubicBezTo>
                <a:cubicBezTo>
                  <a:pt x="1150" y="100"/>
                  <a:pt x="1151" y="101"/>
                  <a:pt x="1151" y="101"/>
                </a:cubicBezTo>
                <a:cubicBezTo>
                  <a:pt x="1151" y="101"/>
                  <a:pt x="1151" y="100"/>
                  <a:pt x="1151" y="100"/>
                </a:cubicBezTo>
                <a:cubicBezTo>
                  <a:pt x="1151" y="100"/>
                  <a:pt x="1151" y="100"/>
                  <a:pt x="1151" y="100"/>
                </a:cubicBezTo>
                <a:cubicBezTo>
                  <a:pt x="1151" y="100"/>
                  <a:pt x="1151" y="100"/>
                  <a:pt x="1151" y="99"/>
                </a:cubicBezTo>
                <a:cubicBezTo>
                  <a:pt x="1151" y="99"/>
                  <a:pt x="1151" y="99"/>
                  <a:pt x="1151" y="99"/>
                </a:cubicBezTo>
                <a:cubicBezTo>
                  <a:pt x="1151" y="99"/>
                  <a:pt x="1151" y="99"/>
                  <a:pt x="1152" y="98"/>
                </a:cubicBezTo>
                <a:cubicBezTo>
                  <a:pt x="1152" y="98"/>
                  <a:pt x="1152" y="98"/>
                  <a:pt x="1152" y="98"/>
                </a:cubicBezTo>
                <a:cubicBezTo>
                  <a:pt x="1151" y="97"/>
                  <a:pt x="1151" y="97"/>
                  <a:pt x="1151" y="97"/>
                </a:cubicBezTo>
                <a:cubicBezTo>
                  <a:pt x="1150" y="97"/>
                  <a:pt x="1150" y="96"/>
                  <a:pt x="1150" y="96"/>
                </a:cubicBezTo>
                <a:cubicBezTo>
                  <a:pt x="1150" y="96"/>
                  <a:pt x="1150" y="96"/>
                  <a:pt x="1151" y="96"/>
                </a:cubicBezTo>
                <a:cubicBezTo>
                  <a:pt x="1151" y="96"/>
                  <a:pt x="1151" y="96"/>
                  <a:pt x="1151" y="96"/>
                </a:cubicBezTo>
                <a:cubicBezTo>
                  <a:pt x="1152" y="96"/>
                  <a:pt x="1152" y="96"/>
                  <a:pt x="1152" y="96"/>
                </a:cubicBezTo>
                <a:cubicBezTo>
                  <a:pt x="1152" y="96"/>
                  <a:pt x="1153" y="96"/>
                  <a:pt x="1153" y="96"/>
                </a:cubicBezTo>
                <a:cubicBezTo>
                  <a:pt x="1153" y="96"/>
                  <a:pt x="1153" y="95"/>
                  <a:pt x="1153" y="95"/>
                </a:cubicBezTo>
                <a:cubicBezTo>
                  <a:pt x="1152" y="95"/>
                  <a:pt x="1152" y="95"/>
                  <a:pt x="1152" y="95"/>
                </a:cubicBezTo>
                <a:cubicBezTo>
                  <a:pt x="1152" y="95"/>
                  <a:pt x="1152" y="95"/>
                  <a:pt x="1152" y="94"/>
                </a:cubicBezTo>
                <a:cubicBezTo>
                  <a:pt x="1152" y="94"/>
                  <a:pt x="1152" y="94"/>
                  <a:pt x="1153" y="94"/>
                </a:cubicBezTo>
                <a:cubicBezTo>
                  <a:pt x="1153" y="94"/>
                  <a:pt x="1153" y="95"/>
                  <a:pt x="1154" y="95"/>
                </a:cubicBezTo>
                <a:cubicBezTo>
                  <a:pt x="1154" y="95"/>
                  <a:pt x="1155" y="95"/>
                  <a:pt x="1155" y="95"/>
                </a:cubicBezTo>
                <a:cubicBezTo>
                  <a:pt x="1155" y="95"/>
                  <a:pt x="1156" y="95"/>
                  <a:pt x="1156" y="95"/>
                </a:cubicBezTo>
                <a:cubicBezTo>
                  <a:pt x="1155" y="95"/>
                  <a:pt x="1155" y="95"/>
                  <a:pt x="1155" y="95"/>
                </a:cubicBezTo>
                <a:cubicBezTo>
                  <a:pt x="1155" y="94"/>
                  <a:pt x="1155" y="94"/>
                  <a:pt x="1155" y="94"/>
                </a:cubicBezTo>
                <a:cubicBezTo>
                  <a:pt x="1155" y="94"/>
                  <a:pt x="1155" y="94"/>
                  <a:pt x="1156" y="94"/>
                </a:cubicBezTo>
                <a:cubicBezTo>
                  <a:pt x="1156" y="94"/>
                  <a:pt x="1156" y="94"/>
                  <a:pt x="1156" y="95"/>
                </a:cubicBezTo>
                <a:cubicBezTo>
                  <a:pt x="1157" y="94"/>
                  <a:pt x="1157" y="94"/>
                  <a:pt x="1157" y="94"/>
                </a:cubicBezTo>
                <a:cubicBezTo>
                  <a:pt x="1157" y="94"/>
                  <a:pt x="1157" y="94"/>
                  <a:pt x="1158" y="93"/>
                </a:cubicBezTo>
                <a:cubicBezTo>
                  <a:pt x="1157" y="93"/>
                  <a:pt x="1157" y="93"/>
                  <a:pt x="1157" y="93"/>
                </a:cubicBezTo>
                <a:cubicBezTo>
                  <a:pt x="1157" y="93"/>
                  <a:pt x="1157" y="93"/>
                  <a:pt x="1157" y="93"/>
                </a:cubicBezTo>
                <a:cubicBezTo>
                  <a:pt x="1158" y="93"/>
                  <a:pt x="1159" y="93"/>
                  <a:pt x="1159" y="93"/>
                </a:cubicBezTo>
                <a:cubicBezTo>
                  <a:pt x="1159" y="92"/>
                  <a:pt x="1159" y="92"/>
                  <a:pt x="1159" y="92"/>
                </a:cubicBezTo>
                <a:cubicBezTo>
                  <a:pt x="1159" y="92"/>
                  <a:pt x="1159" y="92"/>
                  <a:pt x="1158" y="92"/>
                </a:cubicBezTo>
                <a:cubicBezTo>
                  <a:pt x="1158" y="91"/>
                  <a:pt x="1158" y="91"/>
                  <a:pt x="1158" y="91"/>
                </a:cubicBezTo>
                <a:cubicBezTo>
                  <a:pt x="1158" y="91"/>
                  <a:pt x="1158" y="91"/>
                  <a:pt x="1159" y="90"/>
                </a:cubicBezTo>
                <a:cubicBezTo>
                  <a:pt x="1159" y="91"/>
                  <a:pt x="1159" y="91"/>
                  <a:pt x="1159" y="91"/>
                </a:cubicBezTo>
                <a:cubicBezTo>
                  <a:pt x="1159" y="91"/>
                  <a:pt x="1160" y="91"/>
                  <a:pt x="1160" y="91"/>
                </a:cubicBezTo>
                <a:cubicBezTo>
                  <a:pt x="1161" y="90"/>
                  <a:pt x="1161" y="90"/>
                  <a:pt x="1162" y="90"/>
                </a:cubicBezTo>
                <a:cubicBezTo>
                  <a:pt x="1162" y="89"/>
                  <a:pt x="1162" y="89"/>
                  <a:pt x="1162" y="89"/>
                </a:cubicBezTo>
                <a:cubicBezTo>
                  <a:pt x="1163" y="89"/>
                  <a:pt x="1163" y="89"/>
                  <a:pt x="1163" y="89"/>
                </a:cubicBezTo>
                <a:cubicBezTo>
                  <a:pt x="1163" y="88"/>
                  <a:pt x="1163" y="88"/>
                  <a:pt x="1163" y="88"/>
                </a:cubicBezTo>
                <a:cubicBezTo>
                  <a:pt x="1164" y="88"/>
                  <a:pt x="1165" y="87"/>
                  <a:pt x="1165" y="87"/>
                </a:cubicBezTo>
                <a:cubicBezTo>
                  <a:pt x="1166" y="87"/>
                  <a:pt x="1166" y="87"/>
                  <a:pt x="1166" y="86"/>
                </a:cubicBezTo>
                <a:cubicBezTo>
                  <a:pt x="1167" y="86"/>
                  <a:pt x="1167" y="85"/>
                  <a:pt x="1167" y="85"/>
                </a:cubicBezTo>
                <a:cubicBezTo>
                  <a:pt x="1167" y="85"/>
                  <a:pt x="1168" y="85"/>
                  <a:pt x="1168" y="85"/>
                </a:cubicBezTo>
                <a:cubicBezTo>
                  <a:pt x="1169" y="85"/>
                  <a:pt x="1170" y="85"/>
                  <a:pt x="1170" y="84"/>
                </a:cubicBezTo>
                <a:cubicBezTo>
                  <a:pt x="1171" y="84"/>
                  <a:pt x="1172" y="83"/>
                  <a:pt x="1173" y="83"/>
                </a:cubicBezTo>
                <a:cubicBezTo>
                  <a:pt x="1174" y="83"/>
                  <a:pt x="1174" y="82"/>
                  <a:pt x="1175" y="82"/>
                </a:cubicBezTo>
                <a:cubicBezTo>
                  <a:pt x="1175" y="82"/>
                  <a:pt x="1176" y="82"/>
                  <a:pt x="1176" y="82"/>
                </a:cubicBezTo>
                <a:cubicBezTo>
                  <a:pt x="1176" y="82"/>
                  <a:pt x="1177" y="82"/>
                  <a:pt x="1177" y="82"/>
                </a:cubicBezTo>
                <a:cubicBezTo>
                  <a:pt x="1178" y="81"/>
                  <a:pt x="1179" y="81"/>
                  <a:pt x="1179" y="81"/>
                </a:cubicBezTo>
                <a:cubicBezTo>
                  <a:pt x="1180" y="81"/>
                  <a:pt x="1180" y="81"/>
                  <a:pt x="1181" y="81"/>
                </a:cubicBezTo>
                <a:cubicBezTo>
                  <a:pt x="1181" y="81"/>
                  <a:pt x="1182" y="80"/>
                  <a:pt x="1182" y="80"/>
                </a:cubicBezTo>
                <a:cubicBezTo>
                  <a:pt x="1183" y="80"/>
                  <a:pt x="1183" y="80"/>
                  <a:pt x="1184" y="80"/>
                </a:cubicBezTo>
                <a:cubicBezTo>
                  <a:pt x="1184" y="80"/>
                  <a:pt x="1184" y="80"/>
                  <a:pt x="1184" y="80"/>
                </a:cubicBezTo>
                <a:cubicBezTo>
                  <a:pt x="1184" y="80"/>
                  <a:pt x="1185" y="80"/>
                  <a:pt x="1185" y="80"/>
                </a:cubicBezTo>
                <a:cubicBezTo>
                  <a:pt x="1185" y="80"/>
                  <a:pt x="1185" y="79"/>
                  <a:pt x="1185" y="79"/>
                </a:cubicBezTo>
                <a:cubicBezTo>
                  <a:pt x="1185" y="79"/>
                  <a:pt x="1185" y="79"/>
                  <a:pt x="1185" y="79"/>
                </a:cubicBezTo>
                <a:cubicBezTo>
                  <a:pt x="1185" y="79"/>
                  <a:pt x="1185" y="78"/>
                  <a:pt x="1186" y="78"/>
                </a:cubicBezTo>
                <a:cubicBezTo>
                  <a:pt x="1186" y="78"/>
                  <a:pt x="1186" y="78"/>
                  <a:pt x="1185" y="78"/>
                </a:cubicBezTo>
                <a:cubicBezTo>
                  <a:pt x="1186" y="77"/>
                  <a:pt x="1186" y="77"/>
                  <a:pt x="1186" y="77"/>
                </a:cubicBezTo>
                <a:cubicBezTo>
                  <a:pt x="1185" y="76"/>
                  <a:pt x="1185" y="76"/>
                  <a:pt x="1185" y="76"/>
                </a:cubicBezTo>
                <a:cubicBezTo>
                  <a:pt x="1185" y="76"/>
                  <a:pt x="1185" y="76"/>
                  <a:pt x="1184" y="76"/>
                </a:cubicBezTo>
                <a:cubicBezTo>
                  <a:pt x="1184" y="76"/>
                  <a:pt x="1184" y="76"/>
                  <a:pt x="1184" y="75"/>
                </a:cubicBezTo>
                <a:cubicBezTo>
                  <a:pt x="1185" y="75"/>
                  <a:pt x="1185" y="75"/>
                  <a:pt x="1185" y="74"/>
                </a:cubicBezTo>
                <a:cubicBezTo>
                  <a:pt x="1185" y="74"/>
                  <a:pt x="1185" y="74"/>
                  <a:pt x="1185" y="74"/>
                </a:cubicBezTo>
                <a:cubicBezTo>
                  <a:pt x="1184" y="74"/>
                  <a:pt x="1184" y="74"/>
                  <a:pt x="1184" y="74"/>
                </a:cubicBezTo>
                <a:cubicBezTo>
                  <a:pt x="1183" y="74"/>
                  <a:pt x="1183" y="73"/>
                  <a:pt x="1183" y="73"/>
                </a:cubicBezTo>
                <a:cubicBezTo>
                  <a:pt x="1183" y="73"/>
                  <a:pt x="1182" y="73"/>
                  <a:pt x="1182" y="73"/>
                </a:cubicBezTo>
                <a:cubicBezTo>
                  <a:pt x="1182" y="73"/>
                  <a:pt x="1182" y="73"/>
                  <a:pt x="1181" y="72"/>
                </a:cubicBezTo>
                <a:cubicBezTo>
                  <a:pt x="1181" y="72"/>
                  <a:pt x="1181" y="72"/>
                  <a:pt x="1181" y="72"/>
                </a:cubicBezTo>
                <a:cubicBezTo>
                  <a:pt x="1181" y="72"/>
                  <a:pt x="1181" y="72"/>
                  <a:pt x="1181" y="71"/>
                </a:cubicBezTo>
                <a:cubicBezTo>
                  <a:pt x="1181" y="72"/>
                  <a:pt x="1180" y="72"/>
                  <a:pt x="1180" y="72"/>
                </a:cubicBezTo>
                <a:cubicBezTo>
                  <a:pt x="1179" y="72"/>
                  <a:pt x="1179" y="72"/>
                  <a:pt x="1179" y="72"/>
                </a:cubicBezTo>
                <a:cubicBezTo>
                  <a:pt x="1179" y="72"/>
                  <a:pt x="1179" y="72"/>
                  <a:pt x="1179" y="72"/>
                </a:cubicBezTo>
                <a:cubicBezTo>
                  <a:pt x="1178" y="72"/>
                  <a:pt x="1178" y="72"/>
                  <a:pt x="1178" y="72"/>
                </a:cubicBezTo>
                <a:cubicBezTo>
                  <a:pt x="1177" y="72"/>
                  <a:pt x="1177" y="72"/>
                  <a:pt x="1177" y="72"/>
                </a:cubicBezTo>
                <a:cubicBezTo>
                  <a:pt x="1176" y="72"/>
                  <a:pt x="1176" y="72"/>
                  <a:pt x="1175" y="72"/>
                </a:cubicBezTo>
                <a:cubicBezTo>
                  <a:pt x="1175" y="72"/>
                  <a:pt x="1175" y="72"/>
                  <a:pt x="1175" y="73"/>
                </a:cubicBezTo>
                <a:cubicBezTo>
                  <a:pt x="1174" y="73"/>
                  <a:pt x="1174" y="73"/>
                  <a:pt x="1174" y="73"/>
                </a:cubicBezTo>
                <a:cubicBezTo>
                  <a:pt x="1174" y="73"/>
                  <a:pt x="1173" y="73"/>
                  <a:pt x="1173" y="73"/>
                </a:cubicBezTo>
                <a:cubicBezTo>
                  <a:pt x="1173" y="73"/>
                  <a:pt x="1172" y="73"/>
                  <a:pt x="1172" y="73"/>
                </a:cubicBezTo>
                <a:cubicBezTo>
                  <a:pt x="1172" y="73"/>
                  <a:pt x="1172" y="74"/>
                  <a:pt x="1172" y="74"/>
                </a:cubicBezTo>
                <a:cubicBezTo>
                  <a:pt x="1172" y="74"/>
                  <a:pt x="1171" y="74"/>
                  <a:pt x="1171" y="74"/>
                </a:cubicBezTo>
                <a:cubicBezTo>
                  <a:pt x="1171" y="74"/>
                  <a:pt x="1171" y="75"/>
                  <a:pt x="1171" y="75"/>
                </a:cubicBezTo>
                <a:cubicBezTo>
                  <a:pt x="1171" y="75"/>
                  <a:pt x="1171" y="75"/>
                  <a:pt x="1172" y="75"/>
                </a:cubicBezTo>
                <a:cubicBezTo>
                  <a:pt x="1172" y="76"/>
                  <a:pt x="1172" y="76"/>
                  <a:pt x="1172" y="76"/>
                </a:cubicBezTo>
                <a:cubicBezTo>
                  <a:pt x="1171" y="76"/>
                  <a:pt x="1171" y="76"/>
                  <a:pt x="1171" y="76"/>
                </a:cubicBezTo>
                <a:cubicBezTo>
                  <a:pt x="1170" y="76"/>
                  <a:pt x="1170" y="76"/>
                  <a:pt x="1170" y="76"/>
                </a:cubicBezTo>
                <a:cubicBezTo>
                  <a:pt x="1170" y="76"/>
                  <a:pt x="1170" y="76"/>
                  <a:pt x="1170" y="77"/>
                </a:cubicBezTo>
                <a:cubicBezTo>
                  <a:pt x="1170" y="77"/>
                  <a:pt x="1169" y="77"/>
                  <a:pt x="1169" y="77"/>
                </a:cubicBezTo>
                <a:cubicBezTo>
                  <a:pt x="1169" y="77"/>
                  <a:pt x="1169" y="77"/>
                  <a:pt x="1169" y="77"/>
                </a:cubicBezTo>
                <a:cubicBezTo>
                  <a:pt x="1168" y="78"/>
                  <a:pt x="1167" y="78"/>
                  <a:pt x="1166" y="78"/>
                </a:cubicBezTo>
                <a:cubicBezTo>
                  <a:pt x="1166" y="78"/>
                  <a:pt x="1166" y="78"/>
                  <a:pt x="1166" y="78"/>
                </a:cubicBezTo>
                <a:cubicBezTo>
                  <a:pt x="1165" y="78"/>
                  <a:pt x="1165" y="78"/>
                  <a:pt x="1165" y="78"/>
                </a:cubicBezTo>
                <a:cubicBezTo>
                  <a:pt x="1165" y="78"/>
                  <a:pt x="1164" y="78"/>
                  <a:pt x="1164" y="78"/>
                </a:cubicBezTo>
                <a:cubicBezTo>
                  <a:pt x="1164" y="78"/>
                  <a:pt x="1163" y="78"/>
                  <a:pt x="1163" y="78"/>
                </a:cubicBezTo>
                <a:cubicBezTo>
                  <a:pt x="1163" y="79"/>
                  <a:pt x="1162" y="79"/>
                  <a:pt x="1162" y="79"/>
                </a:cubicBezTo>
                <a:cubicBezTo>
                  <a:pt x="1162" y="79"/>
                  <a:pt x="1161" y="79"/>
                  <a:pt x="1161" y="79"/>
                </a:cubicBezTo>
                <a:cubicBezTo>
                  <a:pt x="1161" y="79"/>
                  <a:pt x="1161" y="79"/>
                  <a:pt x="1161" y="79"/>
                </a:cubicBezTo>
                <a:cubicBezTo>
                  <a:pt x="1161" y="79"/>
                  <a:pt x="1160" y="79"/>
                  <a:pt x="1160" y="78"/>
                </a:cubicBezTo>
                <a:cubicBezTo>
                  <a:pt x="1160" y="78"/>
                  <a:pt x="1160" y="78"/>
                  <a:pt x="1160" y="78"/>
                </a:cubicBezTo>
                <a:cubicBezTo>
                  <a:pt x="1160" y="79"/>
                  <a:pt x="1160" y="79"/>
                  <a:pt x="1160" y="79"/>
                </a:cubicBezTo>
                <a:cubicBezTo>
                  <a:pt x="1160" y="79"/>
                  <a:pt x="1160" y="79"/>
                  <a:pt x="1160" y="80"/>
                </a:cubicBezTo>
                <a:cubicBezTo>
                  <a:pt x="1160" y="80"/>
                  <a:pt x="1159" y="80"/>
                  <a:pt x="1159" y="80"/>
                </a:cubicBezTo>
                <a:cubicBezTo>
                  <a:pt x="1159" y="80"/>
                  <a:pt x="1159" y="79"/>
                  <a:pt x="1159" y="79"/>
                </a:cubicBezTo>
                <a:cubicBezTo>
                  <a:pt x="1159" y="79"/>
                  <a:pt x="1159" y="79"/>
                  <a:pt x="1158" y="79"/>
                </a:cubicBezTo>
                <a:cubicBezTo>
                  <a:pt x="1158" y="79"/>
                  <a:pt x="1157" y="79"/>
                  <a:pt x="1157" y="79"/>
                </a:cubicBezTo>
                <a:cubicBezTo>
                  <a:pt x="1156" y="79"/>
                  <a:pt x="1155" y="79"/>
                  <a:pt x="1154" y="79"/>
                </a:cubicBezTo>
                <a:cubicBezTo>
                  <a:pt x="1154" y="79"/>
                  <a:pt x="1154" y="79"/>
                  <a:pt x="1154" y="79"/>
                </a:cubicBezTo>
                <a:cubicBezTo>
                  <a:pt x="1154" y="79"/>
                  <a:pt x="1153" y="79"/>
                  <a:pt x="1153" y="79"/>
                </a:cubicBezTo>
                <a:cubicBezTo>
                  <a:pt x="1153" y="79"/>
                  <a:pt x="1153" y="79"/>
                  <a:pt x="1153" y="79"/>
                </a:cubicBezTo>
                <a:cubicBezTo>
                  <a:pt x="1153" y="80"/>
                  <a:pt x="1153" y="80"/>
                  <a:pt x="1153" y="80"/>
                </a:cubicBezTo>
                <a:cubicBezTo>
                  <a:pt x="1153" y="80"/>
                  <a:pt x="1153" y="80"/>
                  <a:pt x="1154" y="81"/>
                </a:cubicBezTo>
                <a:cubicBezTo>
                  <a:pt x="1154" y="81"/>
                  <a:pt x="1154" y="81"/>
                  <a:pt x="1153" y="81"/>
                </a:cubicBezTo>
                <a:cubicBezTo>
                  <a:pt x="1153" y="81"/>
                  <a:pt x="1153" y="81"/>
                  <a:pt x="1153" y="81"/>
                </a:cubicBezTo>
                <a:cubicBezTo>
                  <a:pt x="1153" y="81"/>
                  <a:pt x="1152" y="81"/>
                  <a:pt x="1152" y="82"/>
                </a:cubicBezTo>
                <a:cubicBezTo>
                  <a:pt x="1152" y="81"/>
                  <a:pt x="1152" y="81"/>
                  <a:pt x="1152" y="81"/>
                </a:cubicBezTo>
                <a:cubicBezTo>
                  <a:pt x="1152" y="81"/>
                  <a:pt x="1152" y="81"/>
                  <a:pt x="1152" y="81"/>
                </a:cubicBezTo>
                <a:cubicBezTo>
                  <a:pt x="1152" y="81"/>
                  <a:pt x="1152" y="81"/>
                  <a:pt x="1152" y="81"/>
                </a:cubicBezTo>
                <a:cubicBezTo>
                  <a:pt x="1152" y="81"/>
                  <a:pt x="1152" y="80"/>
                  <a:pt x="1152" y="80"/>
                </a:cubicBezTo>
                <a:cubicBezTo>
                  <a:pt x="1152" y="80"/>
                  <a:pt x="1152" y="80"/>
                  <a:pt x="1151" y="80"/>
                </a:cubicBezTo>
                <a:cubicBezTo>
                  <a:pt x="1151" y="80"/>
                  <a:pt x="1151" y="81"/>
                  <a:pt x="1150" y="81"/>
                </a:cubicBezTo>
                <a:cubicBezTo>
                  <a:pt x="1150" y="81"/>
                  <a:pt x="1150" y="81"/>
                  <a:pt x="1149" y="81"/>
                </a:cubicBezTo>
                <a:cubicBezTo>
                  <a:pt x="1149" y="81"/>
                  <a:pt x="1149" y="81"/>
                  <a:pt x="1149" y="82"/>
                </a:cubicBezTo>
                <a:cubicBezTo>
                  <a:pt x="1150" y="82"/>
                  <a:pt x="1150" y="82"/>
                  <a:pt x="1150" y="82"/>
                </a:cubicBezTo>
                <a:cubicBezTo>
                  <a:pt x="1150" y="82"/>
                  <a:pt x="1150" y="82"/>
                  <a:pt x="1150" y="82"/>
                </a:cubicBezTo>
                <a:cubicBezTo>
                  <a:pt x="1149" y="82"/>
                  <a:pt x="1149" y="83"/>
                  <a:pt x="1149" y="83"/>
                </a:cubicBezTo>
                <a:cubicBezTo>
                  <a:pt x="1149" y="83"/>
                  <a:pt x="1148" y="83"/>
                  <a:pt x="1148" y="83"/>
                </a:cubicBezTo>
                <a:cubicBezTo>
                  <a:pt x="1147" y="83"/>
                  <a:pt x="1147" y="83"/>
                  <a:pt x="1147" y="83"/>
                </a:cubicBezTo>
                <a:cubicBezTo>
                  <a:pt x="1147" y="83"/>
                  <a:pt x="1147" y="83"/>
                  <a:pt x="1147" y="83"/>
                </a:cubicBezTo>
                <a:cubicBezTo>
                  <a:pt x="1146" y="83"/>
                  <a:pt x="1146" y="83"/>
                  <a:pt x="1146" y="83"/>
                </a:cubicBezTo>
                <a:cubicBezTo>
                  <a:pt x="1145" y="84"/>
                  <a:pt x="1145" y="84"/>
                  <a:pt x="1145" y="84"/>
                </a:cubicBezTo>
                <a:cubicBezTo>
                  <a:pt x="1145" y="84"/>
                  <a:pt x="1145" y="85"/>
                  <a:pt x="1145" y="85"/>
                </a:cubicBezTo>
                <a:cubicBezTo>
                  <a:pt x="1145" y="85"/>
                  <a:pt x="1145" y="85"/>
                  <a:pt x="1145" y="85"/>
                </a:cubicBezTo>
                <a:cubicBezTo>
                  <a:pt x="1145" y="85"/>
                  <a:pt x="1145" y="85"/>
                  <a:pt x="1146" y="85"/>
                </a:cubicBezTo>
                <a:cubicBezTo>
                  <a:pt x="1145" y="85"/>
                  <a:pt x="1145" y="86"/>
                  <a:pt x="1145" y="86"/>
                </a:cubicBezTo>
                <a:cubicBezTo>
                  <a:pt x="1144" y="86"/>
                  <a:pt x="1143" y="86"/>
                  <a:pt x="1143" y="86"/>
                </a:cubicBezTo>
                <a:cubicBezTo>
                  <a:pt x="1143" y="86"/>
                  <a:pt x="1142" y="86"/>
                  <a:pt x="1142" y="86"/>
                </a:cubicBezTo>
                <a:cubicBezTo>
                  <a:pt x="1142" y="86"/>
                  <a:pt x="1142" y="86"/>
                  <a:pt x="1142" y="87"/>
                </a:cubicBezTo>
                <a:cubicBezTo>
                  <a:pt x="1142" y="87"/>
                  <a:pt x="1142" y="87"/>
                  <a:pt x="1142" y="87"/>
                </a:cubicBezTo>
                <a:cubicBezTo>
                  <a:pt x="1142" y="87"/>
                  <a:pt x="1142" y="87"/>
                  <a:pt x="1142" y="87"/>
                </a:cubicBezTo>
                <a:cubicBezTo>
                  <a:pt x="1143" y="87"/>
                  <a:pt x="1143" y="87"/>
                  <a:pt x="1143" y="87"/>
                </a:cubicBezTo>
                <a:cubicBezTo>
                  <a:pt x="1143" y="87"/>
                  <a:pt x="1144" y="88"/>
                  <a:pt x="1144" y="88"/>
                </a:cubicBezTo>
                <a:cubicBezTo>
                  <a:pt x="1144" y="88"/>
                  <a:pt x="1144" y="88"/>
                  <a:pt x="1143" y="88"/>
                </a:cubicBezTo>
                <a:cubicBezTo>
                  <a:pt x="1143" y="88"/>
                  <a:pt x="1143" y="88"/>
                  <a:pt x="1144" y="89"/>
                </a:cubicBezTo>
                <a:cubicBezTo>
                  <a:pt x="1143" y="89"/>
                  <a:pt x="1143" y="89"/>
                  <a:pt x="1143" y="89"/>
                </a:cubicBezTo>
                <a:cubicBezTo>
                  <a:pt x="1142" y="89"/>
                  <a:pt x="1142" y="89"/>
                  <a:pt x="1142" y="89"/>
                </a:cubicBezTo>
                <a:close/>
                <a:moveTo>
                  <a:pt x="1168" y="139"/>
                </a:moveTo>
                <a:cubicBezTo>
                  <a:pt x="1168" y="139"/>
                  <a:pt x="1168" y="139"/>
                  <a:pt x="1168" y="140"/>
                </a:cubicBezTo>
                <a:cubicBezTo>
                  <a:pt x="1168" y="140"/>
                  <a:pt x="1169" y="140"/>
                  <a:pt x="1169" y="140"/>
                </a:cubicBezTo>
                <a:cubicBezTo>
                  <a:pt x="1170" y="141"/>
                  <a:pt x="1170" y="141"/>
                  <a:pt x="1171" y="141"/>
                </a:cubicBezTo>
                <a:cubicBezTo>
                  <a:pt x="1171" y="141"/>
                  <a:pt x="1171" y="141"/>
                  <a:pt x="1171" y="141"/>
                </a:cubicBezTo>
                <a:cubicBezTo>
                  <a:pt x="1170" y="140"/>
                  <a:pt x="1170" y="140"/>
                  <a:pt x="1169" y="140"/>
                </a:cubicBezTo>
                <a:cubicBezTo>
                  <a:pt x="1169" y="140"/>
                  <a:pt x="1169" y="139"/>
                  <a:pt x="1168" y="139"/>
                </a:cubicBezTo>
                <a:close/>
                <a:moveTo>
                  <a:pt x="1174" y="138"/>
                </a:moveTo>
                <a:cubicBezTo>
                  <a:pt x="1175" y="138"/>
                  <a:pt x="1175" y="138"/>
                  <a:pt x="1175" y="138"/>
                </a:cubicBezTo>
                <a:cubicBezTo>
                  <a:pt x="1175" y="137"/>
                  <a:pt x="1175" y="137"/>
                  <a:pt x="1175" y="136"/>
                </a:cubicBezTo>
                <a:cubicBezTo>
                  <a:pt x="1174" y="136"/>
                  <a:pt x="1173" y="136"/>
                  <a:pt x="1173" y="135"/>
                </a:cubicBezTo>
                <a:cubicBezTo>
                  <a:pt x="1172" y="135"/>
                  <a:pt x="1172" y="135"/>
                  <a:pt x="1172" y="134"/>
                </a:cubicBezTo>
                <a:cubicBezTo>
                  <a:pt x="1171" y="134"/>
                  <a:pt x="1171" y="134"/>
                  <a:pt x="1170" y="134"/>
                </a:cubicBezTo>
                <a:cubicBezTo>
                  <a:pt x="1170" y="134"/>
                  <a:pt x="1170" y="133"/>
                  <a:pt x="1169" y="133"/>
                </a:cubicBezTo>
                <a:cubicBezTo>
                  <a:pt x="1169" y="133"/>
                  <a:pt x="1168" y="133"/>
                  <a:pt x="1168" y="132"/>
                </a:cubicBezTo>
                <a:cubicBezTo>
                  <a:pt x="1168" y="132"/>
                  <a:pt x="1168" y="132"/>
                  <a:pt x="1168" y="132"/>
                </a:cubicBezTo>
                <a:cubicBezTo>
                  <a:pt x="1167" y="132"/>
                  <a:pt x="1167" y="131"/>
                  <a:pt x="1166" y="131"/>
                </a:cubicBezTo>
                <a:cubicBezTo>
                  <a:pt x="1166" y="131"/>
                  <a:pt x="1166" y="131"/>
                  <a:pt x="1166" y="131"/>
                </a:cubicBezTo>
                <a:cubicBezTo>
                  <a:pt x="1165" y="131"/>
                  <a:pt x="1165" y="131"/>
                  <a:pt x="1165" y="131"/>
                </a:cubicBezTo>
                <a:cubicBezTo>
                  <a:pt x="1165" y="131"/>
                  <a:pt x="1165" y="131"/>
                  <a:pt x="1165" y="132"/>
                </a:cubicBezTo>
                <a:cubicBezTo>
                  <a:pt x="1165" y="132"/>
                  <a:pt x="1164" y="132"/>
                  <a:pt x="1164" y="132"/>
                </a:cubicBezTo>
                <a:cubicBezTo>
                  <a:pt x="1164" y="132"/>
                  <a:pt x="1164" y="132"/>
                  <a:pt x="1165" y="133"/>
                </a:cubicBezTo>
                <a:cubicBezTo>
                  <a:pt x="1165" y="133"/>
                  <a:pt x="1165" y="133"/>
                  <a:pt x="1166" y="133"/>
                </a:cubicBezTo>
                <a:cubicBezTo>
                  <a:pt x="1166" y="133"/>
                  <a:pt x="1165" y="133"/>
                  <a:pt x="1165" y="133"/>
                </a:cubicBezTo>
                <a:cubicBezTo>
                  <a:pt x="1165" y="133"/>
                  <a:pt x="1165" y="133"/>
                  <a:pt x="1165" y="133"/>
                </a:cubicBezTo>
                <a:cubicBezTo>
                  <a:pt x="1164" y="133"/>
                  <a:pt x="1164" y="133"/>
                  <a:pt x="1164" y="133"/>
                </a:cubicBezTo>
                <a:cubicBezTo>
                  <a:pt x="1164" y="133"/>
                  <a:pt x="1164" y="133"/>
                  <a:pt x="1163" y="133"/>
                </a:cubicBezTo>
                <a:cubicBezTo>
                  <a:pt x="1164" y="133"/>
                  <a:pt x="1164" y="133"/>
                  <a:pt x="1164" y="133"/>
                </a:cubicBezTo>
                <a:cubicBezTo>
                  <a:pt x="1164" y="134"/>
                  <a:pt x="1165" y="134"/>
                  <a:pt x="1166" y="135"/>
                </a:cubicBezTo>
                <a:cubicBezTo>
                  <a:pt x="1166" y="135"/>
                  <a:pt x="1166" y="135"/>
                  <a:pt x="1167" y="136"/>
                </a:cubicBezTo>
                <a:cubicBezTo>
                  <a:pt x="1167" y="136"/>
                  <a:pt x="1167" y="136"/>
                  <a:pt x="1167" y="136"/>
                </a:cubicBezTo>
                <a:cubicBezTo>
                  <a:pt x="1168" y="136"/>
                  <a:pt x="1168" y="136"/>
                  <a:pt x="1168" y="136"/>
                </a:cubicBezTo>
                <a:cubicBezTo>
                  <a:pt x="1168" y="136"/>
                  <a:pt x="1168" y="136"/>
                  <a:pt x="1168" y="136"/>
                </a:cubicBezTo>
                <a:cubicBezTo>
                  <a:pt x="1168" y="136"/>
                  <a:pt x="1169" y="136"/>
                  <a:pt x="1169" y="136"/>
                </a:cubicBezTo>
                <a:cubicBezTo>
                  <a:pt x="1169" y="136"/>
                  <a:pt x="1170" y="136"/>
                  <a:pt x="1170" y="136"/>
                </a:cubicBezTo>
                <a:cubicBezTo>
                  <a:pt x="1170" y="136"/>
                  <a:pt x="1170" y="136"/>
                  <a:pt x="1170" y="136"/>
                </a:cubicBezTo>
                <a:cubicBezTo>
                  <a:pt x="1170" y="137"/>
                  <a:pt x="1171" y="137"/>
                  <a:pt x="1171" y="137"/>
                </a:cubicBezTo>
                <a:cubicBezTo>
                  <a:pt x="1171" y="137"/>
                  <a:pt x="1170" y="137"/>
                  <a:pt x="1170" y="137"/>
                </a:cubicBezTo>
                <a:cubicBezTo>
                  <a:pt x="1171" y="138"/>
                  <a:pt x="1171" y="138"/>
                  <a:pt x="1171" y="138"/>
                </a:cubicBezTo>
                <a:cubicBezTo>
                  <a:pt x="1171" y="138"/>
                  <a:pt x="1172" y="138"/>
                  <a:pt x="1172" y="138"/>
                </a:cubicBezTo>
                <a:cubicBezTo>
                  <a:pt x="1173" y="138"/>
                  <a:pt x="1173" y="138"/>
                  <a:pt x="1173" y="138"/>
                </a:cubicBezTo>
                <a:cubicBezTo>
                  <a:pt x="1174" y="138"/>
                  <a:pt x="1174" y="138"/>
                  <a:pt x="1174" y="138"/>
                </a:cubicBezTo>
                <a:close/>
                <a:moveTo>
                  <a:pt x="1172" y="143"/>
                </a:moveTo>
                <a:cubicBezTo>
                  <a:pt x="1172" y="143"/>
                  <a:pt x="1173" y="142"/>
                  <a:pt x="1173" y="142"/>
                </a:cubicBezTo>
                <a:cubicBezTo>
                  <a:pt x="1172" y="142"/>
                  <a:pt x="1172" y="142"/>
                  <a:pt x="1172" y="142"/>
                </a:cubicBezTo>
                <a:cubicBezTo>
                  <a:pt x="1172" y="142"/>
                  <a:pt x="1172" y="142"/>
                  <a:pt x="1172" y="143"/>
                </a:cubicBezTo>
                <a:close/>
                <a:moveTo>
                  <a:pt x="1123" y="28"/>
                </a:moveTo>
                <a:cubicBezTo>
                  <a:pt x="1124" y="28"/>
                  <a:pt x="1124" y="28"/>
                  <a:pt x="1125" y="28"/>
                </a:cubicBezTo>
                <a:cubicBezTo>
                  <a:pt x="1125" y="28"/>
                  <a:pt x="1126" y="28"/>
                  <a:pt x="1126" y="28"/>
                </a:cubicBezTo>
                <a:cubicBezTo>
                  <a:pt x="1126" y="27"/>
                  <a:pt x="1127" y="27"/>
                  <a:pt x="1127" y="27"/>
                </a:cubicBezTo>
                <a:cubicBezTo>
                  <a:pt x="1127" y="27"/>
                  <a:pt x="1127" y="27"/>
                  <a:pt x="1128" y="27"/>
                </a:cubicBezTo>
                <a:cubicBezTo>
                  <a:pt x="1128" y="27"/>
                  <a:pt x="1128" y="26"/>
                  <a:pt x="1128" y="26"/>
                </a:cubicBezTo>
                <a:cubicBezTo>
                  <a:pt x="1127" y="26"/>
                  <a:pt x="1127" y="26"/>
                  <a:pt x="1127" y="26"/>
                </a:cubicBezTo>
                <a:cubicBezTo>
                  <a:pt x="1127" y="26"/>
                  <a:pt x="1126" y="25"/>
                  <a:pt x="1126" y="25"/>
                </a:cubicBezTo>
                <a:cubicBezTo>
                  <a:pt x="1126" y="25"/>
                  <a:pt x="1125" y="25"/>
                  <a:pt x="1125" y="25"/>
                </a:cubicBezTo>
                <a:cubicBezTo>
                  <a:pt x="1125" y="25"/>
                  <a:pt x="1124" y="25"/>
                  <a:pt x="1123" y="25"/>
                </a:cubicBezTo>
                <a:cubicBezTo>
                  <a:pt x="1123" y="25"/>
                  <a:pt x="1122" y="26"/>
                  <a:pt x="1122" y="26"/>
                </a:cubicBezTo>
                <a:cubicBezTo>
                  <a:pt x="1122" y="26"/>
                  <a:pt x="1121" y="26"/>
                  <a:pt x="1121" y="26"/>
                </a:cubicBezTo>
                <a:cubicBezTo>
                  <a:pt x="1121" y="26"/>
                  <a:pt x="1121" y="26"/>
                  <a:pt x="1121" y="27"/>
                </a:cubicBezTo>
                <a:cubicBezTo>
                  <a:pt x="1122" y="27"/>
                  <a:pt x="1123" y="27"/>
                  <a:pt x="1123" y="28"/>
                </a:cubicBezTo>
                <a:close/>
                <a:moveTo>
                  <a:pt x="1229" y="107"/>
                </a:moveTo>
                <a:cubicBezTo>
                  <a:pt x="1229" y="107"/>
                  <a:pt x="1230" y="107"/>
                  <a:pt x="1230" y="107"/>
                </a:cubicBezTo>
                <a:cubicBezTo>
                  <a:pt x="1230" y="107"/>
                  <a:pt x="1230" y="107"/>
                  <a:pt x="1230" y="106"/>
                </a:cubicBezTo>
                <a:cubicBezTo>
                  <a:pt x="1230" y="106"/>
                  <a:pt x="1230" y="106"/>
                  <a:pt x="1230" y="106"/>
                </a:cubicBezTo>
                <a:cubicBezTo>
                  <a:pt x="1230" y="106"/>
                  <a:pt x="1231" y="106"/>
                  <a:pt x="1231" y="106"/>
                </a:cubicBezTo>
                <a:cubicBezTo>
                  <a:pt x="1231" y="106"/>
                  <a:pt x="1231" y="106"/>
                  <a:pt x="1231" y="106"/>
                </a:cubicBezTo>
                <a:cubicBezTo>
                  <a:pt x="1230" y="106"/>
                  <a:pt x="1230" y="106"/>
                  <a:pt x="1230" y="106"/>
                </a:cubicBezTo>
                <a:cubicBezTo>
                  <a:pt x="1229" y="106"/>
                  <a:pt x="1229" y="106"/>
                  <a:pt x="1228" y="106"/>
                </a:cubicBezTo>
                <a:cubicBezTo>
                  <a:pt x="1228" y="106"/>
                  <a:pt x="1227" y="107"/>
                  <a:pt x="1227" y="107"/>
                </a:cubicBezTo>
                <a:cubicBezTo>
                  <a:pt x="1227" y="107"/>
                  <a:pt x="1227" y="107"/>
                  <a:pt x="1227" y="107"/>
                </a:cubicBezTo>
                <a:cubicBezTo>
                  <a:pt x="1228" y="107"/>
                  <a:pt x="1228" y="107"/>
                  <a:pt x="1228" y="107"/>
                </a:cubicBezTo>
                <a:cubicBezTo>
                  <a:pt x="1229" y="107"/>
                  <a:pt x="1229" y="107"/>
                  <a:pt x="1229" y="107"/>
                </a:cubicBezTo>
                <a:close/>
                <a:moveTo>
                  <a:pt x="1235" y="110"/>
                </a:moveTo>
                <a:cubicBezTo>
                  <a:pt x="1235" y="110"/>
                  <a:pt x="1235" y="110"/>
                  <a:pt x="1236" y="110"/>
                </a:cubicBezTo>
                <a:cubicBezTo>
                  <a:pt x="1236" y="110"/>
                  <a:pt x="1236" y="110"/>
                  <a:pt x="1236" y="110"/>
                </a:cubicBezTo>
                <a:cubicBezTo>
                  <a:pt x="1235" y="110"/>
                  <a:pt x="1235" y="110"/>
                  <a:pt x="1234" y="109"/>
                </a:cubicBezTo>
                <a:cubicBezTo>
                  <a:pt x="1234" y="109"/>
                  <a:pt x="1233" y="109"/>
                  <a:pt x="1233" y="109"/>
                </a:cubicBezTo>
                <a:cubicBezTo>
                  <a:pt x="1233" y="109"/>
                  <a:pt x="1232" y="109"/>
                  <a:pt x="1232" y="109"/>
                </a:cubicBezTo>
                <a:cubicBezTo>
                  <a:pt x="1233" y="109"/>
                  <a:pt x="1233" y="110"/>
                  <a:pt x="1233" y="110"/>
                </a:cubicBezTo>
                <a:cubicBezTo>
                  <a:pt x="1234" y="110"/>
                  <a:pt x="1234" y="110"/>
                  <a:pt x="1235" y="110"/>
                </a:cubicBezTo>
                <a:close/>
                <a:moveTo>
                  <a:pt x="1206" y="109"/>
                </a:moveTo>
                <a:cubicBezTo>
                  <a:pt x="1206" y="109"/>
                  <a:pt x="1206" y="110"/>
                  <a:pt x="1206" y="110"/>
                </a:cubicBezTo>
                <a:cubicBezTo>
                  <a:pt x="1206" y="110"/>
                  <a:pt x="1206" y="110"/>
                  <a:pt x="1206" y="111"/>
                </a:cubicBezTo>
                <a:cubicBezTo>
                  <a:pt x="1207" y="111"/>
                  <a:pt x="1207" y="111"/>
                  <a:pt x="1207" y="111"/>
                </a:cubicBezTo>
                <a:cubicBezTo>
                  <a:pt x="1207" y="110"/>
                  <a:pt x="1207" y="110"/>
                  <a:pt x="1207" y="110"/>
                </a:cubicBezTo>
                <a:cubicBezTo>
                  <a:pt x="1207" y="110"/>
                  <a:pt x="1207" y="110"/>
                  <a:pt x="1207" y="110"/>
                </a:cubicBezTo>
                <a:cubicBezTo>
                  <a:pt x="1207" y="110"/>
                  <a:pt x="1207" y="110"/>
                  <a:pt x="1208" y="110"/>
                </a:cubicBezTo>
                <a:cubicBezTo>
                  <a:pt x="1208" y="110"/>
                  <a:pt x="1208" y="110"/>
                  <a:pt x="1208" y="111"/>
                </a:cubicBezTo>
                <a:cubicBezTo>
                  <a:pt x="1208" y="111"/>
                  <a:pt x="1208" y="110"/>
                  <a:pt x="1209" y="110"/>
                </a:cubicBezTo>
                <a:cubicBezTo>
                  <a:pt x="1209" y="111"/>
                  <a:pt x="1209" y="111"/>
                  <a:pt x="1209" y="111"/>
                </a:cubicBezTo>
                <a:cubicBezTo>
                  <a:pt x="1209" y="111"/>
                  <a:pt x="1210" y="111"/>
                  <a:pt x="1210" y="111"/>
                </a:cubicBezTo>
                <a:cubicBezTo>
                  <a:pt x="1210" y="110"/>
                  <a:pt x="1210" y="110"/>
                  <a:pt x="1210" y="110"/>
                </a:cubicBezTo>
                <a:cubicBezTo>
                  <a:pt x="1211" y="110"/>
                  <a:pt x="1211" y="110"/>
                  <a:pt x="1212" y="110"/>
                </a:cubicBezTo>
                <a:cubicBezTo>
                  <a:pt x="1212" y="110"/>
                  <a:pt x="1212" y="110"/>
                  <a:pt x="1213" y="110"/>
                </a:cubicBezTo>
                <a:cubicBezTo>
                  <a:pt x="1213" y="109"/>
                  <a:pt x="1213" y="109"/>
                  <a:pt x="1213" y="109"/>
                </a:cubicBezTo>
                <a:cubicBezTo>
                  <a:pt x="1213" y="109"/>
                  <a:pt x="1213" y="109"/>
                  <a:pt x="1213" y="108"/>
                </a:cubicBezTo>
                <a:cubicBezTo>
                  <a:pt x="1212" y="108"/>
                  <a:pt x="1212" y="108"/>
                  <a:pt x="1211" y="108"/>
                </a:cubicBezTo>
                <a:cubicBezTo>
                  <a:pt x="1211" y="107"/>
                  <a:pt x="1211" y="107"/>
                  <a:pt x="1211" y="107"/>
                </a:cubicBezTo>
                <a:cubicBezTo>
                  <a:pt x="1211" y="107"/>
                  <a:pt x="1210" y="106"/>
                  <a:pt x="1210" y="106"/>
                </a:cubicBezTo>
                <a:cubicBezTo>
                  <a:pt x="1210" y="106"/>
                  <a:pt x="1210" y="106"/>
                  <a:pt x="1209" y="106"/>
                </a:cubicBezTo>
                <a:cubicBezTo>
                  <a:pt x="1209" y="106"/>
                  <a:pt x="1209" y="106"/>
                  <a:pt x="1208" y="106"/>
                </a:cubicBezTo>
                <a:cubicBezTo>
                  <a:pt x="1208" y="106"/>
                  <a:pt x="1208" y="106"/>
                  <a:pt x="1207" y="106"/>
                </a:cubicBezTo>
                <a:cubicBezTo>
                  <a:pt x="1207" y="106"/>
                  <a:pt x="1207" y="106"/>
                  <a:pt x="1206" y="106"/>
                </a:cubicBezTo>
                <a:cubicBezTo>
                  <a:pt x="1206" y="106"/>
                  <a:pt x="1206" y="107"/>
                  <a:pt x="1205" y="107"/>
                </a:cubicBezTo>
                <a:cubicBezTo>
                  <a:pt x="1205" y="107"/>
                  <a:pt x="1205" y="107"/>
                  <a:pt x="1205" y="107"/>
                </a:cubicBezTo>
                <a:cubicBezTo>
                  <a:pt x="1205" y="108"/>
                  <a:pt x="1206" y="108"/>
                  <a:pt x="1206" y="108"/>
                </a:cubicBezTo>
                <a:cubicBezTo>
                  <a:pt x="1206" y="108"/>
                  <a:pt x="1206" y="109"/>
                  <a:pt x="1206" y="109"/>
                </a:cubicBezTo>
                <a:close/>
                <a:moveTo>
                  <a:pt x="1166" y="139"/>
                </a:moveTo>
                <a:cubicBezTo>
                  <a:pt x="1167" y="139"/>
                  <a:pt x="1167" y="139"/>
                  <a:pt x="1167" y="139"/>
                </a:cubicBezTo>
                <a:cubicBezTo>
                  <a:pt x="1167" y="139"/>
                  <a:pt x="1167" y="139"/>
                  <a:pt x="1167" y="138"/>
                </a:cubicBezTo>
                <a:cubicBezTo>
                  <a:pt x="1167" y="138"/>
                  <a:pt x="1167" y="138"/>
                  <a:pt x="1167" y="138"/>
                </a:cubicBezTo>
                <a:cubicBezTo>
                  <a:pt x="1167" y="138"/>
                  <a:pt x="1166" y="139"/>
                  <a:pt x="1166" y="139"/>
                </a:cubicBezTo>
                <a:close/>
                <a:moveTo>
                  <a:pt x="1227" y="112"/>
                </a:moveTo>
                <a:cubicBezTo>
                  <a:pt x="1227" y="113"/>
                  <a:pt x="1227" y="113"/>
                  <a:pt x="1227" y="113"/>
                </a:cubicBezTo>
                <a:cubicBezTo>
                  <a:pt x="1228" y="113"/>
                  <a:pt x="1228" y="113"/>
                  <a:pt x="1228" y="113"/>
                </a:cubicBezTo>
                <a:cubicBezTo>
                  <a:pt x="1228" y="113"/>
                  <a:pt x="1228" y="113"/>
                  <a:pt x="1228" y="112"/>
                </a:cubicBezTo>
                <a:cubicBezTo>
                  <a:pt x="1228" y="112"/>
                  <a:pt x="1228" y="112"/>
                  <a:pt x="1228" y="112"/>
                </a:cubicBezTo>
                <a:cubicBezTo>
                  <a:pt x="1228" y="112"/>
                  <a:pt x="1228" y="111"/>
                  <a:pt x="1228" y="111"/>
                </a:cubicBezTo>
                <a:cubicBezTo>
                  <a:pt x="1228" y="111"/>
                  <a:pt x="1228" y="111"/>
                  <a:pt x="1228" y="111"/>
                </a:cubicBezTo>
                <a:cubicBezTo>
                  <a:pt x="1228" y="111"/>
                  <a:pt x="1228" y="111"/>
                  <a:pt x="1228" y="111"/>
                </a:cubicBezTo>
                <a:cubicBezTo>
                  <a:pt x="1228" y="110"/>
                  <a:pt x="1227" y="110"/>
                  <a:pt x="1227" y="110"/>
                </a:cubicBezTo>
                <a:cubicBezTo>
                  <a:pt x="1227" y="110"/>
                  <a:pt x="1226" y="110"/>
                  <a:pt x="1226" y="110"/>
                </a:cubicBezTo>
                <a:cubicBezTo>
                  <a:pt x="1226" y="111"/>
                  <a:pt x="1226" y="111"/>
                  <a:pt x="1226" y="112"/>
                </a:cubicBezTo>
                <a:cubicBezTo>
                  <a:pt x="1226" y="112"/>
                  <a:pt x="1226" y="112"/>
                  <a:pt x="1226" y="112"/>
                </a:cubicBezTo>
                <a:cubicBezTo>
                  <a:pt x="1226" y="112"/>
                  <a:pt x="1227" y="112"/>
                  <a:pt x="1227" y="112"/>
                </a:cubicBezTo>
                <a:close/>
                <a:moveTo>
                  <a:pt x="1237" y="21"/>
                </a:moveTo>
                <a:cubicBezTo>
                  <a:pt x="1237" y="21"/>
                  <a:pt x="1238" y="21"/>
                  <a:pt x="1238" y="21"/>
                </a:cubicBezTo>
                <a:cubicBezTo>
                  <a:pt x="1239" y="21"/>
                  <a:pt x="1239" y="21"/>
                  <a:pt x="1239" y="20"/>
                </a:cubicBezTo>
                <a:cubicBezTo>
                  <a:pt x="1239" y="20"/>
                  <a:pt x="1239" y="20"/>
                  <a:pt x="1240" y="20"/>
                </a:cubicBezTo>
                <a:cubicBezTo>
                  <a:pt x="1240" y="20"/>
                  <a:pt x="1240" y="20"/>
                  <a:pt x="1240" y="20"/>
                </a:cubicBezTo>
                <a:cubicBezTo>
                  <a:pt x="1240" y="19"/>
                  <a:pt x="1239" y="19"/>
                  <a:pt x="1239" y="19"/>
                </a:cubicBezTo>
                <a:cubicBezTo>
                  <a:pt x="1238" y="19"/>
                  <a:pt x="1237" y="19"/>
                  <a:pt x="1237" y="19"/>
                </a:cubicBezTo>
                <a:cubicBezTo>
                  <a:pt x="1237" y="19"/>
                  <a:pt x="1236" y="19"/>
                  <a:pt x="1236" y="20"/>
                </a:cubicBezTo>
                <a:cubicBezTo>
                  <a:pt x="1236" y="20"/>
                  <a:pt x="1235" y="20"/>
                  <a:pt x="1235" y="20"/>
                </a:cubicBezTo>
                <a:cubicBezTo>
                  <a:pt x="1235" y="20"/>
                  <a:pt x="1235" y="20"/>
                  <a:pt x="1235" y="21"/>
                </a:cubicBezTo>
                <a:cubicBezTo>
                  <a:pt x="1236" y="21"/>
                  <a:pt x="1236" y="21"/>
                  <a:pt x="1237" y="21"/>
                </a:cubicBezTo>
                <a:close/>
                <a:moveTo>
                  <a:pt x="1248" y="31"/>
                </a:moveTo>
                <a:cubicBezTo>
                  <a:pt x="1248" y="31"/>
                  <a:pt x="1248" y="31"/>
                  <a:pt x="1248" y="31"/>
                </a:cubicBezTo>
                <a:cubicBezTo>
                  <a:pt x="1248" y="31"/>
                  <a:pt x="1248" y="31"/>
                  <a:pt x="1248" y="32"/>
                </a:cubicBezTo>
                <a:cubicBezTo>
                  <a:pt x="1248" y="32"/>
                  <a:pt x="1249" y="32"/>
                  <a:pt x="1249" y="32"/>
                </a:cubicBezTo>
                <a:cubicBezTo>
                  <a:pt x="1249" y="31"/>
                  <a:pt x="1249" y="31"/>
                  <a:pt x="1250" y="31"/>
                </a:cubicBezTo>
                <a:cubicBezTo>
                  <a:pt x="1250" y="31"/>
                  <a:pt x="1251" y="31"/>
                  <a:pt x="1251" y="31"/>
                </a:cubicBezTo>
                <a:cubicBezTo>
                  <a:pt x="1252" y="31"/>
                  <a:pt x="1252" y="31"/>
                  <a:pt x="1252" y="31"/>
                </a:cubicBezTo>
                <a:cubicBezTo>
                  <a:pt x="1252" y="31"/>
                  <a:pt x="1252" y="32"/>
                  <a:pt x="1252" y="32"/>
                </a:cubicBezTo>
                <a:cubicBezTo>
                  <a:pt x="1253" y="32"/>
                  <a:pt x="1253" y="33"/>
                  <a:pt x="1254" y="33"/>
                </a:cubicBezTo>
                <a:cubicBezTo>
                  <a:pt x="1254" y="33"/>
                  <a:pt x="1254" y="33"/>
                  <a:pt x="1255" y="33"/>
                </a:cubicBezTo>
                <a:cubicBezTo>
                  <a:pt x="1255" y="33"/>
                  <a:pt x="1255" y="33"/>
                  <a:pt x="1255" y="33"/>
                </a:cubicBezTo>
                <a:cubicBezTo>
                  <a:pt x="1256" y="33"/>
                  <a:pt x="1256" y="33"/>
                  <a:pt x="1256" y="33"/>
                </a:cubicBezTo>
                <a:cubicBezTo>
                  <a:pt x="1257" y="33"/>
                  <a:pt x="1257" y="34"/>
                  <a:pt x="1258" y="34"/>
                </a:cubicBezTo>
                <a:cubicBezTo>
                  <a:pt x="1258" y="34"/>
                  <a:pt x="1259" y="34"/>
                  <a:pt x="1259" y="34"/>
                </a:cubicBezTo>
                <a:cubicBezTo>
                  <a:pt x="1260" y="34"/>
                  <a:pt x="1260" y="34"/>
                  <a:pt x="1261" y="34"/>
                </a:cubicBezTo>
                <a:cubicBezTo>
                  <a:pt x="1262" y="34"/>
                  <a:pt x="1262" y="34"/>
                  <a:pt x="1263" y="34"/>
                </a:cubicBezTo>
                <a:cubicBezTo>
                  <a:pt x="1263" y="34"/>
                  <a:pt x="1264" y="34"/>
                  <a:pt x="1264" y="33"/>
                </a:cubicBezTo>
                <a:cubicBezTo>
                  <a:pt x="1264" y="33"/>
                  <a:pt x="1264" y="33"/>
                  <a:pt x="1264" y="33"/>
                </a:cubicBezTo>
                <a:cubicBezTo>
                  <a:pt x="1265" y="33"/>
                  <a:pt x="1265" y="32"/>
                  <a:pt x="1266" y="32"/>
                </a:cubicBezTo>
                <a:cubicBezTo>
                  <a:pt x="1267" y="32"/>
                  <a:pt x="1268" y="32"/>
                  <a:pt x="1269" y="31"/>
                </a:cubicBezTo>
                <a:cubicBezTo>
                  <a:pt x="1269" y="31"/>
                  <a:pt x="1270" y="31"/>
                  <a:pt x="1270" y="31"/>
                </a:cubicBezTo>
                <a:cubicBezTo>
                  <a:pt x="1271" y="31"/>
                  <a:pt x="1271" y="31"/>
                  <a:pt x="1271" y="31"/>
                </a:cubicBezTo>
                <a:cubicBezTo>
                  <a:pt x="1271" y="30"/>
                  <a:pt x="1271" y="30"/>
                  <a:pt x="1271" y="30"/>
                </a:cubicBezTo>
                <a:cubicBezTo>
                  <a:pt x="1270" y="29"/>
                  <a:pt x="1270" y="29"/>
                  <a:pt x="1269" y="29"/>
                </a:cubicBezTo>
                <a:cubicBezTo>
                  <a:pt x="1268" y="28"/>
                  <a:pt x="1268" y="28"/>
                  <a:pt x="1267" y="27"/>
                </a:cubicBezTo>
                <a:cubicBezTo>
                  <a:pt x="1267" y="27"/>
                  <a:pt x="1267" y="27"/>
                  <a:pt x="1266" y="26"/>
                </a:cubicBezTo>
                <a:cubicBezTo>
                  <a:pt x="1266" y="26"/>
                  <a:pt x="1267" y="26"/>
                  <a:pt x="1267" y="25"/>
                </a:cubicBezTo>
                <a:cubicBezTo>
                  <a:pt x="1267" y="25"/>
                  <a:pt x="1267" y="25"/>
                  <a:pt x="1267" y="25"/>
                </a:cubicBezTo>
                <a:cubicBezTo>
                  <a:pt x="1267" y="24"/>
                  <a:pt x="1267" y="24"/>
                  <a:pt x="1268" y="24"/>
                </a:cubicBezTo>
                <a:cubicBezTo>
                  <a:pt x="1267" y="24"/>
                  <a:pt x="1267" y="24"/>
                  <a:pt x="1267" y="24"/>
                </a:cubicBezTo>
                <a:cubicBezTo>
                  <a:pt x="1266" y="24"/>
                  <a:pt x="1265" y="23"/>
                  <a:pt x="1264" y="23"/>
                </a:cubicBezTo>
                <a:cubicBezTo>
                  <a:pt x="1263" y="23"/>
                  <a:pt x="1262" y="23"/>
                  <a:pt x="1262" y="23"/>
                </a:cubicBezTo>
                <a:cubicBezTo>
                  <a:pt x="1261" y="22"/>
                  <a:pt x="1261" y="22"/>
                  <a:pt x="1260" y="22"/>
                </a:cubicBezTo>
                <a:cubicBezTo>
                  <a:pt x="1259" y="21"/>
                  <a:pt x="1259" y="20"/>
                  <a:pt x="1258" y="19"/>
                </a:cubicBezTo>
                <a:cubicBezTo>
                  <a:pt x="1257" y="19"/>
                  <a:pt x="1257" y="19"/>
                  <a:pt x="1256" y="18"/>
                </a:cubicBezTo>
                <a:cubicBezTo>
                  <a:pt x="1256" y="18"/>
                  <a:pt x="1255" y="18"/>
                  <a:pt x="1254" y="17"/>
                </a:cubicBezTo>
                <a:cubicBezTo>
                  <a:pt x="1254" y="17"/>
                  <a:pt x="1254" y="17"/>
                  <a:pt x="1253" y="17"/>
                </a:cubicBezTo>
                <a:cubicBezTo>
                  <a:pt x="1253" y="17"/>
                  <a:pt x="1253" y="17"/>
                  <a:pt x="1253" y="18"/>
                </a:cubicBezTo>
                <a:cubicBezTo>
                  <a:pt x="1253" y="18"/>
                  <a:pt x="1253" y="18"/>
                  <a:pt x="1253" y="18"/>
                </a:cubicBezTo>
                <a:cubicBezTo>
                  <a:pt x="1253" y="18"/>
                  <a:pt x="1253" y="18"/>
                  <a:pt x="1253" y="19"/>
                </a:cubicBezTo>
                <a:cubicBezTo>
                  <a:pt x="1253" y="19"/>
                  <a:pt x="1253" y="19"/>
                  <a:pt x="1253" y="20"/>
                </a:cubicBezTo>
                <a:cubicBezTo>
                  <a:pt x="1252" y="20"/>
                  <a:pt x="1252" y="20"/>
                  <a:pt x="1251" y="20"/>
                </a:cubicBezTo>
                <a:cubicBezTo>
                  <a:pt x="1251" y="21"/>
                  <a:pt x="1250" y="21"/>
                  <a:pt x="1250" y="21"/>
                </a:cubicBezTo>
                <a:cubicBezTo>
                  <a:pt x="1250" y="22"/>
                  <a:pt x="1249" y="22"/>
                  <a:pt x="1249" y="22"/>
                </a:cubicBezTo>
                <a:cubicBezTo>
                  <a:pt x="1249" y="22"/>
                  <a:pt x="1248" y="23"/>
                  <a:pt x="1248" y="23"/>
                </a:cubicBezTo>
                <a:cubicBezTo>
                  <a:pt x="1248" y="24"/>
                  <a:pt x="1248" y="25"/>
                  <a:pt x="1248" y="26"/>
                </a:cubicBezTo>
                <a:cubicBezTo>
                  <a:pt x="1248" y="26"/>
                  <a:pt x="1249" y="26"/>
                  <a:pt x="1249" y="27"/>
                </a:cubicBezTo>
                <a:cubicBezTo>
                  <a:pt x="1249" y="27"/>
                  <a:pt x="1249" y="27"/>
                  <a:pt x="1250" y="27"/>
                </a:cubicBezTo>
                <a:cubicBezTo>
                  <a:pt x="1250" y="27"/>
                  <a:pt x="1250" y="28"/>
                  <a:pt x="1250" y="28"/>
                </a:cubicBezTo>
                <a:cubicBezTo>
                  <a:pt x="1250" y="29"/>
                  <a:pt x="1249" y="29"/>
                  <a:pt x="1249" y="30"/>
                </a:cubicBezTo>
                <a:cubicBezTo>
                  <a:pt x="1249" y="30"/>
                  <a:pt x="1249" y="30"/>
                  <a:pt x="1248" y="31"/>
                </a:cubicBezTo>
                <a:close/>
                <a:moveTo>
                  <a:pt x="1129" y="27"/>
                </a:moveTo>
                <a:cubicBezTo>
                  <a:pt x="1129" y="28"/>
                  <a:pt x="1129" y="28"/>
                  <a:pt x="1129" y="28"/>
                </a:cubicBezTo>
                <a:cubicBezTo>
                  <a:pt x="1128" y="28"/>
                  <a:pt x="1128" y="28"/>
                  <a:pt x="1128" y="28"/>
                </a:cubicBezTo>
                <a:cubicBezTo>
                  <a:pt x="1127" y="28"/>
                  <a:pt x="1127" y="28"/>
                  <a:pt x="1127" y="28"/>
                </a:cubicBezTo>
                <a:cubicBezTo>
                  <a:pt x="1127" y="28"/>
                  <a:pt x="1127" y="28"/>
                  <a:pt x="1126" y="28"/>
                </a:cubicBezTo>
                <a:cubicBezTo>
                  <a:pt x="1126" y="28"/>
                  <a:pt x="1125" y="29"/>
                  <a:pt x="1125" y="29"/>
                </a:cubicBezTo>
                <a:cubicBezTo>
                  <a:pt x="1124" y="29"/>
                  <a:pt x="1124" y="29"/>
                  <a:pt x="1123" y="29"/>
                </a:cubicBezTo>
                <a:cubicBezTo>
                  <a:pt x="1123" y="29"/>
                  <a:pt x="1123" y="29"/>
                  <a:pt x="1123" y="28"/>
                </a:cubicBezTo>
                <a:cubicBezTo>
                  <a:pt x="1122" y="28"/>
                  <a:pt x="1122" y="29"/>
                  <a:pt x="1122" y="29"/>
                </a:cubicBezTo>
                <a:cubicBezTo>
                  <a:pt x="1122" y="29"/>
                  <a:pt x="1122" y="29"/>
                  <a:pt x="1122" y="29"/>
                </a:cubicBezTo>
                <a:cubicBezTo>
                  <a:pt x="1122" y="29"/>
                  <a:pt x="1122" y="30"/>
                  <a:pt x="1122" y="30"/>
                </a:cubicBezTo>
                <a:cubicBezTo>
                  <a:pt x="1122" y="31"/>
                  <a:pt x="1122" y="31"/>
                  <a:pt x="1122" y="32"/>
                </a:cubicBezTo>
                <a:cubicBezTo>
                  <a:pt x="1122" y="32"/>
                  <a:pt x="1122" y="33"/>
                  <a:pt x="1123" y="33"/>
                </a:cubicBezTo>
                <a:cubicBezTo>
                  <a:pt x="1123" y="34"/>
                  <a:pt x="1124" y="34"/>
                  <a:pt x="1124" y="35"/>
                </a:cubicBezTo>
                <a:cubicBezTo>
                  <a:pt x="1124" y="35"/>
                  <a:pt x="1125" y="35"/>
                  <a:pt x="1125" y="35"/>
                </a:cubicBezTo>
                <a:cubicBezTo>
                  <a:pt x="1126" y="35"/>
                  <a:pt x="1126" y="35"/>
                  <a:pt x="1127" y="34"/>
                </a:cubicBezTo>
                <a:cubicBezTo>
                  <a:pt x="1128" y="34"/>
                  <a:pt x="1128" y="34"/>
                  <a:pt x="1129" y="34"/>
                </a:cubicBezTo>
                <a:cubicBezTo>
                  <a:pt x="1129" y="34"/>
                  <a:pt x="1129" y="34"/>
                  <a:pt x="1130" y="34"/>
                </a:cubicBezTo>
                <a:cubicBezTo>
                  <a:pt x="1130" y="34"/>
                  <a:pt x="1131" y="34"/>
                  <a:pt x="1132" y="34"/>
                </a:cubicBezTo>
                <a:cubicBezTo>
                  <a:pt x="1132" y="34"/>
                  <a:pt x="1132" y="34"/>
                  <a:pt x="1132" y="34"/>
                </a:cubicBezTo>
                <a:cubicBezTo>
                  <a:pt x="1131" y="33"/>
                  <a:pt x="1131" y="33"/>
                  <a:pt x="1131" y="33"/>
                </a:cubicBezTo>
                <a:cubicBezTo>
                  <a:pt x="1131" y="33"/>
                  <a:pt x="1130" y="32"/>
                  <a:pt x="1130" y="32"/>
                </a:cubicBezTo>
                <a:cubicBezTo>
                  <a:pt x="1130" y="32"/>
                  <a:pt x="1129" y="32"/>
                  <a:pt x="1129" y="32"/>
                </a:cubicBezTo>
                <a:cubicBezTo>
                  <a:pt x="1129" y="31"/>
                  <a:pt x="1128" y="31"/>
                  <a:pt x="1128" y="31"/>
                </a:cubicBezTo>
                <a:cubicBezTo>
                  <a:pt x="1128" y="31"/>
                  <a:pt x="1128" y="30"/>
                  <a:pt x="1128" y="30"/>
                </a:cubicBezTo>
                <a:cubicBezTo>
                  <a:pt x="1129" y="30"/>
                  <a:pt x="1129" y="30"/>
                  <a:pt x="1129" y="30"/>
                </a:cubicBezTo>
                <a:cubicBezTo>
                  <a:pt x="1130" y="30"/>
                  <a:pt x="1130" y="30"/>
                  <a:pt x="1131" y="30"/>
                </a:cubicBezTo>
                <a:cubicBezTo>
                  <a:pt x="1131" y="30"/>
                  <a:pt x="1132" y="30"/>
                  <a:pt x="1132" y="30"/>
                </a:cubicBezTo>
                <a:cubicBezTo>
                  <a:pt x="1132" y="30"/>
                  <a:pt x="1132" y="29"/>
                  <a:pt x="1132" y="29"/>
                </a:cubicBezTo>
                <a:cubicBezTo>
                  <a:pt x="1132" y="29"/>
                  <a:pt x="1131" y="29"/>
                  <a:pt x="1131" y="28"/>
                </a:cubicBezTo>
                <a:cubicBezTo>
                  <a:pt x="1131" y="28"/>
                  <a:pt x="1130" y="28"/>
                  <a:pt x="1130" y="28"/>
                </a:cubicBezTo>
                <a:cubicBezTo>
                  <a:pt x="1130" y="27"/>
                  <a:pt x="1129" y="27"/>
                  <a:pt x="1129" y="27"/>
                </a:cubicBezTo>
                <a:cubicBezTo>
                  <a:pt x="1129" y="27"/>
                  <a:pt x="1129" y="27"/>
                  <a:pt x="1129" y="27"/>
                </a:cubicBezTo>
                <a:close/>
                <a:moveTo>
                  <a:pt x="1131" y="25"/>
                </a:moveTo>
                <a:cubicBezTo>
                  <a:pt x="1131" y="26"/>
                  <a:pt x="1131" y="26"/>
                  <a:pt x="1131" y="26"/>
                </a:cubicBezTo>
                <a:cubicBezTo>
                  <a:pt x="1131" y="26"/>
                  <a:pt x="1131" y="26"/>
                  <a:pt x="1131" y="26"/>
                </a:cubicBezTo>
                <a:cubicBezTo>
                  <a:pt x="1131" y="27"/>
                  <a:pt x="1132" y="27"/>
                  <a:pt x="1132" y="27"/>
                </a:cubicBezTo>
                <a:cubicBezTo>
                  <a:pt x="1132" y="27"/>
                  <a:pt x="1133" y="27"/>
                  <a:pt x="1133" y="27"/>
                </a:cubicBezTo>
                <a:cubicBezTo>
                  <a:pt x="1133" y="27"/>
                  <a:pt x="1134" y="28"/>
                  <a:pt x="1134" y="28"/>
                </a:cubicBezTo>
                <a:cubicBezTo>
                  <a:pt x="1134" y="28"/>
                  <a:pt x="1134" y="28"/>
                  <a:pt x="1134" y="28"/>
                </a:cubicBezTo>
                <a:cubicBezTo>
                  <a:pt x="1134" y="28"/>
                  <a:pt x="1135" y="29"/>
                  <a:pt x="1135" y="29"/>
                </a:cubicBezTo>
                <a:cubicBezTo>
                  <a:pt x="1135" y="29"/>
                  <a:pt x="1136" y="28"/>
                  <a:pt x="1136" y="28"/>
                </a:cubicBezTo>
                <a:cubicBezTo>
                  <a:pt x="1136" y="28"/>
                  <a:pt x="1136" y="28"/>
                  <a:pt x="1136" y="27"/>
                </a:cubicBezTo>
                <a:cubicBezTo>
                  <a:pt x="1136" y="27"/>
                  <a:pt x="1136" y="27"/>
                  <a:pt x="1136" y="27"/>
                </a:cubicBezTo>
                <a:cubicBezTo>
                  <a:pt x="1136" y="26"/>
                  <a:pt x="1136" y="26"/>
                  <a:pt x="1136" y="26"/>
                </a:cubicBezTo>
                <a:cubicBezTo>
                  <a:pt x="1137" y="26"/>
                  <a:pt x="1138" y="26"/>
                  <a:pt x="1138" y="26"/>
                </a:cubicBezTo>
                <a:cubicBezTo>
                  <a:pt x="1139" y="26"/>
                  <a:pt x="1140" y="25"/>
                  <a:pt x="1140" y="25"/>
                </a:cubicBezTo>
                <a:cubicBezTo>
                  <a:pt x="1140" y="25"/>
                  <a:pt x="1140" y="25"/>
                  <a:pt x="1140" y="25"/>
                </a:cubicBezTo>
                <a:cubicBezTo>
                  <a:pt x="1140" y="25"/>
                  <a:pt x="1140" y="25"/>
                  <a:pt x="1140" y="25"/>
                </a:cubicBezTo>
                <a:cubicBezTo>
                  <a:pt x="1139" y="24"/>
                  <a:pt x="1139" y="24"/>
                  <a:pt x="1138" y="24"/>
                </a:cubicBezTo>
                <a:cubicBezTo>
                  <a:pt x="1138" y="24"/>
                  <a:pt x="1138" y="24"/>
                  <a:pt x="1137" y="23"/>
                </a:cubicBezTo>
                <a:cubicBezTo>
                  <a:pt x="1137" y="23"/>
                  <a:pt x="1137" y="23"/>
                  <a:pt x="1137" y="23"/>
                </a:cubicBezTo>
                <a:cubicBezTo>
                  <a:pt x="1137" y="23"/>
                  <a:pt x="1137" y="22"/>
                  <a:pt x="1137" y="22"/>
                </a:cubicBezTo>
                <a:cubicBezTo>
                  <a:pt x="1137" y="22"/>
                  <a:pt x="1137" y="21"/>
                  <a:pt x="1137" y="21"/>
                </a:cubicBezTo>
                <a:cubicBezTo>
                  <a:pt x="1136" y="21"/>
                  <a:pt x="1136" y="21"/>
                  <a:pt x="1136" y="21"/>
                </a:cubicBezTo>
                <a:cubicBezTo>
                  <a:pt x="1135" y="21"/>
                  <a:pt x="1135" y="21"/>
                  <a:pt x="1135" y="20"/>
                </a:cubicBezTo>
                <a:cubicBezTo>
                  <a:pt x="1134" y="20"/>
                  <a:pt x="1134" y="20"/>
                  <a:pt x="1134" y="20"/>
                </a:cubicBezTo>
                <a:cubicBezTo>
                  <a:pt x="1134" y="21"/>
                  <a:pt x="1134" y="21"/>
                  <a:pt x="1133" y="21"/>
                </a:cubicBezTo>
                <a:cubicBezTo>
                  <a:pt x="1133" y="21"/>
                  <a:pt x="1133" y="21"/>
                  <a:pt x="1133" y="21"/>
                </a:cubicBezTo>
                <a:cubicBezTo>
                  <a:pt x="1133" y="22"/>
                  <a:pt x="1133" y="22"/>
                  <a:pt x="1132" y="22"/>
                </a:cubicBezTo>
                <a:cubicBezTo>
                  <a:pt x="1132" y="22"/>
                  <a:pt x="1131" y="22"/>
                  <a:pt x="1131" y="22"/>
                </a:cubicBezTo>
                <a:cubicBezTo>
                  <a:pt x="1131" y="23"/>
                  <a:pt x="1131" y="23"/>
                  <a:pt x="1131" y="23"/>
                </a:cubicBezTo>
                <a:cubicBezTo>
                  <a:pt x="1131" y="24"/>
                  <a:pt x="1131" y="24"/>
                  <a:pt x="1131" y="24"/>
                </a:cubicBezTo>
                <a:cubicBezTo>
                  <a:pt x="1131" y="25"/>
                  <a:pt x="1131" y="25"/>
                  <a:pt x="1131" y="25"/>
                </a:cubicBezTo>
                <a:close/>
                <a:moveTo>
                  <a:pt x="1156" y="143"/>
                </a:moveTo>
                <a:cubicBezTo>
                  <a:pt x="1157" y="144"/>
                  <a:pt x="1157" y="144"/>
                  <a:pt x="1157" y="144"/>
                </a:cubicBezTo>
                <a:cubicBezTo>
                  <a:pt x="1157" y="144"/>
                  <a:pt x="1157" y="144"/>
                  <a:pt x="1158" y="144"/>
                </a:cubicBezTo>
                <a:cubicBezTo>
                  <a:pt x="1158" y="144"/>
                  <a:pt x="1158" y="144"/>
                  <a:pt x="1158" y="144"/>
                </a:cubicBezTo>
                <a:cubicBezTo>
                  <a:pt x="1158" y="144"/>
                  <a:pt x="1157" y="143"/>
                  <a:pt x="1157" y="143"/>
                </a:cubicBezTo>
                <a:cubicBezTo>
                  <a:pt x="1157" y="143"/>
                  <a:pt x="1157" y="143"/>
                  <a:pt x="1156" y="143"/>
                </a:cubicBezTo>
                <a:close/>
                <a:moveTo>
                  <a:pt x="1127" y="18"/>
                </a:moveTo>
                <a:cubicBezTo>
                  <a:pt x="1127" y="18"/>
                  <a:pt x="1127" y="18"/>
                  <a:pt x="1128" y="18"/>
                </a:cubicBezTo>
                <a:cubicBezTo>
                  <a:pt x="1128" y="18"/>
                  <a:pt x="1128" y="18"/>
                  <a:pt x="1128" y="18"/>
                </a:cubicBezTo>
                <a:cubicBezTo>
                  <a:pt x="1129" y="18"/>
                  <a:pt x="1129" y="18"/>
                  <a:pt x="1130" y="18"/>
                </a:cubicBezTo>
                <a:cubicBezTo>
                  <a:pt x="1130" y="18"/>
                  <a:pt x="1129" y="17"/>
                  <a:pt x="1129" y="17"/>
                </a:cubicBezTo>
                <a:cubicBezTo>
                  <a:pt x="1129" y="17"/>
                  <a:pt x="1129" y="17"/>
                  <a:pt x="1128" y="17"/>
                </a:cubicBezTo>
                <a:cubicBezTo>
                  <a:pt x="1128" y="17"/>
                  <a:pt x="1128" y="17"/>
                  <a:pt x="1128" y="17"/>
                </a:cubicBezTo>
                <a:cubicBezTo>
                  <a:pt x="1128" y="17"/>
                  <a:pt x="1127" y="17"/>
                  <a:pt x="1127" y="17"/>
                </a:cubicBezTo>
                <a:cubicBezTo>
                  <a:pt x="1127" y="17"/>
                  <a:pt x="1126" y="17"/>
                  <a:pt x="1126" y="17"/>
                </a:cubicBezTo>
                <a:cubicBezTo>
                  <a:pt x="1126" y="17"/>
                  <a:pt x="1126" y="17"/>
                  <a:pt x="1125" y="17"/>
                </a:cubicBezTo>
                <a:cubicBezTo>
                  <a:pt x="1125" y="17"/>
                  <a:pt x="1125" y="17"/>
                  <a:pt x="1125" y="17"/>
                </a:cubicBezTo>
                <a:cubicBezTo>
                  <a:pt x="1125" y="17"/>
                  <a:pt x="1125" y="17"/>
                  <a:pt x="1125" y="18"/>
                </a:cubicBezTo>
                <a:cubicBezTo>
                  <a:pt x="1126" y="18"/>
                  <a:pt x="1126" y="18"/>
                  <a:pt x="1127" y="18"/>
                </a:cubicBezTo>
                <a:close/>
                <a:moveTo>
                  <a:pt x="1125" y="41"/>
                </a:moveTo>
                <a:cubicBezTo>
                  <a:pt x="1125" y="41"/>
                  <a:pt x="1126" y="41"/>
                  <a:pt x="1126" y="41"/>
                </a:cubicBezTo>
                <a:cubicBezTo>
                  <a:pt x="1127" y="41"/>
                  <a:pt x="1127" y="41"/>
                  <a:pt x="1128" y="40"/>
                </a:cubicBezTo>
                <a:cubicBezTo>
                  <a:pt x="1127" y="40"/>
                  <a:pt x="1127" y="40"/>
                  <a:pt x="1127" y="39"/>
                </a:cubicBezTo>
                <a:cubicBezTo>
                  <a:pt x="1127" y="39"/>
                  <a:pt x="1127" y="39"/>
                  <a:pt x="1126" y="39"/>
                </a:cubicBezTo>
                <a:cubicBezTo>
                  <a:pt x="1126" y="39"/>
                  <a:pt x="1125" y="39"/>
                  <a:pt x="1125" y="39"/>
                </a:cubicBezTo>
                <a:cubicBezTo>
                  <a:pt x="1124" y="39"/>
                  <a:pt x="1123" y="39"/>
                  <a:pt x="1123" y="39"/>
                </a:cubicBezTo>
                <a:cubicBezTo>
                  <a:pt x="1123" y="39"/>
                  <a:pt x="1123" y="40"/>
                  <a:pt x="1123" y="40"/>
                </a:cubicBezTo>
                <a:cubicBezTo>
                  <a:pt x="1123" y="40"/>
                  <a:pt x="1124" y="40"/>
                  <a:pt x="1124" y="40"/>
                </a:cubicBezTo>
                <a:cubicBezTo>
                  <a:pt x="1124" y="41"/>
                  <a:pt x="1125" y="41"/>
                  <a:pt x="1125" y="41"/>
                </a:cubicBezTo>
                <a:close/>
                <a:moveTo>
                  <a:pt x="1129" y="141"/>
                </a:moveTo>
                <a:cubicBezTo>
                  <a:pt x="1129" y="141"/>
                  <a:pt x="1129" y="141"/>
                  <a:pt x="1129" y="140"/>
                </a:cubicBezTo>
                <a:cubicBezTo>
                  <a:pt x="1128" y="140"/>
                  <a:pt x="1128" y="140"/>
                  <a:pt x="1128" y="139"/>
                </a:cubicBezTo>
                <a:cubicBezTo>
                  <a:pt x="1126" y="139"/>
                  <a:pt x="1125" y="138"/>
                  <a:pt x="1123" y="138"/>
                </a:cubicBezTo>
                <a:cubicBezTo>
                  <a:pt x="1123" y="138"/>
                  <a:pt x="1122" y="138"/>
                  <a:pt x="1122" y="137"/>
                </a:cubicBezTo>
                <a:cubicBezTo>
                  <a:pt x="1121" y="138"/>
                  <a:pt x="1121" y="138"/>
                  <a:pt x="1120" y="138"/>
                </a:cubicBezTo>
                <a:cubicBezTo>
                  <a:pt x="1120" y="138"/>
                  <a:pt x="1120" y="139"/>
                  <a:pt x="1119" y="139"/>
                </a:cubicBezTo>
                <a:cubicBezTo>
                  <a:pt x="1119" y="140"/>
                  <a:pt x="1119" y="141"/>
                  <a:pt x="1119" y="141"/>
                </a:cubicBezTo>
                <a:cubicBezTo>
                  <a:pt x="1119" y="141"/>
                  <a:pt x="1120" y="142"/>
                  <a:pt x="1120" y="142"/>
                </a:cubicBezTo>
                <a:cubicBezTo>
                  <a:pt x="1120" y="142"/>
                  <a:pt x="1120" y="143"/>
                  <a:pt x="1120" y="143"/>
                </a:cubicBezTo>
                <a:cubicBezTo>
                  <a:pt x="1120" y="143"/>
                  <a:pt x="1120" y="143"/>
                  <a:pt x="1121" y="143"/>
                </a:cubicBezTo>
                <a:cubicBezTo>
                  <a:pt x="1121" y="143"/>
                  <a:pt x="1121" y="143"/>
                  <a:pt x="1121" y="143"/>
                </a:cubicBezTo>
                <a:cubicBezTo>
                  <a:pt x="1121" y="143"/>
                  <a:pt x="1121" y="144"/>
                  <a:pt x="1121" y="144"/>
                </a:cubicBezTo>
                <a:cubicBezTo>
                  <a:pt x="1121" y="144"/>
                  <a:pt x="1122" y="144"/>
                  <a:pt x="1122" y="144"/>
                </a:cubicBezTo>
                <a:cubicBezTo>
                  <a:pt x="1122" y="144"/>
                  <a:pt x="1122" y="143"/>
                  <a:pt x="1123" y="143"/>
                </a:cubicBezTo>
                <a:cubicBezTo>
                  <a:pt x="1123" y="143"/>
                  <a:pt x="1124" y="143"/>
                  <a:pt x="1124" y="143"/>
                </a:cubicBezTo>
                <a:cubicBezTo>
                  <a:pt x="1125" y="143"/>
                  <a:pt x="1125" y="143"/>
                  <a:pt x="1126" y="143"/>
                </a:cubicBezTo>
                <a:cubicBezTo>
                  <a:pt x="1126" y="142"/>
                  <a:pt x="1126" y="142"/>
                  <a:pt x="1127" y="142"/>
                </a:cubicBezTo>
                <a:cubicBezTo>
                  <a:pt x="1127" y="142"/>
                  <a:pt x="1127" y="141"/>
                  <a:pt x="1127" y="141"/>
                </a:cubicBezTo>
                <a:cubicBezTo>
                  <a:pt x="1127" y="141"/>
                  <a:pt x="1127" y="140"/>
                  <a:pt x="1128" y="140"/>
                </a:cubicBezTo>
                <a:cubicBezTo>
                  <a:pt x="1128" y="141"/>
                  <a:pt x="1128" y="141"/>
                  <a:pt x="1128" y="141"/>
                </a:cubicBezTo>
                <a:cubicBezTo>
                  <a:pt x="1128" y="141"/>
                  <a:pt x="1128" y="142"/>
                  <a:pt x="1128" y="142"/>
                </a:cubicBezTo>
                <a:cubicBezTo>
                  <a:pt x="1128" y="142"/>
                  <a:pt x="1128" y="141"/>
                  <a:pt x="1129" y="141"/>
                </a:cubicBezTo>
                <a:close/>
                <a:moveTo>
                  <a:pt x="1122" y="41"/>
                </a:moveTo>
                <a:cubicBezTo>
                  <a:pt x="1122" y="41"/>
                  <a:pt x="1123" y="42"/>
                  <a:pt x="1123" y="42"/>
                </a:cubicBezTo>
                <a:cubicBezTo>
                  <a:pt x="1123" y="42"/>
                  <a:pt x="1124" y="42"/>
                  <a:pt x="1124" y="42"/>
                </a:cubicBezTo>
                <a:cubicBezTo>
                  <a:pt x="1124" y="42"/>
                  <a:pt x="1124" y="42"/>
                  <a:pt x="1124" y="42"/>
                </a:cubicBezTo>
                <a:cubicBezTo>
                  <a:pt x="1124" y="41"/>
                  <a:pt x="1124" y="41"/>
                  <a:pt x="1123" y="41"/>
                </a:cubicBezTo>
                <a:cubicBezTo>
                  <a:pt x="1123" y="41"/>
                  <a:pt x="1123" y="41"/>
                  <a:pt x="1122" y="41"/>
                </a:cubicBezTo>
                <a:cubicBezTo>
                  <a:pt x="1122" y="41"/>
                  <a:pt x="1122" y="41"/>
                  <a:pt x="1122" y="41"/>
                </a:cubicBezTo>
                <a:close/>
                <a:moveTo>
                  <a:pt x="1150" y="147"/>
                </a:moveTo>
                <a:cubicBezTo>
                  <a:pt x="1150" y="147"/>
                  <a:pt x="1150" y="147"/>
                  <a:pt x="1150" y="147"/>
                </a:cubicBezTo>
                <a:cubicBezTo>
                  <a:pt x="1150" y="147"/>
                  <a:pt x="1150" y="147"/>
                  <a:pt x="1150" y="147"/>
                </a:cubicBezTo>
                <a:cubicBezTo>
                  <a:pt x="1151" y="147"/>
                  <a:pt x="1151" y="147"/>
                  <a:pt x="1151" y="147"/>
                </a:cubicBezTo>
                <a:cubicBezTo>
                  <a:pt x="1151" y="147"/>
                  <a:pt x="1151" y="147"/>
                  <a:pt x="1151" y="146"/>
                </a:cubicBezTo>
                <a:cubicBezTo>
                  <a:pt x="1151" y="146"/>
                  <a:pt x="1151" y="146"/>
                  <a:pt x="1150" y="146"/>
                </a:cubicBezTo>
                <a:cubicBezTo>
                  <a:pt x="1150" y="147"/>
                  <a:pt x="1150" y="147"/>
                  <a:pt x="1150" y="147"/>
                </a:cubicBezTo>
                <a:close/>
                <a:moveTo>
                  <a:pt x="1153" y="143"/>
                </a:moveTo>
                <a:cubicBezTo>
                  <a:pt x="1153" y="143"/>
                  <a:pt x="1153" y="143"/>
                  <a:pt x="1154" y="143"/>
                </a:cubicBezTo>
                <a:cubicBezTo>
                  <a:pt x="1154" y="143"/>
                  <a:pt x="1154" y="143"/>
                  <a:pt x="1154" y="144"/>
                </a:cubicBezTo>
                <a:cubicBezTo>
                  <a:pt x="1155" y="144"/>
                  <a:pt x="1155" y="144"/>
                  <a:pt x="1155" y="144"/>
                </a:cubicBezTo>
                <a:cubicBezTo>
                  <a:pt x="1155" y="144"/>
                  <a:pt x="1155" y="143"/>
                  <a:pt x="1155" y="143"/>
                </a:cubicBezTo>
                <a:cubicBezTo>
                  <a:pt x="1154" y="143"/>
                  <a:pt x="1154" y="143"/>
                  <a:pt x="1154" y="143"/>
                </a:cubicBezTo>
                <a:cubicBezTo>
                  <a:pt x="1154" y="143"/>
                  <a:pt x="1153" y="143"/>
                  <a:pt x="1153" y="143"/>
                </a:cubicBezTo>
                <a:close/>
                <a:moveTo>
                  <a:pt x="1133" y="145"/>
                </a:moveTo>
                <a:cubicBezTo>
                  <a:pt x="1133" y="145"/>
                  <a:pt x="1133" y="146"/>
                  <a:pt x="1133" y="146"/>
                </a:cubicBezTo>
                <a:cubicBezTo>
                  <a:pt x="1133" y="146"/>
                  <a:pt x="1133" y="146"/>
                  <a:pt x="1134" y="146"/>
                </a:cubicBezTo>
                <a:cubicBezTo>
                  <a:pt x="1134" y="146"/>
                  <a:pt x="1134" y="146"/>
                  <a:pt x="1134" y="146"/>
                </a:cubicBezTo>
                <a:cubicBezTo>
                  <a:pt x="1134" y="146"/>
                  <a:pt x="1135" y="146"/>
                  <a:pt x="1135" y="146"/>
                </a:cubicBezTo>
                <a:cubicBezTo>
                  <a:pt x="1135" y="145"/>
                  <a:pt x="1136" y="145"/>
                  <a:pt x="1136" y="145"/>
                </a:cubicBezTo>
                <a:cubicBezTo>
                  <a:pt x="1135" y="145"/>
                  <a:pt x="1135" y="145"/>
                  <a:pt x="1134" y="145"/>
                </a:cubicBezTo>
                <a:cubicBezTo>
                  <a:pt x="1134" y="145"/>
                  <a:pt x="1134" y="145"/>
                  <a:pt x="1133" y="145"/>
                </a:cubicBezTo>
                <a:close/>
                <a:moveTo>
                  <a:pt x="1152" y="143"/>
                </a:moveTo>
                <a:cubicBezTo>
                  <a:pt x="1152" y="143"/>
                  <a:pt x="1152" y="143"/>
                  <a:pt x="1153" y="143"/>
                </a:cubicBezTo>
                <a:cubicBezTo>
                  <a:pt x="1152" y="143"/>
                  <a:pt x="1152" y="143"/>
                  <a:pt x="1152" y="143"/>
                </a:cubicBezTo>
                <a:cubicBezTo>
                  <a:pt x="1152" y="143"/>
                  <a:pt x="1151" y="143"/>
                  <a:pt x="1151" y="143"/>
                </a:cubicBezTo>
                <a:cubicBezTo>
                  <a:pt x="1151" y="143"/>
                  <a:pt x="1151" y="143"/>
                  <a:pt x="1151" y="143"/>
                </a:cubicBezTo>
                <a:cubicBezTo>
                  <a:pt x="1152" y="143"/>
                  <a:pt x="1152" y="143"/>
                  <a:pt x="1152" y="143"/>
                </a:cubicBezTo>
                <a:close/>
                <a:moveTo>
                  <a:pt x="1157" y="130"/>
                </a:moveTo>
                <a:cubicBezTo>
                  <a:pt x="1157" y="130"/>
                  <a:pt x="1157" y="130"/>
                  <a:pt x="1158" y="130"/>
                </a:cubicBezTo>
                <a:cubicBezTo>
                  <a:pt x="1158" y="130"/>
                  <a:pt x="1158" y="130"/>
                  <a:pt x="1158" y="130"/>
                </a:cubicBezTo>
                <a:cubicBezTo>
                  <a:pt x="1159" y="129"/>
                  <a:pt x="1159" y="129"/>
                  <a:pt x="1159" y="129"/>
                </a:cubicBezTo>
                <a:cubicBezTo>
                  <a:pt x="1159" y="129"/>
                  <a:pt x="1159" y="129"/>
                  <a:pt x="1159" y="129"/>
                </a:cubicBezTo>
                <a:cubicBezTo>
                  <a:pt x="1158" y="129"/>
                  <a:pt x="1158" y="128"/>
                  <a:pt x="1158" y="128"/>
                </a:cubicBezTo>
                <a:cubicBezTo>
                  <a:pt x="1157" y="128"/>
                  <a:pt x="1157" y="128"/>
                  <a:pt x="1157" y="128"/>
                </a:cubicBezTo>
                <a:cubicBezTo>
                  <a:pt x="1157" y="128"/>
                  <a:pt x="1156" y="128"/>
                  <a:pt x="1156" y="128"/>
                </a:cubicBezTo>
                <a:cubicBezTo>
                  <a:pt x="1156" y="128"/>
                  <a:pt x="1155" y="127"/>
                  <a:pt x="1155" y="127"/>
                </a:cubicBezTo>
                <a:cubicBezTo>
                  <a:pt x="1155" y="127"/>
                  <a:pt x="1154" y="127"/>
                  <a:pt x="1154" y="127"/>
                </a:cubicBezTo>
                <a:cubicBezTo>
                  <a:pt x="1153" y="126"/>
                  <a:pt x="1153" y="126"/>
                  <a:pt x="1152" y="126"/>
                </a:cubicBezTo>
                <a:cubicBezTo>
                  <a:pt x="1152" y="125"/>
                  <a:pt x="1152" y="125"/>
                  <a:pt x="1152" y="125"/>
                </a:cubicBezTo>
                <a:cubicBezTo>
                  <a:pt x="1151" y="125"/>
                  <a:pt x="1151" y="125"/>
                  <a:pt x="1150" y="125"/>
                </a:cubicBezTo>
                <a:cubicBezTo>
                  <a:pt x="1150" y="124"/>
                  <a:pt x="1149" y="123"/>
                  <a:pt x="1149" y="123"/>
                </a:cubicBezTo>
                <a:cubicBezTo>
                  <a:pt x="1148" y="122"/>
                  <a:pt x="1148" y="122"/>
                  <a:pt x="1147" y="121"/>
                </a:cubicBezTo>
                <a:cubicBezTo>
                  <a:pt x="1147" y="121"/>
                  <a:pt x="1147" y="120"/>
                  <a:pt x="1147" y="119"/>
                </a:cubicBezTo>
                <a:cubicBezTo>
                  <a:pt x="1146" y="119"/>
                  <a:pt x="1146" y="119"/>
                  <a:pt x="1146" y="118"/>
                </a:cubicBezTo>
                <a:cubicBezTo>
                  <a:pt x="1146" y="118"/>
                  <a:pt x="1146" y="117"/>
                  <a:pt x="1146" y="116"/>
                </a:cubicBezTo>
                <a:cubicBezTo>
                  <a:pt x="1145" y="116"/>
                  <a:pt x="1145" y="116"/>
                  <a:pt x="1145" y="115"/>
                </a:cubicBezTo>
                <a:cubicBezTo>
                  <a:pt x="1145" y="115"/>
                  <a:pt x="1145" y="114"/>
                  <a:pt x="1145" y="113"/>
                </a:cubicBezTo>
                <a:cubicBezTo>
                  <a:pt x="1145" y="113"/>
                  <a:pt x="1145" y="113"/>
                  <a:pt x="1144" y="113"/>
                </a:cubicBezTo>
                <a:cubicBezTo>
                  <a:pt x="1145" y="112"/>
                  <a:pt x="1145" y="112"/>
                  <a:pt x="1145" y="112"/>
                </a:cubicBezTo>
                <a:cubicBezTo>
                  <a:pt x="1145" y="112"/>
                  <a:pt x="1145" y="112"/>
                  <a:pt x="1145" y="112"/>
                </a:cubicBezTo>
                <a:cubicBezTo>
                  <a:pt x="1145" y="112"/>
                  <a:pt x="1144" y="111"/>
                  <a:pt x="1144" y="111"/>
                </a:cubicBezTo>
                <a:cubicBezTo>
                  <a:pt x="1144" y="111"/>
                  <a:pt x="1143" y="112"/>
                  <a:pt x="1143" y="112"/>
                </a:cubicBezTo>
                <a:cubicBezTo>
                  <a:pt x="1143" y="111"/>
                  <a:pt x="1143" y="111"/>
                  <a:pt x="1142" y="111"/>
                </a:cubicBezTo>
                <a:cubicBezTo>
                  <a:pt x="1142" y="111"/>
                  <a:pt x="1143" y="111"/>
                  <a:pt x="1143" y="111"/>
                </a:cubicBezTo>
                <a:cubicBezTo>
                  <a:pt x="1143" y="111"/>
                  <a:pt x="1144" y="111"/>
                  <a:pt x="1144" y="111"/>
                </a:cubicBezTo>
                <a:cubicBezTo>
                  <a:pt x="1145" y="111"/>
                  <a:pt x="1145" y="111"/>
                  <a:pt x="1146" y="111"/>
                </a:cubicBezTo>
                <a:cubicBezTo>
                  <a:pt x="1146" y="110"/>
                  <a:pt x="1146" y="110"/>
                  <a:pt x="1146" y="109"/>
                </a:cubicBezTo>
                <a:cubicBezTo>
                  <a:pt x="1146" y="109"/>
                  <a:pt x="1146" y="109"/>
                  <a:pt x="1146" y="109"/>
                </a:cubicBezTo>
                <a:cubicBezTo>
                  <a:pt x="1146" y="109"/>
                  <a:pt x="1145" y="109"/>
                  <a:pt x="1145" y="109"/>
                </a:cubicBezTo>
                <a:cubicBezTo>
                  <a:pt x="1144" y="109"/>
                  <a:pt x="1144" y="109"/>
                  <a:pt x="1144" y="109"/>
                </a:cubicBezTo>
                <a:cubicBezTo>
                  <a:pt x="1144" y="109"/>
                  <a:pt x="1144" y="109"/>
                  <a:pt x="1144" y="109"/>
                </a:cubicBezTo>
                <a:cubicBezTo>
                  <a:pt x="1145" y="109"/>
                  <a:pt x="1145" y="108"/>
                  <a:pt x="1146" y="108"/>
                </a:cubicBezTo>
                <a:cubicBezTo>
                  <a:pt x="1146" y="108"/>
                  <a:pt x="1146" y="108"/>
                  <a:pt x="1146" y="108"/>
                </a:cubicBezTo>
                <a:cubicBezTo>
                  <a:pt x="1146" y="108"/>
                  <a:pt x="1146" y="108"/>
                  <a:pt x="1146" y="108"/>
                </a:cubicBezTo>
                <a:cubicBezTo>
                  <a:pt x="1145" y="108"/>
                  <a:pt x="1144" y="107"/>
                  <a:pt x="1144" y="107"/>
                </a:cubicBezTo>
                <a:cubicBezTo>
                  <a:pt x="1143" y="107"/>
                  <a:pt x="1142" y="107"/>
                  <a:pt x="1141" y="107"/>
                </a:cubicBezTo>
                <a:cubicBezTo>
                  <a:pt x="1140" y="107"/>
                  <a:pt x="1140" y="106"/>
                  <a:pt x="1140" y="106"/>
                </a:cubicBezTo>
                <a:cubicBezTo>
                  <a:pt x="1139" y="106"/>
                  <a:pt x="1139" y="106"/>
                  <a:pt x="1139" y="106"/>
                </a:cubicBezTo>
                <a:cubicBezTo>
                  <a:pt x="1138" y="106"/>
                  <a:pt x="1137" y="107"/>
                  <a:pt x="1136" y="107"/>
                </a:cubicBezTo>
                <a:cubicBezTo>
                  <a:pt x="1136" y="107"/>
                  <a:pt x="1135" y="107"/>
                  <a:pt x="1134" y="107"/>
                </a:cubicBezTo>
                <a:cubicBezTo>
                  <a:pt x="1134" y="107"/>
                  <a:pt x="1134" y="107"/>
                  <a:pt x="1134" y="107"/>
                </a:cubicBezTo>
                <a:cubicBezTo>
                  <a:pt x="1133" y="107"/>
                  <a:pt x="1133" y="107"/>
                  <a:pt x="1132" y="108"/>
                </a:cubicBezTo>
                <a:cubicBezTo>
                  <a:pt x="1132" y="108"/>
                  <a:pt x="1132" y="108"/>
                  <a:pt x="1132" y="108"/>
                </a:cubicBezTo>
                <a:cubicBezTo>
                  <a:pt x="1132" y="108"/>
                  <a:pt x="1132" y="109"/>
                  <a:pt x="1131" y="109"/>
                </a:cubicBezTo>
                <a:cubicBezTo>
                  <a:pt x="1132" y="109"/>
                  <a:pt x="1132" y="109"/>
                  <a:pt x="1132" y="110"/>
                </a:cubicBezTo>
                <a:cubicBezTo>
                  <a:pt x="1132" y="110"/>
                  <a:pt x="1132" y="110"/>
                  <a:pt x="1133" y="110"/>
                </a:cubicBezTo>
                <a:cubicBezTo>
                  <a:pt x="1133" y="110"/>
                  <a:pt x="1133" y="110"/>
                  <a:pt x="1133" y="110"/>
                </a:cubicBezTo>
                <a:cubicBezTo>
                  <a:pt x="1133" y="110"/>
                  <a:pt x="1133" y="110"/>
                  <a:pt x="1133" y="110"/>
                </a:cubicBezTo>
                <a:cubicBezTo>
                  <a:pt x="1132" y="110"/>
                  <a:pt x="1132" y="110"/>
                  <a:pt x="1132" y="110"/>
                </a:cubicBezTo>
                <a:cubicBezTo>
                  <a:pt x="1131" y="110"/>
                  <a:pt x="1131" y="110"/>
                  <a:pt x="1130" y="110"/>
                </a:cubicBezTo>
                <a:cubicBezTo>
                  <a:pt x="1130" y="111"/>
                  <a:pt x="1130" y="111"/>
                  <a:pt x="1129" y="111"/>
                </a:cubicBezTo>
                <a:cubicBezTo>
                  <a:pt x="1129" y="112"/>
                  <a:pt x="1129" y="112"/>
                  <a:pt x="1129" y="112"/>
                </a:cubicBezTo>
                <a:cubicBezTo>
                  <a:pt x="1129" y="112"/>
                  <a:pt x="1130" y="112"/>
                  <a:pt x="1130" y="113"/>
                </a:cubicBezTo>
                <a:cubicBezTo>
                  <a:pt x="1130" y="113"/>
                  <a:pt x="1130" y="113"/>
                  <a:pt x="1131" y="113"/>
                </a:cubicBezTo>
                <a:cubicBezTo>
                  <a:pt x="1131" y="112"/>
                  <a:pt x="1132" y="112"/>
                  <a:pt x="1132" y="112"/>
                </a:cubicBezTo>
                <a:cubicBezTo>
                  <a:pt x="1132" y="112"/>
                  <a:pt x="1132" y="112"/>
                  <a:pt x="1132" y="112"/>
                </a:cubicBezTo>
                <a:cubicBezTo>
                  <a:pt x="1132" y="113"/>
                  <a:pt x="1132" y="113"/>
                  <a:pt x="1131" y="113"/>
                </a:cubicBezTo>
                <a:cubicBezTo>
                  <a:pt x="1131" y="113"/>
                  <a:pt x="1131" y="113"/>
                  <a:pt x="1131" y="114"/>
                </a:cubicBezTo>
                <a:cubicBezTo>
                  <a:pt x="1131" y="114"/>
                  <a:pt x="1131" y="114"/>
                  <a:pt x="1132" y="114"/>
                </a:cubicBezTo>
                <a:cubicBezTo>
                  <a:pt x="1132" y="113"/>
                  <a:pt x="1132" y="113"/>
                  <a:pt x="1133" y="113"/>
                </a:cubicBezTo>
                <a:cubicBezTo>
                  <a:pt x="1133" y="113"/>
                  <a:pt x="1133" y="113"/>
                  <a:pt x="1133" y="113"/>
                </a:cubicBezTo>
                <a:cubicBezTo>
                  <a:pt x="1133" y="113"/>
                  <a:pt x="1133" y="113"/>
                  <a:pt x="1134" y="113"/>
                </a:cubicBezTo>
                <a:cubicBezTo>
                  <a:pt x="1133" y="114"/>
                  <a:pt x="1133" y="114"/>
                  <a:pt x="1133" y="114"/>
                </a:cubicBezTo>
                <a:cubicBezTo>
                  <a:pt x="1132" y="114"/>
                  <a:pt x="1132" y="114"/>
                  <a:pt x="1132" y="114"/>
                </a:cubicBezTo>
                <a:cubicBezTo>
                  <a:pt x="1133" y="115"/>
                  <a:pt x="1133" y="115"/>
                  <a:pt x="1133" y="115"/>
                </a:cubicBezTo>
                <a:cubicBezTo>
                  <a:pt x="1133" y="115"/>
                  <a:pt x="1134" y="115"/>
                  <a:pt x="1134" y="115"/>
                </a:cubicBezTo>
                <a:cubicBezTo>
                  <a:pt x="1134" y="115"/>
                  <a:pt x="1134" y="115"/>
                  <a:pt x="1134" y="115"/>
                </a:cubicBezTo>
                <a:cubicBezTo>
                  <a:pt x="1133" y="115"/>
                  <a:pt x="1133" y="115"/>
                  <a:pt x="1133" y="115"/>
                </a:cubicBezTo>
                <a:cubicBezTo>
                  <a:pt x="1132" y="115"/>
                  <a:pt x="1132" y="115"/>
                  <a:pt x="1132" y="116"/>
                </a:cubicBezTo>
                <a:cubicBezTo>
                  <a:pt x="1132" y="116"/>
                  <a:pt x="1132" y="116"/>
                  <a:pt x="1132" y="116"/>
                </a:cubicBezTo>
                <a:cubicBezTo>
                  <a:pt x="1132" y="116"/>
                  <a:pt x="1132" y="117"/>
                  <a:pt x="1132" y="117"/>
                </a:cubicBezTo>
                <a:cubicBezTo>
                  <a:pt x="1132" y="117"/>
                  <a:pt x="1132" y="117"/>
                  <a:pt x="1132" y="117"/>
                </a:cubicBezTo>
                <a:cubicBezTo>
                  <a:pt x="1132" y="117"/>
                  <a:pt x="1132" y="117"/>
                  <a:pt x="1131" y="117"/>
                </a:cubicBezTo>
                <a:cubicBezTo>
                  <a:pt x="1131" y="117"/>
                  <a:pt x="1131" y="117"/>
                  <a:pt x="1130" y="117"/>
                </a:cubicBezTo>
                <a:cubicBezTo>
                  <a:pt x="1130" y="117"/>
                  <a:pt x="1130" y="117"/>
                  <a:pt x="1129" y="117"/>
                </a:cubicBezTo>
                <a:cubicBezTo>
                  <a:pt x="1129" y="117"/>
                  <a:pt x="1129" y="117"/>
                  <a:pt x="1129" y="117"/>
                </a:cubicBezTo>
                <a:cubicBezTo>
                  <a:pt x="1128" y="117"/>
                  <a:pt x="1128" y="117"/>
                  <a:pt x="1128" y="117"/>
                </a:cubicBezTo>
                <a:cubicBezTo>
                  <a:pt x="1128" y="118"/>
                  <a:pt x="1128" y="118"/>
                  <a:pt x="1128" y="118"/>
                </a:cubicBezTo>
                <a:cubicBezTo>
                  <a:pt x="1128" y="118"/>
                  <a:pt x="1128" y="119"/>
                  <a:pt x="1128" y="119"/>
                </a:cubicBezTo>
                <a:cubicBezTo>
                  <a:pt x="1128" y="119"/>
                  <a:pt x="1128" y="120"/>
                  <a:pt x="1127" y="120"/>
                </a:cubicBezTo>
                <a:cubicBezTo>
                  <a:pt x="1128" y="120"/>
                  <a:pt x="1128" y="120"/>
                  <a:pt x="1128" y="121"/>
                </a:cubicBezTo>
                <a:cubicBezTo>
                  <a:pt x="1128" y="121"/>
                  <a:pt x="1129" y="121"/>
                  <a:pt x="1129" y="121"/>
                </a:cubicBezTo>
                <a:cubicBezTo>
                  <a:pt x="1129" y="122"/>
                  <a:pt x="1129" y="122"/>
                  <a:pt x="1129" y="122"/>
                </a:cubicBezTo>
                <a:cubicBezTo>
                  <a:pt x="1130" y="122"/>
                  <a:pt x="1130" y="123"/>
                  <a:pt x="1131" y="123"/>
                </a:cubicBezTo>
                <a:cubicBezTo>
                  <a:pt x="1131" y="123"/>
                  <a:pt x="1131" y="123"/>
                  <a:pt x="1132" y="123"/>
                </a:cubicBezTo>
                <a:cubicBezTo>
                  <a:pt x="1132" y="123"/>
                  <a:pt x="1132" y="123"/>
                  <a:pt x="1132" y="123"/>
                </a:cubicBezTo>
                <a:cubicBezTo>
                  <a:pt x="1133" y="123"/>
                  <a:pt x="1133" y="123"/>
                  <a:pt x="1133" y="123"/>
                </a:cubicBezTo>
                <a:cubicBezTo>
                  <a:pt x="1134" y="123"/>
                  <a:pt x="1134" y="122"/>
                  <a:pt x="1134" y="122"/>
                </a:cubicBezTo>
                <a:cubicBezTo>
                  <a:pt x="1134" y="122"/>
                  <a:pt x="1134" y="121"/>
                  <a:pt x="1134" y="121"/>
                </a:cubicBezTo>
                <a:cubicBezTo>
                  <a:pt x="1134" y="121"/>
                  <a:pt x="1134" y="121"/>
                  <a:pt x="1134" y="120"/>
                </a:cubicBezTo>
                <a:cubicBezTo>
                  <a:pt x="1135" y="120"/>
                  <a:pt x="1135" y="120"/>
                  <a:pt x="1135" y="120"/>
                </a:cubicBezTo>
                <a:cubicBezTo>
                  <a:pt x="1135" y="120"/>
                  <a:pt x="1135" y="120"/>
                  <a:pt x="1135" y="121"/>
                </a:cubicBezTo>
                <a:cubicBezTo>
                  <a:pt x="1135" y="121"/>
                  <a:pt x="1134" y="121"/>
                  <a:pt x="1134" y="121"/>
                </a:cubicBezTo>
                <a:cubicBezTo>
                  <a:pt x="1135" y="121"/>
                  <a:pt x="1135" y="122"/>
                  <a:pt x="1135" y="122"/>
                </a:cubicBezTo>
                <a:cubicBezTo>
                  <a:pt x="1135" y="122"/>
                  <a:pt x="1135" y="122"/>
                  <a:pt x="1135" y="123"/>
                </a:cubicBezTo>
                <a:cubicBezTo>
                  <a:pt x="1135" y="123"/>
                  <a:pt x="1136" y="123"/>
                  <a:pt x="1136" y="123"/>
                </a:cubicBezTo>
                <a:cubicBezTo>
                  <a:pt x="1136" y="123"/>
                  <a:pt x="1136" y="123"/>
                  <a:pt x="1137" y="123"/>
                </a:cubicBezTo>
                <a:cubicBezTo>
                  <a:pt x="1137" y="122"/>
                  <a:pt x="1137" y="122"/>
                  <a:pt x="1137" y="122"/>
                </a:cubicBezTo>
                <a:cubicBezTo>
                  <a:pt x="1137" y="122"/>
                  <a:pt x="1137" y="122"/>
                  <a:pt x="1138" y="121"/>
                </a:cubicBezTo>
                <a:cubicBezTo>
                  <a:pt x="1138" y="122"/>
                  <a:pt x="1138" y="122"/>
                  <a:pt x="1138" y="122"/>
                </a:cubicBezTo>
                <a:cubicBezTo>
                  <a:pt x="1138" y="122"/>
                  <a:pt x="1138" y="122"/>
                  <a:pt x="1138" y="122"/>
                </a:cubicBezTo>
                <a:cubicBezTo>
                  <a:pt x="1138" y="122"/>
                  <a:pt x="1138" y="123"/>
                  <a:pt x="1138" y="123"/>
                </a:cubicBezTo>
                <a:cubicBezTo>
                  <a:pt x="1138" y="123"/>
                  <a:pt x="1138" y="124"/>
                  <a:pt x="1139" y="124"/>
                </a:cubicBezTo>
                <a:cubicBezTo>
                  <a:pt x="1139" y="124"/>
                  <a:pt x="1139" y="124"/>
                  <a:pt x="1140" y="125"/>
                </a:cubicBezTo>
                <a:cubicBezTo>
                  <a:pt x="1140" y="125"/>
                  <a:pt x="1141" y="125"/>
                  <a:pt x="1141" y="125"/>
                </a:cubicBezTo>
                <a:cubicBezTo>
                  <a:pt x="1141" y="125"/>
                  <a:pt x="1141" y="125"/>
                  <a:pt x="1142" y="124"/>
                </a:cubicBezTo>
                <a:cubicBezTo>
                  <a:pt x="1142" y="125"/>
                  <a:pt x="1142" y="125"/>
                  <a:pt x="1142" y="125"/>
                </a:cubicBezTo>
                <a:cubicBezTo>
                  <a:pt x="1142" y="125"/>
                  <a:pt x="1142" y="125"/>
                  <a:pt x="1142" y="125"/>
                </a:cubicBezTo>
                <a:cubicBezTo>
                  <a:pt x="1142" y="125"/>
                  <a:pt x="1141" y="125"/>
                  <a:pt x="1141" y="125"/>
                </a:cubicBezTo>
                <a:cubicBezTo>
                  <a:pt x="1141" y="125"/>
                  <a:pt x="1141" y="125"/>
                  <a:pt x="1141" y="125"/>
                </a:cubicBezTo>
                <a:cubicBezTo>
                  <a:pt x="1141" y="125"/>
                  <a:pt x="1140" y="125"/>
                  <a:pt x="1140" y="126"/>
                </a:cubicBezTo>
                <a:cubicBezTo>
                  <a:pt x="1140" y="126"/>
                  <a:pt x="1140" y="126"/>
                  <a:pt x="1140" y="126"/>
                </a:cubicBezTo>
                <a:cubicBezTo>
                  <a:pt x="1140" y="126"/>
                  <a:pt x="1140" y="126"/>
                  <a:pt x="1141" y="127"/>
                </a:cubicBezTo>
                <a:cubicBezTo>
                  <a:pt x="1141" y="127"/>
                  <a:pt x="1141" y="127"/>
                  <a:pt x="1141" y="127"/>
                </a:cubicBezTo>
                <a:cubicBezTo>
                  <a:pt x="1141" y="127"/>
                  <a:pt x="1140" y="127"/>
                  <a:pt x="1140" y="127"/>
                </a:cubicBezTo>
                <a:cubicBezTo>
                  <a:pt x="1140" y="127"/>
                  <a:pt x="1140" y="127"/>
                  <a:pt x="1139" y="127"/>
                </a:cubicBezTo>
                <a:cubicBezTo>
                  <a:pt x="1139" y="127"/>
                  <a:pt x="1139" y="127"/>
                  <a:pt x="1139" y="127"/>
                </a:cubicBezTo>
                <a:cubicBezTo>
                  <a:pt x="1140" y="128"/>
                  <a:pt x="1140" y="128"/>
                  <a:pt x="1140" y="128"/>
                </a:cubicBezTo>
                <a:cubicBezTo>
                  <a:pt x="1141" y="128"/>
                  <a:pt x="1141" y="128"/>
                  <a:pt x="1142" y="128"/>
                </a:cubicBezTo>
                <a:cubicBezTo>
                  <a:pt x="1142" y="128"/>
                  <a:pt x="1142" y="128"/>
                  <a:pt x="1143" y="129"/>
                </a:cubicBezTo>
                <a:cubicBezTo>
                  <a:pt x="1143" y="129"/>
                  <a:pt x="1144" y="129"/>
                  <a:pt x="1144" y="129"/>
                </a:cubicBezTo>
                <a:cubicBezTo>
                  <a:pt x="1145" y="129"/>
                  <a:pt x="1145" y="129"/>
                  <a:pt x="1146" y="129"/>
                </a:cubicBezTo>
                <a:cubicBezTo>
                  <a:pt x="1145" y="129"/>
                  <a:pt x="1145" y="129"/>
                  <a:pt x="1145" y="128"/>
                </a:cubicBezTo>
                <a:cubicBezTo>
                  <a:pt x="1146" y="128"/>
                  <a:pt x="1146" y="129"/>
                  <a:pt x="1146" y="129"/>
                </a:cubicBezTo>
                <a:cubicBezTo>
                  <a:pt x="1146" y="129"/>
                  <a:pt x="1146" y="129"/>
                  <a:pt x="1146" y="129"/>
                </a:cubicBezTo>
                <a:cubicBezTo>
                  <a:pt x="1147" y="129"/>
                  <a:pt x="1147" y="130"/>
                  <a:pt x="1147" y="130"/>
                </a:cubicBezTo>
                <a:cubicBezTo>
                  <a:pt x="1147" y="130"/>
                  <a:pt x="1147" y="131"/>
                  <a:pt x="1148" y="131"/>
                </a:cubicBezTo>
                <a:cubicBezTo>
                  <a:pt x="1148" y="131"/>
                  <a:pt x="1148" y="131"/>
                  <a:pt x="1148" y="131"/>
                </a:cubicBezTo>
                <a:cubicBezTo>
                  <a:pt x="1149" y="131"/>
                  <a:pt x="1149" y="130"/>
                  <a:pt x="1149" y="130"/>
                </a:cubicBezTo>
                <a:cubicBezTo>
                  <a:pt x="1149" y="130"/>
                  <a:pt x="1149" y="130"/>
                  <a:pt x="1149" y="129"/>
                </a:cubicBezTo>
                <a:cubicBezTo>
                  <a:pt x="1149" y="129"/>
                  <a:pt x="1148" y="129"/>
                  <a:pt x="1148" y="129"/>
                </a:cubicBezTo>
                <a:cubicBezTo>
                  <a:pt x="1148" y="129"/>
                  <a:pt x="1147" y="129"/>
                  <a:pt x="1147" y="129"/>
                </a:cubicBezTo>
                <a:cubicBezTo>
                  <a:pt x="1147" y="129"/>
                  <a:pt x="1148" y="129"/>
                  <a:pt x="1148" y="128"/>
                </a:cubicBezTo>
                <a:cubicBezTo>
                  <a:pt x="1148" y="129"/>
                  <a:pt x="1148" y="129"/>
                  <a:pt x="1149" y="129"/>
                </a:cubicBezTo>
                <a:cubicBezTo>
                  <a:pt x="1149" y="129"/>
                  <a:pt x="1149" y="129"/>
                  <a:pt x="1150" y="129"/>
                </a:cubicBezTo>
                <a:cubicBezTo>
                  <a:pt x="1150" y="129"/>
                  <a:pt x="1150" y="130"/>
                  <a:pt x="1150" y="130"/>
                </a:cubicBezTo>
                <a:cubicBezTo>
                  <a:pt x="1150" y="130"/>
                  <a:pt x="1150" y="130"/>
                  <a:pt x="1151" y="131"/>
                </a:cubicBezTo>
                <a:cubicBezTo>
                  <a:pt x="1151" y="131"/>
                  <a:pt x="1151" y="131"/>
                  <a:pt x="1151" y="131"/>
                </a:cubicBezTo>
                <a:cubicBezTo>
                  <a:pt x="1151" y="130"/>
                  <a:pt x="1151" y="130"/>
                  <a:pt x="1151" y="130"/>
                </a:cubicBezTo>
                <a:cubicBezTo>
                  <a:pt x="1151" y="130"/>
                  <a:pt x="1152" y="130"/>
                  <a:pt x="1152" y="130"/>
                </a:cubicBezTo>
                <a:cubicBezTo>
                  <a:pt x="1152" y="130"/>
                  <a:pt x="1152" y="130"/>
                  <a:pt x="1152" y="131"/>
                </a:cubicBezTo>
                <a:cubicBezTo>
                  <a:pt x="1153" y="131"/>
                  <a:pt x="1153" y="131"/>
                  <a:pt x="1154" y="131"/>
                </a:cubicBezTo>
                <a:cubicBezTo>
                  <a:pt x="1154" y="131"/>
                  <a:pt x="1154" y="131"/>
                  <a:pt x="1154" y="131"/>
                </a:cubicBezTo>
                <a:cubicBezTo>
                  <a:pt x="1155" y="131"/>
                  <a:pt x="1155" y="131"/>
                  <a:pt x="1155" y="131"/>
                </a:cubicBezTo>
                <a:cubicBezTo>
                  <a:pt x="1154" y="131"/>
                  <a:pt x="1154" y="130"/>
                  <a:pt x="1154" y="130"/>
                </a:cubicBezTo>
                <a:cubicBezTo>
                  <a:pt x="1154" y="130"/>
                  <a:pt x="1154" y="130"/>
                  <a:pt x="1154" y="130"/>
                </a:cubicBezTo>
                <a:cubicBezTo>
                  <a:pt x="1154" y="130"/>
                  <a:pt x="1154" y="130"/>
                  <a:pt x="1154" y="130"/>
                </a:cubicBezTo>
                <a:cubicBezTo>
                  <a:pt x="1155" y="130"/>
                  <a:pt x="1155" y="130"/>
                  <a:pt x="1155" y="130"/>
                </a:cubicBezTo>
                <a:cubicBezTo>
                  <a:pt x="1155" y="130"/>
                  <a:pt x="1156" y="131"/>
                  <a:pt x="1156" y="131"/>
                </a:cubicBezTo>
                <a:cubicBezTo>
                  <a:pt x="1156" y="131"/>
                  <a:pt x="1156" y="131"/>
                  <a:pt x="1156" y="131"/>
                </a:cubicBezTo>
                <a:cubicBezTo>
                  <a:pt x="1156" y="131"/>
                  <a:pt x="1156" y="131"/>
                  <a:pt x="1156" y="131"/>
                </a:cubicBezTo>
                <a:cubicBezTo>
                  <a:pt x="1157" y="132"/>
                  <a:pt x="1157" y="132"/>
                  <a:pt x="1157" y="132"/>
                </a:cubicBezTo>
                <a:cubicBezTo>
                  <a:pt x="1157" y="132"/>
                  <a:pt x="1157" y="132"/>
                  <a:pt x="1158" y="132"/>
                </a:cubicBezTo>
                <a:cubicBezTo>
                  <a:pt x="1158" y="132"/>
                  <a:pt x="1158" y="131"/>
                  <a:pt x="1158" y="131"/>
                </a:cubicBezTo>
                <a:cubicBezTo>
                  <a:pt x="1158" y="131"/>
                  <a:pt x="1158" y="131"/>
                  <a:pt x="1157" y="131"/>
                </a:cubicBezTo>
                <a:cubicBezTo>
                  <a:pt x="1157" y="130"/>
                  <a:pt x="1157" y="130"/>
                  <a:pt x="1157" y="130"/>
                </a:cubicBezTo>
                <a:cubicBezTo>
                  <a:pt x="1157" y="130"/>
                  <a:pt x="1156" y="130"/>
                  <a:pt x="1156" y="130"/>
                </a:cubicBezTo>
                <a:cubicBezTo>
                  <a:pt x="1156" y="130"/>
                  <a:pt x="1156" y="130"/>
                  <a:pt x="1156" y="130"/>
                </a:cubicBezTo>
                <a:cubicBezTo>
                  <a:pt x="1157" y="130"/>
                  <a:pt x="1157" y="130"/>
                  <a:pt x="1157" y="130"/>
                </a:cubicBezTo>
                <a:close/>
                <a:moveTo>
                  <a:pt x="1162" y="145"/>
                </a:moveTo>
                <a:cubicBezTo>
                  <a:pt x="1162" y="145"/>
                  <a:pt x="1162" y="145"/>
                  <a:pt x="1162" y="145"/>
                </a:cubicBezTo>
                <a:cubicBezTo>
                  <a:pt x="1163" y="145"/>
                  <a:pt x="1163" y="145"/>
                  <a:pt x="1163" y="145"/>
                </a:cubicBezTo>
                <a:cubicBezTo>
                  <a:pt x="1164" y="145"/>
                  <a:pt x="1164" y="145"/>
                  <a:pt x="1165" y="145"/>
                </a:cubicBezTo>
                <a:cubicBezTo>
                  <a:pt x="1165" y="145"/>
                  <a:pt x="1165" y="144"/>
                  <a:pt x="1165" y="144"/>
                </a:cubicBezTo>
                <a:cubicBezTo>
                  <a:pt x="1165" y="144"/>
                  <a:pt x="1165" y="144"/>
                  <a:pt x="1164" y="144"/>
                </a:cubicBezTo>
                <a:cubicBezTo>
                  <a:pt x="1164" y="144"/>
                  <a:pt x="1163" y="144"/>
                  <a:pt x="1163" y="144"/>
                </a:cubicBezTo>
                <a:cubicBezTo>
                  <a:pt x="1162" y="144"/>
                  <a:pt x="1162" y="145"/>
                  <a:pt x="1162" y="145"/>
                </a:cubicBezTo>
                <a:close/>
                <a:moveTo>
                  <a:pt x="1249" y="114"/>
                </a:moveTo>
                <a:cubicBezTo>
                  <a:pt x="1249" y="114"/>
                  <a:pt x="1249" y="114"/>
                  <a:pt x="1250" y="115"/>
                </a:cubicBezTo>
                <a:cubicBezTo>
                  <a:pt x="1250" y="114"/>
                  <a:pt x="1250" y="114"/>
                  <a:pt x="1251" y="114"/>
                </a:cubicBezTo>
                <a:cubicBezTo>
                  <a:pt x="1251" y="114"/>
                  <a:pt x="1251" y="114"/>
                  <a:pt x="1251" y="114"/>
                </a:cubicBezTo>
                <a:cubicBezTo>
                  <a:pt x="1250" y="114"/>
                  <a:pt x="1250" y="113"/>
                  <a:pt x="1250" y="113"/>
                </a:cubicBezTo>
                <a:cubicBezTo>
                  <a:pt x="1250" y="112"/>
                  <a:pt x="1250" y="112"/>
                  <a:pt x="1250" y="112"/>
                </a:cubicBezTo>
                <a:cubicBezTo>
                  <a:pt x="1249" y="111"/>
                  <a:pt x="1249" y="111"/>
                  <a:pt x="1249" y="111"/>
                </a:cubicBezTo>
                <a:cubicBezTo>
                  <a:pt x="1248" y="111"/>
                  <a:pt x="1248" y="110"/>
                  <a:pt x="1248" y="110"/>
                </a:cubicBezTo>
                <a:cubicBezTo>
                  <a:pt x="1248" y="110"/>
                  <a:pt x="1247" y="110"/>
                  <a:pt x="1247" y="111"/>
                </a:cubicBezTo>
                <a:cubicBezTo>
                  <a:pt x="1247" y="111"/>
                  <a:pt x="1247" y="111"/>
                  <a:pt x="1246" y="112"/>
                </a:cubicBezTo>
                <a:cubicBezTo>
                  <a:pt x="1246" y="112"/>
                  <a:pt x="1246" y="112"/>
                  <a:pt x="1246" y="113"/>
                </a:cubicBezTo>
                <a:cubicBezTo>
                  <a:pt x="1246" y="113"/>
                  <a:pt x="1246" y="113"/>
                  <a:pt x="1246" y="113"/>
                </a:cubicBezTo>
                <a:cubicBezTo>
                  <a:pt x="1246" y="113"/>
                  <a:pt x="1247" y="113"/>
                  <a:pt x="1247" y="113"/>
                </a:cubicBezTo>
                <a:cubicBezTo>
                  <a:pt x="1247" y="114"/>
                  <a:pt x="1247" y="114"/>
                  <a:pt x="1247" y="114"/>
                </a:cubicBezTo>
                <a:cubicBezTo>
                  <a:pt x="1248" y="114"/>
                  <a:pt x="1248" y="114"/>
                  <a:pt x="1249" y="114"/>
                </a:cubicBezTo>
                <a:close/>
                <a:moveTo>
                  <a:pt x="1115" y="34"/>
                </a:moveTo>
                <a:cubicBezTo>
                  <a:pt x="1115" y="34"/>
                  <a:pt x="1115" y="34"/>
                  <a:pt x="1115" y="34"/>
                </a:cubicBezTo>
                <a:cubicBezTo>
                  <a:pt x="1115" y="34"/>
                  <a:pt x="1115" y="34"/>
                  <a:pt x="1115" y="34"/>
                </a:cubicBezTo>
                <a:cubicBezTo>
                  <a:pt x="1115" y="35"/>
                  <a:pt x="1116" y="36"/>
                  <a:pt x="1116" y="36"/>
                </a:cubicBezTo>
                <a:cubicBezTo>
                  <a:pt x="1116" y="36"/>
                  <a:pt x="1116" y="37"/>
                  <a:pt x="1116" y="37"/>
                </a:cubicBezTo>
                <a:cubicBezTo>
                  <a:pt x="1116" y="38"/>
                  <a:pt x="1116" y="38"/>
                  <a:pt x="1117" y="38"/>
                </a:cubicBezTo>
                <a:cubicBezTo>
                  <a:pt x="1117" y="39"/>
                  <a:pt x="1117" y="39"/>
                  <a:pt x="1118" y="39"/>
                </a:cubicBezTo>
                <a:cubicBezTo>
                  <a:pt x="1118" y="39"/>
                  <a:pt x="1119" y="39"/>
                  <a:pt x="1119" y="39"/>
                </a:cubicBezTo>
                <a:cubicBezTo>
                  <a:pt x="1119" y="39"/>
                  <a:pt x="1119" y="39"/>
                  <a:pt x="1119" y="39"/>
                </a:cubicBezTo>
                <a:cubicBezTo>
                  <a:pt x="1119" y="38"/>
                  <a:pt x="1118" y="38"/>
                  <a:pt x="1118" y="38"/>
                </a:cubicBezTo>
                <a:cubicBezTo>
                  <a:pt x="1118" y="38"/>
                  <a:pt x="1118" y="38"/>
                  <a:pt x="1118" y="38"/>
                </a:cubicBezTo>
                <a:cubicBezTo>
                  <a:pt x="1119" y="38"/>
                  <a:pt x="1119" y="38"/>
                  <a:pt x="1119" y="37"/>
                </a:cubicBezTo>
                <a:cubicBezTo>
                  <a:pt x="1119" y="37"/>
                  <a:pt x="1119" y="37"/>
                  <a:pt x="1120" y="37"/>
                </a:cubicBezTo>
                <a:cubicBezTo>
                  <a:pt x="1120" y="37"/>
                  <a:pt x="1120" y="36"/>
                  <a:pt x="1120" y="36"/>
                </a:cubicBezTo>
                <a:cubicBezTo>
                  <a:pt x="1120" y="36"/>
                  <a:pt x="1121" y="36"/>
                  <a:pt x="1122" y="36"/>
                </a:cubicBezTo>
                <a:cubicBezTo>
                  <a:pt x="1122" y="36"/>
                  <a:pt x="1122" y="36"/>
                  <a:pt x="1122" y="36"/>
                </a:cubicBezTo>
                <a:cubicBezTo>
                  <a:pt x="1122" y="36"/>
                  <a:pt x="1123" y="36"/>
                  <a:pt x="1123" y="36"/>
                </a:cubicBezTo>
                <a:cubicBezTo>
                  <a:pt x="1122" y="36"/>
                  <a:pt x="1122" y="35"/>
                  <a:pt x="1122" y="35"/>
                </a:cubicBezTo>
                <a:cubicBezTo>
                  <a:pt x="1121" y="35"/>
                  <a:pt x="1121" y="35"/>
                  <a:pt x="1121" y="35"/>
                </a:cubicBezTo>
                <a:cubicBezTo>
                  <a:pt x="1120" y="35"/>
                  <a:pt x="1119" y="35"/>
                  <a:pt x="1118" y="34"/>
                </a:cubicBezTo>
                <a:cubicBezTo>
                  <a:pt x="1118" y="34"/>
                  <a:pt x="1118" y="34"/>
                  <a:pt x="1117" y="34"/>
                </a:cubicBezTo>
                <a:cubicBezTo>
                  <a:pt x="1117" y="34"/>
                  <a:pt x="1117" y="34"/>
                  <a:pt x="1116" y="34"/>
                </a:cubicBezTo>
                <a:cubicBezTo>
                  <a:pt x="1116" y="34"/>
                  <a:pt x="1116" y="34"/>
                  <a:pt x="1115" y="34"/>
                </a:cubicBezTo>
                <a:close/>
                <a:moveTo>
                  <a:pt x="1524" y="427"/>
                </a:moveTo>
                <a:cubicBezTo>
                  <a:pt x="1524" y="427"/>
                  <a:pt x="1524" y="427"/>
                  <a:pt x="1524" y="427"/>
                </a:cubicBezTo>
                <a:cubicBezTo>
                  <a:pt x="1524" y="427"/>
                  <a:pt x="1523" y="426"/>
                  <a:pt x="1523" y="426"/>
                </a:cubicBezTo>
                <a:cubicBezTo>
                  <a:pt x="1523" y="426"/>
                  <a:pt x="1523" y="426"/>
                  <a:pt x="1522" y="426"/>
                </a:cubicBezTo>
                <a:cubicBezTo>
                  <a:pt x="1522" y="426"/>
                  <a:pt x="1522" y="426"/>
                  <a:pt x="1522" y="426"/>
                </a:cubicBezTo>
                <a:cubicBezTo>
                  <a:pt x="1522" y="426"/>
                  <a:pt x="1522" y="426"/>
                  <a:pt x="1522" y="426"/>
                </a:cubicBezTo>
                <a:cubicBezTo>
                  <a:pt x="1522" y="426"/>
                  <a:pt x="1523" y="427"/>
                  <a:pt x="1523" y="427"/>
                </a:cubicBezTo>
                <a:cubicBezTo>
                  <a:pt x="1523" y="427"/>
                  <a:pt x="1523" y="427"/>
                  <a:pt x="1524" y="427"/>
                </a:cubicBezTo>
                <a:close/>
                <a:moveTo>
                  <a:pt x="1508" y="456"/>
                </a:moveTo>
                <a:cubicBezTo>
                  <a:pt x="1508" y="456"/>
                  <a:pt x="1508" y="456"/>
                  <a:pt x="1508" y="456"/>
                </a:cubicBezTo>
                <a:cubicBezTo>
                  <a:pt x="1508" y="457"/>
                  <a:pt x="1508" y="457"/>
                  <a:pt x="1508" y="457"/>
                </a:cubicBezTo>
                <a:cubicBezTo>
                  <a:pt x="1508" y="457"/>
                  <a:pt x="1508" y="457"/>
                  <a:pt x="1508" y="457"/>
                </a:cubicBezTo>
                <a:cubicBezTo>
                  <a:pt x="1508" y="458"/>
                  <a:pt x="1508" y="458"/>
                  <a:pt x="1508" y="458"/>
                </a:cubicBezTo>
                <a:cubicBezTo>
                  <a:pt x="1509" y="458"/>
                  <a:pt x="1509" y="458"/>
                  <a:pt x="1510" y="459"/>
                </a:cubicBezTo>
                <a:cubicBezTo>
                  <a:pt x="1510" y="459"/>
                  <a:pt x="1510" y="459"/>
                  <a:pt x="1510" y="460"/>
                </a:cubicBezTo>
                <a:cubicBezTo>
                  <a:pt x="1510" y="460"/>
                  <a:pt x="1510" y="460"/>
                  <a:pt x="1510" y="461"/>
                </a:cubicBezTo>
                <a:cubicBezTo>
                  <a:pt x="1510" y="461"/>
                  <a:pt x="1510" y="461"/>
                  <a:pt x="1510" y="461"/>
                </a:cubicBezTo>
                <a:cubicBezTo>
                  <a:pt x="1510" y="461"/>
                  <a:pt x="1510" y="461"/>
                  <a:pt x="1510" y="461"/>
                </a:cubicBezTo>
                <a:cubicBezTo>
                  <a:pt x="1511" y="461"/>
                  <a:pt x="1511" y="461"/>
                  <a:pt x="1511" y="462"/>
                </a:cubicBezTo>
                <a:cubicBezTo>
                  <a:pt x="1511" y="461"/>
                  <a:pt x="1511" y="461"/>
                  <a:pt x="1511" y="461"/>
                </a:cubicBezTo>
                <a:cubicBezTo>
                  <a:pt x="1511" y="461"/>
                  <a:pt x="1511" y="460"/>
                  <a:pt x="1512" y="460"/>
                </a:cubicBezTo>
                <a:cubicBezTo>
                  <a:pt x="1512" y="460"/>
                  <a:pt x="1512" y="459"/>
                  <a:pt x="1511" y="459"/>
                </a:cubicBezTo>
                <a:cubicBezTo>
                  <a:pt x="1512" y="459"/>
                  <a:pt x="1512" y="459"/>
                  <a:pt x="1513" y="458"/>
                </a:cubicBezTo>
                <a:cubicBezTo>
                  <a:pt x="1513" y="458"/>
                  <a:pt x="1514" y="458"/>
                  <a:pt x="1514" y="458"/>
                </a:cubicBezTo>
                <a:cubicBezTo>
                  <a:pt x="1514" y="457"/>
                  <a:pt x="1515" y="457"/>
                  <a:pt x="1515" y="457"/>
                </a:cubicBezTo>
                <a:cubicBezTo>
                  <a:pt x="1515" y="457"/>
                  <a:pt x="1515" y="457"/>
                  <a:pt x="1515" y="457"/>
                </a:cubicBezTo>
                <a:cubicBezTo>
                  <a:pt x="1515" y="456"/>
                  <a:pt x="1515" y="456"/>
                  <a:pt x="1515" y="456"/>
                </a:cubicBezTo>
                <a:cubicBezTo>
                  <a:pt x="1515" y="456"/>
                  <a:pt x="1515" y="455"/>
                  <a:pt x="1515" y="455"/>
                </a:cubicBezTo>
                <a:cubicBezTo>
                  <a:pt x="1516" y="455"/>
                  <a:pt x="1516" y="454"/>
                  <a:pt x="1516" y="454"/>
                </a:cubicBezTo>
                <a:cubicBezTo>
                  <a:pt x="1516" y="454"/>
                  <a:pt x="1516" y="453"/>
                  <a:pt x="1516" y="453"/>
                </a:cubicBezTo>
                <a:cubicBezTo>
                  <a:pt x="1516" y="453"/>
                  <a:pt x="1517" y="453"/>
                  <a:pt x="1517" y="453"/>
                </a:cubicBezTo>
                <a:cubicBezTo>
                  <a:pt x="1517" y="452"/>
                  <a:pt x="1518" y="451"/>
                  <a:pt x="1518" y="451"/>
                </a:cubicBezTo>
                <a:cubicBezTo>
                  <a:pt x="1518" y="451"/>
                  <a:pt x="1518" y="450"/>
                  <a:pt x="1519" y="450"/>
                </a:cubicBezTo>
                <a:cubicBezTo>
                  <a:pt x="1519" y="450"/>
                  <a:pt x="1519" y="450"/>
                  <a:pt x="1519" y="450"/>
                </a:cubicBezTo>
                <a:cubicBezTo>
                  <a:pt x="1519" y="450"/>
                  <a:pt x="1519" y="450"/>
                  <a:pt x="1519" y="449"/>
                </a:cubicBezTo>
                <a:cubicBezTo>
                  <a:pt x="1519" y="449"/>
                  <a:pt x="1518" y="449"/>
                  <a:pt x="1518" y="449"/>
                </a:cubicBezTo>
                <a:cubicBezTo>
                  <a:pt x="1518" y="449"/>
                  <a:pt x="1518" y="449"/>
                  <a:pt x="1518" y="449"/>
                </a:cubicBezTo>
                <a:cubicBezTo>
                  <a:pt x="1518" y="448"/>
                  <a:pt x="1518" y="448"/>
                  <a:pt x="1518" y="448"/>
                </a:cubicBezTo>
                <a:cubicBezTo>
                  <a:pt x="1517" y="447"/>
                  <a:pt x="1517" y="447"/>
                  <a:pt x="1517" y="447"/>
                </a:cubicBezTo>
                <a:cubicBezTo>
                  <a:pt x="1516" y="447"/>
                  <a:pt x="1516" y="447"/>
                  <a:pt x="1516" y="447"/>
                </a:cubicBezTo>
                <a:cubicBezTo>
                  <a:pt x="1516" y="447"/>
                  <a:pt x="1516" y="447"/>
                  <a:pt x="1516" y="447"/>
                </a:cubicBezTo>
                <a:cubicBezTo>
                  <a:pt x="1516" y="447"/>
                  <a:pt x="1515" y="447"/>
                  <a:pt x="1515" y="447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3" y="448"/>
                  <a:pt x="1513" y="448"/>
                  <a:pt x="1512" y="449"/>
                </a:cubicBezTo>
                <a:cubicBezTo>
                  <a:pt x="1512" y="449"/>
                  <a:pt x="1512" y="449"/>
                  <a:pt x="1512" y="449"/>
                </a:cubicBezTo>
                <a:cubicBezTo>
                  <a:pt x="1512" y="449"/>
                  <a:pt x="1512" y="449"/>
                  <a:pt x="1512" y="450"/>
                </a:cubicBezTo>
                <a:cubicBezTo>
                  <a:pt x="1512" y="450"/>
                  <a:pt x="1512" y="450"/>
                  <a:pt x="1511" y="450"/>
                </a:cubicBezTo>
                <a:cubicBezTo>
                  <a:pt x="1511" y="450"/>
                  <a:pt x="1510" y="450"/>
                  <a:pt x="1510" y="451"/>
                </a:cubicBezTo>
                <a:cubicBezTo>
                  <a:pt x="1509" y="451"/>
                  <a:pt x="1509" y="451"/>
                  <a:pt x="1509" y="452"/>
                </a:cubicBezTo>
                <a:cubicBezTo>
                  <a:pt x="1509" y="452"/>
                  <a:pt x="1508" y="452"/>
                  <a:pt x="1508" y="452"/>
                </a:cubicBezTo>
                <a:cubicBezTo>
                  <a:pt x="1508" y="452"/>
                  <a:pt x="1508" y="452"/>
                  <a:pt x="1509" y="452"/>
                </a:cubicBezTo>
                <a:cubicBezTo>
                  <a:pt x="1508" y="453"/>
                  <a:pt x="1508" y="453"/>
                  <a:pt x="1508" y="454"/>
                </a:cubicBezTo>
                <a:cubicBezTo>
                  <a:pt x="1508" y="454"/>
                  <a:pt x="1508" y="455"/>
                  <a:pt x="1508" y="455"/>
                </a:cubicBezTo>
                <a:cubicBezTo>
                  <a:pt x="1508" y="455"/>
                  <a:pt x="1508" y="455"/>
                  <a:pt x="1508" y="456"/>
                </a:cubicBezTo>
                <a:cubicBezTo>
                  <a:pt x="1508" y="456"/>
                  <a:pt x="1508" y="456"/>
                  <a:pt x="1508" y="456"/>
                </a:cubicBezTo>
                <a:cubicBezTo>
                  <a:pt x="1508" y="456"/>
                  <a:pt x="1508" y="456"/>
                  <a:pt x="1508" y="456"/>
                </a:cubicBezTo>
                <a:close/>
                <a:moveTo>
                  <a:pt x="1449" y="456"/>
                </a:moveTo>
                <a:cubicBezTo>
                  <a:pt x="1449" y="456"/>
                  <a:pt x="1449" y="456"/>
                  <a:pt x="1449" y="456"/>
                </a:cubicBezTo>
                <a:cubicBezTo>
                  <a:pt x="1449" y="456"/>
                  <a:pt x="1449" y="457"/>
                  <a:pt x="1450" y="457"/>
                </a:cubicBezTo>
                <a:cubicBezTo>
                  <a:pt x="1450" y="457"/>
                  <a:pt x="1450" y="457"/>
                  <a:pt x="1451" y="457"/>
                </a:cubicBezTo>
                <a:cubicBezTo>
                  <a:pt x="1451" y="458"/>
                  <a:pt x="1451" y="458"/>
                  <a:pt x="1451" y="458"/>
                </a:cubicBezTo>
                <a:cubicBezTo>
                  <a:pt x="1451" y="458"/>
                  <a:pt x="1452" y="458"/>
                  <a:pt x="1452" y="458"/>
                </a:cubicBezTo>
                <a:cubicBezTo>
                  <a:pt x="1452" y="458"/>
                  <a:pt x="1452" y="459"/>
                  <a:pt x="1453" y="459"/>
                </a:cubicBezTo>
                <a:cubicBezTo>
                  <a:pt x="1453" y="459"/>
                  <a:pt x="1453" y="459"/>
                  <a:pt x="1453" y="459"/>
                </a:cubicBezTo>
                <a:cubicBezTo>
                  <a:pt x="1453" y="459"/>
                  <a:pt x="1454" y="458"/>
                  <a:pt x="1454" y="458"/>
                </a:cubicBezTo>
                <a:cubicBezTo>
                  <a:pt x="1454" y="458"/>
                  <a:pt x="1454" y="458"/>
                  <a:pt x="1455" y="458"/>
                </a:cubicBezTo>
                <a:cubicBezTo>
                  <a:pt x="1455" y="459"/>
                  <a:pt x="1455" y="459"/>
                  <a:pt x="1455" y="459"/>
                </a:cubicBezTo>
                <a:cubicBezTo>
                  <a:pt x="1456" y="459"/>
                  <a:pt x="1456" y="459"/>
                  <a:pt x="1456" y="458"/>
                </a:cubicBezTo>
                <a:cubicBezTo>
                  <a:pt x="1456" y="458"/>
                  <a:pt x="1456" y="458"/>
                  <a:pt x="1456" y="458"/>
                </a:cubicBezTo>
                <a:cubicBezTo>
                  <a:pt x="1457" y="458"/>
                  <a:pt x="1457" y="458"/>
                  <a:pt x="1457" y="458"/>
                </a:cubicBezTo>
                <a:cubicBezTo>
                  <a:pt x="1458" y="458"/>
                  <a:pt x="1458" y="458"/>
                  <a:pt x="1458" y="458"/>
                </a:cubicBezTo>
                <a:cubicBezTo>
                  <a:pt x="1458" y="458"/>
                  <a:pt x="1458" y="457"/>
                  <a:pt x="1458" y="457"/>
                </a:cubicBezTo>
                <a:cubicBezTo>
                  <a:pt x="1458" y="457"/>
                  <a:pt x="1459" y="457"/>
                  <a:pt x="1459" y="456"/>
                </a:cubicBezTo>
                <a:cubicBezTo>
                  <a:pt x="1459" y="456"/>
                  <a:pt x="1459" y="456"/>
                  <a:pt x="1460" y="456"/>
                </a:cubicBezTo>
                <a:cubicBezTo>
                  <a:pt x="1460" y="456"/>
                  <a:pt x="1460" y="456"/>
                  <a:pt x="1460" y="456"/>
                </a:cubicBezTo>
                <a:cubicBezTo>
                  <a:pt x="1460" y="455"/>
                  <a:pt x="1461" y="455"/>
                  <a:pt x="1461" y="455"/>
                </a:cubicBezTo>
                <a:cubicBezTo>
                  <a:pt x="1461" y="455"/>
                  <a:pt x="1461" y="454"/>
                  <a:pt x="1461" y="454"/>
                </a:cubicBezTo>
                <a:cubicBezTo>
                  <a:pt x="1461" y="454"/>
                  <a:pt x="1460" y="453"/>
                  <a:pt x="1460" y="453"/>
                </a:cubicBezTo>
                <a:cubicBezTo>
                  <a:pt x="1460" y="453"/>
                  <a:pt x="1459" y="453"/>
                  <a:pt x="1459" y="453"/>
                </a:cubicBezTo>
                <a:cubicBezTo>
                  <a:pt x="1459" y="453"/>
                  <a:pt x="1459" y="453"/>
                  <a:pt x="1458" y="453"/>
                </a:cubicBezTo>
                <a:cubicBezTo>
                  <a:pt x="1458" y="453"/>
                  <a:pt x="1458" y="452"/>
                  <a:pt x="1458" y="452"/>
                </a:cubicBezTo>
                <a:cubicBezTo>
                  <a:pt x="1458" y="452"/>
                  <a:pt x="1457" y="452"/>
                  <a:pt x="1457" y="452"/>
                </a:cubicBezTo>
                <a:cubicBezTo>
                  <a:pt x="1457" y="452"/>
                  <a:pt x="1456" y="452"/>
                  <a:pt x="1456" y="452"/>
                </a:cubicBezTo>
                <a:cubicBezTo>
                  <a:pt x="1456" y="452"/>
                  <a:pt x="1456" y="452"/>
                  <a:pt x="1456" y="452"/>
                </a:cubicBezTo>
                <a:cubicBezTo>
                  <a:pt x="1455" y="452"/>
                  <a:pt x="1455" y="452"/>
                  <a:pt x="1455" y="452"/>
                </a:cubicBezTo>
                <a:cubicBezTo>
                  <a:pt x="1454" y="452"/>
                  <a:pt x="1454" y="452"/>
                  <a:pt x="1454" y="452"/>
                </a:cubicBezTo>
                <a:cubicBezTo>
                  <a:pt x="1453" y="452"/>
                  <a:pt x="1453" y="452"/>
                  <a:pt x="1453" y="452"/>
                </a:cubicBezTo>
                <a:cubicBezTo>
                  <a:pt x="1452" y="452"/>
                  <a:pt x="1452" y="452"/>
                  <a:pt x="1452" y="452"/>
                </a:cubicBezTo>
                <a:cubicBezTo>
                  <a:pt x="1452" y="452"/>
                  <a:pt x="1451" y="452"/>
                  <a:pt x="1451" y="452"/>
                </a:cubicBezTo>
                <a:cubicBezTo>
                  <a:pt x="1450" y="453"/>
                  <a:pt x="1449" y="453"/>
                  <a:pt x="1449" y="453"/>
                </a:cubicBezTo>
                <a:cubicBezTo>
                  <a:pt x="1449" y="453"/>
                  <a:pt x="1449" y="453"/>
                  <a:pt x="1449" y="454"/>
                </a:cubicBezTo>
                <a:cubicBezTo>
                  <a:pt x="1449" y="454"/>
                  <a:pt x="1449" y="455"/>
                  <a:pt x="1449" y="455"/>
                </a:cubicBezTo>
                <a:cubicBezTo>
                  <a:pt x="1449" y="455"/>
                  <a:pt x="1449" y="456"/>
                  <a:pt x="1449" y="456"/>
                </a:cubicBezTo>
                <a:close/>
                <a:moveTo>
                  <a:pt x="1519" y="417"/>
                </a:moveTo>
                <a:cubicBezTo>
                  <a:pt x="1519" y="417"/>
                  <a:pt x="1519" y="417"/>
                  <a:pt x="1519" y="417"/>
                </a:cubicBezTo>
                <a:cubicBezTo>
                  <a:pt x="1519" y="417"/>
                  <a:pt x="1519" y="418"/>
                  <a:pt x="1519" y="418"/>
                </a:cubicBezTo>
                <a:cubicBezTo>
                  <a:pt x="1520" y="418"/>
                  <a:pt x="1520" y="418"/>
                  <a:pt x="1520" y="418"/>
                </a:cubicBezTo>
                <a:cubicBezTo>
                  <a:pt x="1521" y="418"/>
                  <a:pt x="1521" y="419"/>
                  <a:pt x="1521" y="419"/>
                </a:cubicBezTo>
                <a:cubicBezTo>
                  <a:pt x="1521" y="419"/>
                  <a:pt x="1521" y="418"/>
                  <a:pt x="1522" y="418"/>
                </a:cubicBezTo>
                <a:cubicBezTo>
                  <a:pt x="1521" y="418"/>
                  <a:pt x="1521" y="418"/>
                  <a:pt x="1521" y="418"/>
                </a:cubicBezTo>
                <a:cubicBezTo>
                  <a:pt x="1521" y="418"/>
                  <a:pt x="1520" y="418"/>
                  <a:pt x="1520" y="417"/>
                </a:cubicBezTo>
                <a:cubicBezTo>
                  <a:pt x="1520" y="417"/>
                  <a:pt x="1520" y="417"/>
                  <a:pt x="1519" y="417"/>
                </a:cubicBezTo>
                <a:close/>
                <a:moveTo>
                  <a:pt x="1461" y="449"/>
                </a:moveTo>
                <a:cubicBezTo>
                  <a:pt x="1461" y="449"/>
                  <a:pt x="1460" y="449"/>
                  <a:pt x="1460" y="449"/>
                </a:cubicBezTo>
                <a:cubicBezTo>
                  <a:pt x="1460" y="449"/>
                  <a:pt x="1459" y="449"/>
                  <a:pt x="1459" y="449"/>
                </a:cubicBezTo>
                <a:cubicBezTo>
                  <a:pt x="1459" y="449"/>
                  <a:pt x="1459" y="449"/>
                  <a:pt x="1459" y="449"/>
                </a:cubicBezTo>
                <a:cubicBezTo>
                  <a:pt x="1459" y="449"/>
                  <a:pt x="1460" y="449"/>
                  <a:pt x="1460" y="449"/>
                </a:cubicBezTo>
                <a:cubicBezTo>
                  <a:pt x="1460" y="449"/>
                  <a:pt x="1461" y="450"/>
                  <a:pt x="1461" y="450"/>
                </a:cubicBezTo>
                <a:cubicBezTo>
                  <a:pt x="1461" y="450"/>
                  <a:pt x="1461" y="450"/>
                  <a:pt x="1461" y="449"/>
                </a:cubicBezTo>
                <a:close/>
                <a:moveTo>
                  <a:pt x="1507" y="443"/>
                </a:moveTo>
                <a:cubicBezTo>
                  <a:pt x="1507" y="443"/>
                  <a:pt x="1507" y="444"/>
                  <a:pt x="1507" y="444"/>
                </a:cubicBezTo>
                <a:cubicBezTo>
                  <a:pt x="1507" y="444"/>
                  <a:pt x="1507" y="444"/>
                  <a:pt x="1507" y="444"/>
                </a:cubicBezTo>
                <a:cubicBezTo>
                  <a:pt x="1508" y="444"/>
                  <a:pt x="1508" y="444"/>
                  <a:pt x="1508" y="443"/>
                </a:cubicBezTo>
                <a:cubicBezTo>
                  <a:pt x="1508" y="443"/>
                  <a:pt x="1507" y="443"/>
                  <a:pt x="1507" y="443"/>
                </a:cubicBezTo>
                <a:cubicBezTo>
                  <a:pt x="1507" y="443"/>
                  <a:pt x="1507" y="443"/>
                  <a:pt x="1507" y="443"/>
                </a:cubicBezTo>
                <a:close/>
                <a:moveTo>
                  <a:pt x="1493" y="449"/>
                </a:moveTo>
                <a:cubicBezTo>
                  <a:pt x="1493" y="449"/>
                  <a:pt x="1493" y="449"/>
                  <a:pt x="1493" y="449"/>
                </a:cubicBezTo>
                <a:cubicBezTo>
                  <a:pt x="1493" y="449"/>
                  <a:pt x="1494" y="449"/>
                  <a:pt x="1494" y="449"/>
                </a:cubicBezTo>
                <a:cubicBezTo>
                  <a:pt x="1494" y="449"/>
                  <a:pt x="1494" y="449"/>
                  <a:pt x="1494" y="449"/>
                </a:cubicBezTo>
                <a:cubicBezTo>
                  <a:pt x="1494" y="449"/>
                  <a:pt x="1494" y="449"/>
                  <a:pt x="1494" y="449"/>
                </a:cubicBezTo>
                <a:cubicBezTo>
                  <a:pt x="1494" y="449"/>
                  <a:pt x="1493" y="449"/>
                  <a:pt x="1493" y="449"/>
                </a:cubicBezTo>
                <a:close/>
                <a:moveTo>
                  <a:pt x="942" y="62"/>
                </a:moveTo>
                <a:cubicBezTo>
                  <a:pt x="942" y="62"/>
                  <a:pt x="943" y="62"/>
                  <a:pt x="943" y="63"/>
                </a:cubicBezTo>
                <a:cubicBezTo>
                  <a:pt x="943" y="63"/>
                  <a:pt x="943" y="63"/>
                  <a:pt x="943" y="63"/>
                </a:cubicBezTo>
                <a:cubicBezTo>
                  <a:pt x="943" y="63"/>
                  <a:pt x="943" y="63"/>
                  <a:pt x="944" y="63"/>
                </a:cubicBezTo>
                <a:cubicBezTo>
                  <a:pt x="944" y="62"/>
                  <a:pt x="944" y="62"/>
                  <a:pt x="944" y="62"/>
                </a:cubicBezTo>
                <a:cubicBezTo>
                  <a:pt x="944" y="62"/>
                  <a:pt x="944" y="62"/>
                  <a:pt x="943" y="61"/>
                </a:cubicBezTo>
                <a:cubicBezTo>
                  <a:pt x="943" y="61"/>
                  <a:pt x="943" y="61"/>
                  <a:pt x="943" y="61"/>
                </a:cubicBezTo>
                <a:cubicBezTo>
                  <a:pt x="942" y="60"/>
                  <a:pt x="942" y="60"/>
                  <a:pt x="942" y="60"/>
                </a:cubicBezTo>
                <a:cubicBezTo>
                  <a:pt x="942" y="60"/>
                  <a:pt x="942" y="60"/>
                  <a:pt x="942" y="60"/>
                </a:cubicBezTo>
                <a:cubicBezTo>
                  <a:pt x="942" y="60"/>
                  <a:pt x="942" y="60"/>
                  <a:pt x="941" y="60"/>
                </a:cubicBezTo>
                <a:cubicBezTo>
                  <a:pt x="941" y="60"/>
                  <a:pt x="941" y="60"/>
                  <a:pt x="941" y="60"/>
                </a:cubicBezTo>
                <a:cubicBezTo>
                  <a:pt x="941" y="59"/>
                  <a:pt x="941" y="59"/>
                  <a:pt x="940" y="59"/>
                </a:cubicBezTo>
                <a:cubicBezTo>
                  <a:pt x="940" y="59"/>
                  <a:pt x="940" y="59"/>
                  <a:pt x="939" y="58"/>
                </a:cubicBezTo>
                <a:cubicBezTo>
                  <a:pt x="939" y="58"/>
                  <a:pt x="940" y="58"/>
                  <a:pt x="940" y="58"/>
                </a:cubicBezTo>
                <a:cubicBezTo>
                  <a:pt x="940" y="57"/>
                  <a:pt x="940" y="57"/>
                  <a:pt x="940" y="57"/>
                </a:cubicBezTo>
                <a:cubicBezTo>
                  <a:pt x="939" y="57"/>
                  <a:pt x="939" y="56"/>
                  <a:pt x="938" y="56"/>
                </a:cubicBezTo>
                <a:cubicBezTo>
                  <a:pt x="938" y="56"/>
                  <a:pt x="938" y="56"/>
                  <a:pt x="938" y="56"/>
                </a:cubicBezTo>
                <a:cubicBezTo>
                  <a:pt x="938" y="56"/>
                  <a:pt x="937" y="56"/>
                  <a:pt x="937" y="56"/>
                </a:cubicBezTo>
                <a:cubicBezTo>
                  <a:pt x="937" y="57"/>
                  <a:pt x="937" y="57"/>
                  <a:pt x="937" y="57"/>
                </a:cubicBezTo>
                <a:cubicBezTo>
                  <a:pt x="938" y="57"/>
                  <a:pt x="938" y="58"/>
                  <a:pt x="938" y="58"/>
                </a:cubicBezTo>
                <a:cubicBezTo>
                  <a:pt x="938" y="58"/>
                  <a:pt x="938" y="58"/>
                  <a:pt x="939" y="58"/>
                </a:cubicBezTo>
                <a:cubicBezTo>
                  <a:pt x="939" y="59"/>
                  <a:pt x="939" y="59"/>
                  <a:pt x="939" y="60"/>
                </a:cubicBezTo>
                <a:cubicBezTo>
                  <a:pt x="939" y="60"/>
                  <a:pt x="939" y="60"/>
                  <a:pt x="939" y="60"/>
                </a:cubicBezTo>
                <a:cubicBezTo>
                  <a:pt x="940" y="60"/>
                  <a:pt x="940" y="60"/>
                  <a:pt x="940" y="60"/>
                </a:cubicBezTo>
                <a:cubicBezTo>
                  <a:pt x="941" y="60"/>
                  <a:pt x="941" y="61"/>
                  <a:pt x="941" y="61"/>
                </a:cubicBezTo>
                <a:cubicBezTo>
                  <a:pt x="941" y="61"/>
                  <a:pt x="942" y="61"/>
                  <a:pt x="942" y="62"/>
                </a:cubicBezTo>
                <a:cubicBezTo>
                  <a:pt x="942" y="62"/>
                  <a:pt x="942" y="62"/>
                  <a:pt x="942" y="62"/>
                </a:cubicBezTo>
                <a:close/>
                <a:moveTo>
                  <a:pt x="966" y="41"/>
                </a:moveTo>
                <a:cubicBezTo>
                  <a:pt x="967" y="41"/>
                  <a:pt x="967" y="41"/>
                  <a:pt x="967" y="41"/>
                </a:cubicBezTo>
                <a:cubicBezTo>
                  <a:pt x="967" y="41"/>
                  <a:pt x="967" y="41"/>
                  <a:pt x="967" y="41"/>
                </a:cubicBezTo>
                <a:cubicBezTo>
                  <a:pt x="967" y="40"/>
                  <a:pt x="967" y="40"/>
                  <a:pt x="967" y="40"/>
                </a:cubicBezTo>
                <a:cubicBezTo>
                  <a:pt x="967" y="40"/>
                  <a:pt x="967" y="40"/>
                  <a:pt x="967" y="40"/>
                </a:cubicBezTo>
                <a:cubicBezTo>
                  <a:pt x="967" y="40"/>
                  <a:pt x="966" y="39"/>
                  <a:pt x="966" y="39"/>
                </a:cubicBezTo>
                <a:cubicBezTo>
                  <a:pt x="966" y="40"/>
                  <a:pt x="966" y="40"/>
                  <a:pt x="965" y="40"/>
                </a:cubicBezTo>
                <a:cubicBezTo>
                  <a:pt x="965" y="40"/>
                  <a:pt x="965" y="40"/>
                  <a:pt x="965" y="40"/>
                </a:cubicBezTo>
                <a:cubicBezTo>
                  <a:pt x="965" y="40"/>
                  <a:pt x="965" y="40"/>
                  <a:pt x="965" y="41"/>
                </a:cubicBezTo>
                <a:cubicBezTo>
                  <a:pt x="966" y="41"/>
                  <a:pt x="966" y="41"/>
                  <a:pt x="966" y="41"/>
                </a:cubicBezTo>
                <a:close/>
                <a:moveTo>
                  <a:pt x="1001" y="57"/>
                </a:moveTo>
                <a:cubicBezTo>
                  <a:pt x="1001" y="57"/>
                  <a:pt x="1001" y="57"/>
                  <a:pt x="1001" y="57"/>
                </a:cubicBezTo>
                <a:cubicBezTo>
                  <a:pt x="1002" y="58"/>
                  <a:pt x="1002" y="58"/>
                  <a:pt x="1002" y="58"/>
                </a:cubicBezTo>
                <a:cubicBezTo>
                  <a:pt x="1002" y="58"/>
                  <a:pt x="1002" y="58"/>
                  <a:pt x="1002" y="58"/>
                </a:cubicBezTo>
                <a:cubicBezTo>
                  <a:pt x="1002" y="58"/>
                  <a:pt x="1003" y="58"/>
                  <a:pt x="1003" y="58"/>
                </a:cubicBezTo>
                <a:cubicBezTo>
                  <a:pt x="1003" y="57"/>
                  <a:pt x="1003" y="57"/>
                  <a:pt x="1003" y="57"/>
                </a:cubicBezTo>
                <a:cubicBezTo>
                  <a:pt x="1003" y="57"/>
                  <a:pt x="1002" y="57"/>
                  <a:pt x="1002" y="57"/>
                </a:cubicBezTo>
                <a:cubicBezTo>
                  <a:pt x="1002" y="56"/>
                  <a:pt x="1002" y="56"/>
                  <a:pt x="1002" y="56"/>
                </a:cubicBezTo>
                <a:cubicBezTo>
                  <a:pt x="1002" y="56"/>
                  <a:pt x="1002" y="56"/>
                  <a:pt x="1002" y="56"/>
                </a:cubicBezTo>
                <a:cubicBezTo>
                  <a:pt x="1001" y="56"/>
                  <a:pt x="1001" y="56"/>
                  <a:pt x="1001" y="56"/>
                </a:cubicBezTo>
                <a:cubicBezTo>
                  <a:pt x="1001" y="56"/>
                  <a:pt x="1001" y="56"/>
                  <a:pt x="1001" y="56"/>
                </a:cubicBezTo>
                <a:cubicBezTo>
                  <a:pt x="1001" y="56"/>
                  <a:pt x="1001" y="57"/>
                  <a:pt x="1001" y="57"/>
                </a:cubicBezTo>
                <a:close/>
                <a:moveTo>
                  <a:pt x="965" y="42"/>
                </a:moveTo>
                <a:cubicBezTo>
                  <a:pt x="966" y="42"/>
                  <a:pt x="966" y="43"/>
                  <a:pt x="966" y="43"/>
                </a:cubicBezTo>
                <a:cubicBezTo>
                  <a:pt x="966" y="43"/>
                  <a:pt x="966" y="43"/>
                  <a:pt x="966" y="43"/>
                </a:cubicBezTo>
                <a:cubicBezTo>
                  <a:pt x="966" y="43"/>
                  <a:pt x="966" y="43"/>
                  <a:pt x="966" y="43"/>
                </a:cubicBezTo>
                <a:cubicBezTo>
                  <a:pt x="966" y="43"/>
                  <a:pt x="967" y="43"/>
                  <a:pt x="967" y="43"/>
                </a:cubicBezTo>
                <a:cubicBezTo>
                  <a:pt x="967" y="43"/>
                  <a:pt x="967" y="44"/>
                  <a:pt x="967" y="44"/>
                </a:cubicBezTo>
                <a:cubicBezTo>
                  <a:pt x="967" y="44"/>
                  <a:pt x="966" y="44"/>
                  <a:pt x="966" y="44"/>
                </a:cubicBezTo>
                <a:cubicBezTo>
                  <a:pt x="966" y="44"/>
                  <a:pt x="966" y="45"/>
                  <a:pt x="966" y="45"/>
                </a:cubicBezTo>
                <a:cubicBezTo>
                  <a:pt x="966" y="45"/>
                  <a:pt x="966" y="45"/>
                  <a:pt x="967" y="46"/>
                </a:cubicBezTo>
                <a:cubicBezTo>
                  <a:pt x="967" y="46"/>
                  <a:pt x="967" y="46"/>
                  <a:pt x="968" y="46"/>
                </a:cubicBezTo>
                <a:cubicBezTo>
                  <a:pt x="968" y="46"/>
                  <a:pt x="968" y="46"/>
                  <a:pt x="969" y="47"/>
                </a:cubicBezTo>
                <a:cubicBezTo>
                  <a:pt x="969" y="47"/>
                  <a:pt x="970" y="47"/>
                  <a:pt x="970" y="47"/>
                </a:cubicBezTo>
                <a:cubicBezTo>
                  <a:pt x="971" y="47"/>
                  <a:pt x="971" y="46"/>
                  <a:pt x="971" y="46"/>
                </a:cubicBezTo>
                <a:cubicBezTo>
                  <a:pt x="971" y="46"/>
                  <a:pt x="972" y="47"/>
                  <a:pt x="972" y="47"/>
                </a:cubicBezTo>
                <a:cubicBezTo>
                  <a:pt x="972" y="47"/>
                  <a:pt x="972" y="47"/>
                  <a:pt x="972" y="47"/>
                </a:cubicBezTo>
                <a:cubicBezTo>
                  <a:pt x="973" y="46"/>
                  <a:pt x="973" y="46"/>
                  <a:pt x="974" y="46"/>
                </a:cubicBezTo>
                <a:cubicBezTo>
                  <a:pt x="974" y="46"/>
                  <a:pt x="974" y="46"/>
                  <a:pt x="975" y="46"/>
                </a:cubicBezTo>
                <a:cubicBezTo>
                  <a:pt x="975" y="46"/>
                  <a:pt x="976" y="46"/>
                  <a:pt x="977" y="46"/>
                </a:cubicBezTo>
                <a:cubicBezTo>
                  <a:pt x="977" y="46"/>
                  <a:pt x="978" y="46"/>
                  <a:pt x="978" y="46"/>
                </a:cubicBezTo>
                <a:cubicBezTo>
                  <a:pt x="979" y="46"/>
                  <a:pt x="979" y="46"/>
                  <a:pt x="979" y="46"/>
                </a:cubicBezTo>
                <a:cubicBezTo>
                  <a:pt x="980" y="46"/>
                  <a:pt x="980" y="46"/>
                  <a:pt x="980" y="45"/>
                </a:cubicBezTo>
                <a:cubicBezTo>
                  <a:pt x="980" y="46"/>
                  <a:pt x="980" y="46"/>
                  <a:pt x="980" y="46"/>
                </a:cubicBezTo>
                <a:cubicBezTo>
                  <a:pt x="980" y="46"/>
                  <a:pt x="980" y="46"/>
                  <a:pt x="981" y="46"/>
                </a:cubicBezTo>
                <a:cubicBezTo>
                  <a:pt x="980" y="46"/>
                  <a:pt x="980" y="46"/>
                  <a:pt x="980" y="46"/>
                </a:cubicBezTo>
                <a:cubicBezTo>
                  <a:pt x="980" y="46"/>
                  <a:pt x="980" y="47"/>
                  <a:pt x="980" y="47"/>
                </a:cubicBezTo>
                <a:cubicBezTo>
                  <a:pt x="979" y="47"/>
                  <a:pt x="979" y="47"/>
                  <a:pt x="979" y="47"/>
                </a:cubicBezTo>
                <a:cubicBezTo>
                  <a:pt x="979" y="47"/>
                  <a:pt x="978" y="47"/>
                  <a:pt x="978" y="47"/>
                </a:cubicBezTo>
                <a:cubicBezTo>
                  <a:pt x="977" y="47"/>
                  <a:pt x="977" y="47"/>
                  <a:pt x="976" y="47"/>
                </a:cubicBezTo>
                <a:cubicBezTo>
                  <a:pt x="976" y="47"/>
                  <a:pt x="976" y="47"/>
                  <a:pt x="975" y="47"/>
                </a:cubicBezTo>
                <a:cubicBezTo>
                  <a:pt x="975" y="47"/>
                  <a:pt x="975" y="47"/>
                  <a:pt x="975" y="47"/>
                </a:cubicBezTo>
                <a:cubicBezTo>
                  <a:pt x="975" y="47"/>
                  <a:pt x="975" y="47"/>
                  <a:pt x="975" y="47"/>
                </a:cubicBezTo>
                <a:cubicBezTo>
                  <a:pt x="976" y="47"/>
                  <a:pt x="977" y="47"/>
                  <a:pt x="977" y="47"/>
                </a:cubicBezTo>
                <a:cubicBezTo>
                  <a:pt x="977" y="47"/>
                  <a:pt x="978" y="48"/>
                  <a:pt x="978" y="48"/>
                </a:cubicBezTo>
                <a:cubicBezTo>
                  <a:pt x="978" y="48"/>
                  <a:pt x="978" y="48"/>
                  <a:pt x="978" y="48"/>
                </a:cubicBezTo>
                <a:cubicBezTo>
                  <a:pt x="978" y="48"/>
                  <a:pt x="977" y="48"/>
                  <a:pt x="977" y="48"/>
                </a:cubicBezTo>
                <a:cubicBezTo>
                  <a:pt x="977" y="48"/>
                  <a:pt x="976" y="48"/>
                  <a:pt x="976" y="48"/>
                </a:cubicBezTo>
                <a:cubicBezTo>
                  <a:pt x="976" y="48"/>
                  <a:pt x="976" y="48"/>
                  <a:pt x="976" y="48"/>
                </a:cubicBezTo>
                <a:cubicBezTo>
                  <a:pt x="975" y="48"/>
                  <a:pt x="975" y="48"/>
                  <a:pt x="975" y="48"/>
                </a:cubicBezTo>
                <a:cubicBezTo>
                  <a:pt x="975" y="48"/>
                  <a:pt x="974" y="48"/>
                  <a:pt x="974" y="47"/>
                </a:cubicBezTo>
                <a:cubicBezTo>
                  <a:pt x="973" y="47"/>
                  <a:pt x="973" y="47"/>
                  <a:pt x="973" y="47"/>
                </a:cubicBezTo>
                <a:cubicBezTo>
                  <a:pt x="972" y="47"/>
                  <a:pt x="972" y="47"/>
                  <a:pt x="971" y="48"/>
                </a:cubicBezTo>
                <a:cubicBezTo>
                  <a:pt x="971" y="48"/>
                  <a:pt x="971" y="48"/>
                  <a:pt x="971" y="48"/>
                </a:cubicBezTo>
                <a:cubicBezTo>
                  <a:pt x="972" y="48"/>
                  <a:pt x="972" y="48"/>
                  <a:pt x="972" y="48"/>
                </a:cubicBezTo>
                <a:cubicBezTo>
                  <a:pt x="973" y="49"/>
                  <a:pt x="973" y="49"/>
                  <a:pt x="974" y="49"/>
                </a:cubicBezTo>
                <a:cubicBezTo>
                  <a:pt x="974" y="49"/>
                  <a:pt x="975" y="49"/>
                  <a:pt x="975" y="49"/>
                </a:cubicBezTo>
                <a:cubicBezTo>
                  <a:pt x="975" y="49"/>
                  <a:pt x="976" y="49"/>
                  <a:pt x="976" y="49"/>
                </a:cubicBezTo>
                <a:cubicBezTo>
                  <a:pt x="976" y="49"/>
                  <a:pt x="976" y="49"/>
                  <a:pt x="977" y="49"/>
                </a:cubicBezTo>
                <a:cubicBezTo>
                  <a:pt x="977" y="50"/>
                  <a:pt x="977" y="50"/>
                  <a:pt x="977" y="50"/>
                </a:cubicBezTo>
                <a:cubicBezTo>
                  <a:pt x="977" y="50"/>
                  <a:pt x="977" y="50"/>
                  <a:pt x="977" y="51"/>
                </a:cubicBezTo>
                <a:cubicBezTo>
                  <a:pt x="977" y="51"/>
                  <a:pt x="978" y="51"/>
                  <a:pt x="978" y="51"/>
                </a:cubicBezTo>
                <a:cubicBezTo>
                  <a:pt x="978" y="51"/>
                  <a:pt x="979" y="51"/>
                  <a:pt x="979" y="51"/>
                </a:cubicBezTo>
                <a:cubicBezTo>
                  <a:pt x="980" y="51"/>
                  <a:pt x="980" y="51"/>
                  <a:pt x="981" y="51"/>
                </a:cubicBezTo>
                <a:cubicBezTo>
                  <a:pt x="981" y="50"/>
                  <a:pt x="982" y="50"/>
                  <a:pt x="982" y="50"/>
                </a:cubicBezTo>
                <a:cubicBezTo>
                  <a:pt x="983" y="50"/>
                  <a:pt x="983" y="50"/>
                  <a:pt x="984" y="50"/>
                </a:cubicBezTo>
                <a:cubicBezTo>
                  <a:pt x="984" y="50"/>
                  <a:pt x="985" y="50"/>
                  <a:pt x="985" y="50"/>
                </a:cubicBezTo>
                <a:cubicBezTo>
                  <a:pt x="985" y="50"/>
                  <a:pt x="985" y="50"/>
                  <a:pt x="985" y="50"/>
                </a:cubicBezTo>
                <a:cubicBezTo>
                  <a:pt x="985" y="51"/>
                  <a:pt x="985" y="51"/>
                  <a:pt x="985" y="51"/>
                </a:cubicBezTo>
                <a:cubicBezTo>
                  <a:pt x="985" y="51"/>
                  <a:pt x="985" y="51"/>
                  <a:pt x="985" y="52"/>
                </a:cubicBezTo>
                <a:cubicBezTo>
                  <a:pt x="986" y="52"/>
                  <a:pt x="986" y="52"/>
                  <a:pt x="986" y="52"/>
                </a:cubicBezTo>
                <a:cubicBezTo>
                  <a:pt x="987" y="52"/>
                  <a:pt x="987" y="52"/>
                  <a:pt x="988" y="52"/>
                </a:cubicBezTo>
                <a:cubicBezTo>
                  <a:pt x="988" y="52"/>
                  <a:pt x="989" y="52"/>
                  <a:pt x="990" y="52"/>
                </a:cubicBezTo>
                <a:cubicBezTo>
                  <a:pt x="990" y="52"/>
                  <a:pt x="990" y="52"/>
                  <a:pt x="990" y="52"/>
                </a:cubicBezTo>
                <a:cubicBezTo>
                  <a:pt x="990" y="52"/>
                  <a:pt x="990" y="52"/>
                  <a:pt x="990" y="51"/>
                </a:cubicBezTo>
                <a:cubicBezTo>
                  <a:pt x="990" y="51"/>
                  <a:pt x="990" y="51"/>
                  <a:pt x="990" y="51"/>
                </a:cubicBezTo>
                <a:cubicBezTo>
                  <a:pt x="990" y="51"/>
                  <a:pt x="990" y="51"/>
                  <a:pt x="990" y="51"/>
                </a:cubicBezTo>
                <a:cubicBezTo>
                  <a:pt x="991" y="50"/>
                  <a:pt x="991" y="50"/>
                  <a:pt x="991" y="50"/>
                </a:cubicBezTo>
                <a:cubicBezTo>
                  <a:pt x="992" y="50"/>
                  <a:pt x="992" y="50"/>
                  <a:pt x="992" y="50"/>
                </a:cubicBezTo>
                <a:cubicBezTo>
                  <a:pt x="992" y="50"/>
                  <a:pt x="993" y="50"/>
                  <a:pt x="993" y="50"/>
                </a:cubicBezTo>
                <a:cubicBezTo>
                  <a:pt x="993" y="50"/>
                  <a:pt x="994" y="51"/>
                  <a:pt x="994" y="51"/>
                </a:cubicBezTo>
                <a:cubicBezTo>
                  <a:pt x="994" y="51"/>
                  <a:pt x="995" y="51"/>
                  <a:pt x="995" y="51"/>
                </a:cubicBezTo>
                <a:cubicBezTo>
                  <a:pt x="995" y="51"/>
                  <a:pt x="996" y="50"/>
                  <a:pt x="996" y="50"/>
                </a:cubicBezTo>
                <a:cubicBezTo>
                  <a:pt x="996" y="50"/>
                  <a:pt x="997" y="50"/>
                  <a:pt x="997" y="50"/>
                </a:cubicBezTo>
                <a:cubicBezTo>
                  <a:pt x="997" y="50"/>
                  <a:pt x="997" y="49"/>
                  <a:pt x="996" y="49"/>
                </a:cubicBezTo>
                <a:cubicBezTo>
                  <a:pt x="996" y="49"/>
                  <a:pt x="996" y="48"/>
                  <a:pt x="996" y="48"/>
                </a:cubicBezTo>
                <a:cubicBezTo>
                  <a:pt x="996" y="48"/>
                  <a:pt x="997" y="48"/>
                  <a:pt x="997" y="48"/>
                </a:cubicBezTo>
                <a:cubicBezTo>
                  <a:pt x="997" y="48"/>
                  <a:pt x="997" y="48"/>
                  <a:pt x="998" y="47"/>
                </a:cubicBezTo>
                <a:cubicBezTo>
                  <a:pt x="998" y="47"/>
                  <a:pt x="998" y="47"/>
                  <a:pt x="999" y="46"/>
                </a:cubicBezTo>
                <a:cubicBezTo>
                  <a:pt x="999" y="46"/>
                  <a:pt x="999" y="46"/>
                  <a:pt x="999" y="46"/>
                </a:cubicBezTo>
                <a:cubicBezTo>
                  <a:pt x="1000" y="45"/>
                  <a:pt x="1000" y="45"/>
                  <a:pt x="1001" y="45"/>
                </a:cubicBezTo>
                <a:cubicBezTo>
                  <a:pt x="1001" y="45"/>
                  <a:pt x="1001" y="44"/>
                  <a:pt x="1001" y="44"/>
                </a:cubicBezTo>
                <a:cubicBezTo>
                  <a:pt x="1001" y="44"/>
                  <a:pt x="1001" y="44"/>
                  <a:pt x="1001" y="44"/>
                </a:cubicBezTo>
                <a:cubicBezTo>
                  <a:pt x="1001" y="43"/>
                  <a:pt x="1001" y="43"/>
                  <a:pt x="1001" y="43"/>
                </a:cubicBezTo>
                <a:cubicBezTo>
                  <a:pt x="1001" y="43"/>
                  <a:pt x="1001" y="43"/>
                  <a:pt x="1001" y="43"/>
                </a:cubicBezTo>
                <a:cubicBezTo>
                  <a:pt x="1001" y="42"/>
                  <a:pt x="1001" y="42"/>
                  <a:pt x="1001" y="42"/>
                </a:cubicBezTo>
                <a:cubicBezTo>
                  <a:pt x="1001" y="42"/>
                  <a:pt x="1001" y="42"/>
                  <a:pt x="1001" y="42"/>
                </a:cubicBezTo>
                <a:cubicBezTo>
                  <a:pt x="1001" y="42"/>
                  <a:pt x="1001" y="42"/>
                  <a:pt x="1001" y="42"/>
                </a:cubicBezTo>
                <a:cubicBezTo>
                  <a:pt x="1000" y="42"/>
                  <a:pt x="1000" y="41"/>
                  <a:pt x="999" y="41"/>
                </a:cubicBezTo>
                <a:cubicBezTo>
                  <a:pt x="999" y="41"/>
                  <a:pt x="998" y="41"/>
                  <a:pt x="998" y="41"/>
                </a:cubicBezTo>
                <a:cubicBezTo>
                  <a:pt x="998" y="41"/>
                  <a:pt x="998" y="41"/>
                  <a:pt x="997" y="41"/>
                </a:cubicBezTo>
                <a:cubicBezTo>
                  <a:pt x="997" y="41"/>
                  <a:pt x="996" y="41"/>
                  <a:pt x="995" y="41"/>
                </a:cubicBezTo>
                <a:cubicBezTo>
                  <a:pt x="995" y="41"/>
                  <a:pt x="995" y="41"/>
                  <a:pt x="994" y="41"/>
                </a:cubicBezTo>
                <a:cubicBezTo>
                  <a:pt x="994" y="41"/>
                  <a:pt x="994" y="41"/>
                  <a:pt x="993" y="40"/>
                </a:cubicBezTo>
                <a:cubicBezTo>
                  <a:pt x="993" y="40"/>
                  <a:pt x="993" y="40"/>
                  <a:pt x="992" y="40"/>
                </a:cubicBezTo>
                <a:cubicBezTo>
                  <a:pt x="992" y="40"/>
                  <a:pt x="992" y="40"/>
                  <a:pt x="991" y="40"/>
                </a:cubicBezTo>
                <a:cubicBezTo>
                  <a:pt x="991" y="40"/>
                  <a:pt x="991" y="40"/>
                  <a:pt x="991" y="40"/>
                </a:cubicBezTo>
                <a:cubicBezTo>
                  <a:pt x="991" y="40"/>
                  <a:pt x="991" y="40"/>
                  <a:pt x="991" y="40"/>
                </a:cubicBezTo>
                <a:cubicBezTo>
                  <a:pt x="990" y="40"/>
                  <a:pt x="990" y="40"/>
                  <a:pt x="990" y="40"/>
                </a:cubicBezTo>
                <a:cubicBezTo>
                  <a:pt x="990" y="40"/>
                  <a:pt x="990" y="40"/>
                  <a:pt x="990" y="40"/>
                </a:cubicBezTo>
                <a:cubicBezTo>
                  <a:pt x="990" y="39"/>
                  <a:pt x="990" y="39"/>
                  <a:pt x="990" y="39"/>
                </a:cubicBezTo>
                <a:cubicBezTo>
                  <a:pt x="990" y="39"/>
                  <a:pt x="990" y="39"/>
                  <a:pt x="990" y="39"/>
                </a:cubicBezTo>
                <a:cubicBezTo>
                  <a:pt x="989" y="39"/>
                  <a:pt x="989" y="39"/>
                  <a:pt x="989" y="39"/>
                </a:cubicBezTo>
                <a:cubicBezTo>
                  <a:pt x="989" y="39"/>
                  <a:pt x="989" y="39"/>
                  <a:pt x="989" y="40"/>
                </a:cubicBezTo>
                <a:cubicBezTo>
                  <a:pt x="988" y="40"/>
                  <a:pt x="988" y="40"/>
                  <a:pt x="988" y="40"/>
                </a:cubicBezTo>
                <a:cubicBezTo>
                  <a:pt x="988" y="39"/>
                  <a:pt x="988" y="39"/>
                  <a:pt x="988" y="39"/>
                </a:cubicBezTo>
                <a:cubicBezTo>
                  <a:pt x="988" y="39"/>
                  <a:pt x="988" y="39"/>
                  <a:pt x="988" y="39"/>
                </a:cubicBezTo>
                <a:cubicBezTo>
                  <a:pt x="987" y="39"/>
                  <a:pt x="987" y="39"/>
                  <a:pt x="987" y="39"/>
                </a:cubicBezTo>
                <a:cubicBezTo>
                  <a:pt x="987" y="39"/>
                  <a:pt x="987" y="39"/>
                  <a:pt x="987" y="39"/>
                </a:cubicBezTo>
                <a:cubicBezTo>
                  <a:pt x="987" y="40"/>
                  <a:pt x="987" y="40"/>
                  <a:pt x="987" y="40"/>
                </a:cubicBezTo>
                <a:cubicBezTo>
                  <a:pt x="987" y="40"/>
                  <a:pt x="987" y="40"/>
                  <a:pt x="986" y="40"/>
                </a:cubicBezTo>
                <a:cubicBezTo>
                  <a:pt x="986" y="40"/>
                  <a:pt x="986" y="41"/>
                  <a:pt x="986" y="41"/>
                </a:cubicBezTo>
                <a:cubicBezTo>
                  <a:pt x="986" y="41"/>
                  <a:pt x="986" y="41"/>
                  <a:pt x="986" y="41"/>
                </a:cubicBezTo>
                <a:cubicBezTo>
                  <a:pt x="986" y="41"/>
                  <a:pt x="986" y="41"/>
                  <a:pt x="985" y="41"/>
                </a:cubicBezTo>
                <a:cubicBezTo>
                  <a:pt x="985" y="41"/>
                  <a:pt x="985" y="41"/>
                  <a:pt x="985" y="41"/>
                </a:cubicBezTo>
                <a:cubicBezTo>
                  <a:pt x="985" y="41"/>
                  <a:pt x="985" y="41"/>
                  <a:pt x="985" y="41"/>
                </a:cubicBezTo>
                <a:cubicBezTo>
                  <a:pt x="985" y="41"/>
                  <a:pt x="985" y="41"/>
                  <a:pt x="985" y="41"/>
                </a:cubicBezTo>
                <a:cubicBezTo>
                  <a:pt x="985" y="41"/>
                  <a:pt x="984" y="41"/>
                  <a:pt x="984" y="41"/>
                </a:cubicBezTo>
                <a:cubicBezTo>
                  <a:pt x="984" y="41"/>
                  <a:pt x="984" y="41"/>
                  <a:pt x="984" y="41"/>
                </a:cubicBezTo>
                <a:cubicBezTo>
                  <a:pt x="984" y="41"/>
                  <a:pt x="984" y="41"/>
                  <a:pt x="984" y="41"/>
                </a:cubicBezTo>
                <a:cubicBezTo>
                  <a:pt x="984" y="40"/>
                  <a:pt x="984" y="40"/>
                  <a:pt x="984" y="40"/>
                </a:cubicBezTo>
                <a:cubicBezTo>
                  <a:pt x="984" y="39"/>
                  <a:pt x="984" y="39"/>
                  <a:pt x="984" y="39"/>
                </a:cubicBezTo>
                <a:cubicBezTo>
                  <a:pt x="984" y="38"/>
                  <a:pt x="984" y="38"/>
                  <a:pt x="984" y="38"/>
                </a:cubicBezTo>
                <a:cubicBezTo>
                  <a:pt x="984" y="38"/>
                  <a:pt x="983" y="38"/>
                  <a:pt x="983" y="38"/>
                </a:cubicBezTo>
                <a:cubicBezTo>
                  <a:pt x="983" y="37"/>
                  <a:pt x="982" y="37"/>
                  <a:pt x="982" y="37"/>
                </a:cubicBezTo>
                <a:cubicBezTo>
                  <a:pt x="982" y="37"/>
                  <a:pt x="982" y="37"/>
                  <a:pt x="982" y="37"/>
                </a:cubicBezTo>
                <a:cubicBezTo>
                  <a:pt x="982" y="37"/>
                  <a:pt x="982" y="37"/>
                  <a:pt x="982" y="38"/>
                </a:cubicBezTo>
                <a:cubicBezTo>
                  <a:pt x="982" y="38"/>
                  <a:pt x="982" y="38"/>
                  <a:pt x="982" y="38"/>
                </a:cubicBezTo>
                <a:cubicBezTo>
                  <a:pt x="982" y="38"/>
                  <a:pt x="982" y="38"/>
                  <a:pt x="983" y="39"/>
                </a:cubicBezTo>
                <a:cubicBezTo>
                  <a:pt x="982" y="38"/>
                  <a:pt x="982" y="38"/>
                  <a:pt x="982" y="38"/>
                </a:cubicBezTo>
                <a:cubicBezTo>
                  <a:pt x="982" y="38"/>
                  <a:pt x="981" y="38"/>
                  <a:pt x="981" y="38"/>
                </a:cubicBezTo>
                <a:cubicBezTo>
                  <a:pt x="981" y="38"/>
                  <a:pt x="981" y="38"/>
                  <a:pt x="981" y="38"/>
                </a:cubicBezTo>
                <a:cubicBezTo>
                  <a:pt x="981" y="38"/>
                  <a:pt x="981" y="39"/>
                  <a:pt x="981" y="39"/>
                </a:cubicBezTo>
                <a:cubicBezTo>
                  <a:pt x="981" y="39"/>
                  <a:pt x="981" y="39"/>
                  <a:pt x="982" y="40"/>
                </a:cubicBezTo>
                <a:cubicBezTo>
                  <a:pt x="982" y="40"/>
                  <a:pt x="982" y="40"/>
                  <a:pt x="982" y="40"/>
                </a:cubicBezTo>
                <a:cubicBezTo>
                  <a:pt x="982" y="40"/>
                  <a:pt x="982" y="41"/>
                  <a:pt x="981" y="41"/>
                </a:cubicBezTo>
                <a:cubicBezTo>
                  <a:pt x="981" y="41"/>
                  <a:pt x="981" y="41"/>
                  <a:pt x="981" y="42"/>
                </a:cubicBezTo>
                <a:cubicBezTo>
                  <a:pt x="982" y="42"/>
                  <a:pt x="982" y="42"/>
                  <a:pt x="982" y="43"/>
                </a:cubicBezTo>
                <a:cubicBezTo>
                  <a:pt x="982" y="43"/>
                  <a:pt x="982" y="43"/>
                  <a:pt x="982" y="43"/>
                </a:cubicBezTo>
                <a:cubicBezTo>
                  <a:pt x="982" y="43"/>
                  <a:pt x="981" y="43"/>
                  <a:pt x="981" y="43"/>
                </a:cubicBezTo>
                <a:cubicBezTo>
                  <a:pt x="981" y="43"/>
                  <a:pt x="981" y="43"/>
                  <a:pt x="981" y="43"/>
                </a:cubicBezTo>
                <a:cubicBezTo>
                  <a:pt x="980" y="42"/>
                  <a:pt x="980" y="42"/>
                  <a:pt x="980" y="42"/>
                </a:cubicBezTo>
                <a:cubicBezTo>
                  <a:pt x="979" y="42"/>
                  <a:pt x="979" y="42"/>
                  <a:pt x="979" y="42"/>
                </a:cubicBezTo>
                <a:cubicBezTo>
                  <a:pt x="979" y="42"/>
                  <a:pt x="979" y="41"/>
                  <a:pt x="979" y="41"/>
                </a:cubicBezTo>
                <a:cubicBezTo>
                  <a:pt x="979" y="41"/>
                  <a:pt x="979" y="41"/>
                  <a:pt x="979" y="41"/>
                </a:cubicBezTo>
                <a:cubicBezTo>
                  <a:pt x="979" y="41"/>
                  <a:pt x="979" y="40"/>
                  <a:pt x="979" y="40"/>
                </a:cubicBezTo>
                <a:cubicBezTo>
                  <a:pt x="979" y="40"/>
                  <a:pt x="979" y="40"/>
                  <a:pt x="978" y="40"/>
                </a:cubicBezTo>
                <a:cubicBezTo>
                  <a:pt x="978" y="40"/>
                  <a:pt x="978" y="40"/>
                  <a:pt x="977" y="40"/>
                </a:cubicBezTo>
                <a:cubicBezTo>
                  <a:pt x="977" y="40"/>
                  <a:pt x="977" y="40"/>
                  <a:pt x="977" y="40"/>
                </a:cubicBezTo>
                <a:cubicBezTo>
                  <a:pt x="977" y="40"/>
                  <a:pt x="977" y="41"/>
                  <a:pt x="976" y="41"/>
                </a:cubicBezTo>
                <a:cubicBezTo>
                  <a:pt x="976" y="41"/>
                  <a:pt x="976" y="41"/>
                  <a:pt x="975" y="41"/>
                </a:cubicBezTo>
                <a:cubicBezTo>
                  <a:pt x="975" y="41"/>
                  <a:pt x="975" y="41"/>
                  <a:pt x="975" y="41"/>
                </a:cubicBezTo>
                <a:cubicBezTo>
                  <a:pt x="975" y="41"/>
                  <a:pt x="975" y="41"/>
                  <a:pt x="975" y="40"/>
                </a:cubicBezTo>
                <a:cubicBezTo>
                  <a:pt x="975" y="40"/>
                  <a:pt x="975" y="40"/>
                  <a:pt x="975" y="40"/>
                </a:cubicBezTo>
                <a:cubicBezTo>
                  <a:pt x="974" y="40"/>
                  <a:pt x="974" y="40"/>
                  <a:pt x="974" y="40"/>
                </a:cubicBezTo>
                <a:cubicBezTo>
                  <a:pt x="974" y="40"/>
                  <a:pt x="973" y="40"/>
                  <a:pt x="973" y="40"/>
                </a:cubicBezTo>
                <a:cubicBezTo>
                  <a:pt x="973" y="39"/>
                  <a:pt x="973" y="39"/>
                  <a:pt x="973" y="39"/>
                </a:cubicBezTo>
                <a:cubicBezTo>
                  <a:pt x="973" y="39"/>
                  <a:pt x="972" y="39"/>
                  <a:pt x="972" y="39"/>
                </a:cubicBezTo>
                <a:cubicBezTo>
                  <a:pt x="972" y="39"/>
                  <a:pt x="972" y="39"/>
                  <a:pt x="971" y="39"/>
                </a:cubicBezTo>
                <a:cubicBezTo>
                  <a:pt x="971" y="39"/>
                  <a:pt x="971" y="39"/>
                  <a:pt x="971" y="38"/>
                </a:cubicBezTo>
                <a:cubicBezTo>
                  <a:pt x="971" y="38"/>
                  <a:pt x="971" y="38"/>
                  <a:pt x="971" y="38"/>
                </a:cubicBezTo>
                <a:cubicBezTo>
                  <a:pt x="971" y="38"/>
                  <a:pt x="971" y="37"/>
                  <a:pt x="971" y="37"/>
                </a:cubicBezTo>
                <a:cubicBezTo>
                  <a:pt x="970" y="37"/>
                  <a:pt x="970" y="37"/>
                  <a:pt x="970" y="37"/>
                </a:cubicBezTo>
                <a:cubicBezTo>
                  <a:pt x="970" y="37"/>
                  <a:pt x="970" y="37"/>
                  <a:pt x="970" y="37"/>
                </a:cubicBezTo>
                <a:cubicBezTo>
                  <a:pt x="969" y="38"/>
                  <a:pt x="969" y="38"/>
                  <a:pt x="969" y="38"/>
                </a:cubicBezTo>
                <a:cubicBezTo>
                  <a:pt x="969" y="39"/>
                  <a:pt x="969" y="39"/>
                  <a:pt x="970" y="39"/>
                </a:cubicBezTo>
                <a:cubicBezTo>
                  <a:pt x="970" y="40"/>
                  <a:pt x="970" y="40"/>
                  <a:pt x="970" y="40"/>
                </a:cubicBezTo>
                <a:cubicBezTo>
                  <a:pt x="970" y="40"/>
                  <a:pt x="970" y="41"/>
                  <a:pt x="971" y="41"/>
                </a:cubicBezTo>
                <a:cubicBezTo>
                  <a:pt x="970" y="41"/>
                  <a:pt x="970" y="41"/>
                  <a:pt x="970" y="41"/>
                </a:cubicBezTo>
                <a:cubicBezTo>
                  <a:pt x="970" y="41"/>
                  <a:pt x="970" y="41"/>
                  <a:pt x="969" y="41"/>
                </a:cubicBezTo>
                <a:cubicBezTo>
                  <a:pt x="969" y="40"/>
                  <a:pt x="969" y="40"/>
                  <a:pt x="969" y="40"/>
                </a:cubicBezTo>
                <a:cubicBezTo>
                  <a:pt x="969" y="40"/>
                  <a:pt x="969" y="40"/>
                  <a:pt x="969" y="40"/>
                </a:cubicBezTo>
                <a:cubicBezTo>
                  <a:pt x="969" y="40"/>
                  <a:pt x="969" y="40"/>
                  <a:pt x="968" y="40"/>
                </a:cubicBezTo>
                <a:cubicBezTo>
                  <a:pt x="969" y="41"/>
                  <a:pt x="969" y="41"/>
                  <a:pt x="969" y="41"/>
                </a:cubicBezTo>
                <a:cubicBezTo>
                  <a:pt x="969" y="41"/>
                  <a:pt x="969" y="42"/>
                  <a:pt x="969" y="42"/>
                </a:cubicBezTo>
                <a:cubicBezTo>
                  <a:pt x="969" y="42"/>
                  <a:pt x="969" y="42"/>
                  <a:pt x="969" y="42"/>
                </a:cubicBezTo>
                <a:cubicBezTo>
                  <a:pt x="969" y="42"/>
                  <a:pt x="969" y="43"/>
                  <a:pt x="969" y="43"/>
                </a:cubicBezTo>
                <a:cubicBezTo>
                  <a:pt x="969" y="43"/>
                  <a:pt x="969" y="43"/>
                  <a:pt x="969" y="43"/>
                </a:cubicBezTo>
                <a:cubicBezTo>
                  <a:pt x="968" y="42"/>
                  <a:pt x="968" y="42"/>
                  <a:pt x="968" y="42"/>
                </a:cubicBezTo>
                <a:cubicBezTo>
                  <a:pt x="968" y="42"/>
                  <a:pt x="968" y="42"/>
                  <a:pt x="968" y="41"/>
                </a:cubicBezTo>
                <a:cubicBezTo>
                  <a:pt x="967" y="42"/>
                  <a:pt x="966" y="42"/>
                  <a:pt x="965" y="42"/>
                </a:cubicBezTo>
                <a:cubicBezTo>
                  <a:pt x="965" y="41"/>
                  <a:pt x="965" y="41"/>
                  <a:pt x="965" y="41"/>
                </a:cubicBezTo>
                <a:cubicBezTo>
                  <a:pt x="964" y="41"/>
                  <a:pt x="964" y="41"/>
                  <a:pt x="964" y="42"/>
                </a:cubicBezTo>
                <a:cubicBezTo>
                  <a:pt x="964" y="42"/>
                  <a:pt x="964" y="42"/>
                  <a:pt x="965" y="42"/>
                </a:cubicBezTo>
                <a:cubicBezTo>
                  <a:pt x="965" y="42"/>
                  <a:pt x="965" y="42"/>
                  <a:pt x="965" y="42"/>
                </a:cubicBezTo>
                <a:close/>
                <a:moveTo>
                  <a:pt x="985" y="59"/>
                </a:moveTo>
                <a:cubicBezTo>
                  <a:pt x="985" y="59"/>
                  <a:pt x="986" y="59"/>
                  <a:pt x="986" y="59"/>
                </a:cubicBezTo>
                <a:cubicBezTo>
                  <a:pt x="986" y="59"/>
                  <a:pt x="985" y="58"/>
                  <a:pt x="985" y="58"/>
                </a:cubicBezTo>
                <a:cubicBezTo>
                  <a:pt x="985" y="58"/>
                  <a:pt x="985" y="58"/>
                  <a:pt x="984" y="58"/>
                </a:cubicBezTo>
                <a:cubicBezTo>
                  <a:pt x="984" y="58"/>
                  <a:pt x="984" y="58"/>
                  <a:pt x="984" y="58"/>
                </a:cubicBezTo>
                <a:cubicBezTo>
                  <a:pt x="984" y="58"/>
                  <a:pt x="984" y="58"/>
                  <a:pt x="983" y="57"/>
                </a:cubicBezTo>
                <a:cubicBezTo>
                  <a:pt x="983" y="58"/>
                  <a:pt x="983" y="58"/>
                  <a:pt x="983" y="58"/>
                </a:cubicBezTo>
                <a:cubicBezTo>
                  <a:pt x="982" y="58"/>
                  <a:pt x="982" y="58"/>
                  <a:pt x="981" y="58"/>
                </a:cubicBezTo>
                <a:cubicBezTo>
                  <a:pt x="981" y="58"/>
                  <a:pt x="981" y="58"/>
                  <a:pt x="981" y="58"/>
                </a:cubicBezTo>
                <a:cubicBezTo>
                  <a:pt x="981" y="58"/>
                  <a:pt x="981" y="58"/>
                  <a:pt x="980" y="58"/>
                </a:cubicBezTo>
                <a:cubicBezTo>
                  <a:pt x="980" y="58"/>
                  <a:pt x="980" y="58"/>
                  <a:pt x="980" y="58"/>
                </a:cubicBezTo>
                <a:cubicBezTo>
                  <a:pt x="980" y="58"/>
                  <a:pt x="979" y="58"/>
                  <a:pt x="979" y="58"/>
                </a:cubicBezTo>
                <a:cubicBezTo>
                  <a:pt x="979" y="59"/>
                  <a:pt x="979" y="59"/>
                  <a:pt x="979" y="59"/>
                </a:cubicBezTo>
                <a:cubicBezTo>
                  <a:pt x="979" y="59"/>
                  <a:pt x="978" y="59"/>
                  <a:pt x="978" y="59"/>
                </a:cubicBezTo>
                <a:cubicBezTo>
                  <a:pt x="978" y="59"/>
                  <a:pt x="978" y="59"/>
                  <a:pt x="977" y="59"/>
                </a:cubicBezTo>
                <a:cubicBezTo>
                  <a:pt x="977" y="59"/>
                  <a:pt x="977" y="59"/>
                  <a:pt x="976" y="59"/>
                </a:cubicBezTo>
                <a:cubicBezTo>
                  <a:pt x="977" y="60"/>
                  <a:pt x="977" y="60"/>
                  <a:pt x="977" y="60"/>
                </a:cubicBezTo>
                <a:cubicBezTo>
                  <a:pt x="978" y="60"/>
                  <a:pt x="978" y="60"/>
                  <a:pt x="979" y="60"/>
                </a:cubicBezTo>
                <a:cubicBezTo>
                  <a:pt x="979" y="60"/>
                  <a:pt x="979" y="60"/>
                  <a:pt x="979" y="60"/>
                </a:cubicBezTo>
                <a:cubicBezTo>
                  <a:pt x="979" y="61"/>
                  <a:pt x="979" y="61"/>
                  <a:pt x="980" y="61"/>
                </a:cubicBezTo>
                <a:cubicBezTo>
                  <a:pt x="980" y="61"/>
                  <a:pt x="979" y="61"/>
                  <a:pt x="979" y="61"/>
                </a:cubicBezTo>
                <a:cubicBezTo>
                  <a:pt x="980" y="61"/>
                  <a:pt x="980" y="61"/>
                  <a:pt x="980" y="61"/>
                </a:cubicBezTo>
                <a:cubicBezTo>
                  <a:pt x="980" y="62"/>
                  <a:pt x="980" y="62"/>
                  <a:pt x="979" y="62"/>
                </a:cubicBezTo>
                <a:cubicBezTo>
                  <a:pt x="980" y="62"/>
                  <a:pt x="980" y="62"/>
                  <a:pt x="980" y="62"/>
                </a:cubicBezTo>
                <a:cubicBezTo>
                  <a:pt x="980" y="62"/>
                  <a:pt x="981" y="62"/>
                  <a:pt x="981" y="62"/>
                </a:cubicBezTo>
                <a:cubicBezTo>
                  <a:pt x="981" y="62"/>
                  <a:pt x="981" y="62"/>
                  <a:pt x="981" y="62"/>
                </a:cubicBezTo>
                <a:cubicBezTo>
                  <a:pt x="982" y="62"/>
                  <a:pt x="982" y="61"/>
                  <a:pt x="983" y="61"/>
                </a:cubicBezTo>
                <a:cubicBezTo>
                  <a:pt x="983" y="61"/>
                  <a:pt x="983" y="61"/>
                  <a:pt x="984" y="61"/>
                </a:cubicBezTo>
                <a:cubicBezTo>
                  <a:pt x="984" y="61"/>
                  <a:pt x="984" y="61"/>
                  <a:pt x="985" y="61"/>
                </a:cubicBezTo>
                <a:cubicBezTo>
                  <a:pt x="984" y="61"/>
                  <a:pt x="984" y="61"/>
                  <a:pt x="984" y="61"/>
                </a:cubicBezTo>
                <a:cubicBezTo>
                  <a:pt x="984" y="60"/>
                  <a:pt x="984" y="60"/>
                  <a:pt x="985" y="60"/>
                </a:cubicBezTo>
                <a:cubicBezTo>
                  <a:pt x="985" y="60"/>
                  <a:pt x="985" y="59"/>
                  <a:pt x="985" y="59"/>
                </a:cubicBezTo>
                <a:close/>
                <a:moveTo>
                  <a:pt x="993" y="68"/>
                </a:moveTo>
                <a:cubicBezTo>
                  <a:pt x="993" y="68"/>
                  <a:pt x="993" y="68"/>
                  <a:pt x="993" y="67"/>
                </a:cubicBezTo>
                <a:cubicBezTo>
                  <a:pt x="994" y="67"/>
                  <a:pt x="994" y="67"/>
                  <a:pt x="994" y="66"/>
                </a:cubicBezTo>
                <a:cubicBezTo>
                  <a:pt x="995" y="66"/>
                  <a:pt x="995" y="66"/>
                  <a:pt x="996" y="66"/>
                </a:cubicBezTo>
                <a:cubicBezTo>
                  <a:pt x="996" y="66"/>
                  <a:pt x="996" y="66"/>
                  <a:pt x="996" y="66"/>
                </a:cubicBezTo>
                <a:cubicBezTo>
                  <a:pt x="996" y="66"/>
                  <a:pt x="995" y="66"/>
                  <a:pt x="995" y="66"/>
                </a:cubicBezTo>
                <a:cubicBezTo>
                  <a:pt x="995" y="65"/>
                  <a:pt x="995" y="65"/>
                  <a:pt x="995" y="65"/>
                </a:cubicBezTo>
                <a:cubicBezTo>
                  <a:pt x="994" y="65"/>
                  <a:pt x="994" y="65"/>
                  <a:pt x="994" y="65"/>
                </a:cubicBezTo>
                <a:cubicBezTo>
                  <a:pt x="993" y="65"/>
                  <a:pt x="993" y="65"/>
                  <a:pt x="992" y="65"/>
                </a:cubicBezTo>
                <a:cubicBezTo>
                  <a:pt x="992" y="65"/>
                  <a:pt x="992" y="66"/>
                  <a:pt x="991" y="66"/>
                </a:cubicBezTo>
                <a:cubicBezTo>
                  <a:pt x="991" y="65"/>
                  <a:pt x="990" y="65"/>
                  <a:pt x="990" y="65"/>
                </a:cubicBezTo>
                <a:cubicBezTo>
                  <a:pt x="990" y="65"/>
                  <a:pt x="989" y="64"/>
                  <a:pt x="989" y="64"/>
                </a:cubicBezTo>
                <a:cubicBezTo>
                  <a:pt x="989" y="64"/>
                  <a:pt x="988" y="64"/>
                  <a:pt x="988" y="63"/>
                </a:cubicBezTo>
                <a:cubicBezTo>
                  <a:pt x="988" y="63"/>
                  <a:pt x="989" y="63"/>
                  <a:pt x="989" y="63"/>
                </a:cubicBezTo>
                <a:cubicBezTo>
                  <a:pt x="989" y="63"/>
                  <a:pt x="989" y="63"/>
                  <a:pt x="990" y="63"/>
                </a:cubicBezTo>
                <a:cubicBezTo>
                  <a:pt x="990" y="63"/>
                  <a:pt x="990" y="63"/>
                  <a:pt x="990" y="62"/>
                </a:cubicBezTo>
                <a:cubicBezTo>
                  <a:pt x="989" y="62"/>
                  <a:pt x="989" y="62"/>
                  <a:pt x="989" y="61"/>
                </a:cubicBezTo>
                <a:cubicBezTo>
                  <a:pt x="989" y="61"/>
                  <a:pt x="989" y="61"/>
                  <a:pt x="988" y="61"/>
                </a:cubicBezTo>
                <a:cubicBezTo>
                  <a:pt x="988" y="61"/>
                  <a:pt x="987" y="61"/>
                  <a:pt x="987" y="61"/>
                </a:cubicBezTo>
                <a:cubicBezTo>
                  <a:pt x="986" y="62"/>
                  <a:pt x="986" y="62"/>
                  <a:pt x="985" y="62"/>
                </a:cubicBezTo>
                <a:cubicBezTo>
                  <a:pt x="985" y="62"/>
                  <a:pt x="984" y="62"/>
                  <a:pt x="984" y="62"/>
                </a:cubicBezTo>
                <a:cubicBezTo>
                  <a:pt x="983" y="62"/>
                  <a:pt x="982" y="62"/>
                  <a:pt x="981" y="62"/>
                </a:cubicBezTo>
                <a:cubicBezTo>
                  <a:pt x="981" y="63"/>
                  <a:pt x="981" y="63"/>
                  <a:pt x="980" y="63"/>
                </a:cubicBezTo>
                <a:cubicBezTo>
                  <a:pt x="980" y="63"/>
                  <a:pt x="980" y="63"/>
                  <a:pt x="980" y="64"/>
                </a:cubicBezTo>
                <a:cubicBezTo>
                  <a:pt x="980" y="64"/>
                  <a:pt x="980" y="64"/>
                  <a:pt x="981" y="64"/>
                </a:cubicBezTo>
                <a:cubicBezTo>
                  <a:pt x="981" y="64"/>
                  <a:pt x="981" y="65"/>
                  <a:pt x="982" y="65"/>
                </a:cubicBezTo>
                <a:cubicBezTo>
                  <a:pt x="982" y="65"/>
                  <a:pt x="982" y="65"/>
                  <a:pt x="983" y="65"/>
                </a:cubicBezTo>
                <a:cubicBezTo>
                  <a:pt x="983" y="65"/>
                  <a:pt x="983" y="65"/>
                  <a:pt x="983" y="65"/>
                </a:cubicBezTo>
                <a:cubicBezTo>
                  <a:pt x="983" y="65"/>
                  <a:pt x="983" y="65"/>
                  <a:pt x="983" y="66"/>
                </a:cubicBezTo>
                <a:cubicBezTo>
                  <a:pt x="983" y="66"/>
                  <a:pt x="983" y="66"/>
                  <a:pt x="983" y="66"/>
                </a:cubicBezTo>
                <a:cubicBezTo>
                  <a:pt x="982" y="67"/>
                  <a:pt x="982" y="67"/>
                  <a:pt x="982" y="67"/>
                </a:cubicBezTo>
                <a:cubicBezTo>
                  <a:pt x="982" y="68"/>
                  <a:pt x="982" y="68"/>
                  <a:pt x="981" y="68"/>
                </a:cubicBezTo>
                <a:cubicBezTo>
                  <a:pt x="981" y="68"/>
                  <a:pt x="981" y="69"/>
                  <a:pt x="981" y="69"/>
                </a:cubicBezTo>
                <a:cubicBezTo>
                  <a:pt x="981" y="69"/>
                  <a:pt x="981" y="69"/>
                  <a:pt x="981" y="69"/>
                </a:cubicBezTo>
                <a:cubicBezTo>
                  <a:pt x="981" y="70"/>
                  <a:pt x="980" y="70"/>
                  <a:pt x="980" y="70"/>
                </a:cubicBezTo>
                <a:cubicBezTo>
                  <a:pt x="980" y="70"/>
                  <a:pt x="980" y="70"/>
                  <a:pt x="980" y="70"/>
                </a:cubicBezTo>
                <a:cubicBezTo>
                  <a:pt x="981" y="70"/>
                  <a:pt x="981" y="70"/>
                  <a:pt x="981" y="70"/>
                </a:cubicBezTo>
                <a:cubicBezTo>
                  <a:pt x="981" y="70"/>
                  <a:pt x="982" y="70"/>
                  <a:pt x="982" y="70"/>
                </a:cubicBezTo>
                <a:cubicBezTo>
                  <a:pt x="982" y="70"/>
                  <a:pt x="983" y="70"/>
                  <a:pt x="983" y="70"/>
                </a:cubicBezTo>
                <a:cubicBezTo>
                  <a:pt x="983" y="70"/>
                  <a:pt x="984" y="70"/>
                  <a:pt x="984" y="69"/>
                </a:cubicBezTo>
                <a:cubicBezTo>
                  <a:pt x="985" y="69"/>
                  <a:pt x="985" y="69"/>
                  <a:pt x="985" y="69"/>
                </a:cubicBezTo>
                <a:cubicBezTo>
                  <a:pt x="985" y="69"/>
                  <a:pt x="986" y="69"/>
                  <a:pt x="986" y="69"/>
                </a:cubicBezTo>
                <a:cubicBezTo>
                  <a:pt x="986" y="69"/>
                  <a:pt x="986" y="68"/>
                  <a:pt x="987" y="68"/>
                </a:cubicBezTo>
                <a:cubicBezTo>
                  <a:pt x="987" y="68"/>
                  <a:pt x="987" y="68"/>
                  <a:pt x="987" y="68"/>
                </a:cubicBezTo>
                <a:cubicBezTo>
                  <a:pt x="988" y="68"/>
                  <a:pt x="988" y="68"/>
                  <a:pt x="988" y="68"/>
                </a:cubicBezTo>
                <a:cubicBezTo>
                  <a:pt x="988" y="68"/>
                  <a:pt x="988" y="68"/>
                  <a:pt x="989" y="68"/>
                </a:cubicBezTo>
                <a:cubicBezTo>
                  <a:pt x="989" y="68"/>
                  <a:pt x="989" y="68"/>
                  <a:pt x="989" y="69"/>
                </a:cubicBezTo>
                <a:cubicBezTo>
                  <a:pt x="988" y="69"/>
                  <a:pt x="988" y="69"/>
                  <a:pt x="988" y="70"/>
                </a:cubicBezTo>
                <a:cubicBezTo>
                  <a:pt x="988" y="70"/>
                  <a:pt x="988" y="70"/>
                  <a:pt x="988" y="71"/>
                </a:cubicBezTo>
                <a:cubicBezTo>
                  <a:pt x="988" y="71"/>
                  <a:pt x="988" y="71"/>
                  <a:pt x="988" y="71"/>
                </a:cubicBezTo>
                <a:cubicBezTo>
                  <a:pt x="988" y="71"/>
                  <a:pt x="988" y="71"/>
                  <a:pt x="988" y="72"/>
                </a:cubicBezTo>
                <a:cubicBezTo>
                  <a:pt x="988" y="72"/>
                  <a:pt x="988" y="72"/>
                  <a:pt x="989" y="72"/>
                </a:cubicBezTo>
                <a:cubicBezTo>
                  <a:pt x="989" y="72"/>
                  <a:pt x="989" y="71"/>
                  <a:pt x="990" y="71"/>
                </a:cubicBezTo>
                <a:cubicBezTo>
                  <a:pt x="990" y="71"/>
                  <a:pt x="990" y="71"/>
                  <a:pt x="990" y="71"/>
                </a:cubicBezTo>
                <a:cubicBezTo>
                  <a:pt x="990" y="71"/>
                  <a:pt x="990" y="70"/>
                  <a:pt x="990" y="70"/>
                </a:cubicBezTo>
                <a:cubicBezTo>
                  <a:pt x="991" y="70"/>
                  <a:pt x="991" y="70"/>
                  <a:pt x="991" y="70"/>
                </a:cubicBezTo>
                <a:cubicBezTo>
                  <a:pt x="992" y="70"/>
                  <a:pt x="992" y="70"/>
                  <a:pt x="992" y="70"/>
                </a:cubicBezTo>
                <a:cubicBezTo>
                  <a:pt x="993" y="69"/>
                  <a:pt x="993" y="69"/>
                  <a:pt x="993" y="68"/>
                </a:cubicBezTo>
                <a:close/>
                <a:moveTo>
                  <a:pt x="974" y="36"/>
                </a:moveTo>
                <a:cubicBezTo>
                  <a:pt x="975" y="36"/>
                  <a:pt x="975" y="36"/>
                  <a:pt x="975" y="36"/>
                </a:cubicBezTo>
                <a:cubicBezTo>
                  <a:pt x="975" y="36"/>
                  <a:pt x="975" y="36"/>
                  <a:pt x="976" y="36"/>
                </a:cubicBezTo>
                <a:cubicBezTo>
                  <a:pt x="976" y="35"/>
                  <a:pt x="976" y="35"/>
                  <a:pt x="976" y="35"/>
                </a:cubicBezTo>
                <a:cubicBezTo>
                  <a:pt x="976" y="35"/>
                  <a:pt x="976" y="35"/>
                  <a:pt x="976" y="35"/>
                </a:cubicBezTo>
                <a:cubicBezTo>
                  <a:pt x="975" y="35"/>
                  <a:pt x="975" y="35"/>
                  <a:pt x="974" y="35"/>
                </a:cubicBezTo>
                <a:cubicBezTo>
                  <a:pt x="974" y="35"/>
                  <a:pt x="974" y="35"/>
                  <a:pt x="973" y="34"/>
                </a:cubicBezTo>
                <a:cubicBezTo>
                  <a:pt x="973" y="34"/>
                  <a:pt x="972" y="34"/>
                  <a:pt x="972" y="34"/>
                </a:cubicBezTo>
                <a:cubicBezTo>
                  <a:pt x="972" y="34"/>
                  <a:pt x="972" y="34"/>
                  <a:pt x="972" y="34"/>
                </a:cubicBezTo>
                <a:cubicBezTo>
                  <a:pt x="972" y="35"/>
                  <a:pt x="972" y="35"/>
                  <a:pt x="972" y="35"/>
                </a:cubicBezTo>
                <a:cubicBezTo>
                  <a:pt x="973" y="35"/>
                  <a:pt x="974" y="35"/>
                  <a:pt x="974" y="36"/>
                </a:cubicBezTo>
                <a:close/>
                <a:moveTo>
                  <a:pt x="979" y="97"/>
                </a:moveTo>
                <a:cubicBezTo>
                  <a:pt x="979" y="97"/>
                  <a:pt x="979" y="97"/>
                  <a:pt x="978" y="96"/>
                </a:cubicBezTo>
                <a:cubicBezTo>
                  <a:pt x="978" y="96"/>
                  <a:pt x="978" y="96"/>
                  <a:pt x="977" y="96"/>
                </a:cubicBezTo>
                <a:cubicBezTo>
                  <a:pt x="977" y="97"/>
                  <a:pt x="977" y="97"/>
                  <a:pt x="977" y="97"/>
                </a:cubicBezTo>
                <a:cubicBezTo>
                  <a:pt x="977" y="97"/>
                  <a:pt x="977" y="97"/>
                  <a:pt x="977" y="97"/>
                </a:cubicBezTo>
                <a:cubicBezTo>
                  <a:pt x="977" y="98"/>
                  <a:pt x="978" y="98"/>
                  <a:pt x="978" y="98"/>
                </a:cubicBezTo>
                <a:cubicBezTo>
                  <a:pt x="978" y="98"/>
                  <a:pt x="978" y="98"/>
                  <a:pt x="978" y="98"/>
                </a:cubicBezTo>
                <a:cubicBezTo>
                  <a:pt x="978" y="98"/>
                  <a:pt x="978" y="98"/>
                  <a:pt x="978" y="98"/>
                </a:cubicBezTo>
                <a:cubicBezTo>
                  <a:pt x="979" y="98"/>
                  <a:pt x="979" y="98"/>
                  <a:pt x="979" y="98"/>
                </a:cubicBezTo>
                <a:cubicBezTo>
                  <a:pt x="979" y="98"/>
                  <a:pt x="979" y="97"/>
                  <a:pt x="979" y="97"/>
                </a:cubicBezTo>
                <a:close/>
                <a:moveTo>
                  <a:pt x="975" y="53"/>
                </a:moveTo>
                <a:cubicBezTo>
                  <a:pt x="975" y="53"/>
                  <a:pt x="974" y="53"/>
                  <a:pt x="974" y="53"/>
                </a:cubicBezTo>
                <a:cubicBezTo>
                  <a:pt x="974" y="53"/>
                  <a:pt x="974" y="53"/>
                  <a:pt x="974" y="53"/>
                </a:cubicBezTo>
                <a:cubicBezTo>
                  <a:pt x="974" y="53"/>
                  <a:pt x="975" y="53"/>
                  <a:pt x="975" y="54"/>
                </a:cubicBezTo>
                <a:cubicBezTo>
                  <a:pt x="975" y="54"/>
                  <a:pt x="975" y="54"/>
                  <a:pt x="975" y="54"/>
                </a:cubicBezTo>
                <a:cubicBezTo>
                  <a:pt x="976" y="54"/>
                  <a:pt x="976" y="54"/>
                  <a:pt x="976" y="54"/>
                </a:cubicBezTo>
                <a:cubicBezTo>
                  <a:pt x="977" y="54"/>
                  <a:pt x="977" y="54"/>
                  <a:pt x="978" y="54"/>
                </a:cubicBezTo>
                <a:cubicBezTo>
                  <a:pt x="978" y="54"/>
                  <a:pt x="978" y="54"/>
                  <a:pt x="978" y="53"/>
                </a:cubicBezTo>
                <a:cubicBezTo>
                  <a:pt x="977" y="53"/>
                  <a:pt x="977" y="53"/>
                  <a:pt x="977" y="53"/>
                </a:cubicBezTo>
                <a:cubicBezTo>
                  <a:pt x="976" y="53"/>
                  <a:pt x="975" y="53"/>
                  <a:pt x="975" y="53"/>
                </a:cubicBezTo>
                <a:close/>
                <a:moveTo>
                  <a:pt x="1003" y="42"/>
                </a:moveTo>
                <a:cubicBezTo>
                  <a:pt x="1003" y="42"/>
                  <a:pt x="1003" y="41"/>
                  <a:pt x="1003" y="41"/>
                </a:cubicBezTo>
                <a:cubicBezTo>
                  <a:pt x="1003" y="41"/>
                  <a:pt x="1003" y="41"/>
                  <a:pt x="1003" y="41"/>
                </a:cubicBezTo>
                <a:cubicBezTo>
                  <a:pt x="1003" y="41"/>
                  <a:pt x="1003" y="41"/>
                  <a:pt x="1002" y="40"/>
                </a:cubicBezTo>
                <a:cubicBezTo>
                  <a:pt x="1002" y="40"/>
                  <a:pt x="1002" y="41"/>
                  <a:pt x="1002" y="41"/>
                </a:cubicBezTo>
                <a:cubicBezTo>
                  <a:pt x="1002" y="41"/>
                  <a:pt x="1002" y="41"/>
                  <a:pt x="1002" y="41"/>
                </a:cubicBezTo>
                <a:cubicBezTo>
                  <a:pt x="1002" y="41"/>
                  <a:pt x="1002" y="41"/>
                  <a:pt x="1002" y="42"/>
                </a:cubicBezTo>
                <a:cubicBezTo>
                  <a:pt x="1003" y="42"/>
                  <a:pt x="1003" y="42"/>
                  <a:pt x="1003" y="42"/>
                </a:cubicBezTo>
                <a:close/>
                <a:moveTo>
                  <a:pt x="937" y="51"/>
                </a:moveTo>
                <a:cubicBezTo>
                  <a:pt x="937" y="51"/>
                  <a:pt x="937" y="52"/>
                  <a:pt x="937" y="52"/>
                </a:cubicBezTo>
                <a:cubicBezTo>
                  <a:pt x="938" y="52"/>
                  <a:pt x="938" y="53"/>
                  <a:pt x="938" y="53"/>
                </a:cubicBezTo>
                <a:cubicBezTo>
                  <a:pt x="938" y="53"/>
                  <a:pt x="938" y="53"/>
                  <a:pt x="939" y="54"/>
                </a:cubicBezTo>
                <a:cubicBezTo>
                  <a:pt x="939" y="53"/>
                  <a:pt x="939" y="53"/>
                  <a:pt x="939" y="53"/>
                </a:cubicBezTo>
                <a:cubicBezTo>
                  <a:pt x="939" y="53"/>
                  <a:pt x="940" y="53"/>
                  <a:pt x="940" y="53"/>
                </a:cubicBezTo>
                <a:cubicBezTo>
                  <a:pt x="940" y="53"/>
                  <a:pt x="940" y="52"/>
                  <a:pt x="940" y="52"/>
                </a:cubicBezTo>
                <a:cubicBezTo>
                  <a:pt x="940" y="52"/>
                  <a:pt x="940" y="52"/>
                  <a:pt x="940" y="51"/>
                </a:cubicBezTo>
                <a:cubicBezTo>
                  <a:pt x="940" y="51"/>
                  <a:pt x="940" y="51"/>
                  <a:pt x="940" y="51"/>
                </a:cubicBezTo>
                <a:cubicBezTo>
                  <a:pt x="941" y="51"/>
                  <a:pt x="941" y="52"/>
                  <a:pt x="941" y="52"/>
                </a:cubicBezTo>
                <a:cubicBezTo>
                  <a:pt x="941" y="52"/>
                  <a:pt x="942" y="52"/>
                  <a:pt x="942" y="51"/>
                </a:cubicBezTo>
                <a:cubicBezTo>
                  <a:pt x="942" y="52"/>
                  <a:pt x="942" y="52"/>
                  <a:pt x="942" y="52"/>
                </a:cubicBezTo>
                <a:cubicBezTo>
                  <a:pt x="942" y="52"/>
                  <a:pt x="942" y="52"/>
                  <a:pt x="942" y="52"/>
                </a:cubicBezTo>
                <a:cubicBezTo>
                  <a:pt x="941" y="53"/>
                  <a:pt x="941" y="53"/>
                  <a:pt x="941" y="53"/>
                </a:cubicBezTo>
                <a:cubicBezTo>
                  <a:pt x="941" y="53"/>
                  <a:pt x="941" y="53"/>
                  <a:pt x="941" y="53"/>
                </a:cubicBezTo>
                <a:cubicBezTo>
                  <a:pt x="941" y="54"/>
                  <a:pt x="941" y="54"/>
                  <a:pt x="941" y="54"/>
                </a:cubicBezTo>
                <a:cubicBezTo>
                  <a:pt x="941" y="54"/>
                  <a:pt x="942" y="54"/>
                  <a:pt x="942" y="54"/>
                </a:cubicBezTo>
                <a:cubicBezTo>
                  <a:pt x="942" y="54"/>
                  <a:pt x="942" y="55"/>
                  <a:pt x="942" y="55"/>
                </a:cubicBezTo>
                <a:cubicBezTo>
                  <a:pt x="942" y="55"/>
                  <a:pt x="942" y="55"/>
                  <a:pt x="943" y="55"/>
                </a:cubicBezTo>
                <a:cubicBezTo>
                  <a:pt x="943" y="55"/>
                  <a:pt x="943" y="55"/>
                  <a:pt x="943" y="55"/>
                </a:cubicBezTo>
                <a:cubicBezTo>
                  <a:pt x="943" y="55"/>
                  <a:pt x="943" y="55"/>
                  <a:pt x="944" y="55"/>
                </a:cubicBezTo>
                <a:cubicBezTo>
                  <a:pt x="944" y="55"/>
                  <a:pt x="944" y="55"/>
                  <a:pt x="944" y="56"/>
                </a:cubicBezTo>
                <a:cubicBezTo>
                  <a:pt x="943" y="56"/>
                  <a:pt x="943" y="56"/>
                  <a:pt x="943" y="56"/>
                </a:cubicBezTo>
                <a:cubicBezTo>
                  <a:pt x="942" y="56"/>
                  <a:pt x="942" y="56"/>
                  <a:pt x="942" y="56"/>
                </a:cubicBezTo>
                <a:cubicBezTo>
                  <a:pt x="942" y="56"/>
                  <a:pt x="942" y="56"/>
                  <a:pt x="942" y="56"/>
                </a:cubicBezTo>
                <a:cubicBezTo>
                  <a:pt x="942" y="56"/>
                  <a:pt x="942" y="55"/>
                  <a:pt x="942" y="55"/>
                </a:cubicBezTo>
                <a:cubicBezTo>
                  <a:pt x="941" y="55"/>
                  <a:pt x="941" y="55"/>
                  <a:pt x="940" y="55"/>
                </a:cubicBezTo>
                <a:cubicBezTo>
                  <a:pt x="940" y="55"/>
                  <a:pt x="940" y="55"/>
                  <a:pt x="940" y="55"/>
                </a:cubicBezTo>
                <a:cubicBezTo>
                  <a:pt x="940" y="55"/>
                  <a:pt x="940" y="55"/>
                  <a:pt x="940" y="55"/>
                </a:cubicBezTo>
                <a:cubicBezTo>
                  <a:pt x="940" y="55"/>
                  <a:pt x="940" y="56"/>
                  <a:pt x="940" y="56"/>
                </a:cubicBezTo>
                <a:cubicBezTo>
                  <a:pt x="941" y="56"/>
                  <a:pt x="941" y="56"/>
                  <a:pt x="941" y="56"/>
                </a:cubicBezTo>
                <a:cubicBezTo>
                  <a:pt x="942" y="56"/>
                  <a:pt x="942" y="56"/>
                  <a:pt x="942" y="57"/>
                </a:cubicBezTo>
                <a:cubicBezTo>
                  <a:pt x="942" y="57"/>
                  <a:pt x="942" y="57"/>
                  <a:pt x="942" y="57"/>
                </a:cubicBezTo>
                <a:cubicBezTo>
                  <a:pt x="942" y="57"/>
                  <a:pt x="942" y="57"/>
                  <a:pt x="941" y="57"/>
                </a:cubicBezTo>
                <a:cubicBezTo>
                  <a:pt x="942" y="57"/>
                  <a:pt x="942" y="57"/>
                  <a:pt x="942" y="58"/>
                </a:cubicBezTo>
                <a:cubicBezTo>
                  <a:pt x="942" y="58"/>
                  <a:pt x="943" y="58"/>
                  <a:pt x="943" y="58"/>
                </a:cubicBezTo>
                <a:cubicBezTo>
                  <a:pt x="943" y="58"/>
                  <a:pt x="944" y="58"/>
                  <a:pt x="944" y="58"/>
                </a:cubicBezTo>
                <a:cubicBezTo>
                  <a:pt x="944" y="58"/>
                  <a:pt x="944" y="58"/>
                  <a:pt x="944" y="59"/>
                </a:cubicBezTo>
                <a:cubicBezTo>
                  <a:pt x="944" y="59"/>
                  <a:pt x="945" y="59"/>
                  <a:pt x="945" y="59"/>
                </a:cubicBezTo>
                <a:cubicBezTo>
                  <a:pt x="945" y="59"/>
                  <a:pt x="945" y="59"/>
                  <a:pt x="946" y="59"/>
                </a:cubicBezTo>
                <a:cubicBezTo>
                  <a:pt x="946" y="59"/>
                  <a:pt x="946" y="59"/>
                  <a:pt x="946" y="59"/>
                </a:cubicBezTo>
                <a:cubicBezTo>
                  <a:pt x="947" y="59"/>
                  <a:pt x="947" y="59"/>
                  <a:pt x="947" y="59"/>
                </a:cubicBezTo>
                <a:cubicBezTo>
                  <a:pt x="946" y="59"/>
                  <a:pt x="946" y="59"/>
                  <a:pt x="946" y="59"/>
                </a:cubicBezTo>
                <a:cubicBezTo>
                  <a:pt x="946" y="59"/>
                  <a:pt x="945" y="59"/>
                  <a:pt x="945" y="59"/>
                </a:cubicBezTo>
                <a:cubicBezTo>
                  <a:pt x="945" y="60"/>
                  <a:pt x="945" y="60"/>
                  <a:pt x="945" y="60"/>
                </a:cubicBezTo>
                <a:cubicBezTo>
                  <a:pt x="945" y="60"/>
                  <a:pt x="945" y="60"/>
                  <a:pt x="945" y="61"/>
                </a:cubicBezTo>
                <a:cubicBezTo>
                  <a:pt x="946" y="61"/>
                  <a:pt x="946" y="61"/>
                  <a:pt x="946" y="61"/>
                </a:cubicBezTo>
                <a:cubicBezTo>
                  <a:pt x="946" y="61"/>
                  <a:pt x="946" y="61"/>
                  <a:pt x="947" y="61"/>
                </a:cubicBezTo>
                <a:cubicBezTo>
                  <a:pt x="947" y="61"/>
                  <a:pt x="948" y="61"/>
                  <a:pt x="948" y="62"/>
                </a:cubicBezTo>
                <a:cubicBezTo>
                  <a:pt x="948" y="62"/>
                  <a:pt x="948" y="62"/>
                  <a:pt x="949" y="62"/>
                </a:cubicBezTo>
                <a:cubicBezTo>
                  <a:pt x="948" y="62"/>
                  <a:pt x="948" y="62"/>
                  <a:pt x="948" y="63"/>
                </a:cubicBezTo>
                <a:cubicBezTo>
                  <a:pt x="948" y="63"/>
                  <a:pt x="948" y="63"/>
                  <a:pt x="948" y="63"/>
                </a:cubicBezTo>
                <a:cubicBezTo>
                  <a:pt x="948" y="63"/>
                  <a:pt x="949" y="63"/>
                  <a:pt x="949" y="63"/>
                </a:cubicBezTo>
                <a:cubicBezTo>
                  <a:pt x="950" y="63"/>
                  <a:pt x="951" y="63"/>
                  <a:pt x="951" y="63"/>
                </a:cubicBezTo>
                <a:cubicBezTo>
                  <a:pt x="952" y="63"/>
                  <a:pt x="952" y="63"/>
                  <a:pt x="952" y="62"/>
                </a:cubicBezTo>
                <a:cubicBezTo>
                  <a:pt x="952" y="62"/>
                  <a:pt x="952" y="62"/>
                  <a:pt x="952" y="62"/>
                </a:cubicBezTo>
                <a:cubicBezTo>
                  <a:pt x="952" y="62"/>
                  <a:pt x="953" y="61"/>
                  <a:pt x="953" y="61"/>
                </a:cubicBezTo>
                <a:cubicBezTo>
                  <a:pt x="953" y="61"/>
                  <a:pt x="953" y="61"/>
                  <a:pt x="954" y="61"/>
                </a:cubicBezTo>
                <a:cubicBezTo>
                  <a:pt x="954" y="61"/>
                  <a:pt x="954" y="61"/>
                  <a:pt x="954" y="61"/>
                </a:cubicBezTo>
                <a:cubicBezTo>
                  <a:pt x="954" y="61"/>
                  <a:pt x="954" y="61"/>
                  <a:pt x="954" y="61"/>
                </a:cubicBezTo>
                <a:cubicBezTo>
                  <a:pt x="954" y="60"/>
                  <a:pt x="954" y="60"/>
                  <a:pt x="954" y="60"/>
                </a:cubicBezTo>
                <a:cubicBezTo>
                  <a:pt x="954" y="60"/>
                  <a:pt x="953" y="59"/>
                  <a:pt x="953" y="59"/>
                </a:cubicBezTo>
                <a:cubicBezTo>
                  <a:pt x="953" y="59"/>
                  <a:pt x="953" y="59"/>
                  <a:pt x="953" y="58"/>
                </a:cubicBezTo>
                <a:cubicBezTo>
                  <a:pt x="953" y="58"/>
                  <a:pt x="953" y="58"/>
                  <a:pt x="953" y="58"/>
                </a:cubicBezTo>
                <a:cubicBezTo>
                  <a:pt x="953" y="58"/>
                  <a:pt x="953" y="58"/>
                  <a:pt x="953" y="57"/>
                </a:cubicBezTo>
                <a:cubicBezTo>
                  <a:pt x="953" y="57"/>
                  <a:pt x="953" y="57"/>
                  <a:pt x="954" y="57"/>
                </a:cubicBezTo>
                <a:cubicBezTo>
                  <a:pt x="954" y="57"/>
                  <a:pt x="954" y="57"/>
                  <a:pt x="954" y="57"/>
                </a:cubicBezTo>
                <a:cubicBezTo>
                  <a:pt x="954" y="58"/>
                  <a:pt x="955" y="58"/>
                  <a:pt x="955" y="58"/>
                </a:cubicBezTo>
                <a:cubicBezTo>
                  <a:pt x="955" y="58"/>
                  <a:pt x="955" y="58"/>
                  <a:pt x="955" y="58"/>
                </a:cubicBezTo>
                <a:cubicBezTo>
                  <a:pt x="955" y="58"/>
                  <a:pt x="955" y="59"/>
                  <a:pt x="955" y="59"/>
                </a:cubicBezTo>
                <a:cubicBezTo>
                  <a:pt x="955" y="58"/>
                  <a:pt x="955" y="58"/>
                  <a:pt x="955" y="58"/>
                </a:cubicBezTo>
                <a:cubicBezTo>
                  <a:pt x="956" y="58"/>
                  <a:pt x="956" y="58"/>
                  <a:pt x="956" y="58"/>
                </a:cubicBezTo>
                <a:cubicBezTo>
                  <a:pt x="956" y="57"/>
                  <a:pt x="955" y="57"/>
                  <a:pt x="955" y="57"/>
                </a:cubicBezTo>
                <a:cubicBezTo>
                  <a:pt x="956" y="56"/>
                  <a:pt x="956" y="56"/>
                  <a:pt x="956" y="56"/>
                </a:cubicBezTo>
                <a:cubicBezTo>
                  <a:pt x="956" y="56"/>
                  <a:pt x="956" y="56"/>
                  <a:pt x="956" y="56"/>
                </a:cubicBezTo>
                <a:cubicBezTo>
                  <a:pt x="956" y="56"/>
                  <a:pt x="956" y="56"/>
                  <a:pt x="957" y="56"/>
                </a:cubicBezTo>
                <a:cubicBezTo>
                  <a:pt x="957" y="57"/>
                  <a:pt x="957" y="57"/>
                  <a:pt x="957" y="57"/>
                </a:cubicBezTo>
                <a:cubicBezTo>
                  <a:pt x="957" y="58"/>
                  <a:pt x="957" y="58"/>
                  <a:pt x="957" y="58"/>
                </a:cubicBezTo>
                <a:cubicBezTo>
                  <a:pt x="957" y="58"/>
                  <a:pt x="957" y="58"/>
                  <a:pt x="957" y="58"/>
                </a:cubicBezTo>
                <a:cubicBezTo>
                  <a:pt x="957" y="58"/>
                  <a:pt x="957" y="59"/>
                  <a:pt x="956" y="59"/>
                </a:cubicBezTo>
                <a:cubicBezTo>
                  <a:pt x="956" y="59"/>
                  <a:pt x="956" y="59"/>
                  <a:pt x="956" y="59"/>
                </a:cubicBezTo>
                <a:cubicBezTo>
                  <a:pt x="956" y="59"/>
                  <a:pt x="956" y="60"/>
                  <a:pt x="957" y="60"/>
                </a:cubicBezTo>
                <a:cubicBezTo>
                  <a:pt x="957" y="60"/>
                  <a:pt x="957" y="60"/>
                  <a:pt x="957" y="60"/>
                </a:cubicBezTo>
                <a:cubicBezTo>
                  <a:pt x="957" y="60"/>
                  <a:pt x="958" y="60"/>
                  <a:pt x="958" y="60"/>
                </a:cubicBezTo>
                <a:cubicBezTo>
                  <a:pt x="959" y="60"/>
                  <a:pt x="959" y="59"/>
                  <a:pt x="960" y="59"/>
                </a:cubicBezTo>
                <a:cubicBezTo>
                  <a:pt x="960" y="59"/>
                  <a:pt x="960" y="59"/>
                  <a:pt x="960" y="58"/>
                </a:cubicBezTo>
                <a:cubicBezTo>
                  <a:pt x="960" y="58"/>
                  <a:pt x="960" y="58"/>
                  <a:pt x="960" y="57"/>
                </a:cubicBezTo>
                <a:cubicBezTo>
                  <a:pt x="960" y="57"/>
                  <a:pt x="960" y="57"/>
                  <a:pt x="960" y="57"/>
                </a:cubicBezTo>
                <a:cubicBezTo>
                  <a:pt x="961" y="57"/>
                  <a:pt x="961" y="57"/>
                  <a:pt x="961" y="57"/>
                </a:cubicBezTo>
                <a:cubicBezTo>
                  <a:pt x="961" y="57"/>
                  <a:pt x="961" y="57"/>
                  <a:pt x="962" y="58"/>
                </a:cubicBezTo>
                <a:cubicBezTo>
                  <a:pt x="962" y="58"/>
                  <a:pt x="961" y="58"/>
                  <a:pt x="961" y="59"/>
                </a:cubicBezTo>
                <a:cubicBezTo>
                  <a:pt x="961" y="59"/>
                  <a:pt x="961" y="59"/>
                  <a:pt x="961" y="59"/>
                </a:cubicBezTo>
                <a:cubicBezTo>
                  <a:pt x="961" y="59"/>
                  <a:pt x="961" y="60"/>
                  <a:pt x="961" y="60"/>
                </a:cubicBezTo>
                <a:cubicBezTo>
                  <a:pt x="961" y="60"/>
                  <a:pt x="961" y="60"/>
                  <a:pt x="962" y="60"/>
                </a:cubicBezTo>
                <a:cubicBezTo>
                  <a:pt x="962" y="60"/>
                  <a:pt x="962" y="60"/>
                  <a:pt x="963" y="60"/>
                </a:cubicBezTo>
                <a:cubicBezTo>
                  <a:pt x="963" y="60"/>
                  <a:pt x="963" y="60"/>
                  <a:pt x="964" y="59"/>
                </a:cubicBezTo>
                <a:cubicBezTo>
                  <a:pt x="964" y="59"/>
                  <a:pt x="964" y="59"/>
                  <a:pt x="964" y="59"/>
                </a:cubicBezTo>
                <a:cubicBezTo>
                  <a:pt x="964" y="60"/>
                  <a:pt x="964" y="60"/>
                  <a:pt x="964" y="60"/>
                </a:cubicBezTo>
                <a:cubicBezTo>
                  <a:pt x="964" y="60"/>
                  <a:pt x="964" y="60"/>
                  <a:pt x="964" y="60"/>
                </a:cubicBezTo>
                <a:cubicBezTo>
                  <a:pt x="963" y="60"/>
                  <a:pt x="963" y="60"/>
                  <a:pt x="962" y="60"/>
                </a:cubicBezTo>
                <a:cubicBezTo>
                  <a:pt x="962" y="61"/>
                  <a:pt x="962" y="61"/>
                  <a:pt x="962" y="61"/>
                </a:cubicBezTo>
                <a:cubicBezTo>
                  <a:pt x="961" y="61"/>
                  <a:pt x="960" y="61"/>
                  <a:pt x="960" y="61"/>
                </a:cubicBezTo>
                <a:cubicBezTo>
                  <a:pt x="959" y="61"/>
                  <a:pt x="959" y="61"/>
                  <a:pt x="958" y="61"/>
                </a:cubicBezTo>
                <a:cubicBezTo>
                  <a:pt x="958" y="61"/>
                  <a:pt x="958" y="61"/>
                  <a:pt x="958" y="62"/>
                </a:cubicBezTo>
                <a:cubicBezTo>
                  <a:pt x="958" y="62"/>
                  <a:pt x="958" y="62"/>
                  <a:pt x="958" y="62"/>
                </a:cubicBezTo>
                <a:cubicBezTo>
                  <a:pt x="957" y="62"/>
                  <a:pt x="957" y="62"/>
                  <a:pt x="957" y="62"/>
                </a:cubicBezTo>
                <a:cubicBezTo>
                  <a:pt x="956" y="63"/>
                  <a:pt x="956" y="63"/>
                  <a:pt x="956" y="63"/>
                </a:cubicBezTo>
                <a:cubicBezTo>
                  <a:pt x="955" y="63"/>
                  <a:pt x="955" y="63"/>
                  <a:pt x="955" y="64"/>
                </a:cubicBezTo>
                <a:cubicBezTo>
                  <a:pt x="955" y="64"/>
                  <a:pt x="955" y="64"/>
                  <a:pt x="954" y="63"/>
                </a:cubicBezTo>
                <a:cubicBezTo>
                  <a:pt x="954" y="64"/>
                  <a:pt x="954" y="64"/>
                  <a:pt x="953" y="64"/>
                </a:cubicBezTo>
                <a:cubicBezTo>
                  <a:pt x="953" y="64"/>
                  <a:pt x="953" y="64"/>
                  <a:pt x="953" y="64"/>
                </a:cubicBezTo>
                <a:cubicBezTo>
                  <a:pt x="953" y="64"/>
                  <a:pt x="953" y="65"/>
                  <a:pt x="953" y="65"/>
                </a:cubicBezTo>
                <a:cubicBezTo>
                  <a:pt x="953" y="64"/>
                  <a:pt x="953" y="64"/>
                  <a:pt x="953" y="64"/>
                </a:cubicBezTo>
                <a:cubicBezTo>
                  <a:pt x="952" y="64"/>
                  <a:pt x="952" y="64"/>
                  <a:pt x="952" y="64"/>
                </a:cubicBezTo>
                <a:cubicBezTo>
                  <a:pt x="952" y="64"/>
                  <a:pt x="952" y="64"/>
                  <a:pt x="951" y="64"/>
                </a:cubicBezTo>
                <a:cubicBezTo>
                  <a:pt x="951" y="64"/>
                  <a:pt x="951" y="64"/>
                  <a:pt x="951" y="64"/>
                </a:cubicBezTo>
                <a:cubicBezTo>
                  <a:pt x="951" y="64"/>
                  <a:pt x="951" y="64"/>
                  <a:pt x="951" y="65"/>
                </a:cubicBezTo>
                <a:cubicBezTo>
                  <a:pt x="951" y="65"/>
                  <a:pt x="950" y="65"/>
                  <a:pt x="950" y="65"/>
                </a:cubicBezTo>
                <a:cubicBezTo>
                  <a:pt x="951" y="65"/>
                  <a:pt x="951" y="66"/>
                  <a:pt x="951" y="66"/>
                </a:cubicBezTo>
                <a:cubicBezTo>
                  <a:pt x="951" y="66"/>
                  <a:pt x="951" y="67"/>
                  <a:pt x="951" y="67"/>
                </a:cubicBezTo>
                <a:cubicBezTo>
                  <a:pt x="951" y="67"/>
                  <a:pt x="951" y="67"/>
                  <a:pt x="951" y="67"/>
                </a:cubicBezTo>
                <a:cubicBezTo>
                  <a:pt x="951" y="67"/>
                  <a:pt x="952" y="67"/>
                  <a:pt x="952" y="67"/>
                </a:cubicBezTo>
                <a:cubicBezTo>
                  <a:pt x="952" y="67"/>
                  <a:pt x="953" y="67"/>
                  <a:pt x="953" y="67"/>
                </a:cubicBezTo>
                <a:cubicBezTo>
                  <a:pt x="953" y="67"/>
                  <a:pt x="954" y="67"/>
                  <a:pt x="954" y="67"/>
                </a:cubicBezTo>
                <a:cubicBezTo>
                  <a:pt x="954" y="67"/>
                  <a:pt x="955" y="67"/>
                  <a:pt x="955" y="67"/>
                </a:cubicBezTo>
                <a:cubicBezTo>
                  <a:pt x="955" y="67"/>
                  <a:pt x="955" y="67"/>
                  <a:pt x="955" y="67"/>
                </a:cubicBezTo>
                <a:cubicBezTo>
                  <a:pt x="956" y="67"/>
                  <a:pt x="956" y="67"/>
                  <a:pt x="956" y="67"/>
                </a:cubicBezTo>
                <a:cubicBezTo>
                  <a:pt x="957" y="66"/>
                  <a:pt x="957" y="66"/>
                  <a:pt x="957" y="66"/>
                </a:cubicBezTo>
                <a:cubicBezTo>
                  <a:pt x="957" y="66"/>
                  <a:pt x="957" y="66"/>
                  <a:pt x="958" y="66"/>
                </a:cubicBezTo>
                <a:cubicBezTo>
                  <a:pt x="958" y="66"/>
                  <a:pt x="958" y="66"/>
                  <a:pt x="958" y="66"/>
                </a:cubicBezTo>
                <a:cubicBezTo>
                  <a:pt x="958" y="66"/>
                  <a:pt x="959" y="66"/>
                  <a:pt x="959" y="66"/>
                </a:cubicBezTo>
                <a:cubicBezTo>
                  <a:pt x="959" y="66"/>
                  <a:pt x="959" y="66"/>
                  <a:pt x="959" y="66"/>
                </a:cubicBezTo>
                <a:cubicBezTo>
                  <a:pt x="959" y="66"/>
                  <a:pt x="960" y="66"/>
                  <a:pt x="960" y="66"/>
                </a:cubicBezTo>
                <a:cubicBezTo>
                  <a:pt x="961" y="66"/>
                  <a:pt x="961" y="66"/>
                  <a:pt x="962" y="66"/>
                </a:cubicBezTo>
                <a:cubicBezTo>
                  <a:pt x="962" y="66"/>
                  <a:pt x="963" y="66"/>
                  <a:pt x="963" y="65"/>
                </a:cubicBezTo>
                <a:cubicBezTo>
                  <a:pt x="963" y="65"/>
                  <a:pt x="963" y="65"/>
                  <a:pt x="964" y="65"/>
                </a:cubicBezTo>
                <a:cubicBezTo>
                  <a:pt x="964" y="65"/>
                  <a:pt x="964" y="65"/>
                  <a:pt x="964" y="65"/>
                </a:cubicBezTo>
                <a:cubicBezTo>
                  <a:pt x="964" y="65"/>
                  <a:pt x="964" y="65"/>
                  <a:pt x="964" y="66"/>
                </a:cubicBezTo>
                <a:cubicBezTo>
                  <a:pt x="964" y="66"/>
                  <a:pt x="964" y="66"/>
                  <a:pt x="964" y="66"/>
                </a:cubicBezTo>
                <a:cubicBezTo>
                  <a:pt x="964" y="66"/>
                  <a:pt x="964" y="66"/>
                  <a:pt x="964" y="66"/>
                </a:cubicBezTo>
                <a:cubicBezTo>
                  <a:pt x="963" y="66"/>
                  <a:pt x="963" y="66"/>
                  <a:pt x="963" y="66"/>
                </a:cubicBezTo>
                <a:cubicBezTo>
                  <a:pt x="963" y="66"/>
                  <a:pt x="963" y="66"/>
                  <a:pt x="963" y="66"/>
                </a:cubicBezTo>
                <a:cubicBezTo>
                  <a:pt x="963" y="66"/>
                  <a:pt x="962" y="66"/>
                  <a:pt x="962" y="66"/>
                </a:cubicBezTo>
                <a:cubicBezTo>
                  <a:pt x="961" y="66"/>
                  <a:pt x="961" y="66"/>
                  <a:pt x="960" y="66"/>
                </a:cubicBezTo>
                <a:cubicBezTo>
                  <a:pt x="960" y="67"/>
                  <a:pt x="960" y="67"/>
                  <a:pt x="959" y="67"/>
                </a:cubicBezTo>
                <a:cubicBezTo>
                  <a:pt x="959" y="67"/>
                  <a:pt x="958" y="67"/>
                  <a:pt x="957" y="67"/>
                </a:cubicBezTo>
                <a:cubicBezTo>
                  <a:pt x="957" y="67"/>
                  <a:pt x="957" y="67"/>
                  <a:pt x="957" y="67"/>
                </a:cubicBezTo>
                <a:cubicBezTo>
                  <a:pt x="956" y="67"/>
                  <a:pt x="956" y="67"/>
                  <a:pt x="956" y="67"/>
                </a:cubicBezTo>
                <a:cubicBezTo>
                  <a:pt x="956" y="68"/>
                  <a:pt x="956" y="68"/>
                  <a:pt x="956" y="68"/>
                </a:cubicBezTo>
                <a:cubicBezTo>
                  <a:pt x="956" y="68"/>
                  <a:pt x="956" y="68"/>
                  <a:pt x="957" y="68"/>
                </a:cubicBezTo>
                <a:cubicBezTo>
                  <a:pt x="957" y="68"/>
                  <a:pt x="958" y="68"/>
                  <a:pt x="958" y="68"/>
                </a:cubicBezTo>
                <a:cubicBezTo>
                  <a:pt x="959" y="68"/>
                  <a:pt x="959" y="68"/>
                  <a:pt x="959" y="68"/>
                </a:cubicBezTo>
                <a:cubicBezTo>
                  <a:pt x="960" y="68"/>
                  <a:pt x="960" y="68"/>
                  <a:pt x="960" y="69"/>
                </a:cubicBezTo>
                <a:cubicBezTo>
                  <a:pt x="960" y="69"/>
                  <a:pt x="960" y="69"/>
                  <a:pt x="960" y="69"/>
                </a:cubicBezTo>
                <a:cubicBezTo>
                  <a:pt x="960" y="69"/>
                  <a:pt x="959" y="69"/>
                  <a:pt x="958" y="69"/>
                </a:cubicBezTo>
                <a:cubicBezTo>
                  <a:pt x="958" y="69"/>
                  <a:pt x="958" y="69"/>
                  <a:pt x="957" y="69"/>
                </a:cubicBezTo>
                <a:cubicBezTo>
                  <a:pt x="957" y="69"/>
                  <a:pt x="957" y="69"/>
                  <a:pt x="957" y="69"/>
                </a:cubicBezTo>
                <a:cubicBezTo>
                  <a:pt x="957" y="69"/>
                  <a:pt x="956" y="69"/>
                  <a:pt x="956" y="69"/>
                </a:cubicBezTo>
                <a:cubicBezTo>
                  <a:pt x="956" y="69"/>
                  <a:pt x="956" y="69"/>
                  <a:pt x="955" y="69"/>
                </a:cubicBezTo>
                <a:cubicBezTo>
                  <a:pt x="955" y="69"/>
                  <a:pt x="955" y="69"/>
                  <a:pt x="955" y="69"/>
                </a:cubicBezTo>
                <a:cubicBezTo>
                  <a:pt x="955" y="69"/>
                  <a:pt x="955" y="69"/>
                  <a:pt x="955" y="69"/>
                </a:cubicBezTo>
                <a:cubicBezTo>
                  <a:pt x="954" y="69"/>
                  <a:pt x="954" y="68"/>
                  <a:pt x="954" y="68"/>
                </a:cubicBezTo>
                <a:cubicBezTo>
                  <a:pt x="954" y="68"/>
                  <a:pt x="954" y="68"/>
                  <a:pt x="953" y="68"/>
                </a:cubicBezTo>
                <a:cubicBezTo>
                  <a:pt x="953" y="68"/>
                  <a:pt x="952" y="69"/>
                  <a:pt x="952" y="69"/>
                </a:cubicBezTo>
                <a:cubicBezTo>
                  <a:pt x="952" y="69"/>
                  <a:pt x="952" y="69"/>
                  <a:pt x="952" y="69"/>
                </a:cubicBezTo>
                <a:cubicBezTo>
                  <a:pt x="952" y="69"/>
                  <a:pt x="952" y="69"/>
                  <a:pt x="953" y="69"/>
                </a:cubicBezTo>
                <a:cubicBezTo>
                  <a:pt x="953" y="70"/>
                  <a:pt x="953" y="70"/>
                  <a:pt x="953" y="70"/>
                </a:cubicBezTo>
                <a:cubicBezTo>
                  <a:pt x="953" y="70"/>
                  <a:pt x="952" y="70"/>
                  <a:pt x="952" y="70"/>
                </a:cubicBezTo>
                <a:cubicBezTo>
                  <a:pt x="952" y="70"/>
                  <a:pt x="953" y="70"/>
                  <a:pt x="953" y="70"/>
                </a:cubicBezTo>
                <a:cubicBezTo>
                  <a:pt x="953" y="70"/>
                  <a:pt x="953" y="71"/>
                  <a:pt x="953" y="71"/>
                </a:cubicBezTo>
                <a:cubicBezTo>
                  <a:pt x="953" y="71"/>
                  <a:pt x="953" y="71"/>
                  <a:pt x="953" y="71"/>
                </a:cubicBezTo>
                <a:cubicBezTo>
                  <a:pt x="953" y="71"/>
                  <a:pt x="953" y="71"/>
                  <a:pt x="954" y="71"/>
                </a:cubicBezTo>
                <a:cubicBezTo>
                  <a:pt x="954" y="71"/>
                  <a:pt x="954" y="72"/>
                  <a:pt x="954" y="72"/>
                </a:cubicBezTo>
                <a:cubicBezTo>
                  <a:pt x="954" y="72"/>
                  <a:pt x="954" y="72"/>
                  <a:pt x="954" y="72"/>
                </a:cubicBezTo>
                <a:cubicBezTo>
                  <a:pt x="954" y="72"/>
                  <a:pt x="954" y="72"/>
                  <a:pt x="954" y="72"/>
                </a:cubicBezTo>
                <a:cubicBezTo>
                  <a:pt x="954" y="72"/>
                  <a:pt x="955" y="72"/>
                  <a:pt x="955" y="72"/>
                </a:cubicBezTo>
                <a:cubicBezTo>
                  <a:pt x="955" y="72"/>
                  <a:pt x="955" y="73"/>
                  <a:pt x="955" y="73"/>
                </a:cubicBezTo>
                <a:cubicBezTo>
                  <a:pt x="955" y="73"/>
                  <a:pt x="955" y="73"/>
                  <a:pt x="956" y="73"/>
                </a:cubicBezTo>
                <a:cubicBezTo>
                  <a:pt x="956" y="73"/>
                  <a:pt x="956" y="73"/>
                  <a:pt x="956" y="73"/>
                </a:cubicBezTo>
                <a:cubicBezTo>
                  <a:pt x="956" y="73"/>
                  <a:pt x="956" y="73"/>
                  <a:pt x="957" y="73"/>
                </a:cubicBezTo>
                <a:cubicBezTo>
                  <a:pt x="957" y="73"/>
                  <a:pt x="957" y="73"/>
                  <a:pt x="957" y="74"/>
                </a:cubicBezTo>
                <a:cubicBezTo>
                  <a:pt x="957" y="74"/>
                  <a:pt x="958" y="74"/>
                  <a:pt x="958" y="74"/>
                </a:cubicBezTo>
                <a:cubicBezTo>
                  <a:pt x="958" y="74"/>
                  <a:pt x="958" y="74"/>
                  <a:pt x="958" y="74"/>
                </a:cubicBezTo>
                <a:cubicBezTo>
                  <a:pt x="958" y="75"/>
                  <a:pt x="959" y="75"/>
                  <a:pt x="959" y="75"/>
                </a:cubicBezTo>
                <a:cubicBezTo>
                  <a:pt x="959" y="75"/>
                  <a:pt x="960" y="75"/>
                  <a:pt x="960" y="75"/>
                </a:cubicBezTo>
                <a:cubicBezTo>
                  <a:pt x="960" y="75"/>
                  <a:pt x="961" y="74"/>
                  <a:pt x="961" y="74"/>
                </a:cubicBezTo>
                <a:cubicBezTo>
                  <a:pt x="961" y="74"/>
                  <a:pt x="961" y="74"/>
                  <a:pt x="961" y="74"/>
                </a:cubicBezTo>
                <a:cubicBezTo>
                  <a:pt x="961" y="74"/>
                  <a:pt x="961" y="74"/>
                  <a:pt x="962" y="74"/>
                </a:cubicBezTo>
                <a:cubicBezTo>
                  <a:pt x="962" y="74"/>
                  <a:pt x="962" y="74"/>
                  <a:pt x="962" y="74"/>
                </a:cubicBezTo>
                <a:cubicBezTo>
                  <a:pt x="962" y="74"/>
                  <a:pt x="962" y="75"/>
                  <a:pt x="963" y="75"/>
                </a:cubicBezTo>
                <a:cubicBezTo>
                  <a:pt x="963" y="75"/>
                  <a:pt x="963" y="75"/>
                  <a:pt x="962" y="75"/>
                </a:cubicBezTo>
                <a:cubicBezTo>
                  <a:pt x="962" y="75"/>
                  <a:pt x="962" y="75"/>
                  <a:pt x="962" y="75"/>
                </a:cubicBezTo>
                <a:cubicBezTo>
                  <a:pt x="962" y="75"/>
                  <a:pt x="962" y="75"/>
                  <a:pt x="962" y="75"/>
                </a:cubicBezTo>
                <a:cubicBezTo>
                  <a:pt x="961" y="75"/>
                  <a:pt x="961" y="76"/>
                  <a:pt x="960" y="76"/>
                </a:cubicBezTo>
                <a:cubicBezTo>
                  <a:pt x="960" y="76"/>
                  <a:pt x="960" y="76"/>
                  <a:pt x="960" y="76"/>
                </a:cubicBezTo>
                <a:cubicBezTo>
                  <a:pt x="961" y="77"/>
                  <a:pt x="962" y="77"/>
                  <a:pt x="962" y="77"/>
                </a:cubicBezTo>
                <a:cubicBezTo>
                  <a:pt x="963" y="77"/>
                  <a:pt x="963" y="77"/>
                  <a:pt x="963" y="78"/>
                </a:cubicBezTo>
                <a:cubicBezTo>
                  <a:pt x="963" y="78"/>
                  <a:pt x="963" y="78"/>
                  <a:pt x="963" y="78"/>
                </a:cubicBezTo>
                <a:cubicBezTo>
                  <a:pt x="963" y="78"/>
                  <a:pt x="963" y="79"/>
                  <a:pt x="963" y="79"/>
                </a:cubicBezTo>
                <a:cubicBezTo>
                  <a:pt x="963" y="79"/>
                  <a:pt x="963" y="79"/>
                  <a:pt x="963" y="79"/>
                </a:cubicBezTo>
                <a:cubicBezTo>
                  <a:pt x="964" y="79"/>
                  <a:pt x="964" y="79"/>
                  <a:pt x="964" y="79"/>
                </a:cubicBezTo>
                <a:cubicBezTo>
                  <a:pt x="964" y="79"/>
                  <a:pt x="964" y="79"/>
                  <a:pt x="964" y="79"/>
                </a:cubicBezTo>
                <a:cubicBezTo>
                  <a:pt x="964" y="79"/>
                  <a:pt x="964" y="79"/>
                  <a:pt x="965" y="79"/>
                </a:cubicBezTo>
                <a:cubicBezTo>
                  <a:pt x="965" y="79"/>
                  <a:pt x="965" y="79"/>
                  <a:pt x="965" y="79"/>
                </a:cubicBezTo>
                <a:cubicBezTo>
                  <a:pt x="966" y="79"/>
                  <a:pt x="966" y="79"/>
                  <a:pt x="966" y="79"/>
                </a:cubicBezTo>
                <a:cubicBezTo>
                  <a:pt x="966" y="79"/>
                  <a:pt x="967" y="79"/>
                  <a:pt x="967" y="79"/>
                </a:cubicBezTo>
                <a:cubicBezTo>
                  <a:pt x="967" y="78"/>
                  <a:pt x="967" y="78"/>
                  <a:pt x="967" y="78"/>
                </a:cubicBezTo>
                <a:cubicBezTo>
                  <a:pt x="967" y="78"/>
                  <a:pt x="967" y="78"/>
                  <a:pt x="967" y="78"/>
                </a:cubicBezTo>
                <a:cubicBezTo>
                  <a:pt x="967" y="78"/>
                  <a:pt x="967" y="77"/>
                  <a:pt x="967" y="77"/>
                </a:cubicBezTo>
                <a:cubicBezTo>
                  <a:pt x="967" y="77"/>
                  <a:pt x="967" y="77"/>
                  <a:pt x="967" y="76"/>
                </a:cubicBezTo>
                <a:cubicBezTo>
                  <a:pt x="967" y="76"/>
                  <a:pt x="967" y="76"/>
                  <a:pt x="967" y="75"/>
                </a:cubicBezTo>
                <a:cubicBezTo>
                  <a:pt x="967" y="75"/>
                  <a:pt x="967" y="75"/>
                  <a:pt x="967" y="75"/>
                </a:cubicBezTo>
                <a:cubicBezTo>
                  <a:pt x="967" y="75"/>
                  <a:pt x="968" y="75"/>
                  <a:pt x="968" y="74"/>
                </a:cubicBezTo>
                <a:cubicBezTo>
                  <a:pt x="968" y="74"/>
                  <a:pt x="968" y="73"/>
                  <a:pt x="968" y="72"/>
                </a:cubicBezTo>
                <a:cubicBezTo>
                  <a:pt x="968" y="72"/>
                  <a:pt x="968" y="72"/>
                  <a:pt x="968" y="71"/>
                </a:cubicBezTo>
                <a:cubicBezTo>
                  <a:pt x="968" y="71"/>
                  <a:pt x="968" y="71"/>
                  <a:pt x="968" y="71"/>
                </a:cubicBezTo>
                <a:cubicBezTo>
                  <a:pt x="968" y="71"/>
                  <a:pt x="969" y="71"/>
                  <a:pt x="969" y="70"/>
                </a:cubicBezTo>
                <a:cubicBezTo>
                  <a:pt x="969" y="70"/>
                  <a:pt x="969" y="70"/>
                  <a:pt x="969" y="70"/>
                </a:cubicBezTo>
                <a:cubicBezTo>
                  <a:pt x="969" y="70"/>
                  <a:pt x="968" y="70"/>
                  <a:pt x="968" y="70"/>
                </a:cubicBezTo>
                <a:cubicBezTo>
                  <a:pt x="968" y="70"/>
                  <a:pt x="969" y="69"/>
                  <a:pt x="969" y="69"/>
                </a:cubicBezTo>
                <a:cubicBezTo>
                  <a:pt x="969" y="69"/>
                  <a:pt x="970" y="69"/>
                  <a:pt x="970" y="69"/>
                </a:cubicBezTo>
                <a:cubicBezTo>
                  <a:pt x="970" y="69"/>
                  <a:pt x="971" y="69"/>
                  <a:pt x="971" y="69"/>
                </a:cubicBezTo>
                <a:cubicBezTo>
                  <a:pt x="971" y="69"/>
                  <a:pt x="971" y="69"/>
                  <a:pt x="971" y="69"/>
                </a:cubicBezTo>
                <a:cubicBezTo>
                  <a:pt x="971" y="68"/>
                  <a:pt x="971" y="68"/>
                  <a:pt x="971" y="68"/>
                </a:cubicBezTo>
                <a:cubicBezTo>
                  <a:pt x="971" y="67"/>
                  <a:pt x="971" y="67"/>
                  <a:pt x="971" y="67"/>
                </a:cubicBezTo>
                <a:cubicBezTo>
                  <a:pt x="971" y="67"/>
                  <a:pt x="971" y="66"/>
                  <a:pt x="971" y="66"/>
                </a:cubicBezTo>
                <a:cubicBezTo>
                  <a:pt x="971" y="66"/>
                  <a:pt x="971" y="65"/>
                  <a:pt x="970" y="65"/>
                </a:cubicBezTo>
                <a:cubicBezTo>
                  <a:pt x="970" y="65"/>
                  <a:pt x="970" y="65"/>
                  <a:pt x="970" y="64"/>
                </a:cubicBezTo>
                <a:cubicBezTo>
                  <a:pt x="971" y="64"/>
                  <a:pt x="971" y="64"/>
                  <a:pt x="971" y="64"/>
                </a:cubicBezTo>
                <a:cubicBezTo>
                  <a:pt x="971" y="64"/>
                  <a:pt x="972" y="64"/>
                  <a:pt x="972" y="65"/>
                </a:cubicBezTo>
                <a:cubicBezTo>
                  <a:pt x="972" y="64"/>
                  <a:pt x="972" y="64"/>
                  <a:pt x="973" y="64"/>
                </a:cubicBezTo>
                <a:cubicBezTo>
                  <a:pt x="973" y="64"/>
                  <a:pt x="972" y="64"/>
                  <a:pt x="972" y="64"/>
                </a:cubicBezTo>
                <a:cubicBezTo>
                  <a:pt x="972" y="63"/>
                  <a:pt x="972" y="63"/>
                  <a:pt x="972" y="63"/>
                </a:cubicBezTo>
                <a:cubicBezTo>
                  <a:pt x="972" y="63"/>
                  <a:pt x="972" y="62"/>
                  <a:pt x="972" y="62"/>
                </a:cubicBezTo>
                <a:cubicBezTo>
                  <a:pt x="972" y="62"/>
                  <a:pt x="972" y="61"/>
                  <a:pt x="972" y="61"/>
                </a:cubicBezTo>
                <a:cubicBezTo>
                  <a:pt x="972" y="61"/>
                  <a:pt x="972" y="60"/>
                  <a:pt x="972" y="60"/>
                </a:cubicBezTo>
                <a:cubicBezTo>
                  <a:pt x="972" y="60"/>
                  <a:pt x="972" y="60"/>
                  <a:pt x="972" y="60"/>
                </a:cubicBezTo>
                <a:cubicBezTo>
                  <a:pt x="973" y="59"/>
                  <a:pt x="973" y="59"/>
                  <a:pt x="974" y="59"/>
                </a:cubicBezTo>
                <a:cubicBezTo>
                  <a:pt x="974" y="59"/>
                  <a:pt x="974" y="59"/>
                  <a:pt x="974" y="59"/>
                </a:cubicBezTo>
                <a:cubicBezTo>
                  <a:pt x="974" y="58"/>
                  <a:pt x="974" y="58"/>
                  <a:pt x="973" y="58"/>
                </a:cubicBezTo>
                <a:cubicBezTo>
                  <a:pt x="973" y="58"/>
                  <a:pt x="974" y="58"/>
                  <a:pt x="974" y="58"/>
                </a:cubicBezTo>
                <a:cubicBezTo>
                  <a:pt x="974" y="58"/>
                  <a:pt x="974" y="58"/>
                  <a:pt x="975" y="58"/>
                </a:cubicBezTo>
                <a:cubicBezTo>
                  <a:pt x="975" y="58"/>
                  <a:pt x="976" y="57"/>
                  <a:pt x="976" y="57"/>
                </a:cubicBezTo>
                <a:cubicBezTo>
                  <a:pt x="977" y="57"/>
                  <a:pt x="977" y="57"/>
                  <a:pt x="977" y="57"/>
                </a:cubicBezTo>
                <a:cubicBezTo>
                  <a:pt x="978" y="57"/>
                  <a:pt x="978" y="57"/>
                  <a:pt x="978" y="57"/>
                </a:cubicBezTo>
                <a:cubicBezTo>
                  <a:pt x="979" y="57"/>
                  <a:pt x="979" y="57"/>
                  <a:pt x="979" y="58"/>
                </a:cubicBezTo>
                <a:cubicBezTo>
                  <a:pt x="979" y="58"/>
                  <a:pt x="979" y="57"/>
                  <a:pt x="980" y="57"/>
                </a:cubicBezTo>
                <a:cubicBezTo>
                  <a:pt x="980" y="57"/>
                  <a:pt x="980" y="57"/>
                  <a:pt x="980" y="57"/>
                </a:cubicBezTo>
                <a:cubicBezTo>
                  <a:pt x="980" y="57"/>
                  <a:pt x="980" y="57"/>
                  <a:pt x="980" y="57"/>
                </a:cubicBezTo>
                <a:cubicBezTo>
                  <a:pt x="980" y="56"/>
                  <a:pt x="980" y="56"/>
                  <a:pt x="980" y="56"/>
                </a:cubicBezTo>
                <a:cubicBezTo>
                  <a:pt x="980" y="56"/>
                  <a:pt x="980" y="56"/>
                  <a:pt x="979" y="56"/>
                </a:cubicBezTo>
                <a:cubicBezTo>
                  <a:pt x="978" y="55"/>
                  <a:pt x="978" y="55"/>
                  <a:pt x="977" y="55"/>
                </a:cubicBezTo>
                <a:cubicBezTo>
                  <a:pt x="976" y="55"/>
                  <a:pt x="976" y="55"/>
                  <a:pt x="975" y="55"/>
                </a:cubicBezTo>
                <a:cubicBezTo>
                  <a:pt x="975" y="54"/>
                  <a:pt x="974" y="54"/>
                  <a:pt x="974" y="54"/>
                </a:cubicBezTo>
                <a:cubicBezTo>
                  <a:pt x="974" y="54"/>
                  <a:pt x="973" y="53"/>
                  <a:pt x="973" y="53"/>
                </a:cubicBezTo>
                <a:cubicBezTo>
                  <a:pt x="973" y="53"/>
                  <a:pt x="972" y="53"/>
                  <a:pt x="972" y="52"/>
                </a:cubicBezTo>
                <a:cubicBezTo>
                  <a:pt x="972" y="52"/>
                  <a:pt x="971" y="52"/>
                  <a:pt x="971" y="52"/>
                </a:cubicBezTo>
                <a:cubicBezTo>
                  <a:pt x="971" y="52"/>
                  <a:pt x="970" y="52"/>
                  <a:pt x="970" y="52"/>
                </a:cubicBezTo>
                <a:cubicBezTo>
                  <a:pt x="970" y="52"/>
                  <a:pt x="969" y="52"/>
                  <a:pt x="969" y="51"/>
                </a:cubicBezTo>
                <a:cubicBezTo>
                  <a:pt x="969" y="51"/>
                  <a:pt x="969" y="51"/>
                  <a:pt x="969" y="51"/>
                </a:cubicBezTo>
                <a:cubicBezTo>
                  <a:pt x="969" y="50"/>
                  <a:pt x="969" y="50"/>
                  <a:pt x="968" y="49"/>
                </a:cubicBezTo>
                <a:cubicBezTo>
                  <a:pt x="968" y="49"/>
                  <a:pt x="968" y="48"/>
                  <a:pt x="967" y="48"/>
                </a:cubicBezTo>
                <a:cubicBezTo>
                  <a:pt x="967" y="48"/>
                  <a:pt x="966" y="47"/>
                  <a:pt x="966" y="47"/>
                </a:cubicBezTo>
                <a:cubicBezTo>
                  <a:pt x="966" y="47"/>
                  <a:pt x="965" y="47"/>
                  <a:pt x="965" y="47"/>
                </a:cubicBezTo>
                <a:cubicBezTo>
                  <a:pt x="965" y="48"/>
                  <a:pt x="965" y="48"/>
                  <a:pt x="965" y="48"/>
                </a:cubicBezTo>
                <a:cubicBezTo>
                  <a:pt x="965" y="49"/>
                  <a:pt x="965" y="49"/>
                  <a:pt x="965" y="49"/>
                </a:cubicBezTo>
                <a:cubicBezTo>
                  <a:pt x="965" y="50"/>
                  <a:pt x="965" y="50"/>
                  <a:pt x="965" y="50"/>
                </a:cubicBezTo>
                <a:cubicBezTo>
                  <a:pt x="965" y="51"/>
                  <a:pt x="965" y="51"/>
                  <a:pt x="964" y="51"/>
                </a:cubicBezTo>
                <a:cubicBezTo>
                  <a:pt x="964" y="51"/>
                  <a:pt x="964" y="51"/>
                  <a:pt x="964" y="51"/>
                </a:cubicBezTo>
                <a:cubicBezTo>
                  <a:pt x="964" y="51"/>
                  <a:pt x="964" y="50"/>
                  <a:pt x="964" y="50"/>
                </a:cubicBezTo>
                <a:cubicBezTo>
                  <a:pt x="964" y="50"/>
                  <a:pt x="964" y="50"/>
                  <a:pt x="964" y="49"/>
                </a:cubicBezTo>
                <a:cubicBezTo>
                  <a:pt x="964" y="49"/>
                  <a:pt x="964" y="48"/>
                  <a:pt x="964" y="48"/>
                </a:cubicBezTo>
                <a:cubicBezTo>
                  <a:pt x="964" y="48"/>
                  <a:pt x="964" y="48"/>
                  <a:pt x="964" y="47"/>
                </a:cubicBezTo>
                <a:cubicBezTo>
                  <a:pt x="964" y="47"/>
                  <a:pt x="964" y="47"/>
                  <a:pt x="964" y="47"/>
                </a:cubicBezTo>
                <a:cubicBezTo>
                  <a:pt x="964" y="46"/>
                  <a:pt x="964" y="46"/>
                  <a:pt x="964" y="46"/>
                </a:cubicBezTo>
                <a:cubicBezTo>
                  <a:pt x="964" y="45"/>
                  <a:pt x="963" y="45"/>
                  <a:pt x="963" y="45"/>
                </a:cubicBezTo>
                <a:cubicBezTo>
                  <a:pt x="962" y="45"/>
                  <a:pt x="962" y="44"/>
                  <a:pt x="962" y="44"/>
                </a:cubicBezTo>
                <a:cubicBezTo>
                  <a:pt x="962" y="44"/>
                  <a:pt x="961" y="45"/>
                  <a:pt x="961" y="45"/>
                </a:cubicBezTo>
                <a:cubicBezTo>
                  <a:pt x="961" y="45"/>
                  <a:pt x="961" y="45"/>
                  <a:pt x="960" y="45"/>
                </a:cubicBezTo>
                <a:cubicBezTo>
                  <a:pt x="960" y="45"/>
                  <a:pt x="960" y="45"/>
                  <a:pt x="960" y="45"/>
                </a:cubicBezTo>
                <a:cubicBezTo>
                  <a:pt x="960" y="45"/>
                  <a:pt x="960" y="44"/>
                  <a:pt x="960" y="44"/>
                </a:cubicBezTo>
                <a:cubicBezTo>
                  <a:pt x="959" y="44"/>
                  <a:pt x="959" y="43"/>
                  <a:pt x="958" y="43"/>
                </a:cubicBezTo>
                <a:cubicBezTo>
                  <a:pt x="958" y="43"/>
                  <a:pt x="958" y="43"/>
                  <a:pt x="958" y="43"/>
                </a:cubicBezTo>
                <a:cubicBezTo>
                  <a:pt x="958" y="43"/>
                  <a:pt x="958" y="43"/>
                  <a:pt x="957" y="43"/>
                </a:cubicBezTo>
                <a:cubicBezTo>
                  <a:pt x="957" y="43"/>
                  <a:pt x="957" y="44"/>
                  <a:pt x="957" y="44"/>
                </a:cubicBezTo>
                <a:cubicBezTo>
                  <a:pt x="957" y="44"/>
                  <a:pt x="957" y="45"/>
                  <a:pt x="957" y="45"/>
                </a:cubicBezTo>
                <a:cubicBezTo>
                  <a:pt x="957" y="45"/>
                  <a:pt x="956" y="45"/>
                  <a:pt x="956" y="46"/>
                </a:cubicBezTo>
                <a:cubicBezTo>
                  <a:pt x="956" y="46"/>
                  <a:pt x="956" y="46"/>
                  <a:pt x="956" y="46"/>
                </a:cubicBezTo>
                <a:cubicBezTo>
                  <a:pt x="956" y="47"/>
                  <a:pt x="956" y="47"/>
                  <a:pt x="956" y="47"/>
                </a:cubicBezTo>
                <a:cubicBezTo>
                  <a:pt x="956" y="47"/>
                  <a:pt x="956" y="47"/>
                  <a:pt x="956" y="47"/>
                </a:cubicBezTo>
                <a:cubicBezTo>
                  <a:pt x="957" y="48"/>
                  <a:pt x="957" y="48"/>
                  <a:pt x="957" y="48"/>
                </a:cubicBezTo>
                <a:cubicBezTo>
                  <a:pt x="957" y="49"/>
                  <a:pt x="957" y="49"/>
                  <a:pt x="957" y="50"/>
                </a:cubicBezTo>
                <a:cubicBezTo>
                  <a:pt x="957" y="50"/>
                  <a:pt x="957" y="51"/>
                  <a:pt x="957" y="51"/>
                </a:cubicBezTo>
                <a:cubicBezTo>
                  <a:pt x="957" y="51"/>
                  <a:pt x="957" y="52"/>
                  <a:pt x="957" y="52"/>
                </a:cubicBezTo>
                <a:cubicBezTo>
                  <a:pt x="958" y="52"/>
                  <a:pt x="958" y="53"/>
                  <a:pt x="958" y="53"/>
                </a:cubicBezTo>
                <a:cubicBezTo>
                  <a:pt x="958" y="53"/>
                  <a:pt x="958" y="53"/>
                  <a:pt x="958" y="54"/>
                </a:cubicBezTo>
                <a:cubicBezTo>
                  <a:pt x="959" y="54"/>
                  <a:pt x="959" y="54"/>
                  <a:pt x="960" y="54"/>
                </a:cubicBezTo>
                <a:cubicBezTo>
                  <a:pt x="960" y="55"/>
                  <a:pt x="959" y="55"/>
                  <a:pt x="959" y="55"/>
                </a:cubicBezTo>
                <a:cubicBezTo>
                  <a:pt x="959" y="55"/>
                  <a:pt x="959" y="55"/>
                  <a:pt x="959" y="55"/>
                </a:cubicBezTo>
                <a:cubicBezTo>
                  <a:pt x="958" y="55"/>
                  <a:pt x="958" y="55"/>
                  <a:pt x="958" y="55"/>
                </a:cubicBezTo>
                <a:cubicBezTo>
                  <a:pt x="958" y="54"/>
                  <a:pt x="957" y="54"/>
                  <a:pt x="957" y="54"/>
                </a:cubicBezTo>
                <a:cubicBezTo>
                  <a:pt x="957" y="53"/>
                  <a:pt x="957" y="53"/>
                  <a:pt x="956" y="53"/>
                </a:cubicBezTo>
                <a:cubicBezTo>
                  <a:pt x="956" y="53"/>
                  <a:pt x="956" y="53"/>
                  <a:pt x="956" y="53"/>
                </a:cubicBezTo>
                <a:cubicBezTo>
                  <a:pt x="956" y="53"/>
                  <a:pt x="955" y="53"/>
                  <a:pt x="955" y="53"/>
                </a:cubicBezTo>
                <a:cubicBezTo>
                  <a:pt x="955" y="53"/>
                  <a:pt x="955" y="53"/>
                  <a:pt x="955" y="53"/>
                </a:cubicBezTo>
                <a:cubicBezTo>
                  <a:pt x="955" y="53"/>
                  <a:pt x="954" y="53"/>
                  <a:pt x="954" y="53"/>
                </a:cubicBezTo>
                <a:cubicBezTo>
                  <a:pt x="955" y="53"/>
                  <a:pt x="955" y="52"/>
                  <a:pt x="955" y="52"/>
                </a:cubicBezTo>
                <a:cubicBezTo>
                  <a:pt x="955" y="52"/>
                  <a:pt x="956" y="52"/>
                  <a:pt x="956" y="52"/>
                </a:cubicBezTo>
                <a:cubicBezTo>
                  <a:pt x="956" y="52"/>
                  <a:pt x="956" y="51"/>
                  <a:pt x="956" y="51"/>
                </a:cubicBezTo>
                <a:cubicBezTo>
                  <a:pt x="955" y="51"/>
                  <a:pt x="955" y="50"/>
                  <a:pt x="955" y="50"/>
                </a:cubicBezTo>
                <a:cubicBezTo>
                  <a:pt x="955" y="49"/>
                  <a:pt x="955" y="49"/>
                  <a:pt x="955" y="48"/>
                </a:cubicBezTo>
                <a:cubicBezTo>
                  <a:pt x="955" y="48"/>
                  <a:pt x="955" y="48"/>
                  <a:pt x="955" y="48"/>
                </a:cubicBezTo>
                <a:cubicBezTo>
                  <a:pt x="954" y="48"/>
                  <a:pt x="954" y="47"/>
                  <a:pt x="953" y="47"/>
                </a:cubicBezTo>
                <a:cubicBezTo>
                  <a:pt x="953" y="47"/>
                  <a:pt x="952" y="47"/>
                  <a:pt x="952" y="46"/>
                </a:cubicBezTo>
                <a:cubicBezTo>
                  <a:pt x="952" y="46"/>
                  <a:pt x="952" y="46"/>
                  <a:pt x="952" y="46"/>
                </a:cubicBezTo>
                <a:cubicBezTo>
                  <a:pt x="951" y="46"/>
                  <a:pt x="951" y="47"/>
                  <a:pt x="951" y="47"/>
                </a:cubicBezTo>
                <a:cubicBezTo>
                  <a:pt x="951" y="47"/>
                  <a:pt x="951" y="47"/>
                  <a:pt x="951" y="47"/>
                </a:cubicBezTo>
                <a:cubicBezTo>
                  <a:pt x="950" y="48"/>
                  <a:pt x="950" y="48"/>
                  <a:pt x="950" y="49"/>
                </a:cubicBezTo>
                <a:cubicBezTo>
                  <a:pt x="949" y="49"/>
                  <a:pt x="949" y="49"/>
                  <a:pt x="949" y="49"/>
                </a:cubicBezTo>
                <a:cubicBezTo>
                  <a:pt x="949" y="50"/>
                  <a:pt x="949" y="50"/>
                  <a:pt x="949" y="50"/>
                </a:cubicBezTo>
                <a:cubicBezTo>
                  <a:pt x="950" y="50"/>
                  <a:pt x="950" y="51"/>
                  <a:pt x="950" y="51"/>
                </a:cubicBezTo>
                <a:cubicBezTo>
                  <a:pt x="950" y="51"/>
                  <a:pt x="950" y="52"/>
                  <a:pt x="950" y="52"/>
                </a:cubicBezTo>
                <a:cubicBezTo>
                  <a:pt x="950" y="52"/>
                  <a:pt x="950" y="52"/>
                  <a:pt x="950" y="52"/>
                </a:cubicBezTo>
                <a:cubicBezTo>
                  <a:pt x="950" y="52"/>
                  <a:pt x="949" y="52"/>
                  <a:pt x="949" y="51"/>
                </a:cubicBezTo>
                <a:cubicBezTo>
                  <a:pt x="949" y="51"/>
                  <a:pt x="949" y="51"/>
                  <a:pt x="949" y="51"/>
                </a:cubicBezTo>
                <a:cubicBezTo>
                  <a:pt x="949" y="50"/>
                  <a:pt x="949" y="50"/>
                  <a:pt x="949" y="50"/>
                </a:cubicBezTo>
                <a:cubicBezTo>
                  <a:pt x="949" y="50"/>
                  <a:pt x="949" y="50"/>
                  <a:pt x="949" y="50"/>
                </a:cubicBezTo>
                <a:cubicBezTo>
                  <a:pt x="948" y="50"/>
                  <a:pt x="948" y="50"/>
                  <a:pt x="948" y="49"/>
                </a:cubicBezTo>
                <a:cubicBezTo>
                  <a:pt x="948" y="49"/>
                  <a:pt x="948" y="49"/>
                  <a:pt x="948" y="49"/>
                </a:cubicBezTo>
                <a:cubicBezTo>
                  <a:pt x="948" y="50"/>
                  <a:pt x="947" y="50"/>
                  <a:pt x="947" y="50"/>
                </a:cubicBezTo>
                <a:cubicBezTo>
                  <a:pt x="947" y="50"/>
                  <a:pt x="947" y="50"/>
                  <a:pt x="947" y="50"/>
                </a:cubicBezTo>
                <a:cubicBezTo>
                  <a:pt x="947" y="49"/>
                  <a:pt x="947" y="49"/>
                  <a:pt x="947" y="49"/>
                </a:cubicBezTo>
                <a:cubicBezTo>
                  <a:pt x="947" y="49"/>
                  <a:pt x="948" y="49"/>
                  <a:pt x="948" y="49"/>
                </a:cubicBezTo>
                <a:cubicBezTo>
                  <a:pt x="948" y="49"/>
                  <a:pt x="948" y="48"/>
                  <a:pt x="948" y="48"/>
                </a:cubicBezTo>
                <a:cubicBezTo>
                  <a:pt x="948" y="48"/>
                  <a:pt x="948" y="48"/>
                  <a:pt x="947" y="48"/>
                </a:cubicBezTo>
                <a:cubicBezTo>
                  <a:pt x="947" y="48"/>
                  <a:pt x="946" y="48"/>
                  <a:pt x="946" y="49"/>
                </a:cubicBezTo>
                <a:cubicBezTo>
                  <a:pt x="946" y="49"/>
                  <a:pt x="945" y="49"/>
                  <a:pt x="945" y="49"/>
                </a:cubicBezTo>
                <a:cubicBezTo>
                  <a:pt x="945" y="49"/>
                  <a:pt x="945" y="49"/>
                  <a:pt x="944" y="49"/>
                </a:cubicBezTo>
                <a:cubicBezTo>
                  <a:pt x="944" y="48"/>
                  <a:pt x="945" y="48"/>
                  <a:pt x="945" y="48"/>
                </a:cubicBezTo>
                <a:cubicBezTo>
                  <a:pt x="945" y="48"/>
                  <a:pt x="945" y="48"/>
                  <a:pt x="945" y="48"/>
                </a:cubicBezTo>
                <a:cubicBezTo>
                  <a:pt x="945" y="48"/>
                  <a:pt x="945" y="48"/>
                  <a:pt x="945" y="48"/>
                </a:cubicBezTo>
                <a:cubicBezTo>
                  <a:pt x="946" y="48"/>
                  <a:pt x="946" y="47"/>
                  <a:pt x="947" y="47"/>
                </a:cubicBezTo>
                <a:cubicBezTo>
                  <a:pt x="947" y="47"/>
                  <a:pt x="947" y="47"/>
                  <a:pt x="947" y="47"/>
                </a:cubicBezTo>
                <a:cubicBezTo>
                  <a:pt x="947" y="47"/>
                  <a:pt x="947" y="47"/>
                  <a:pt x="947" y="47"/>
                </a:cubicBezTo>
                <a:cubicBezTo>
                  <a:pt x="948" y="47"/>
                  <a:pt x="948" y="47"/>
                  <a:pt x="948" y="47"/>
                </a:cubicBezTo>
                <a:cubicBezTo>
                  <a:pt x="948" y="47"/>
                  <a:pt x="949" y="47"/>
                  <a:pt x="949" y="47"/>
                </a:cubicBezTo>
                <a:cubicBezTo>
                  <a:pt x="949" y="47"/>
                  <a:pt x="949" y="47"/>
                  <a:pt x="949" y="46"/>
                </a:cubicBezTo>
                <a:cubicBezTo>
                  <a:pt x="949" y="46"/>
                  <a:pt x="949" y="46"/>
                  <a:pt x="948" y="46"/>
                </a:cubicBezTo>
                <a:cubicBezTo>
                  <a:pt x="948" y="45"/>
                  <a:pt x="948" y="45"/>
                  <a:pt x="948" y="45"/>
                </a:cubicBezTo>
                <a:cubicBezTo>
                  <a:pt x="947" y="45"/>
                  <a:pt x="947" y="45"/>
                  <a:pt x="946" y="45"/>
                </a:cubicBezTo>
                <a:cubicBezTo>
                  <a:pt x="946" y="46"/>
                  <a:pt x="945" y="46"/>
                  <a:pt x="944" y="47"/>
                </a:cubicBezTo>
                <a:cubicBezTo>
                  <a:pt x="944" y="47"/>
                  <a:pt x="943" y="47"/>
                  <a:pt x="943" y="47"/>
                </a:cubicBezTo>
                <a:cubicBezTo>
                  <a:pt x="943" y="47"/>
                  <a:pt x="943" y="47"/>
                  <a:pt x="943" y="47"/>
                </a:cubicBezTo>
                <a:cubicBezTo>
                  <a:pt x="943" y="46"/>
                  <a:pt x="943" y="46"/>
                  <a:pt x="942" y="46"/>
                </a:cubicBezTo>
                <a:cubicBezTo>
                  <a:pt x="942" y="46"/>
                  <a:pt x="942" y="46"/>
                  <a:pt x="942" y="46"/>
                </a:cubicBezTo>
                <a:cubicBezTo>
                  <a:pt x="942" y="46"/>
                  <a:pt x="941" y="46"/>
                  <a:pt x="941" y="46"/>
                </a:cubicBezTo>
                <a:cubicBezTo>
                  <a:pt x="941" y="46"/>
                  <a:pt x="941" y="46"/>
                  <a:pt x="941" y="47"/>
                </a:cubicBezTo>
                <a:cubicBezTo>
                  <a:pt x="942" y="47"/>
                  <a:pt x="942" y="47"/>
                  <a:pt x="943" y="48"/>
                </a:cubicBezTo>
                <a:cubicBezTo>
                  <a:pt x="942" y="48"/>
                  <a:pt x="942" y="48"/>
                  <a:pt x="942" y="48"/>
                </a:cubicBezTo>
                <a:cubicBezTo>
                  <a:pt x="942" y="48"/>
                  <a:pt x="942" y="48"/>
                  <a:pt x="941" y="48"/>
                </a:cubicBezTo>
                <a:cubicBezTo>
                  <a:pt x="941" y="48"/>
                  <a:pt x="941" y="47"/>
                  <a:pt x="941" y="47"/>
                </a:cubicBezTo>
                <a:cubicBezTo>
                  <a:pt x="941" y="47"/>
                  <a:pt x="940" y="47"/>
                  <a:pt x="940" y="46"/>
                </a:cubicBezTo>
                <a:cubicBezTo>
                  <a:pt x="940" y="46"/>
                  <a:pt x="940" y="46"/>
                  <a:pt x="939" y="46"/>
                </a:cubicBezTo>
                <a:cubicBezTo>
                  <a:pt x="939" y="46"/>
                  <a:pt x="939" y="47"/>
                  <a:pt x="938" y="47"/>
                </a:cubicBezTo>
                <a:cubicBezTo>
                  <a:pt x="938" y="47"/>
                  <a:pt x="938" y="47"/>
                  <a:pt x="938" y="48"/>
                </a:cubicBezTo>
                <a:cubicBezTo>
                  <a:pt x="938" y="48"/>
                  <a:pt x="939" y="48"/>
                  <a:pt x="939" y="48"/>
                </a:cubicBezTo>
                <a:cubicBezTo>
                  <a:pt x="939" y="48"/>
                  <a:pt x="939" y="49"/>
                  <a:pt x="939" y="49"/>
                </a:cubicBezTo>
                <a:cubicBezTo>
                  <a:pt x="939" y="49"/>
                  <a:pt x="938" y="49"/>
                  <a:pt x="938" y="49"/>
                </a:cubicBezTo>
                <a:cubicBezTo>
                  <a:pt x="938" y="49"/>
                  <a:pt x="938" y="49"/>
                  <a:pt x="937" y="49"/>
                </a:cubicBezTo>
                <a:cubicBezTo>
                  <a:pt x="937" y="49"/>
                  <a:pt x="937" y="49"/>
                  <a:pt x="937" y="49"/>
                </a:cubicBezTo>
                <a:cubicBezTo>
                  <a:pt x="937" y="50"/>
                  <a:pt x="937" y="50"/>
                  <a:pt x="937" y="50"/>
                </a:cubicBezTo>
                <a:cubicBezTo>
                  <a:pt x="937" y="50"/>
                  <a:pt x="937" y="51"/>
                  <a:pt x="937" y="51"/>
                </a:cubicBezTo>
                <a:close/>
                <a:moveTo>
                  <a:pt x="1018" y="41"/>
                </a:moveTo>
                <a:cubicBezTo>
                  <a:pt x="1018" y="41"/>
                  <a:pt x="1019" y="41"/>
                  <a:pt x="1019" y="41"/>
                </a:cubicBezTo>
                <a:cubicBezTo>
                  <a:pt x="1020" y="41"/>
                  <a:pt x="1020" y="41"/>
                  <a:pt x="1021" y="40"/>
                </a:cubicBezTo>
                <a:cubicBezTo>
                  <a:pt x="1021" y="40"/>
                  <a:pt x="1022" y="40"/>
                  <a:pt x="1022" y="40"/>
                </a:cubicBezTo>
                <a:cubicBezTo>
                  <a:pt x="1022" y="40"/>
                  <a:pt x="1023" y="40"/>
                  <a:pt x="1024" y="39"/>
                </a:cubicBezTo>
                <a:cubicBezTo>
                  <a:pt x="1024" y="39"/>
                  <a:pt x="1024" y="39"/>
                  <a:pt x="1024" y="39"/>
                </a:cubicBezTo>
                <a:cubicBezTo>
                  <a:pt x="1024" y="39"/>
                  <a:pt x="1024" y="39"/>
                  <a:pt x="1023" y="39"/>
                </a:cubicBezTo>
                <a:cubicBezTo>
                  <a:pt x="1023" y="39"/>
                  <a:pt x="1023" y="39"/>
                  <a:pt x="1022" y="39"/>
                </a:cubicBezTo>
                <a:cubicBezTo>
                  <a:pt x="1022" y="39"/>
                  <a:pt x="1022" y="39"/>
                  <a:pt x="1021" y="39"/>
                </a:cubicBezTo>
                <a:cubicBezTo>
                  <a:pt x="1021" y="39"/>
                  <a:pt x="1020" y="40"/>
                  <a:pt x="1020" y="40"/>
                </a:cubicBezTo>
                <a:cubicBezTo>
                  <a:pt x="1020" y="40"/>
                  <a:pt x="1019" y="40"/>
                  <a:pt x="1019" y="40"/>
                </a:cubicBezTo>
                <a:cubicBezTo>
                  <a:pt x="1019" y="40"/>
                  <a:pt x="1018" y="40"/>
                  <a:pt x="1018" y="40"/>
                </a:cubicBezTo>
                <a:cubicBezTo>
                  <a:pt x="1018" y="40"/>
                  <a:pt x="1017" y="41"/>
                  <a:pt x="1017" y="41"/>
                </a:cubicBezTo>
                <a:cubicBezTo>
                  <a:pt x="1017" y="41"/>
                  <a:pt x="1017" y="41"/>
                  <a:pt x="1017" y="41"/>
                </a:cubicBezTo>
                <a:cubicBezTo>
                  <a:pt x="1018" y="41"/>
                  <a:pt x="1018" y="41"/>
                  <a:pt x="1018" y="41"/>
                </a:cubicBezTo>
                <a:close/>
                <a:moveTo>
                  <a:pt x="1008" y="55"/>
                </a:moveTo>
                <a:cubicBezTo>
                  <a:pt x="1008" y="55"/>
                  <a:pt x="1008" y="55"/>
                  <a:pt x="1008" y="55"/>
                </a:cubicBezTo>
                <a:cubicBezTo>
                  <a:pt x="1009" y="55"/>
                  <a:pt x="1009" y="55"/>
                  <a:pt x="1009" y="55"/>
                </a:cubicBezTo>
                <a:cubicBezTo>
                  <a:pt x="1009" y="55"/>
                  <a:pt x="1010" y="55"/>
                  <a:pt x="1010" y="55"/>
                </a:cubicBezTo>
                <a:cubicBezTo>
                  <a:pt x="1010" y="55"/>
                  <a:pt x="1011" y="55"/>
                  <a:pt x="1011" y="55"/>
                </a:cubicBezTo>
                <a:cubicBezTo>
                  <a:pt x="1012" y="55"/>
                  <a:pt x="1012" y="55"/>
                  <a:pt x="1012" y="55"/>
                </a:cubicBezTo>
                <a:cubicBezTo>
                  <a:pt x="1012" y="55"/>
                  <a:pt x="1012" y="55"/>
                  <a:pt x="1013" y="55"/>
                </a:cubicBezTo>
                <a:cubicBezTo>
                  <a:pt x="1012" y="55"/>
                  <a:pt x="1012" y="55"/>
                  <a:pt x="1012" y="55"/>
                </a:cubicBezTo>
                <a:cubicBezTo>
                  <a:pt x="1011" y="54"/>
                  <a:pt x="1011" y="54"/>
                  <a:pt x="1010" y="54"/>
                </a:cubicBezTo>
                <a:cubicBezTo>
                  <a:pt x="1010" y="54"/>
                  <a:pt x="1010" y="54"/>
                  <a:pt x="1010" y="54"/>
                </a:cubicBezTo>
                <a:cubicBezTo>
                  <a:pt x="1010" y="54"/>
                  <a:pt x="1009" y="54"/>
                  <a:pt x="1009" y="54"/>
                </a:cubicBezTo>
                <a:cubicBezTo>
                  <a:pt x="1009" y="54"/>
                  <a:pt x="1009" y="54"/>
                  <a:pt x="1008" y="54"/>
                </a:cubicBezTo>
                <a:cubicBezTo>
                  <a:pt x="1008" y="54"/>
                  <a:pt x="1008" y="55"/>
                  <a:pt x="1007" y="55"/>
                </a:cubicBezTo>
                <a:cubicBezTo>
                  <a:pt x="1007" y="55"/>
                  <a:pt x="1007" y="55"/>
                  <a:pt x="1006" y="56"/>
                </a:cubicBezTo>
                <a:cubicBezTo>
                  <a:pt x="1006" y="56"/>
                  <a:pt x="1007" y="56"/>
                  <a:pt x="1007" y="56"/>
                </a:cubicBezTo>
                <a:cubicBezTo>
                  <a:pt x="1007" y="56"/>
                  <a:pt x="1007" y="55"/>
                  <a:pt x="1008" y="55"/>
                </a:cubicBezTo>
                <a:close/>
                <a:moveTo>
                  <a:pt x="1638" y="393"/>
                </a:moveTo>
                <a:cubicBezTo>
                  <a:pt x="1639" y="393"/>
                  <a:pt x="1639" y="393"/>
                  <a:pt x="1639" y="393"/>
                </a:cubicBezTo>
                <a:cubicBezTo>
                  <a:pt x="1640" y="393"/>
                  <a:pt x="1640" y="393"/>
                  <a:pt x="1640" y="393"/>
                </a:cubicBezTo>
                <a:cubicBezTo>
                  <a:pt x="1640" y="393"/>
                  <a:pt x="1640" y="393"/>
                  <a:pt x="1640" y="393"/>
                </a:cubicBezTo>
                <a:cubicBezTo>
                  <a:pt x="1641" y="393"/>
                  <a:pt x="1641" y="393"/>
                  <a:pt x="1641" y="393"/>
                </a:cubicBezTo>
                <a:cubicBezTo>
                  <a:pt x="1641" y="393"/>
                  <a:pt x="1641" y="393"/>
                  <a:pt x="1641" y="393"/>
                </a:cubicBezTo>
                <a:cubicBezTo>
                  <a:pt x="1642" y="393"/>
                  <a:pt x="1642" y="393"/>
                  <a:pt x="1642" y="393"/>
                </a:cubicBezTo>
                <a:cubicBezTo>
                  <a:pt x="1642" y="393"/>
                  <a:pt x="1642" y="393"/>
                  <a:pt x="1642" y="393"/>
                </a:cubicBezTo>
                <a:cubicBezTo>
                  <a:pt x="1643" y="393"/>
                  <a:pt x="1643" y="393"/>
                  <a:pt x="1643" y="393"/>
                </a:cubicBezTo>
                <a:cubicBezTo>
                  <a:pt x="1644" y="393"/>
                  <a:pt x="1644" y="393"/>
                  <a:pt x="1644" y="393"/>
                </a:cubicBezTo>
                <a:cubicBezTo>
                  <a:pt x="1644" y="392"/>
                  <a:pt x="1644" y="392"/>
                  <a:pt x="1645" y="392"/>
                </a:cubicBezTo>
                <a:cubicBezTo>
                  <a:pt x="1645" y="392"/>
                  <a:pt x="1645" y="392"/>
                  <a:pt x="1645" y="392"/>
                </a:cubicBezTo>
                <a:cubicBezTo>
                  <a:pt x="1645" y="392"/>
                  <a:pt x="1645" y="392"/>
                  <a:pt x="1646" y="392"/>
                </a:cubicBezTo>
                <a:cubicBezTo>
                  <a:pt x="1645" y="392"/>
                  <a:pt x="1645" y="392"/>
                  <a:pt x="1645" y="391"/>
                </a:cubicBezTo>
                <a:cubicBezTo>
                  <a:pt x="1645" y="392"/>
                  <a:pt x="1644" y="392"/>
                  <a:pt x="1644" y="392"/>
                </a:cubicBezTo>
                <a:cubicBezTo>
                  <a:pt x="1644" y="392"/>
                  <a:pt x="1644" y="392"/>
                  <a:pt x="1643" y="392"/>
                </a:cubicBezTo>
                <a:cubicBezTo>
                  <a:pt x="1643" y="392"/>
                  <a:pt x="1643" y="392"/>
                  <a:pt x="1643" y="392"/>
                </a:cubicBezTo>
                <a:cubicBezTo>
                  <a:pt x="1643" y="392"/>
                  <a:pt x="1643" y="391"/>
                  <a:pt x="1643" y="391"/>
                </a:cubicBezTo>
                <a:cubicBezTo>
                  <a:pt x="1643" y="391"/>
                  <a:pt x="1643" y="391"/>
                  <a:pt x="1643" y="391"/>
                </a:cubicBezTo>
                <a:cubicBezTo>
                  <a:pt x="1643" y="390"/>
                  <a:pt x="1643" y="390"/>
                  <a:pt x="1642" y="390"/>
                </a:cubicBezTo>
                <a:cubicBezTo>
                  <a:pt x="1642" y="389"/>
                  <a:pt x="1642" y="389"/>
                  <a:pt x="1641" y="389"/>
                </a:cubicBezTo>
                <a:cubicBezTo>
                  <a:pt x="1641" y="389"/>
                  <a:pt x="1641" y="388"/>
                  <a:pt x="1641" y="388"/>
                </a:cubicBezTo>
                <a:cubicBezTo>
                  <a:pt x="1641" y="388"/>
                  <a:pt x="1641" y="388"/>
                  <a:pt x="1642" y="387"/>
                </a:cubicBezTo>
                <a:cubicBezTo>
                  <a:pt x="1642" y="387"/>
                  <a:pt x="1642" y="387"/>
                  <a:pt x="1643" y="387"/>
                </a:cubicBezTo>
                <a:cubicBezTo>
                  <a:pt x="1643" y="386"/>
                  <a:pt x="1643" y="386"/>
                  <a:pt x="1643" y="386"/>
                </a:cubicBezTo>
                <a:cubicBezTo>
                  <a:pt x="1643" y="386"/>
                  <a:pt x="1643" y="386"/>
                  <a:pt x="1643" y="386"/>
                </a:cubicBezTo>
                <a:cubicBezTo>
                  <a:pt x="1643" y="386"/>
                  <a:pt x="1642" y="386"/>
                  <a:pt x="1642" y="386"/>
                </a:cubicBezTo>
                <a:cubicBezTo>
                  <a:pt x="1642" y="386"/>
                  <a:pt x="1642" y="386"/>
                  <a:pt x="1642" y="386"/>
                </a:cubicBezTo>
                <a:cubicBezTo>
                  <a:pt x="1642" y="386"/>
                  <a:pt x="1641" y="386"/>
                  <a:pt x="1641" y="387"/>
                </a:cubicBezTo>
                <a:cubicBezTo>
                  <a:pt x="1640" y="387"/>
                  <a:pt x="1639" y="387"/>
                  <a:pt x="1639" y="387"/>
                </a:cubicBezTo>
                <a:cubicBezTo>
                  <a:pt x="1638" y="386"/>
                  <a:pt x="1638" y="386"/>
                  <a:pt x="1637" y="386"/>
                </a:cubicBezTo>
                <a:cubicBezTo>
                  <a:pt x="1637" y="386"/>
                  <a:pt x="1637" y="386"/>
                  <a:pt x="1637" y="386"/>
                </a:cubicBezTo>
                <a:cubicBezTo>
                  <a:pt x="1637" y="386"/>
                  <a:pt x="1637" y="386"/>
                  <a:pt x="1636" y="386"/>
                </a:cubicBezTo>
                <a:cubicBezTo>
                  <a:pt x="1636" y="385"/>
                  <a:pt x="1636" y="385"/>
                  <a:pt x="1636" y="385"/>
                </a:cubicBezTo>
                <a:cubicBezTo>
                  <a:pt x="1635" y="384"/>
                  <a:pt x="1635" y="384"/>
                  <a:pt x="1634" y="384"/>
                </a:cubicBezTo>
                <a:cubicBezTo>
                  <a:pt x="1634" y="384"/>
                  <a:pt x="1633" y="383"/>
                  <a:pt x="1633" y="383"/>
                </a:cubicBezTo>
                <a:cubicBezTo>
                  <a:pt x="1633" y="383"/>
                  <a:pt x="1633" y="382"/>
                  <a:pt x="1632" y="382"/>
                </a:cubicBezTo>
                <a:cubicBezTo>
                  <a:pt x="1632" y="382"/>
                  <a:pt x="1632" y="382"/>
                  <a:pt x="1631" y="381"/>
                </a:cubicBezTo>
                <a:cubicBezTo>
                  <a:pt x="1631" y="381"/>
                  <a:pt x="1631" y="381"/>
                  <a:pt x="1631" y="381"/>
                </a:cubicBezTo>
                <a:cubicBezTo>
                  <a:pt x="1631" y="380"/>
                  <a:pt x="1631" y="380"/>
                  <a:pt x="1630" y="380"/>
                </a:cubicBezTo>
                <a:cubicBezTo>
                  <a:pt x="1630" y="379"/>
                  <a:pt x="1629" y="378"/>
                  <a:pt x="1629" y="377"/>
                </a:cubicBezTo>
                <a:cubicBezTo>
                  <a:pt x="1628" y="377"/>
                  <a:pt x="1628" y="376"/>
                  <a:pt x="1628" y="376"/>
                </a:cubicBezTo>
                <a:cubicBezTo>
                  <a:pt x="1628" y="376"/>
                  <a:pt x="1627" y="375"/>
                  <a:pt x="1627" y="375"/>
                </a:cubicBezTo>
                <a:cubicBezTo>
                  <a:pt x="1626" y="375"/>
                  <a:pt x="1626" y="374"/>
                  <a:pt x="1626" y="374"/>
                </a:cubicBezTo>
                <a:cubicBezTo>
                  <a:pt x="1626" y="373"/>
                  <a:pt x="1626" y="373"/>
                  <a:pt x="1625" y="373"/>
                </a:cubicBezTo>
                <a:cubicBezTo>
                  <a:pt x="1625" y="373"/>
                  <a:pt x="1625" y="373"/>
                  <a:pt x="1624" y="372"/>
                </a:cubicBezTo>
                <a:cubicBezTo>
                  <a:pt x="1624" y="373"/>
                  <a:pt x="1624" y="373"/>
                  <a:pt x="1624" y="373"/>
                </a:cubicBezTo>
                <a:cubicBezTo>
                  <a:pt x="1624" y="373"/>
                  <a:pt x="1624" y="373"/>
                  <a:pt x="1624" y="373"/>
                </a:cubicBezTo>
                <a:cubicBezTo>
                  <a:pt x="1623" y="373"/>
                  <a:pt x="1623" y="373"/>
                  <a:pt x="1623" y="373"/>
                </a:cubicBezTo>
                <a:cubicBezTo>
                  <a:pt x="1623" y="373"/>
                  <a:pt x="1623" y="373"/>
                  <a:pt x="1623" y="373"/>
                </a:cubicBezTo>
                <a:cubicBezTo>
                  <a:pt x="1623" y="373"/>
                  <a:pt x="1623" y="373"/>
                  <a:pt x="1623" y="374"/>
                </a:cubicBezTo>
                <a:cubicBezTo>
                  <a:pt x="1623" y="374"/>
                  <a:pt x="1623" y="374"/>
                  <a:pt x="1623" y="375"/>
                </a:cubicBezTo>
                <a:cubicBezTo>
                  <a:pt x="1623" y="375"/>
                  <a:pt x="1624" y="376"/>
                  <a:pt x="1624" y="377"/>
                </a:cubicBezTo>
                <a:cubicBezTo>
                  <a:pt x="1624" y="377"/>
                  <a:pt x="1624" y="378"/>
                  <a:pt x="1624" y="378"/>
                </a:cubicBezTo>
                <a:cubicBezTo>
                  <a:pt x="1624" y="378"/>
                  <a:pt x="1624" y="379"/>
                  <a:pt x="1624" y="379"/>
                </a:cubicBezTo>
                <a:cubicBezTo>
                  <a:pt x="1623" y="379"/>
                  <a:pt x="1623" y="380"/>
                  <a:pt x="1623" y="380"/>
                </a:cubicBezTo>
                <a:cubicBezTo>
                  <a:pt x="1623" y="380"/>
                  <a:pt x="1623" y="381"/>
                  <a:pt x="1623" y="381"/>
                </a:cubicBezTo>
                <a:cubicBezTo>
                  <a:pt x="1623" y="381"/>
                  <a:pt x="1623" y="382"/>
                  <a:pt x="1623" y="382"/>
                </a:cubicBezTo>
                <a:cubicBezTo>
                  <a:pt x="1623" y="382"/>
                  <a:pt x="1623" y="382"/>
                  <a:pt x="1623" y="382"/>
                </a:cubicBezTo>
                <a:cubicBezTo>
                  <a:pt x="1623" y="382"/>
                  <a:pt x="1623" y="382"/>
                  <a:pt x="1623" y="382"/>
                </a:cubicBezTo>
                <a:cubicBezTo>
                  <a:pt x="1622" y="382"/>
                  <a:pt x="1622" y="382"/>
                  <a:pt x="1622" y="382"/>
                </a:cubicBezTo>
                <a:cubicBezTo>
                  <a:pt x="1622" y="382"/>
                  <a:pt x="1622" y="383"/>
                  <a:pt x="1622" y="383"/>
                </a:cubicBezTo>
                <a:cubicBezTo>
                  <a:pt x="1622" y="383"/>
                  <a:pt x="1622" y="383"/>
                  <a:pt x="1622" y="384"/>
                </a:cubicBezTo>
                <a:cubicBezTo>
                  <a:pt x="1622" y="384"/>
                  <a:pt x="1622" y="384"/>
                  <a:pt x="1622" y="384"/>
                </a:cubicBezTo>
                <a:cubicBezTo>
                  <a:pt x="1622" y="384"/>
                  <a:pt x="1622" y="384"/>
                  <a:pt x="1622" y="385"/>
                </a:cubicBezTo>
                <a:cubicBezTo>
                  <a:pt x="1623" y="385"/>
                  <a:pt x="1623" y="385"/>
                  <a:pt x="1623" y="385"/>
                </a:cubicBezTo>
                <a:cubicBezTo>
                  <a:pt x="1622" y="385"/>
                  <a:pt x="1622" y="385"/>
                  <a:pt x="1622" y="385"/>
                </a:cubicBezTo>
                <a:cubicBezTo>
                  <a:pt x="1622" y="385"/>
                  <a:pt x="1622" y="386"/>
                  <a:pt x="1622" y="386"/>
                </a:cubicBezTo>
                <a:cubicBezTo>
                  <a:pt x="1622" y="386"/>
                  <a:pt x="1621" y="386"/>
                  <a:pt x="1621" y="386"/>
                </a:cubicBezTo>
                <a:cubicBezTo>
                  <a:pt x="1621" y="386"/>
                  <a:pt x="1620" y="385"/>
                  <a:pt x="1620" y="385"/>
                </a:cubicBezTo>
                <a:cubicBezTo>
                  <a:pt x="1619" y="385"/>
                  <a:pt x="1619" y="384"/>
                  <a:pt x="1618" y="384"/>
                </a:cubicBezTo>
                <a:cubicBezTo>
                  <a:pt x="1618" y="384"/>
                  <a:pt x="1618" y="384"/>
                  <a:pt x="1617" y="384"/>
                </a:cubicBezTo>
                <a:cubicBezTo>
                  <a:pt x="1617" y="384"/>
                  <a:pt x="1617" y="384"/>
                  <a:pt x="1617" y="384"/>
                </a:cubicBezTo>
                <a:cubicBezTo>
                  <a:pt x="1617" y="384"/>
                  <a:pt x="1617" y="384"/>
                  <a:pt x="1617" y="384"/>
                </a:cubicBezTo>
                <a:cubicBezTo>
                  <a:pt x="1617" y="384"/>
                  <a:pt x="1617" y="384"/>
                  <a:pt x="1617" y="384"/>
                </a:cubicBezTo>
                <a:cubicBezTo>
                  <a:pt x="1618" y="385"/>
                  <a:pt x="1618" y="385"/>
                  <a:pt x="1618" y="385"/>
                </a:cubicBezTo>
                <a:cubicBezTo>
                  <a:pt x="1618" y="385"/>
                  <a:pt x="1618" y="386"/>
                  <a:pt x="1618" y="386"/>
                </a:cubicBezTo>
                <a:cubicBezTo>
                  <a:pt x="1618" y="386"/>
                  <a:pt x="1618" y="386"/>
                  <a:pt x="1618" y="386"/>
                </a:cubicBezTo>
                <a:cubicBezTo>
                  <a:pt x="1617" y="386"/>
                  <a:pt x="1617" y="386"/>
                  <a:pt x="1617" y="386"/>
                </a:cubicBezTo>
                <a:cubicBezTo>
                  <a:pt x="1617" y="386"/>
                  <a:pt x="1616" y="386"/>
                  <a:pt x="1616" y="386"/>
                </a:cubicBezTo>
                <a:cubicBezTo>
                  <a:pt x="1616" y="386"/>
                  <a:pt x="1616" y="386"/>
                  <a:pt x="1616" y="386"/>
                </a:cubicBezTo>
                <a:cubicBezTo>
                  <a:pt x="1616" y="386"/>
                  <a:pt x="1615" y="386"/>
                  <a:pt x="1615" y="386"/>
                </a:cubicBezTo>
                <a:cubicBezTo>
                  <a:pt x="1615" y="387"/>
                  <a:pt x="1615" y="387"/>
                  <a:pt x="1615" y="387"/>
                </a:cubicBezTo>
                <a:cubicBezTo>
                  <a:pt x="1615" y="387"/>
                  <a:pt x="1615" y="387"/>
                  <a:pt x="1615" y="388"/>
                </a:cubicBezTo>
                <a:cubicBezTo>
                  <a:pt x="1614" y="388"/>
                  <a:pt x="1614" y="388"/>
                  <a:pt x="1614" y="389"/>
                </a:cubicBezTo>
                <a:cubicBezTo>
                  <a:pt x="1614" y="389"/>
                  <a:pt x="1614" y="389"/>
                  <a:pt x="1614" y="389"/>
                </a:cubicBezTo>
                <a:cubicBezTo>
                  <a:pt x="1614" y="389"/>
                  <a:pt x="1614" y="389"/>
                  <a:pt x="1615" y="389"/>
                </a:cubicBezTo>
                <a:cubicBezTo>
                  <a:pt x="1615" y="390"/>
                  <a:pt x="1615" y="390"/>
                  <a:pt x="1615" y="390"/>
                </a:cubicBezTo>
                <a:cubicBezTo>
                  <a:pt x="1616" y="390"/>
                  <a:pt x="1616" y="391"/>
                  <a:pt x="1616" y="391"/>
                </a:cubicBezTo>
                <a:cubicBezTo>
                  <a:pt x="1616" y="391"/>
                  <a:pt x="1616" y="392"/>
                  <a:pt x="1616" y="392"/>
                </a:cubicBezTo>
                <a:cubicBezTo>
                  <a:pt x="1616" y="393"/>
                  <a:pt x="1616" y="393"/>
                  <a:pt x="1616" y="394"/>
                </a:cubicBezTo>
                <a:cubicBezTo>
                  <a:pt x="1616" y="394"/>
                  <a:pt x="1616" y="394"/>
                  <a:pt x="1615" y="394"/>
                </a:cubicBezTo>
                <a:cubicBezTo>
                  <a:pt x="1615" y="394"/>
                  <a:pt x="1616" y="394"/>
                  <a:pt x="1616" y="394"/>
                </a:cubicBezTo>
                <a:cubicBezTo>
                  <a:pt x="1616" y="395"/>
                  <a:pt x="1616" y="395"/>
                  <a:pt x="1616" y="395"/>
                </a:cubicBezTo>
                <a:cubicBezTo>
                  <a:pt x="1617" y="395"/>
                  <a:pt x="1617" y="395"/>
                  <a:pt x="1618" y="395"/>
                </a:cubicBezTo>
                <a:cubicBezTo>
                  <a:pt x="1618" y="394"/>
                  <a:pt x="1618" y="394"/>
                  <a:pt x="1619" y="394"/>
                </a:cubicBezTo>
                <a:cubicBezTo>
                  <a:pt x="1619" y="394"/>
                  <a:pt x="1619" y="394"/>
                  <a:pt x="1619" y="394"/>
                </a:cubicBezTo>
                <a:cubicBezTo>
                  <a:pt x="1619" y="394"/>
                  <a:pt x="1619" y="394"/>
                  <a:pt x="1619" y="394"/>
                </a:cubicBezTo>
                <a:cubicBezTo>
                  <a:pt x="1620" y="394"/>
                  <a:pt x="1620" y="394"/>
                  <a:pt x="1621" y="394"/>
                </a:cubicBezTo>
                <a:cubicBezTo>
                  <a:pt x="1621" y="394"/>
                  <a:pt x="1621" y="395"/>
                  <a:pt x="1621" y="395"/>
                </a:cubicBezTo>
                <a:cubicBezTo>
                  <a:pt x="1621" y="395"/>
                  <a:pt x="1621" y="395"/>
                  <a:pt x="1622" y="394"/>
                </a:cubicBezTo>
                <a:cubicBezTo>
                  <a:pt x="1622" y="394"/>
                  <a:pt x="1622" y="394"/>
                  <a:pt x="1623" y="394"/>
                </a:cubicBezTo>
                <a:cubicBezTo>
                  <a:pt x="1623" y="394"/>
                  <a:pt x="1622" y="394"/>
                  <a:pt x="1622" y="394"/>
                </a:cubicBezTo>
                <a:cubicBezTo>
                  <a:pt x="1622" y="393"/>
                  <a:pt x="1622" y="393"/>
                  <a:pt x="1621" y="393"/>
                </a:cubicBezTo>
                <a:cubicBezTo>
                  <a:pt x="1621" y="393"/>
                  <a:pt x="1621" y="393"/>
                  <a:pt x="1620" y="392"/>
                </a:cubicBezTo>
                <a:cubicBezTo>
                  <a:pt x="1620" y="392"/>
                  <a:pt x="1620" y="391"/>
                  <a:pt x="1619" y="391"/>
                </a:cubicBezTo>
                <a:cubicBezTo>
                  <a:pt x="1619" y="391"/>
                  <a:pt x="1619" y="391"/>
                  <a:pt x="1618" y="391"/>
                </a:cubicBezTo>
                <a:cubicBezTo>
                  <a:pt x="1618" y="390"/>
                  <a:pt x="1618" y="390"/>
                  <a:pt x="1617" y="390"/>
                </a:cubicBezTo>
                <a:cubicBezTo>
                  <a:pt x="1617" y="390"/>
                  <a:pt x="1617" y="389"/>
                  <a:pt x="1617" y="389"/>
                </a:cubicBezTo>
                <a:cubicBezTo>
                  <a:pt x="1617" y="389"/>
                  <a:pt x="1617" y="389"/>
                  <a:pt x="1617" y="389"/>
                </a:cubicBezTo>
                <a:cubicBezTo>
                  <a:pt x="1618" y="388"/>
                  <a:pt x="1618" y="388"/>
                  <a:pt x="1618" y="388"/>
                </a:cubicBezTo>
                <a:cubicBezTo>
                  <a:pt x="1618" y="388"/>
                  <a:pt x="1619" y="389"/>
                  <a:pt x="1619" y="389"/>
                </a:cubicBezTo>
                <a:cubicBezTo>
                  <a:pt x="1619" y="389"/>
                  <a:pt x="1620" y="389"/>
                  <a:pt x="1620" y="390"/>
                </a:cubicBezTo>
                <a:cubicBezTo>
                  <a:pt x="1620" y="390"/>
                  <a:pt x="1620" y="390"/>
                  <a:pt x="1620" y="390"/>
                </a:cubicBezTo>
                <a:cubicBezTo>
                  <a:pt x="1621" y="390"/>
                  <a:pt x="1622" y="390"/>
                  <a:pt x="1622" y="389"/>
                </a:cubicBezTo>
                <a:cubicBezTo>
                  <a:pt x="1623" y="389"/>
                  <a:pt x="1623" y="389"/>
                  <a:pt x="1624" y="389"/>
                </a:cubicBezTo>
                <a:cubicBezTo>
                  <a:pt x="1624" y="390"/>
                  <a:pt x="1624" y="390"/>
                  <a:pt x="1624" y="390"/>
                </a:cubicBezTo>
                <a:cubicBezTo>
                  <a:pt x="1625" y="390"/>
                  <a:pt x="1625" y="390"/>
                  <a:pt x="1625" y="390"/>
                </a:cubicBezTo>
                <a:cubicBezTo>
                  <a:pt x="1625" y="390"/>
                  <a:pt x="1625" y="391"/>
                  <a:pt x="1626" y="391"/>
                </a:cubicBezTo>
                <a:cubicBezTo>
                  <a:pt x="1626" y="391"/>
                  <a:pt x="1626" y="391"/>
                  <a:pt x="1627" y="391"/>
                </a:cubicBezTo>
                <a:cubicBezTo>
                  <a:pt x="1627" y="391"/>
                  <a:pt x="1627" y="392"/>
                  <a:pt x="1627" y="392"/>
                </a:cubicBezTo>
                <a:cubicBezTo>
                  <a:pt x="1627" y="392"/>
                  <a:pt x="1628" y="393"/>
                  <a:pt x="1628" y="393"/>
                </a:cubicBezTo>
                <a:cubicBezTo>
                  <a:pt x="1629" y="394"/>
                  <a:pt x="1629" y="394"/>
                  <a:pt x="1629" y="394"/>
                </a:cubicBezTo>
                <a:cubicBezTo>
                  <a:pt x="1630" y="395"/>
                  <a:pt x="1630" y="395"/>
                  <a:pt x="1631" y="395"/>
                </a:cubicBezTo>
                <a:cubicBezTo>
                  <a:pt x="1631" y="396"/>
                  <a:pt x="1631" y="396"/>
                  <a:pt x="1631" y="396"/>
                </a:cubicBezTo>
                <a:cubicBezTo>
                  <a:pt x="1631" y="396"/>
                  <a:pt x="1632" y="396"/>
                  <a:pt x="1632" y="397"/>
                </a:cubicBezTo>
                <a:cubicBezTo>
                  <a:pt x="1632" y="396"/>
                  <a:pt x="1632" y="396"/>
                  <a:pt x="1632" y="396"/>
                </a:cubicBezTo>
                <a:cubicBezTo>
                  <a:pt x="1632" y="396"/>
                  <a:pt x="1632" y="396"/>
                  <a:pt x="1633" y="396"/>
                </a:cubicBezTo>
                <a:cubicBezTo>
                  <a:pt x="1633" y="395"/>
                  <a:pt x="1633" y="395"/>
                  <a:pt x="1633" y="395"/>
                </a:cubicBezTo>
                <a:cubicBezTo>
                  <a:pt x="1633" y="394"/>
                  <a:pt x="1633" y="394"/>
                  <a:pt x="1633" y="394"/>
                </a:cubicBezTo>
                <a:cubicBezTo>
                  <a:pt x="1634" y="393"/>
                  <a:pt x="1634" y="393"/>
                  <a:pt x="1634" y="393"/>
                </a:cubicBezTo>
                <a:cubicBezTo>
                  <a:pt x="1635" y="392"/>
                  <a:pt x="1636" y="392"/>
                  <a:pt x="1636" y="392"/>
                </a:cubicBezTo>
                <a:cubicBezTo>
                  <a:pt x="1637" y="392"/>
                  <a:pt x="1637" y="392"/>
                  <a:pt x="1637" y="392"/>
                </a:cubicBezTo>
                <a:cubicBezTo>
                  <a:pt x="1638" y="392"/>
                  <a:pt x="1638" y="392"/>
                  <a:pt x="1638" y="393"/>
                </a:cubicBezTo>
                <a:close/>
                <a:moveTo>
                  <a:pt x="1612" y="389"/>
                </a:moveTo>
                <a:cubicBezTo>
                  <a:pt x="1612" y="389"/>
                  <a:pt x="1612" y="389"/>
                  <a:pt x="1613" y="389"/>
                </a:cubicBezTo>
                <a:cubicBezTo>
                  <a:pt x="1613" y="388"/>
                  <a:pt x="1613" y="388"/>
                  <a:pt x="1613" y="388"/>
                </a:cubicBezTo>
                <a:cubicBezTo>
                  <a:pt x="1613" y="388"/>
                  <a:pt x="1613" y="388"/>
                  <a:pt x="1612" y="388"/>
                </a:cubicBezTo>
                <a:cubicBezTo>
                  <a:pt x="1612" y="388"/>
                  <a:pt x="1612" y="388"/>
                  <a:pt x="1611" y="388"/>
                </a:cubicBezTo>
                <a:cubicBezTo>
                  <a:pt x="1611" y="388"/>
                  <a:pt x="1611" y="389"/>
                  <a:pt x="1611" y="389"/>
                </a:cubicBezTo>
                <a:cubicBezTo>
                  <a:pt x="1611" y="389"/>
                  <a:pt x="1611" y="389"/>
                  <a:pt x="1612" y="389"/>
                </a:cubicBezTo>
                <a:cubicBezTo>
                  <a:pt x="1612" y="389"/>
                  <a:pt x="1612" y="389"/>
                  <a:pt x="1612" y="389"/>
                </a:cubicBezTo>
                <a:close/>
                <a:moveTo>
                  <a:pt x="1608" y="411"/>
                </a:moveTo>
                <a:cubicBezTo>
                  <a:pt x="1608" y="411"/>
                  <a:pt x="1608" y="411"/>
                  <a:pt x="1608" y="411"/>
                </a:cubicBezTo>
                <a:cubicBezTo>
                  <a:pt x="1607" y="411"/>
                  <a:pt x="1607" y="411"/>
                  <a:pt x="1607" y="412"/>
                </a:cubicBezTo>
                <a:cubicBezTo>
                  <a:pt x="1607" y="412"/>
                  <a:pt x="1607" y="412"/>
                  <a:pt x="1607" y="412"/>
                </a:cubicBezTo>
                <a:cubicBezTo>
                  <a:pt x="1607" y="412"/>
                  <a:pt x="1607" y="412"/>
                  <a:pt x="1607" y="412"/>
                </a:cubicBezTo>
                <a:cubicBezTo>
                  <a:pt x="1607" y="412"/>
                  <a:pt x="1607" y="412"/>
                  <a:pt x="1607" y="412"/>
                </a:cubicBezTo>
                <a:cubicBezTo>
                  <a:pt x="1607" y="413"/>
                  <a:pt x="1607" y="413"/>
                  <a:pt x="1607" y="413"/>
                </a:cubicBezTo>
                <a:cubicBezTo>
                  <a:pt x="1607" y="413"/>
                  <a:pt x="1607" y="413"/>
                  <a:pt x="1607" y="413"/>
                </a:cubicBezTo>
                <a:cubicBezTo>
                  <a:pt x="1607" y="413"/>
                  <a:pt x="1607" y="413"/>
                  <a:pt x="1607" y="413"/>
                </a:cubicBezTo>
                <a:cubicBezTo>
                  <a:pt x="1607" y="413"/>
                  <a:pt x="1607" y="413"/>
                  <a:pt x="1608" y="413"/>
                </a:cubicBezTo>
                <a:cubicBezTo>
                  <a:pt x="1608" y="413"/>
                  <a:pt x="1608" y="413"/>
                  <a:pt x="1608" y="413"/>
                </a:cubicBezTo>
                <a:cubicBezTo>
                  <a:pt x="1608" y="412"/>
                  <a:pt x="1608" y="412"/>
                  <a:pt x="1608" y="412"/>
                </a:cubicBezTo>
                <a:cubicBezTo>
                  <a:pt x="1608" y="412"/>
                  <a:pt x="1608" y="412"/>
                  <a:pt x="1608" y="412"/>
                </a:cubicBezTo>
                <a:cubicBezTo>
                  <a:pt x="1608" y="412"/>
                  <a:pt x="1608" y="411"/>
                  <a:pt x="1608" y="411"/>
                </a:cubicBezTo>
                <a:cubicBezTo>
                  <a:pt x="1608" y="411"/>
                  <a:pt x="1608" y="411"/>
                  <a:pt x="1608" y="411"/>
                </a:cubicBezTo>
                <a:close/>
                <a:moveTo>
                  <a:pt x="1589" y="425"/>
                </a:moveTo>
                <a:cubicBezTo>
                  <a:pt x="1589" y="425"/>
                  <a:pt x="1589" y="425"/>
                  <a:pt x="1589" y="425"/>
                </a:cubicBezTo>
                <a:cubicBezTo>
                  <a:pt x="1588" y="425"/>
                  <a:pt x="1588" y="425"/>
                  <a:pt x="1588" y="425"/>
                </a:cubicBezTo>
                <a:cubicBezTo>
                  <a:pt x="1588" y="425"/>
                  <a:pt x="1588" y="425"/>
                  <a:pt x="1588" y="426"/>
                </a:cubicBezTo>
                <a:cubicBezTo>
                  <a:pt x="1588" y="426"/>
                  <a:pt x="1588" y="426"/>
                  <a:pt x="1588" y="427"/>
                </a:cubicBezTo>
                <a:cubicBezTo>
                  <a:pt x="1588" y="427"/>
                  <a:pt x="1588" y="427"/>
                  <a:pt x="1589" y="427"/>
                </a:cubicBezTo>
                <a:cubicBezTo>
                  <a:pt x="1589" y="427"/>
                  <a:pt x="1589" y="426"/>
                  <a:pt x="1589" y="426"/>
                </a:cubicBezTo>
                <a:cubicBezTo>
                  <a:pt x="1589" y="426"/>
                  <a:pt x="1589" y="426"/>
                  <a:pt x="1589" y="426"/>
                </a:cubicBezTo>
                <a:cubicBezTo>
                  <a:pt x="1589" y="426"/>
                  <a:pt x="1589" y="426"/>
                  <a:pt x="1589" y="426"/>
                </a:cubicBezTo>
                <a:cubicBezTo>
                  <a:pt x="1589" y="425"/>
                  <a:pt x="1589" y="425"/>
                  <a:pt x="1589" y="425"/>
                </a:cubicBezTo>
                <a:close/>
                <a:moveTo>
                  <a:pt x="1580" y="428"/>
                </a:moveTo>
                <a:cubicBezTo>
                  <a:pt x="1580" y="428"/>
                  <a:pt x="1581" y="428"/>
                  <a:pt x="1581" y="428"/>
                </a:cubicBezTo>
                <a:cubicBezTo>
                  <a:pt x="1582" y="428"/>
                  <a:pt x="1582" y="428"/>
                  <a:pt x="1582" y="428"/>
                </a:cubicBezTo>
                <a:cubicBezTo>
                  <a:pt x="1582" y="428"/>
                  <a:pt x="1583" y="428"/>
                  <a:pt x="1583" y="428"/>
                </a:cubicBezTo>
                <a:cubicBezTo>
                  <a:pt x="1583" y="429"/>
                  <a:pt x="1584" y="429"/>
                  <a:pt x="1584" y="429"/>
                </a:cubicBezTo>
                <a:cubicBezTo>
                  <a:pt x="1584" y="430"/>
                  <a:pt x="1584" y="430"/>
                  <a:pt x="1584" y="430"/>
                </a:cubicBezTo>
                <a:cubicBezTo>
                  <a:pt x="1585" y="430"/>
                  <a:pt x="1585" y="430"/>
                  <a:pt x="1585" y="430"/>
                </a:cubicBezTo>
                <a:cubicBezTo>
                  <a:pt x="1585" y="430"/>
                  <a:pt x="1586" y="429"/>
                  <a:pt x="1586" y="429"/>
                </a:cubicBezTo>
                <a:cubicBezTo>
                  <a:pt x="1586" y="429"/>
                  <a:pt x="1587" y="429"/>
                  <a:pt x="1587" y="429"/>
                </a:cubicBezTo>
                <a:cubicBezTo>
                  <a:pt x="1587" y="429"/>
                  <a:pt x="1588" y="428"/>
                  <a:pt x="1588" y="428"/>
                </a:cubicBezTo>
                <a:cubicBezTo>
                  <a:pt x="1588" y="428"/>
                  <a:pt x="1588" y="428"/>
                  <a:pt x="1587" y="428"/>
                </a:cubicBezTo>
                <a:cubicBezTo>
                  <a:pt x="1587" y="428"/>
                  <a:pt x="1587" y="428"/>
                  <a:pt x="1587" y="427"/>
                </a:cubicBezTo>
                <a:cubicBezTo>
                  <a:pt x="1587" y="427"/>
                  <a:pt x="1587" y="427"/>
                  <a:pt x="1587" y="426"/>
                </a:cubicBezTo>
                <a:cubicBezTo>
                  <a:pt x="1586" y="426"/>
                  <a:pt x="1586" y="426"/>
                  <a:pt x="1586" y="426"/>
                </a:cubicBezTo>
                <a:cubicBezTo>
                  <a:pt x="1586" y="426"/>
                  <a:pt x="1585" y="426"/>
                  <a:pt x="1585" y="425"/>
                </a:cubicBezTo>
                <a:cubicBezTo>
                  <a:pt x="1585" y="425"/>
                  <a:pt x="1584" y="425"/>
                  <a:pt x="1584" y="425"/>
                </a:cubicBezTo>
                <a:cubicBezTo>
                  <a:pt x="1583" y="425"/>
                  <a:pt x="1583" y="425"/>
                  <a:pt x="1582" y="425"/>
                </a:cubicBezTo>
                <a:cubicBezTo>
                  <a:pt x="1582" y="425"/>
                  <a:pt x="1582" y="425"/>
                  <a:pt x="1582" y="425"/>
                </a:cubicBezTo>
                <a:cubicBezTo>
                  <a:pt x="1582" y="426"/>
                  <a:pt x="1582" y="426"/>
                  <a:pt x="1582" y="426"/>
                </a:cubicBezTo>
                <a:cubicBezTo>
                  <a:pt x="1581" y="426"/>
                  <a:pt x="1581" y="426"/>
                  <a:pt x="1581" y="426"/>
                </a:cubicBezTo>
                <a:cubicBezTo>
                  <a:pt x="1580" y="426"/>
                  <a:pt x="1580" y="426"/>
                  <a:pt x="1580" y="426"/>
                </a:cubicBezTo>
                <a:cubicBezTo>
                  <a:pt x="1580" y="426"/>
                  <a:pt x="1579" y="426"/>
                  <a:pt x="1579" y="425"/>
                </a:cubicBezTo>
                <a:cubicBezTo>
                  <a:pt x="1579" y="425"/>
                  <a:pt x="1579" y="425"/>
                  <a:pt x="1579" y="424"/>
                </a:cubicBezTo>
                <a:cubicBezTo>
                  <a:pt x="1579" y="424"/>
                  <a:pt x="1579" y="424"/>
                  <a:pt x="1579" y="424"/>
                </a:cubicBezTo>
                <a:cubicBezTo>
                  <a:pt x="1578" y="424"/>
                  <a:pt x="1577" y="425"/>
                  <a:pt x="1577" y="425"/>
                </a:cubicBezTo>
                <a:cubicBezTo>
                  <a:pt x="1577" y="425"/>
                  <a:pt x="1577" y="425"/>
                  <a:pt x="1577" y="425"/>
                </a:cubicBezTo>
                <a:cubicBezTo>
                  <a:pt x="1576" y="425"/>
                  <a:pt x="1576" y="425"/>
                  <a:pt x="1576" y="425"/>
                </a:cubicBezTo>
                <a:cubicBezTo>
                  <a:pt x="1575" y="426"/>
                  <a:pt x="1575" y="426"/>
                  <a:pt x="1575" y="426"/>
                </a:cubicBezTo>
                <a:cubicBezTo>
                  <a:pt x="1575" y="426"/>
                  <a:pt x="1576" y="427"/>
                  <a:pt x="1576" y="427"/>
                </a:cubicBezTo>
                <a:cubicBezTo>
                  <a:pt x="1576" y="427"/>
                  <a:pt x="1576" y="427"/>
                  <a:pt x="1576" y="428"/>
                </a:cubicBezTo>
                <a:cubicBezTo>
                  <a:pt x="1576" y="428"/>
                  <a:pt x="1576" y="428"/>
                  <a:pt x="1576" y="428"/>
                </a:cubicBezTo>
                <a:cubicBezTo>
                  <a:pt x="1576" y="428"/>
                  <a:pt x="1576" y="428"/>
                  <a:pt x="1576" y="428"/>
                </a:cubicBezTo>
                <a:cubicBezTo>
                  <a:pt x="1576" y="428"/>
                  <a:pt x="1576" y="429"/>
                  <a:pt x="1576" y="429"/>
                </a:cubicBezTo>
                <a:cubicBezTo>
                  <a:pt x="1577" y="429"/>
                  <a:pt x="1577" y="429"/>
                  <a:pt x="1577" y="430"/>
                </a:cubicBezTo>
                <a:cubicBezTo>
                  <a:pt x="1577" y="430"/>
                  <a:pt x="1577" y="430"/>
                  <a:pt x="1577" y="430"/>
                </a:cubicBezTo>
                <a:cubicBezTo>
                  <a:pt x="1577" y="430"/>
                  <a:pt x="1577" y="430"/>
                  <a:pt x="1578" y="430"/>
                </a:cubicBezTo>
                <a:cubicBezTo>
                  <a:pt x="1578" y="430"/>
                  <a:pt x="1578" y="430"/>
                  <a:pt x="1578" y="430"/>
                </a:cubicBezTo>
                <a:cubicBezTo>
                  <a:pt x="1578" y="430"/>
                  <a:pt x="1578" y="430"/>
                  <a:pt x="1579" y="431"/>
                </a:cubicBezTo>
                <a:cubicBezTo>
                  <a:pt x="1579" y="431"/>
                  <a:pt x="1579" y="431"/>
                  <a:pt x="1579" y="431"/>
                </a:cubicBezTo>
                <a:cubicBezTo>
                  <a:pt x="1579" y="431"/>
                  <a:pt x="1579" y="430"/>
                  <a:pt x="1579" y="430"/>
                </a:cubicBezTo>
                <a:cubicBezTo>
                  <a:pt x="1579" y="430"/>
                  <a:pt x="1579" y="430"/>
                  <a:pt x="1578" y="429"/>
                </a:cubicBezTo>
                <a:cubicBezTo>
                  <a:pt x="1579" y="429"/>
                  <a:pt x="1579" y="429"/>
                  <a:pt x="1579" y="429"/>
                </a:cubicBezTo>
                <a:cubicBezTo>
                  <a:pt x="1579" y="429"/>
                  <a:pt x="1580" y="428"/>
                  <a:pt x="1580" y="428"/>
                </a:cubicBezTo>
                <a:close/>
                <a:moveTo>
                  <a:pt x="1586" y="425"/>
                </a:moveTo>
                <a:cubicBezTo>
                  <a:pt x="1586" y="425"/>
                  <a:pt x="1586" y="425"/>
                  <a:pt x="1586" y="425"/>
                </a:cubicBezTo>
                <a:cubicBezTo>
                  <a:pt x="1586" y="425"/>
                  <a:pt x="1586" y="424"/>
                  <a:pt x="1586" y="424"/>
                </a:cubicBezTo>
                <a:cubicBezTo>
                  <a:pt x="1585" y="424"/>
                  <a:pt x="1585" y="424"/>
                  <a:pt x="1585" y="425"/>
                </a:cubicBezTo>
                <a:cubicBezTo>
                  <a:pt x="1585" y="425"/>
                  <a:pt x="1585" y="425"/>
                  <a:pt x="1585" y="425"/>
                </a:cubicBezTo>
                <a:cubicBezTo>
                  <a:pt x="1586" y="425"/>
                  <a:pt x="1586" y="425"/>
                  <a:pt x="1586" y="425"/>
                </a:cubicBezTo>
                <a:close/>
                <a:moveTo>
                  <a:pt x="1565" y="438"/>
                </a:moveTo>
                <a:cubicBezTo>
                  <a:pt x="1565" y="438"/>
                  <a:pt x="1565" y="439"/>
                  <a:pt x="1565" y="439"/>
                </a:cubicBezTo>
                <a:cubicBezTo>
                  <a:pt x="1565" y="439"/>
                  <a:pt x="1565" y="439"/>
                  <a:pt x="1565" y="440"/>
                </a:cubicBezTo>
                <a:cubicBezTo>
                  <a:pt x="1565" y="440"/>
                  <a:pt x="1565" y="440"/>
                  <a:pt x="1566" y="440"/>
                </a:cubicBezTo>
                <a:cubicBezTo>
                  <a:pt x="1566" y="440"/>
                  <a:pt x="1566" y="440"/>
                  <a:pt x="1566" y="440"/>
                </a:cubicBezTo>
                <a:cubicBezTo>
                  <a:pt x="1566" y="440"/>
                  <a:pt x="1566" y="439"/>
                  <a:pt x="1566" y="439"/>
                </a:cubicBezTo>
                <a:cubicBezTo>
                  <a:pt x="1566" y="439"/>
                  <a:pt x="1566" y="439"/>
                  <a:pt x="1566" y="439"/>
                </a:cubicBezTo>
                <a:cubicBezTo>
                  <a:pt x="1565" y="438"/>
                  <a:pt x="1565" y="438"/>
                  <a:pt x="1565" y="438"/>
                </a:cubicBezTo>
                <a:close/>
                <a:moveTo>
                  <a:pt x="1580" y="414"/>
                </a:moveTo>
                <a:cubicBezTo>
                  <a:pt x="1580" y="414"/>
                  <a:pt x="1580" y="414"/>
                  <a:pt x="1580" y="414"/>
                </a:cubicBezTo>
                <a:cubicBezTo>
                  <a:pt x="1580" y="414"/>
                  <a:pt x="1580" y="414"/>
                  <a:pt x="1580" y="414"/>
                </a:cubicBezTo>
                <a:cubicBezTo>
                  <a:pt x="1580" y="414"/>
                  <a:pt x="1580" y="414"/>
                  <a:pt x="1580" y="414"/>
                </a:cubicBezTo>
                <a:cubicBezTo>
                  <a:pt x="1580" y="414"/>
                  <a:pt x="1580" y="414"/>
                  <a:pt x="1580" y="414"/>
                </a:cubicBezTo>
                <a:close/>
                <a:moveTo>
                  <a:pt x="1559" y="424"/>
                </a:moveTo>
                <a:cubicBezTo>
                  <a:pt x="1558" y="423"/>
                  <a:pt x="1558" y="423"/>
                  <a:pt x="1558" y="423"/>
                </a:cubicBezTo>
                <a:cubicBezTo>
                  <a:pt x="1558" y="423"/>
                  <a:pt x="1558" y="423"/>
                  <a:pt x="1558" y="424"/>
                </a:cubicBezTo>
                <a:cubicBezTo>
                  <a:pt x="1558" y="424"/>
                  <a:pt x="1558" y="424"/>
                  <a:pt x="1559" y="424"/>
                </a:cubicBezTo>
                <a:close/>
                <a:moveTo>
                  <a:pt x="1528" y="457"/>
                </a:moveTo>
                <a:cubicBezTo>
                  <a:pt x="1528" y="457"/>
                  <a:pt x="1528" y="456"/>
                  <a:pt x="1528" y="456"/>
                </a:cubicBezTo>
                <a:cubicBezTo>
                  <a:pt x="1528" y="456"/>
                  <a:pt x="1528" y="456"/>
                  <a:pt x="1528" y="456"/>
                </a:cubicBezTo>
                <a:cubicBezTo>
                  <a:pt x="1527" y="456"/>
                  <a:pt x="1527" y="456"/>
                  <a:pt x="1527" y="457"/>
                </a:cubicBezTo>
                <a:cubicBezTo>
                  <a:pt x="1527" y="457"/>
                  <a:pt x="1528" y="457"/>
                  <a:pt x="1528" y="457"/>
                </a:cubicBezTo>
                <a:cubicBezTo>
                  <a:pt x="1528" y="457"/>
                  <a:pt x="1528" y="457"/>
                  <a:pt x="1528" y="457"/>
                </a:cubicBezTo>
                <a:close/>
                <a:moveTo>
                  <a:pt x="1565" y="428"/>
                </a:moveTo>
                <a:cubicBezTo>
                  <a:pt x="1565" y="428"/>
                  <a:pt x="1565" y="427"/>
                  <a:pt x="1565" y="427"/>
                </a:cubicBezTo>
                <a:cubicBezTo>
                  <a:pt x="1564" y="427"/>
                  <a:pt x="1564" y="427"/>
                  <a:pt x="1564" y="427"/>
                </a:cubicBezTo>
                <a:cubicBezTo>
                  <a:pt x="1564" y="428"/>
                  <a:pt x="1564" y="428"/>
                  <a:pt x="1564" y="428"/>
                </a:cubicBezTo>
                <a:cubicBezTo>
                  <a:pt x="1564" y="428"/>
                  <a:pt x="1564" y="428"/>
                  <a:pt x="1565" y="428"/>
                </a:cubicBezTo>
                <a:cubicBezTo>
                  <a:pt x="1565" y="428"/>
                  <a:pt x="1565" y="428"/>
                  <a:pt x="1565" y="428"/>
                </a:cubicBezTo>
                <a:close/>
                <a:moveTo>
                  <a:pt x="1529" y="456"/>
                </a:moveTo>
                <a:cubicBezTo>
                  <a:pt x="1529" y="457"/>
                  <a:pt x="1529" y="457"/>
                  <a:pt x="1529" y="457"/>
                </a:cubicBezTo>
                <a:cubicBezTo>
                  <a:pt x="1529" y="457"/>
                  <a:pt x="1529" y="457"/>
                  <a:pt x="1530" y="457"/>
                </a:cubicBezTo>
                <a:cubicBezTo>
                  <a:pt x="1530" y="457"/>
                  <a:pt x="1530" y="457"/>
                  <a:pt x="1530" y="457"/>
                </a:cubicBezTo>
                <a:cubicBezTo>
                  <a:pt x="1530" y="456"/>
                  <a:pt x="1530" y="456"/>
                  <a:pt x="1530" y="456"/>
                </a:cubicBezTo>
                <a:cubicBezTo>
                  <a:pt x="1529" y="456"/>
                  <a:pt x="1529" y="456"/>
                  <a:pt x="1529" y="456"/>
                </a:cubicBezTo>
                <a:close/>
                <a:moveTo>
                  <a:pt x="1559" y="423"/>
                </a:moveTo>
                <a:cubicBezTo>
                  <a:pt x="1559" y="423"/>
                  <a:pt x="1559" y="423"/>
                  <a:pt x="1559" y="423"/>
                </a:cubicBezTo>
                <a:cubicBezTo>
                  <a:pt x="1559" y="423"/>
                  <a:pt x="1559" y="423"/>
                  <a:pt x="1559" y="423"/>
                </a:cubicBezTo>
                <a:cubicBezTo>
                  <a:pt x="1559" y="423"/>
                  <a:pt x="1559" y="423"/>
                  <a:pt x="1559" y="423"/>
                </a:cubicBezTo>
                <a:close/>
                <a:moveTo>
                  <a:pt x="1582" y="414"/>
                </a:moveTo>
                <a:cubicBezTo>
                  <a:pt x="1582" y="414"/>
                  <a:pt x="1582" y="414"/>
                  <a:pt x="1582" y="413"/>
                </a:cubicBezTo>
                <a:cubicBezTo>
                  <a:pt x="1582" y="413"/>
                  <a:pt x="1581" y="413"/>
                  <a:pt x="1581" y="413"/>
                </a:cubicBezTo>
                <a:cubicBezTo>
                  <a:pt x="1581" y="413"/>
                  <a:pt x="1581" y="413"/>
                  <a:pt x="1581" y="413"/>
                </a:cubicBezTo>
                <a:cubicBezTo>
                  <a:pt x="1581" y="414"/>
                  <a:pt x="1581" y="414"/>
                  <a:pt x="1581" y="414"/>
                </a:cubicBezTo>
                <a:cubicBezTo>
                  <a:pt x="1581" y="414"/>
                  <a:pt x="1581" y="414"/>
                  <a:pt x="1581" y="414"/>
                </a:cubicBezTo>
                <a:cubicBezTo>
                  <a:pt x="1582" y="414"/>
                  <a:pt x="1582" y="414"/>
                  <a:pt x="1582" y="414"/>
                </a:cubicBezTo>
                <a:close/>
                <a:moveTo>
                  <a:pt x="1548" y="452"/>
                </a:moveTo>
                <a:cubicBezTo>
                  <a:pt x="1548" y="453"/>
                  <a:pt x="1548" y="453"/>
                  <a:pt x="1548" y="453"/>
                </a:cubicBezTo>
                <a:cubicBezTo>
                  <a:pt x="1548" y="453"/>
                  <a:pt x="1548" y="454"/>
                  <a:pt x="1548" y="454"/>
                </a:cubicBezTo>
                <a:cubicBezTo>
                  <a:pt x="1548" y="453"/>
                  <a:pt x="1548" y="453"/>
                  <a:pt x="1548" y="453"/>
                </a:cubicBezTo>
                <a:cubicBezTo>
                  <a:pt x="1549" y="453"/>
                  <a:pt x="1549" y="453"/>
                  <a:pt x="1550" y="453"/>
                </a:cubicBezTo>
                <a:cubicBezTo>
                  <a:pt x="1550" y="453"/>
                  <a:pt x="1550" y="452"/>
                  <a:pt x="1550" y="452"/>
                </a:cubicBezTo>
                <a:cubicBezTo>
                  <a:pt x="1550" y="452"/>
                  <a:pt x="1551" y="452"/>
                  <a:pt x="1551" y="452"/>
                </a:cubicBezTo>
                <a:cubicBezTo>
                  <a:pt x="1551" y="452"/>
                  <a:pt x="1551" y="451"/>
                  <a:pt x="1551" y="451"/>
                </a:cubicBezTo>
                <a:cubicBezTo>
                  <a:pt x="1550" y="451"/>
                  <a:pt x="1550" y="451"/>
                  <a:pt x="1550" y="452"/>
                </a:cubicBezTo>
                <a:cubicBezTo>
                  <a:pt x="1549" y="452"/>
                  <a:pt x="1549" y="452"/>
                  <a:pt x="1549" y="452"/>
                </a:cubicBezTo>
                <a:cubicBezTo>
                  <a:pt x="1549" y="452"/>
                  <a:pt x="1549" y="452"/>
                  <a:pt x="1549" y="452"/>
                </a:cubicBezTo>
                <a:cubicBezTo>
                  <a:pt x="1549" y="452"/>
                  <a:pt x="1549" y="452"/>
                  <a:pt x="1549" y="452"/>
                </a:cubicBezTo>
                <a:cubicBezTo>
                  <a:pt x="1548" y="452"/>
                  <a:pt x="1548" y="452"/>
                  <a:pt x="1548" y="452"/>
                </a:cubicBezTo>
                <a:close/>
                <a:moveTo>
                  <a:pt x="1534" y="456"/>
                </a:moveTo>
                <a:cubicBezTo>
                  <a:pt x="1534" y="456"/>
                  <a:pt x="1534" y="457"/>
                  <a:pt x="1534" y="457"/>
                </a:cubicBezTo>
                <a:cubicBezTo>
                  <a:pt x="1535" y="457"/>
                  <a:pt x="1535" y="457"/>
                  <a:pt x="1535" y="457"/>
                </a:cubicBezTo>
                <a:cubicBezTo>
                  <a:pt x="1535" y="457"/>
                  <a:pt x="1535" y="457"/>
                  <a:pt x="1536" y="456"/>
                </a:cubicBezTo>
                <a:cubicBezTo>
                  <a:pt x="1535" y="456"/>
                  <a:pt x="1535" y="456"/>
                  <a:pt x="1535" y="456"/>
                </a:cubicBezTo>
                <a:cubicBezTo>
                  <a:pt x="1534" y="456"/>
                  <a:pt x="1534" y="456"/>
                  <a:pt x="1534" y="456"/>
                </a:cubicBezTo>
                <a:close/>
                <a:moveTo>
                  <a:pt x="1569" y="422"/>
                </a:moveTo>
                <a:cubicBezTo>
                  <a:pt x="1568" y="422"/>
                  <a:pt x="1568" y="422"/>
                  <a:pt x="1568" y="422"/>
                </a:cubicBezTo>
                <a:cubicBezTo>
                  <a:pt x="1567" y="422"/>
                  <a:pt x="1567" y="422"/>
                  <a:pt x="1566" y="422"/>
                </a:cubicBezTo>
                <a:cubicBezTo>
                  <a:pt x="1566" y="422"/>
                  <a:pt x="1566" y="422"/>
                  <a:pt x="1566" y="422"/>
                </a:cubicBezTo>
                <a:cubicBezTo>
                  <a:pt x="1566" y="422"/>
                  <a:pt x="1565" y="422"/>
                  <a:pt x="1565" y="422"/>
                </a:cubicBezTo>
                <a:cubicBezTo>
                  <a:pt x="1565" y="422"/>
                  <a:pt x="1564" y="422"/>
                  <a:pt x="1564" y="423"/>
                </a:cubicBezTo>
                <a:cubicBezTo>
                  <a:pt x="1564" y="423"/>
                  <a:pt x="1564" y="423"/>
                  <a:pt x="1563" y="423"/>
                </a:cubicBezTo>
                <a:cubicBezTo>
                  <a:pt x="1563" y="423"/>
                  <a:pt x="1563" y="423"/>
                  <a:pt x="1563" y="423"/>
                </a:cubicBezTo>
                <a:cubicBezTo>
                  <a:pt x="1562" y="423"/>
                  <a:pt x="1562" y="423"/>
                  <a:pt x="1562" y="423"/>
                </a:cubicBezTo>
                <a:cubicBezTo>
                  <a:pt x="1562" y="423"/>
                  <a:pt x="1562" y="423"/>
                  <a:pt x="1562" y="423"/>
                </a:cubicBezTo>
                <a:cubicBezTo>
                  <a:pt x="1562" y="423"/>
                  <a:pt x="1562" y="423"/>
                  <a:pt x="1562" y="423"/>
                </a:cubicBezTo>
                <a:cubicBezTo>
                  <a:pt x="1563" y="423"/>
                  <a:pt x="1563" y="424"/>
                  <a:pt x="1563" y="424"/>
                </a:cubicBezTo>
                <a:cubicBezTo>
                  <a:pt x="1563" y="424"/>
                  <a:pt x="1563" y="424"/>
                  <a:pt x="1563" y="425"/>
                </a:cubicBezTo>
                <a:cubicBezTo>
                  <a:pt x="1563" y="425"/>
                  <a:pt x="1562" y="425"/>
                  <a:pt x="1562" y="425"/>
                </a:cubicBezTo>
                <a:cubicBezTo>
                  <a:pt x="1562" y="425"/>
                  <a:pt x="1562" y="424"/>
                  <a:pt x="1562" y="424"/>
                </a:cubicBezTo>
                <a:cubicBezTo>
                  <a:pt x="1562" y="424"/>
                  <a:pt x="1562" y="424"/>
                  <a:pt x="1562" y="424"/>
                </a:cubicBezTo>
                <a:cubicBezTo>
                  <a:pt x="1562" y="424"/>
                  <a:pt x="1562" y="424"/>
                  <a:pt x="1562" y="424"/>
                </a:cubicBezTo>
                <a:cubicBezTo>
                  <a:pt x="1562" y="424"/>
                  <a:pt x="1562" y="425"/>
                  <a:pt x="1562" y="425"/>
                </a:cubicBezTo>
                <a:cubicBezTo>
                  <a:pt x="1562" y="425"/>
                  <a:pt x="1562" y="425"/>
                  <a:pt x="1562" y="425"/>
                </a:cubicBezTo>
                <a:cubicBezTo>
                  <a:pt x="1562" y="425"/>
                  <a:pt x="1562" y="426"/>
                  <a:pt x="1562" y="426"/>
                </a:cubicBezTo>
                <a:cubicBezTo>
                  <a:pt x="1562" y="426"/>
                  <a:pt x="1562" y="426"/>
                  <a:pt x="1562" y="426"/>
                </a:cubicBezTo>
                <a:cubicBezTo>
                  <a:pt x="1562" y="426"/>
                  <a:pt x="1562" y="426"/>
                  <a:pt x="1562" y="426"/>
                </a:cubicBezTo>
                <a:cubicBezTo>
                  <a:pt x="1562" y="426"/>
                  <a:pt x="1563" y="426"/>
                  <a:pt x="1563" y="426"/>
                </a:cubicBezTo>
                <a:cubicBezTo>
                  <a:pt x="1563" y="426"/>
                  <a:pt x="1563" y="426"/>
                  <a:pt x="1564" y="426"/>
                </a:cubicBezTo>
                <a:cubicBezTo>
                  <a:pt x="1564" y="426"/>
                  <a:pt x="1564" y="426"/>
                  <a:pt x="1564" y="426"/>
                </a:cubicBezTo>
                <a:cubicBezTo>
                  <a:pt x="1564" y="426"/>
                  <a:pt x="1564" y="426"/>
                  <a:pt x="1563" y="426"/>
                </a:cubicBezTo>
                <a:cubicBezTo>
                  <a:pt x="1564" y="426"/>
                  <a:pt x="1564" y="426"/>
                  <a:pt x="1564" y="427"/>
                </a:cubicBezTo>
                <a:cubicBezTo>
                  <a:pt x="1564" y="427"/>
                  <a:pt x="1564" y="427"/>
                  <a:pt x="1565" y="427"/>
                </a:cubicBezTo>
                <a:cubicBezTo>
                  <a:pt x="1565" y="426"/>
                  <a:pt x="1565" y="426"/>
                  <a:pt x="1565" y="426"/>
                </a:cubicBezTo>
                <a:cubicBezTo>
                  <a:pt x="1565" y="426"/>
                  <a:pt x="1565" y="426"/>
                  <a:pt x="1564" y="425"/>
                </a:cubicBezTo>
                <a:cubicBezTo>
                  <a:pt x="1564" y="425"/>
                  <a:pt x="1564" y="425"/>
                  <a:pt x="1563" y="425"/>
                </a:cubicBezTo>
                <a:cubicBezTo>
                  <a:pt x="1563" y="425"/>
                  <a:pt x="1564" y="425"/>
                  <a:pt x="1564" y="425"/>
                </a:cubicBezTo>
                <a:cubicBezTo>
                  <a:pt x="1564" y="425"/>
                  <a:pt x="1564" y="425"/>
                  <a:pt x="1564" y="425"/>
                </a:cubicBezTo>
                <a:cubicBezTo>
                  <a:pt x="1564" y="425"/>
                  <a:pt x="1564" y="424"/>
                  <a:pt x="1564" y="424"/>
                </a:cubicBezTo>
                <a:cubicBezTo>
                  <a:pt x="1564" y="424"/>
                  <a:pt x="1564" y="424"/>
                  <a:pt x="1565" y="424"/>
                </a:cubicBezTo>
                <a:cubicBezTo>
                  <a:pt x="1565" y="424"/>
                  <a:pt x="1565" y="424"/>
                  <a:pt x="1565" y="425"/>
                </a:cubicBezTo>
                <a:cubicBezTo>
                  <a:pt x="1565" y="425"/>
                  <a:pt x="1566" y="425"/>
                  <a:pt x="1566" y="426"/>
                </a:cubicBezTo>
                <a:cubicBezTo>
                  <a:pt x="1566" y="426"/>
                  <a:pt x="1566" y="426"/>
                  <a:pt x="1566" y="427"/>
                </a:cubicBezTo>
                <a:cubicBezTo>
                  <a:pt x="1566" y="427"/>
                  <a:pt x="1566" y="427"/>
                  <a:pt x="1566" y="427"/>
                </a:cubicBezTo>
                <a:cubicBezTo>
                  <a:pt x="1566" y="428"/>
                  <a:pt x="1566" y="428"/>
                  <a:pt x="1565" y="428"/>
                </a:cubicBezTo>
                <a:cubicBezTo>
                  <a:pt x="1565" y="429"/>
                  <a:pt x="1565" y="429"/>
                  <a:pt x="1564" y="429"/>
                </a:cubicBezTo>
                <a:cubicBezTo>
                  <a:pt x="1564" y="429"/>
                  <a:pt x="1564" y="429"/>
                  <a:pt x="1563" y="429"/>
                </a:cubicBezTo>
                <a:cubicBezTo>
                  <a:pt x="1563" y="429"/>
                  <a:pt x="1563" y="429"/>
                  <a:pt x="1563" y="429"/>
                </a:cubicBezTo>
                <a:cubicBezTo>
                  <a:pt x="1564" y="430"/>
                  <a:pt x="1564" y="430"/>
                  <a:pt x="1564" y="431"/>
                </a:cubicBezTo>
                <a:cubicBezTo>
                  <a:pt x="1564" y="431"/>
                  <a:pt x="1564" y="432"/>
                  <a:pt x="1564" y="432"/>
                </a:cubicBezTo>
                <a:cubicBezTo>
                  <a:pt x="1564" y="432"/>
                  <a:pt x="1564" y="433"/>
                  <a:pt x="1564" y="433"/>
                </a:cubicBezTo>
                <a:cubicBezTo>
                  <a:pt x="1564" y="433"/>
                  <a:pt x="1564" y="433"/>
                  <a:pt x="1564" y="434"/>
                </a:cubicBezTo>
                <a:cubicBezTo>
                  <a:pt x="1564" y="434"/>
                  <a:pt x="1564" y="434"/>
                  <a:pt x="1563" y="434"/>
                </a:cubicBezTo>
                <a:cubicBezTo>
                  <a:pt x="1564" y="434"/>
                  <a:pt x="1564" y="434"/>
                  <a:pt x="1564" y="435"/>
                </a:cubicBezTo>
                <a:cubicBezTo>
                  <a:pt x="1564" y="435"/>
                  <a:pt x="1564" y="435"/>
                  <a:pt x="1565" y="435"/>
                </a:cubicBezTo>
                <a:cubicBezTo>
                  <a:pt x="1565" y="435"/>
                  <a:pt x="1565" y="435"/>
                  <a:pt x="1565" y="435"/>
                </a:cubicBezTo>
                <a:cubicBezTo>
                  <a:pt x="1565" y="435"/>
                  <a:pt x="1565" y="435"/>
                  <a:pt x="1566" y="435"/>
                </a:cubicBezTo>
                <a:cubicBezTo>
                  <a:pt x="1566" y="435"/>
                  <a:pt x="1566" y="435"/>
                  <a:pt x="1566" y="435"/>
                </a:cubicBezTo>
                <a:cubicBezTo>
                  <a:pt x="1566" y="434"/>
                  <a:pt x="1565" y="434"/>
                  <a:pt x="1565" y="434"/>
                </a:cubicBezTo>
                <a:cubicBezTo>
                  <a:pt x="1565" y="433"/>
                  <a:pt x="1566" y="433"/>
                  <a:pt x="1566" y="433"/>
                </a:cubicBezTo>
                <a:cubicBezTo>
                  <a:pt x="1566" y="433"/>
                  <a:pt x="1566" y="432"/>
                  <a:pt x="1566" y="432"/>
                </a:cubicBezTo>
                <a:cubicBezTo>
                  <a:pt x="1567" y="433"/>
                  <a:pt x="1567" y="433"/>
                  <a:pt x="1567" y="433"/>
                </a:cubicBezTo>
                <a:cubicBezTo>
                  <a:pt x="1567" y="433"/>
                  <a:pt x="1566" y="433"/>
                  <a:pt x="1566" y="433"/>
                </a:cubicBezTo>
                <a:cubicBezTo>
                  <a:pt x="1566" y="433"/>
                  <a:pt x="1566" y="433"/>
                  <a:pt x="1566" y="433"/>
                </a:cubicBezTo>
                <a:cubicBezTo>
                  <a:pt x="1566" y="434"/>
                  <a:pt x="1567" y="434"/>
                  <a:pt x="1567" y="434"/>
                </a:cubicBezTo>
                <a:cubicBezTo>
                  <a:pt x="1567" y="435"/>
                  <a:pt x="1567" y="435"/>
                  <a:pt x="1567" y="435"/>
                </a:cubicBezTo>
                <a:cubicBezTo>
                  <a:pt x="1567" y="435"/>
                  <a:pt x="1566" y="436"/>
                  <a:pt x="1566" y="436"/>
                </a:cubicBezTo>
                <a:cubicBezTo>
                  <a:pt x="1566" y="436"/>
                  <a:pt x="1566" y="436"/>
                  <a:pt x="1566" y="436"/>
                </a:cubicBezTo>
                <a:cubicBezTo>
                  <a:pt x="1566" y="436"/>
                  <a:pt x="1567" y="436"/>
                  <a:pt x="1567" y="436"/>
                </a:cubicBezTo>
                <a:cubicBezTo>
                  <a:pt x="1568" y="436"/>
                  <a:pt x="1568" y="436"/>
                  <a:pt x="1569" y="436"/>
                </a:cubicBezTo>
                <a:cubicBezTo>
                  <a:pt x="1568" y="435"/>
                  <a:pt x="1568" y="435"/>
                  <a:pt x="1568" y="435"/>
                </a:cubicBezTo>
                <a:cubicBezTo>
                  <a:pt x="1568" y="435"/>
                  <a:pt x="1568" y="434"/>
                  <a:pt x="1568" y="434"/>
                </a:cubicBezTo>
                <a:cubicBezTo>
                  <a:pt x="1568" y="434"/>
                  <a:pt x="1568" y="434"/>
                  <a:pt x="1569" y="434"/>
                </a:cubicBezTo>
                <a:cubicBezTo>
                  <a:pt x="1569" y="434"/>
                  <a:pt x="1569" y="435"/>
                  <a:pt x="1569" y="435"/>
                </a:cubicBezTo>
                <a:cubicBezTo>
                  <a:pt x="1569" y="435"/>
                  <a:pt x="1569" y="435"/>
                  <a:pt x="1570" y="435"/>
                </a:cubicBezTo>
                <a:cubicBezTo>
                  <a:pt x="1570" y="435"/>
                  <a:pt x="1570" y="435"/>
                  <a:pt x="1570" y="434"/>
                </a:cubicBezTo>
                <a:cubicBezTo>
                  <a:pt x="1570" y="434"/>
                  <a:pt x="1570" y="434"/>
                  <a:pt x="1570" y="433"/>
                </a:cubicBezTo>
                <a:cubicBezTo>
                  <a:pt x="1570" y="433"/>
                  <a:pt x="1570" y="433"/>
                  <a:pt x="1570" y="433"/>
                </a:cubicBezTo>
                <a:cubicBezTo>
                  <a:pt x="1571" y="432"/>
                  <a:pt x="1571" y="431"/>
                  <a:pt x="1571" y="431"/>
                </a:cubicBezTo>
                <a:cubicBezTo>
                  <a:pt x="1571" y="430"/>
                  <a:pt x="1571" y="430"/>
                  <a:pt x="1572" y="430"/>
                </a:cubicBezTo>
                <a:cubicBezTo>
                  <a:pt x="1572" y="430"/>
                  <a:pt x="1572" y="429"/>
                  <a:pt x="1572" y="429"/>
                </a:cubicBezTo>
                <a:cubicBezTo>
                  <a:pt x="1573" y="429"/>
                  <a:pt x="1573" y="429"/>
                  <a:pt x="1574" y="429"/>
                </a:cubicBezTo>
                <a:cubicBezTo>
                  <a:pt x="1574" y="429"/>
                  <a:pt x="1574" y="429"/>
                  <a:pt x="1574" y="428"/>
                </a:cubicBezTo>
                <a:cubicBezTo>
                  <a:pt x="1573" y="428"/>
                  <a:pt x="1573" y="428"/>
                  <a:pt x="1573" y="428"/>
                </a:cubicBezTo>
                <a:cubicBezTo>
                  <a:pt x="1573" y="428"/>
                  <a:pt x="1573" y="428"/>
                  <a:pt x="1573" y="427"/>
                </a:cubicBezTo>
                <a:cubicBezTo>
                  <a:pt x="1573" y="427"/>
                  <a:pt x="1573" y="427"/>
                  <a:pt x="1573" y="427"/>
                </a:cubicBezTo>
                <a:cubicBezTo>
                  <a:pt x="1573" y="427"/>
                  <a:pt x="1573" y="427"/>
                  <a:pt x="1573" y="427"/>
                </a:cubicBezTo>
                <a:cubicBezTo>
                  <a:pt x="1573" y="427"/>
                  <a:pt x="1572" y="426"/>
                  <a:pt x="1572" y="426"/>
                </a:cubicBezTo>
                <a:cubicBezTo>
                  <a:pt x="1572" y="426"/>
                  <a:pt x="1571" y="426"/>
                  <a:pt x="1571" y="426"/>
                </a:cubicBezTo>
                <a:cubicBezTo>
                  <a:pt x="1572" y="426"/>
                  <a:pt x="1572" y="426"/>
                  <a:pt x="1572" y="426"/>
                </a:cubicBezTo>
                <a:cubicBezTo>
                  <a:pt x="1572" y="426"/>
                  <a:pt x="1573" y="426"/>
                  <a:pt x="1573" y="425"/>
                </a:cubicBezTo>
                <a:cubicBezTo>
                  <a:pt x="1573" y="425"/>
                  <a:pt x="1573" y="425"/>
                  <a:pt x="1573" y="424"/>
                </a:cubicBezTo>
                <a:cubicBezTo>
                  <a:pt x="1573" y="424"/>
                  <a:pt x="1573" y="424"/>
                  <a:pt x="1572" y="424"/>
                </a:cubicBezTo>
                <a:cubicBezTo>
                  <a:pt x="1572" y="424"/>
                  <a:pt x="1572" y="424"/>
                  <a:pt x="1572" y="424"/>
                </a:cubicBezTo>
                <a:cubicBezTo>
                  <a:pt x="1571" y="424"/>
                  <a:pt x="1571" y="424"/>
                  <a:pt x="1571" y="424"/>
                </a:cubicBezTo>
                <a:cubicBezTo>
                  <a:pt x="1571" y="424"/>
                  <a:pt x="1571" y="424"/>
                  <a:pt x="1571" y="424"/>
                </a:cubicBezTo>
                <a:cubicBezTo>
                  <a:pt x="1570" y="424"/>
                  <a:pt x="1570" y="424"/>
                  <a:pt x="1570" y="424"/>
                </a:cubicBezTo>
                <a:cubicBezTo>
                  <a:pt x="1570" y="423"/>
                  <a:pt x="1569" y="423"/>
                  <a:pt x="1569" y="423"/>
                </a:cubicBezTo>
                <a:cubicBezTo>
                  <a:pt x="1569" y="422"/>
                  <a:pt x="1569" y="422"/>
                  <a:pt x="1570" y="422"/>
                </a:cubicBezTo>
                <a:cubicBezTo>
                  <a:pt x="1570" y="422"/>
                  <a:pt x="1571" y="422"/>
                  <a:pt x="1571" y="422"/>
                </a:cubicBezTo>
                <a:cubicBezTo>
                  <a:pt x="1572" y="422"/>
                  <a:pt x="1572" y="422"/>
                  <a:pt x="1573" y="422"/>
                </a:cubicBezTo>
                <a:cubicBezTo>
                  <a:pt x="1573" y="423"/>
                  <a:pt x="1574" y="423"/>
                  <a:pt x="1574" y="423"/>
                </a:cubicBezTo>
                <a:cubicBezTo>
                  <a:pt x="1574" y="424"/>
                  <a:pt x="1575" y="424"/>
                  <a:pt x="1575" y="424"/>
                </a:cubicBezTo>
                <a:cubicBezTo>
                  <a:pt x="1575" y="424"/>
                  <a:pt x="1575" y="424"/>
                  <a:pt x="1575" y="424"/>
                </a:cubicBezTo>
                <a:cubicBezTo>
                  <a:pt x="1575" y="424"/>
                  <a:pt x="1575" y="423"/>
                  <a:pt x="1575" y="423"/>
                </a:cubicBezTo>
                <a:cubicBezTo>
                  <a:pt x="1575" y="423"/>
                  <a:pt x="1575" y="423"/>
                  <a:pt x="1576" y="423"/>
                </a:cubicBezTo>
                <a:cubicBezTo>
                  <a:pt x="1576" y="422"/>
                  <a:pt x="1576" y="422"/>
                  <a:pt x="1576" y="422"/>
                </a:cubicBezTo>
                <a:cubicBezTo>
                  <a:pt x="1576" y="422"/>
                  <a:pt x="1576" y="422"/>
                  <a:pt x="1576" y="422"/>
                </a:cubicBezTo>
                <a:cubicBezTo>
                  <a:pt x="1576" y="422"/>
                  <a:pt x="1576" y="422"/>
                  <a:pt x="1577" y="422"/>
                </a:cubicBezTo>
                <a:cubicBezTo>
                  <a:pt x="1577" y="422"/>
                  <a:pt x="1577" y="422"/>
                  <a:pt x="1577" y="423"/>
                </a:cubicBezTo>
                <a:cubicBezTo>
                  <a:pt x="1577" y="423"/>
                  <a:pt x="1577" y="423"/>
                  <a:pt x="1578" y="423"/>
                </a:cubicBezTo>
                <a:cubicBezTo>
                  <a:pt x="1578" y="423"/>
                  <a:pt x="1578" y="423"/>
                  <a:pt x="1579" y="423"/>
                </a:cubicBezTo>
                <a:cubicBezTo>
                  <a:pt x="1579" y="423"/>
                  <a:pt x="1580" y="423"/>
                  <a:pt x="1580" y="423"/>
                </a:cubicBezTo>
                <a:cubicBezTo>
                  <a:pt x="1581" y="423"/>
                  <a:pt x="1581" y="423"/>
                  <a:pt x="1582" y="423"/>
                </a:cubicBezTo>
                <a:cubicBezTo>
                  <a:pt x="1582" y="424"/>
                  <a:pt x="1583" y="424"/>
                  <a:pt x="1583" y="424"/>
                </a:cubicBezTo>
                <a:cubicBezTo>
                  <a:pt x="1583" y="424"/>
                  <a:pt x="1583" y="424"/>
                  <a:pt x="1583" y="424"/>
                </a:cubicBezTo>
                <a:cubicBezTo>
                  <a:pt x="1584" y="424"/>
                  <a:pt x="1584" y="424"/>
                  <a:pt x="1584" y="424"/>
                </a:cubicBezTo>
                <a:cubicBezTo>
                  <a:pt x="1584" y="424"/>
                  <a:pt x="1584" y="424"/>
                  <a:pt x="1584" y="424"/>
                </a:cubicBezTo>
                <a:cubicBezTo>
                  <a:pt x="1585" y="424"/>
                  <a:pt x="1585" y="424"/>
                  <a:pt x="1585" y="424"/>
                </a:cubicBezTo>
                <a:cubicBezTo>
                  <a:pt x="1585" y="424"/>
                  <a:pt x="1586" y="424"/>
                  <a:pt x="1586" y="424"/>
                </a:cubicBezTo>
                <a:cubicBezTo>
                  <a:pt x="1586" y="424"/>
                  <a:pt x="1587" y="423"/>
                  <a:pt x="1587" y="423"/>
                </a:cubicBezTo>
                <a:cubicBezTo>
                  <a:pt x="1588" y="423"/>
                  <a:pt x="1588" y="424"/>
                  <a:pt x="1588" y="424"/>
                </a:cubicBezTo>
                <a:cubicBezTo>
                  <a:pt x="1589" y="424"/>
                  <a:pt x="1589" y="424"/>
                  <a:pt x="1590" y="424"/>
                </a:cubicBezTo>
                <a:cubicBezTo>
                  <a:pt x="1590" y="424"/>
                  <a:pt x="1591" y="424"/>
                  <a:pt x="1591" y="425"/>
                </a:cubicBezTo>
                <a:cubicBezTo>
                  <a:pt x="1591" y="425"/>
                  <a:pt x="1591" y="425"/>
                  <a:pt x="1591" y="425"/>
                </a:cubicBezTo>
                <a:cubicBezTo>
                  <a:pt x="1591" y="425"/>
                  <a:pt x="1591" y="425"/>
                  <a:pt x="1591" y="426"/>
                </a:cubicBezTo>
                <a:cubicBezTo>
                  <a:pt x="1591" y="426"/>
                  <a:pt x="1590" y="426"/>
                  <a:pt x="1590" y="426"/>
                </a:cubicBezTo>
                <a:cubicBezTo>
                  <a:pt x="1590" y="426"/>
                  <a:pt x="1590" y="426"/>
                  <a:pt x="1589" y="426"/>
                </a:cubicBezTo>
                <a:cubicBezTo>
                  <a:pt x="1589" y="427"/>
                  <a:pt x="1590" y="427"/>
                  <a:pt x="1590" y="427"/>
                </a:cubicBezTo>
                <a:cubicBezTo>
                  <a:pt x="1590" y="427"/>
                  <a:pt x="1590" y="427"/>
                  <a:pt x="1590" y="428"/>
                </a:cubicBezTo>
                <a:cubicBezTo>
                  <a:pt x="1590" y="428"/>
                  <a:pt x="1589" y="428"/>
                  <a:pt x="1589" y="428"/>
                </a:cubicBezTo>
                <a:cubicBezTo>
                  <a:pt x="1589" y="428"/>
                  <a:pt x="1589" y="428"/>
                  <a:pt x="1589" y="428"/>
                </a:cubicBezTo>
                <a:cubicBezTo>
                  <a:pt x="1589" y="429"/>
                  <a:pt x="1589" y="429"/>
                  <a:pt x="1589" y="429"/>
                </a:cubicBezTo>
                <a:cubicBezTo>
                  <a:pt x="1589" y="429"/>
                  <a:pt x="1590" y="430"/>
                  <a:pt x="1590" y="430"/>
                </a:cubicBezTo>
                <a:cubicBezTo>
                  <a:pt x="1590" y="430"/>
                  <a:pt x="1591" y="431"/>
                  <a:pt x="1591" y="431"/>
                </a:cubicBezTo>
                <a:cubicBezTo>
                  <a:pt x="1591" y="431"/>
                  <a:pt x="1592" y="432"/>
                  <a:pt x="1592" y="432"/>
                </a:cubicBezTo>
                <a:cubicBezTo>
                  <a:pt x="1592" y="432"/>
                  <a:pt x="1592" y="432"/>
                  <a:pt x="1593" y="432"/>
                </a:cubicBezTo>
                <a:cubicBezTo>
                  <a:pt x="1593" y="432"/>
                  <a:pt x="1594" y="431"/>
                  <a:pt x="1594" y="431"/>
                </a:cubicBezTo>
                <a:cubicBezTo>
                  <a:pt x="1594" y="431"/>
                  <a:pt x="1594" y="431"/>
                  <a:pt x="1594" y="431"/>
                </a:cubicBezTo>
                <a:cubicBezTo>
                  <a:pt x="1595" y="431"/>
                  <a:pt x="1595" y="431"/>
                  <a:pt x="1595" y="431"/>
                </a:cubicBezTo>
                <a:cubicBezTo>
                  <a:pt x="1595" y="430"/>
                  <a:pt x="1595" y="430"/>
                  <a:pt x="1595" y="430"/>
                </a:cubicBezTo>
                <a:cubicBezTo>
                  <a:pt x="1595" y="430"/>
                  <a:pt x="1595" y="430"/>
                  <a:pt x="1595" y="430"/>
                </a:cubicBezTo>
                <a:cubicBezTo>
                  <a:pt x="1596" y="430"/>
                  <a:pt x="1596" y="429"/>
                  <a:pt x="1596" y="429"/>
                </a:cubicBezTo>
                <a:cubicBezTo>
                  <a:pt x="1597" y="429"/>
                  <a:pt x="1597" y="429"/>
                  <a:pt x="1597" y="429"/>
                </a:cubicBezTo>
                <a:cubicBezTo>
                  <a:pt x="1597" y="430"/>
                  <a:pt x="1598" y="430"/>
                  <a:pt x="1598" y="430"/>
                </a:cubicBezTo>
                <a:cubicBezTo>
                  <a:pt x="1598" y="430"/>
                  <a:pt x="1598" y="430"/>
                  <a:pt x="1598" y="429"/>
                </a:cubicBezTo>
                <a:cubicBezTo>
                  <a:pt x="1598" y="429"/>
                  <a:pt x="1598" y="429"/>
                  <a:pt x="1598" y="429"/>
                </a:cubicBezTo>
                <a:cubicBezTo>
                  <a:pt x="1598" y="429"/>
                  <a:pt x="1598" y="429"/>
                  <a:pt x="1598" y="428"/>
                </a:cubicBezTo>
                <a:cubicBezTo>
                  <a:pt x="1598" y="428"/>
                  <a:pt x="1597" y="428"/>
                  <a:pt x="1597" y="427"/>
                </a:cubicBezTo>
                <a:cubicBezTo>
                  <a:pt x="1597" y="427"/>
                  <a:pt x="1597" y="427"/>
                  <a:pt x="1597" y="427"/>
                </a:cubicBezTo>
                <a:cubicBezTo>
                  <a:pt x="1597" y="426"/>
                  <a:pt x="1597" y="426"/>
                  <a:pt x="1597" y="426"/>
                </a:cubicBezTo>
                <a:cubicBezTo>
                  <a:pt x="1598" y="426"/>
                  <a:pt x="1598" y="426"/>
                  <a:pt x="1598" y="426"/>
                </a:cubicBezTo>
                <a:cubicBezTo>
                  <a:pt x="1598" y="426"/>
                  <a:pt x="1598" y="426"/>
                  <a:pt x="1599" y="426"/>
                </a:cubicBezTo>
                <a:cubicBezTo>
                  <a:pt x="1598" y="426"/>
                  <a:pt x="1598" y="426"/>
                  <a:pt x="1598" y="426"/>
                </a:cubicBezTo>
                <a:cubicBezTo>
                  <a:pt x="1598" y="426"/>
                  <a:pt x="1598" y="427"/>
                  <a:pt x="1598" y="427"/>
                </a:cubicBezTo>
                <a:cubicBezTo>
                  <a:pt x="1598" y="427"/>
                  <a:pt x="1598" y="427"/>
                  <a:pt x="1598" y="427"/>
                </a:cubicBezTo>
                <a:cubicBezTo>
                  <a:pt x="1598" y="427"/>
                  <a:pt x="1599" y="427"/>
                  <a:pt x="1599" y="427"/>
                </a:cubicBezTo>
                <a:cubicBezTo>
                  <a:pt x="1599" y="427"/>
                  <a:pt x="1599" y="427"/>
                  <a:pt x="1599" y="427"/>
                </a:cubicBezTo>
                <a:cubicBezTo>
                  <a:pt x="1599" y="427"/>
                  <a:pt x="1600" y="427"/>
                  <a:pt x="1600" y="427"/>
                </a:cubicBezTo>
                <a:cubicBezTo>
                  <a:pt x="1600" y="428"/>
                  <a:pt x="1600" y="428"/>
                  <a:pt x="1600" y="428"/>
                </a:cubicBezTo>
                <a:cubicBezTo>
                  <a:pt x="1600" y="428"/>
                  <a:pt x="1601" y="428"/>
                  <a:pt x="1601" y="428"/>
                </a:cubicBezTo>
                <a:cubicBezTo>
                  <a:pt x="1601" y="428"/>
                  <a:pt x="1601" y="428"/>
                  <a:pt x="1601" y="428"/>
                </a:cubicBezTo>
                <a:cubicBezTo>
                  <a:pt x="1601" y="428"/>
                  <a:pt x="1601" y="428"/>
                  <a:pt x="1601" y="428"/>
                </a:cubicBezTo>
                <a:cubicBezTo>
                  <a:pt x="1600" y="428"/>
                  <a:pt x="1600" y="428"/>
                  <a:pt x="1600" y="428"/>
                </a:cubicBezTo>
                <a:cubicBezTo>
                  <a:pt x="1600" y="428"/>
                  <a:pt x="1600" y="428"/>
                  <a:pt x="1600" y="428"/>
                </a:cubicBezTo>
                <a:cubicBezTo>
                  <a:pt x="1600" y="428"/>
                  <a:pt x="1600" y="428"/>
                  <a:pt x="1600" y="429"/>
                </a:cubicBezTo>
                <a:cubicBezTo>
                  <a:pt x="1600" y="429"/>
                  <a:pt x="1600" y="429"/>
                  <a:pt x="1601" y="429"/>
                </a:cubicBezTo>
                <a:cubicBezTo>
                  <a:pt x="1601" y="429"/>
                  <a:pt x="1602" y="429"/>
                  <a:pt x="1602" y="429"/>
                </a:cubicBezTo>
                <a:cubicBezTo>
                  <a:pt x="1603" y="429"/>
                  <a:pt x="1604" y="429"/>
                  <a:pt x="1605" y="430"/>
                </a:cubicBezTo>
                <a:cubicBezTo>
                  <a:pt x="1605" y="430"/>
                  <a:pt x="1605" y="430"/>
                  <a:pt x="1606" y="430"/>
                </a:cubicBezTo>
                <a:cubicBezTo>
                  <a:pt x="1606" y="430"/>
                  <a:pt x="1606" y="430"/>
                  <a:pt x="1606" y="430"/>
                </a:cubicBezTo>
                <a:cubicBezTo>
                  <a:pt x="1606" y="430"/>
                  <a:pt x="1606" y="429"/>
                  <a:pt x="1606" y="429"/>
                </a:cubicBezTo>
                <a:cubicBezTo>
                  <a:pt x="1606" y="429"/>
                  <a:pt x="1606" y="429"/>
                  <a:pt x="1606" y="428"/>
                </a:cubicBezTo>
                <a:cubicBezTo>
                  <a:pt x="1607" y="428"/>
                  <a:pt x="1607" y="428"/>
                  <a:pt x="1608" y="429"/>
                </a:cubicBezTo>
                <a:cubicBezTo>
                  <a:pt x="1608" y="429"/>
                  <a:pt x="1608" y="429"/>
                  <a:pt x="1608" y="429"/>
                </a:cubicBezTo>
                <a:cubicBezTo>
                  <a:pt x="1608" y="429"/>
                  <a:pt x="1608" y="429"/>
                  <a:pt x="1608" y="430"/>
                </a:cubicBezTo>
                <a:cubicBezTo>
                  <a:pt x="1608" y="430"/>
                  <a:pt x="1608" y="430"/>
                  <a:pt x="1608" y="430"/>
                </a:cubicBezTo>
                <a:cubicBezTo>
                  <a:pt x="1608" y="430"/>
                  <a:pt x="1608" y="431"/>
                  <a:pt x="1608" y="431"/>
                </a:cubicBezTo>
                <a:cubicBezTo>
                  <a:pt x="1608" y="431"/>
                  <a:pt x="1608" y="431"/>
                  <a:pt x="1609" y="431"/>
                </a:cubicBezTo>
                <a:cubicBezTo>
                  <a:pt x="1609" y="431"/>
                  <a:pt x="1609" y="431"/>
                  <a:pt x="1610" y="431"/>
                </a:cubicBezTo>
                <a:cubicBezTo>
                  <a:pt x="1610" y="430"/>
                  <a:pt x="1610" y="430"/>
                  <a:pt x="1610" y="429"/>
                </a:cubicBezTo>
                <a:cubicBezTo>
                  <a:pt x="1610" y="429"/>
                  <a:pt x="1610" y="429"/>
                  <a:pt x="1610" y="429"/>
                </a:cubicBezTo>
                <a:cubicBezTo>
                  <a:pt x="1611" y="429"/>
                  <a:pt x="1611" y="429"/>
                  <a:pt x="1612" y="429"/>
                </a:cubicBezTo>
                <a:cubicBezTo>
                  <a:pt x="1612" y="429"/>
                  <a:pt x="1612" y="429"/>
                  <a:pt x="1612" y="429"/>
                </a:cubicBezTo>
                <a:cubicBezTo>
                  <a:pt x="1613" y="429"/>
                  <a:pt x="1613" y="429"/>
                  <a:pt x="1613" y="429"/>
                </a:cubicBezTo>
                <a:cubicBezTo>
                  <a:pt x="1613" y="428"/>
                  <a:pt x="1613" y="428"/>
                  <a:pt x="1612" y="428"/>
                </a:cubicBezTo>
                <a:cubicBezTo>
                  <a:pt x="1613" y="428"/>
                  <a:pt x="1613" y="428"/>
                  <a:pt x="1613" y="427"/>
                </a:cubicBezTo>
                <a:cubicBezTo>
                  <a:pt x="1613" y="427"/>
                  <a:pt x="1614" y="427"/>
                  <a:pt x="1614" y="427"/>
                </a:cubicBezTo>
                <a:cubicBezTo>
                  <a:pt x="1614" y="427"/>
                  <a:pt x="1614" y="428"/>
                  <a:pt x="1615" y="428"/>
                </a:cubicBezTo>
                <a:cubicBezTo>
                  <a:pt x="1615" y="428"/>
                  <a:pt x="1615" y="428"/>
                  <a:pt x="1615" y="428"/>
                </a:cubicBezTo>
                <a:cubicBezTo>
                  <a:pt x="1615" y="428"/>
                  <a:pt x="1614" y="428"/>
                  <a:pt x="1614" y="428"/>
                </a:cubicBezTo>
                <a:cubicBezTo>
                  <a:pt x="1614" y="429"/>
                  <a:pt x="1614" y="429"/>
                  <a:pt x="1613" y="429"/>
                </a:cubicBezTo>
                <a:cubicBezTo>
                  <a:pt x="1613" y="430"/>
                  <a:pt x="1613" y="431"/>
                  <a:pt x="1613" y="431"/>
                </a:cubicBezTo>
                <a:cubicBezTo>
                  <a:pt x="1613" y="431"/>
                  <a:pt x="1613" y="432"/>
                  <a:pt x="1613" y="432"/>
                </a:cubicBezTo>
                <a:cubicBezTo>
                  <a:pt x="1614" y="432"/>
                  <a:pt x="1614" y="432"/>
                  <a:pt x="1614" y="432"/>
                </a:cubicBezTo>
                <a:cubicBezTo>
                  <a:pt x="1614" y="432"/>
                  <a:pt x="1615" y="431"/>
                  <a:pt x="1615" y="431"/>
                </a:cubicBezTo>
                <a:cubicBezTo>
                  <a:pt x="1615" y="431"/>
                  <a:pt x="1615" y="431"/>
                  <a:pt x="1616" y="431"/>
                </a:cubicBezTo>
                <a:cubicBezTo>
                  <a:pt x="1616" y="431"/>
                  <a:pt x="1616" y="431"/>
                  <a:pt x="1617" y="431"/>
                </a:cubicBezTo>
                <a:cubicBezTo>
                  <a:pt x="1617" y="431"/>
                  <a:pt x="1617" y="431"/>
                  <a:pt x="1618" y="430"/>
                </a:cubicBezTo>
                <a:cubicBezTo>
                  <a:pt x="1618" y="430"/>
                  <a:pt x="1618" y="430"/>
                  <a:pt x="1618" y="430"/>
                </a:cubicBezTo>
                <a:cubicBezTo>
                  <a:pt x="1618" y="430"/>
                  <a:pt x="1619" y="430"/>
                  <a:pt x="1619" y="430"/>
                </a:cubicBezTo>
                <a:cubicBezTo>
                  <a:pt x="1619" y="429"/>
                  <a:pt x="1619" y="429"/>
                  <a:pt x="1619" y="429"/>
                </a:cubicBezTo>
                <a:cubicBezTo>
                  <a:pt x="1619" y="429"/>
                  <a:pt x="1619" y="429"/>
                  <a:pt x="1619" y="428"/>
                </a:cubicBezTo>
                <a:cubicBezTo>
                  <a:pt x="1618" y="428"/>
                  <a:pt x="1618" y="427"/>
                  <a:pt x="1618" y="427"/>
                </a:cubicBezTo>
                <a:cubicBezTo>
                  <a:pt x="1618" y="427"/>
                  <a:pt x="1618" y="426"/>
                  <a:pt x="1618" y="426"/>
                </a:cubicBezTo>
                <a:cubicBezTo>
                  <a:pt x="1618" y="425"/>
                  <a:pt x="1618" y="425"/>
                  <a:pt x="1618" y="424"/>
                </a:cubicBezTo>
                <a:cubicBezTo>
                  <a:pt x="1619" y="424"/>
                  <a:pt x="1619" y="423"/>
                  <a:pt x="1620" y="422"/>
                </a:cubicBezTo>
                <a:cubicBezTo>
                  <a:pt x="1620" y="422"/>
                  <a:pt x="1620" y="422"/>
                  <a:pt x="1620" y="421"/>
                </a:cubicBezTo>
                <a:cubicBezTo>
                  <a:pt x="1620" y="420"/>
                  <a:pt x="1620" y="419"/>
                  <a:pt x="1620" y="418"/>
                </a:cubicBezTo>
                <a:cubicBezTo>
                  <a:pt x="1620" y="418"/>
                  <a:pt x="1620" y="417"/>
                  <a:pt x="1620" y="417"/>
                </a:cubicBezTo>
                <a:cubicBezTo>
                  <a:pt x="1620" y="416"/>
                  <a:pt x="1620" y="416"/>
                  <a:pt x="1620" y="416"/>
                </a:cubicBezTo>
                <a:cubicBezTo>
                  <a:pt x="1620" y="416"/>
                  <a:pt x="1620" y="415"/>
                  <a:pt x="1621" y="415"/>
                </a:cubicBezTo>
                <a:cubicBezTo>
                  <a:pt x="1621" y="415"/>
                  <a:pt x="1622" y="415"/>
                  <a:pt x="1622" y="415"/>
                </a:cubicBezTo>
                <a:cubicBezTo>
                  <a:pt x="1623" y="415"/>
                  <a:pt x="1623" y="415"/>
                  <a:pt x="1623" y="415"/>
                </a:cubicBezTo>
                <a:cubicBezTo>
                  <a:pt x="1623" y="416"/>
                  <a:pt x="1623" y="416"/>
                  <a:pt x="1623" y="416"/>
                </a:cubicBezTo>
                <a:cubicBezTo>
                  <a:pt x="1623" y="416"/>
                  <a:pt x="1624" y="416"/>
                  <a:pt x="1624" y="416"/>
                </a:cubicBezTo>
                <a:cubicBezTo>
                  <a:pt x="1624" y="415"/>
                  <a:pt x="1624" y="415"/>
                  <a:pt x="1624" y="415"/>
                </a:cubicBezTo>
                <a:cubicBezTo>
                  <a:pt x="1624" y="415"/>
                  <a:pt x="1624" y="415"/>
                  <a:pt x="1624" y="414"/>
                </a:cubicBezTo>
                <a:cubicBezTo>
                  <a:pt x="1624" y="414"/>
                  <a:pt x="1624" y="414"/>
                  <a:pt x="1624" y="414"/>
                </a:cubicBezTo>
                <a:cubicBezTo>
                  <a:pt x="1624" y="414"/>
                  <a:pt x="1624" y="413"/>
                  <a:pt x="1624" y="413"/>
                </a:cubicBezTo>
                <a:cubicBezTo>
                  <a:pt x="1624" y="413"/>
                  <a:pt x="1624" y="413"/>
                  <a:pt x="1624" y="413"/>
                </a:cubicBezTo>
                <a:cubicBezTo>
                  <a:pt x="1624" y="413"/>
                  <a:pt x="1624" y="412"/>
                  <a:pt x="1624" y="412"/>
                </a:cubicBezTo>
                <a:cubicBezTo>
                  <a:pt x="1624" y="412"/>
                  <a:pt x="1625" y="412"/>
                  <a:pt x="1625" y="412"/>
                </a:cubicBezTo>
                <a:cubicBezTo>
                  <a:pt x="1625" y="412"/>
                  <a:pt x="1625" y="412"/>
                  <a:pt x="1625" y="412"/>
                </a:cubicBezTo>
                <a:cubicBezTo>
                  <a:pt x="1625" y="412"/>
                  <a:pt x="1625" y="411"/>
                  <a:pt x="1625" y="411"/>
                </a:cubicBezTo>
                <a:cubicBezTo>
                  <a:pt x="1625" y="411"/>
                  <a:pt x="1625" y="411"/>
                  <a:pt x="1625" y="411"/>
                </a:cubicBezTo>
                <a:cubicBezTo>
                  <a:pt x="1625" y="411"/>
                  <a:pt x="1625" y="410"/>
                  <a:pt x="1625" y="410"/>
                </a:cubicBezTo>
                <a:cubicBezTo>
                  <a:pt x="1625" y="410"/>
                  <a:pt x="1625" y="410"/>
                  <a:pt x="1626" y="410"/>
                </a:cubicBezTo>
                <a:cubicBezTo>
                  <a:pt x="1626" y="409"/>
                  <a:pt x="1626" y="409"/>
                  <a:pt x="1625" y="409"/>
                </a:cubicBezTo>
                <a:cubicBezTo>
                  <a:pt x="1626" y="409"/>
                  <a:pt x="1626" y="408"/>
                  <a:pt x="1626" y="408"/>
                </a:cubicBezTo>
                <a:cubicBezTo>
                  <a:pt x="1626" y="407"/>
                  <a:pt x="1625" y="407"/>
                  <a:pt x="1625" y="406"/>
                </a:cubicBezTo>
                <a:cubicBezTo>
                  <a:pt x="1625" y="406"/>
                  <a:pt x="1625" y="406"/>
                  <a:pt x="1625" y="406"/>
                </a:cubicBezTo>
                <a:cubicBezTo>
                  <a:pt x="1625" y="406"/>
                  <a:pt x="1624" y="406"/>
                  <a:pt x="1624" y="406"/>
                </a:cubicBezTo>
                <a:cubicBezTo>
                  <a:pt x="1624" y="405"/>
                  <a:pt x="1625" y="405"/>
                  <a:pt x="1625" y="404"/>
                </a:cubicBezTo>
                <a:cubicBezTo>
                  <a:pt x="1625" y="404"/>
                  <a:pt x="1624" y="403"/>
                  <a:pt x="1624" y="403"/>
                </a:cubicBezTo>
                <a:cubicBezTo>
                  <a:pt x="1624" y="402"/>
                  <a:pt x="1623" y="401"/>
                  <a:pt x="1623" y="401"/>
                </a:cubicBezTo>
                <a:cubicBezTo>
                  <a:pt x="1623" y="400"/>
                  <a:pt x="1623" y="400"/>
                  <a:pt x="1622" y="400"/>
                </a:cubicBezTo>
                <a:cubicBezTo>
                  <a:pt x="1622" y="399"/>
                  <a:pt x="1622" y="399"/>
                  <a:pt x="1623" y="399"/>
                </a:cubicBezTo>
                <a:cubicBezTo>
                  <a:pt x="1623" y="398"/>
                  <a:pt x="1623" y="398"/>
                  <a:pt x="1623" y="397"/>
                </a:cubicBezTo>
                <a:cubicBezTo>
                  <a:pt x="1623" y="397"/>
                  <a:pt x="1623" y="397"/>
                  <a:pt x="1623" y="397"/>
                </a:cubicBezTo>
                <a:cubicBezTo>
                  <a:pt x="1623" y="397"/>
                  <a:pt x="1623" y="397"/>
                  <a:pt x="1622" y="397"/>
                </a:cubicBezTo>
                <a:cubicBezTo>
                  <a:pt x="1622" y="397"/>
                  <a:pt x="1622" y="397"/>
                  <a:pt x="1622" y="397"/>
                </a:cubicBezTo>
                <a:cubicBezTo>
                  <a:pt x="1622" y="397"/>
                  <a:pt x="1622" y="397"/>
                  <a:pt x="1622" y="397"/>
                </a:cubicBezTo>
                <a:cubicBezTo>
                  <a:pt x="1621" y="396"/>
                  <a:pt x="1621" y="396"/>
                  <a:pt x="1621" y="396"/>
                </a:cubicBezTo>
                <a:cubicBezTo>
                  <a:pt x="1621" y="396"/>
                  <a:pt x="1621" y="396"/>
                  <a:pt x="1620" y="396"/>
                </a:cubicBezTo>
                <a:cubicBezTo>
                  <a:pt x="1620" y="396"/>
                  <a:pt x="1620" y="396"/>
                  <a:pt x="1620" y="396"/>
                </a:cubicBezTo>
                <a:cubicBezTo>
                  <a:pt x="1620" y="396"/>
                  <a:pt x="1620" y="396"/>
                  <a:pt x="1620" y="397"/>
                </a:cubicBezTo>
                <a:cubicBezTo>
                  <a:pt x="1620" y="397"/>
                  <a:pt x="1619" y="397"/>
                  <a:pt x="1619" y="397"/>
                </a:cubicBezTo>
                <a:cubicBezTo>
                  <a:pt x="1619" y="397"/>
                  <a:pt x="1620" y="398"/>
                  <a:pt x="1620" y="398"/>
                </a:cubicBezTo>
                <a:cubicBezTo>
                  <a:pt x="1620" y="398"/>
                  <a:pt x="1620" y="398"/>
                  <a:pt x="1620" y="398"/>
                </a:cubicBezTo>
                <a:cubicBezTo>
                  <a:pt x="1621" y="398"/>
                  <a:pt x="1621" y="398"/>
                  <a:pt x="1622" y="398"/>
                </a:cubicBezTo>
                <a:cubicBezTo>
                  <a:pt x="1622" y="398"/>
                  <a:pt x="1622" y="398"/>
                  <a:pt x="1622" y="399"/>
                </a:cubicBezTo>
                <a:cubicBezTo>
                  <a:pt x="1622" y="399"/>
                  <a:pt x="1621" y="399"/>
                  <a:pt x="1621" y="399"/>
                </a:cubicBezTo>
                <a:cubicBezTo>
                  <a:pt x="1621" y="399"/>
                  <a:pt x="1621" y="399"/>
                  <a:pt x="1620" y="399"/>
                </a:cubicBezTo>
                <a:cubicBezTo>
                  <a:pt x="1620" y="399"/>
                  <a:pt x="1620" y="399"/>
                  <a:pt x="1620" y="399"/>
                </a:cubicBezTo>
                <a:cubicBezTo>
                  <a:pt x="1620" y="398"/>
                  <a:pt x="1620" y="398"/>
                  <a:pt x="1620" y="398"/>
                </a:cubicBezTo>
                <a:cubicBezTo>
                  <a:pt x="1620" y="399"/>
                  <a:pt x="1620" y="399"/>
                  <a:pt x="1620" y="399"/>
                </a:cubicBezTo>
                <a:cubicBezTo>
                  <a:pt x="1619" y="399"/>
                  <a:pt x="1619" y="399"/>
                  <a:pt x="1619" y="399"/>
                </a:cubicBezTo>
                <a:cubicBezTo>
                  <a:pt x="1619" y="399"/>
                  <a:pt x="1619" y="399"/>
                  <a:pt x="1618" y="399"/>
                </a:cubicBezTo>
                <a:cubicBezTo>
                  <a:pt x="1618" y="399"/>
                  <a:pt x="1618" y="399"/>
                  <a:pt x="1619" y="398"/>
                </a:cubicBezTo>
                <a:cubicBezTo>
                  <a:pt x="1619" y="398"/>
                  <a:pt x="1619" y="398"/>
                  <a:pt x="1619" y="398"/>
                </a:cubicBezTo>
                <a:cubicBezTo>
                  <a:pt x="1619" y="397"/>
                  <a:pt x="1619" y="397"/>
                  <a:pt x="1618" y="397"/>
                </a:cubicBezTo>
                <a:cubicBezTo>
                  <a:pt x="1618" y="397"/>
                  <a:pt x="1618" y="397"/>
                  <a:pt x="1618" y="397"/>
                </a:cubicBezTo>
                <a:cubicBezTo>
                  <a:pt x="1618" y="397"/>
                  <a:pt x="1617" y="397"/>
                  <a:pt x="1617" y="397"/>
                </a:cubicBezTo>
                <a:cubicBezTo>
                  <a:pt x="1617" y="397"/>
                  <a:pt x="1617" y="397"/>
                  <a:pt x="1617" y="397"/>
                </a:cubicBezTo>
                <a:cubicBezTo>
                  <a:pt x="1617" y="397"/>
                  <a:pt x="1617" y="398"/>
                  <a:pt x="1617" y="398"/>
                </a:cubicBezTo>
                <a:cubicBezTo>
                  <a:pt x="1617" y="398"/>
                  <a:pt x="1617" y="399"/>
                  <a:pt x="1617" y="399"/>
                </a:cubicBezTo>
                <a:cubicBezTo>
                  <a:pt x="1616" y="399"/>
                  <a:pt x="1616" y="399"/>
                  <a:pt x="1616" y="399"/>
                </a:cubicBezTo>
                <a:cubicBezTo>
                  <a:pt x="1616" y="399"/>
                  <a:pt x="1615" y="399"/>
                  <a:pt x="1615" y="399"/>
                </a:cubicBezTo>
                <a:cubicBezTo>
                  <a:pt x="1615" y="399"/>
                  <a:pt x="1615" y="399"/>
                  <a:pt x="1615" y="400"/>
                </a:cubicBezTo>
                <a:cubicBezTo>
                  <a:pt x="1615" y="400"/>
                  <a:pt x="1615" y="401"/>
                  <a:pt x="1616" y="401"/>
                </a:cubicBezTo>
                <a:cubicBezTo>
                  <a:pt x="1616" y="401"/>
                  <a:pt x="1616" y="401"/>
                  <a:pt x="1616" y="402"/>
                </a:cubicBezTo>
                <a:cubicBezTo>
                  <a:pt x="1616" y="402"/>
                  <a:pt x="1615" y="402"/>
                  <a:pt x="1615" y="402"/>
                </a:cubicBezTo>
                <a:cubicBezTo>
                  <a:pt x="1615" y="402"/>
                  <a:pt x="1615" y="402"/>
                  <a:pt x="1614" y="402"/>
                </a:cubicBezTo>
                <a:cubicBezTo>
                  <a:pt x="1614" y="402"/>
                  <a:pt x="1614" y="402"/>
                  <a:pt x="1614" y="402"/>
                </a:cubicBezTo>
                <a:cubicBezTo>
                  <a:pt x="1613" y="402"/>
                  <a:pt x="1613" y="402"/>
                  <a:pt x="1613" y="402"/>
                </a:cubicBezTo>
                <a:cubicBezTo>
                  <a:pt x="1613" y="403"/>
                  <a:pt x="1614" y="403"/>
                  <a:pt x="1614" y="403"/>
                </a:cubicBezTo>
                <a:cubicBezTo>
                  <a:pt x="1614" y="403"/>
                  <a:pt x="1614" y="403"/>
                  <a:pt x="1615" y="403"/>
                </a:cubicBezTo>
                <a:cubicBezTo>
                  <a:pt x="1615" y="403"/>
                  <a:pt x="1615" y="403"/>
                  <a:pt x="1615" y="403"/>
                </a:cubicBezTo>
                <a:cubicBezTo>
                  <a:pt x="1616" y="404"/>
                  <a:pt x="1616" y="404"/>
                  <a:pt x="1616" y="405"/>
                </a:cubicBezTo>
                <a:cubicBezTo>
                  <a:pt x="1616" y="406"/>
                  <a:pt x="1616" y="406"/>
                  <a:pt x="1615" y="407"/>
                </a:cubicBezTo>
                <a:cubicBezTo>
                  <a:pt x="1615" y="407"/>
                  <a:pt x="1615" y="407"/>
                  <a:pt x="1615" y="408"/>
                </a:cubicBezTo>
                <a:cubicBezTo>
                  <a:pt x="1615" y="408"/>
                  <a:pt x="1614" y="409"/>
                  <a:pt x="1614" y="409"/>
                </a:cubicBezTo>
                <a:cubicBezTo>
                  <a:pt x="1614" y="410"/>
                  <a:pt x="1613" y="411"/>
                  <a:pt x="1612" y="411"/>
                </a:cubicBezTo>
                <a:cubicBezTo>
                  <a:pt x="1612" y="412"/>
                  <a:pt x="1612" y="412"/>
                  <a:pt x="1612" y="412"/>
                </a:cubicBezTo>
                <a:cubicBezTo>
                  <a:pt x="1612" y="413"/>
                  <a:pt x="1612" y="413"/>
                  <a:pt x="1611" y="413"/>
                </a:cubicBezTo>
                <a:cubicBezTo>
                  <a:pt x="1611" y="413"/>
                  <a:pt x="1610" y="413"/>
                  <a:pt x="1610" y="413"/>
                </a:cubicBezTo>
                <a:cubicBezTo>
                  <a:pt x="1610" y="414"/>
                  <a:pt x="1609" y="414"/>
                  <a:pt x="1609" y="414"/>
                </a:cubicBezTo>
                <a:cubicBezTo>
                  <a:pt x="1609" y="414"/>
                  <a:pt x="1609" y="415"/>
                  <a:pt x="1609" y="415"/>
                </a:cubicBezTo>
                <a:cubicBezTo>
                  <a:pt x="1608" y="415"/>
                  <a:pt x="1608" y="415"/>
                  <a:pt x="1608" y="416"/>
                </a:cubicBezTo>
                <a:cubicBezTo>
                  <a:pt x="1608" y="416"/>
                  <a:pt x="1607" y="416"/>
                  <a:pt x="1607" y="416"/>
                </a:cubicBezTo>
                <a:cubicBezTo>
                  <a:pt x="1607" y="416"/>
                  <a:pt x="1606" y="416"/>
                  <a:pt x="1606" y="417"/>
                </a:cubicBezTo>
                <a:cubicBezTo>
                  <a:pt x="1605" y="417"/>
                  <a:pt x="1604" y="417"/>
                  <a:pt x="1603" y="417"/>
                </a:cubicBezTo>
                <a:cubicBezTo>
                  <a:pt x="1603" y="417"/>
                  <a:pt x="1602" y="416"/>
                  <a:pt x="1602" y="416"/>
                </a:cubicBezTo>
                <a:cubicBezTo>
                  <a:pt x="1602" y="417"/>
                  <a:pt x="1601" y="417"/>
                  <a:pt x="1601" y="417"/>
                </a:cubicBezTo>
                <a:cubicBezTo>
                  <a:pt x="1601" y="417"/>
                  <a:pt x="1600" y="416"/>
                  <a:pt x="1600" y="416"/>
                </a:cubicBezTo>
                <a:cubicBezTo>
                  <a:pt x="1600" y="415"/>
                  <a:pt x="1600" y="415"/>
                  <a:pt x="1599" y="414"/>
                </a:cubicBezTo>
                <a:cubicBezTo>
                  <a:pt x="1599" y="414"/>
                  <a:pt x="1599" y="414"/>
                  <a:pt x="1599" y="414"/>
                </a:cubicBezTo>
                <a:cubicBezTo>
                  <a:pt x="1600" y="414"/>
                  <a:pt x="1600" y="414"/>
                  <a:pt x="1600" y="414"/>
                </a:cubicBezTo>
                <a:cubicBezTo>
                  <a:pt x="1600" y="414"/>
                  <a:pt x="1601" y="414"/>
                  <a:pt x="1601" y="414"/>
                </a:cubicBezTo>
                <a:cubicBezTo>
                  <a:pt x="1601" y="414"/>
                  <a:pt x="1601" y="413"/>
                  <a:pt x="1601" y="413"/>
                </a:cubicBezTo>
                <a:cubicBezTo>
                  <a:pt x="1601" y="413"/>
                  <a:pt x="1601" y="413"/>
                  <a:pt x="1602" y="413"/>
                </a:cubicBezTo>
                <a:cubicBezTo>
                  <a:pt x="1602" y="413"/>
                  <a:pt x="1602" y="413"/>
                  <a:pt x="1602" y="413"/>
                </a:cubicBezTo>
                <a:cubicBezTo>
                  <a:pt x="1601" y="413"/>
                  <a:pt x="1601" y="413"/>
                  <a:pt x="1601" y="413"/>
                </a:cubicBezTo>
                <a:cubicBezTo>
                  <a:pt x="1600" y="413"/>
                  <a:pt x="1600" y="413"/>
                  <a:pt x="1599" y="413"/>
                </a:cubicBezTo>
                <a:cubicBezTo>
                  <a:pt x="1599" y="413"/>
                  <a:pt x="1599" y="413"/>
                  <a:pt x="1598" y="413"/>
                </a:cubicBezTo>
                <a:cubicBezTo>
                  <a:pt x="1598" y="413"/>
                  <a:pt x="1598" y="413"/>
                  <a:pt x="1598" y="413"/>
                </a:cubicBezTo>
                <a:cubicBezTo>
                  <a:pt x="1598" y="414"/>
                  <a:pt x="1598" y="414"/>
                  <a:pt x="1598" y="414"/>
                </a:cubicBezTo>
                <a:cubicBezTo>
                  <a:pt x="1598" y="415"/>
                  <a:pt x="1598" y="416"/>
                  <a:pt x="1598" y="416"/>
                </a:cubicBezTo>
                <a:cubicBezTo>
                  <a:pt x="1597" y="416"/>
                  <a:pt x="1597" y="417"/>
                  <a:pt x="1597" y="417"/>
                </a:cubicBezTo>
                <a:cubicBezTo>
                  <a:pt x="1597" y="417"/>
                  <a:pt x="1596" y="417"/>
                  <a:pt x="1596" y="417"/>
                </a:cubicBezTo>
                <a:cubicBezTo>
                  <a:pt x="1596" y="417"/>
                  <a:pt x="1595" y="417"/>
                  <a:pt x="1595" y="418"/>
                </a:cubicBezTo>
                <a:cubicBezTo>
                  <a:pt x="1595" y="418"/>
                  <a:pt x="1595" y="418"/>
                  <a:pt x="1595" y="418"/>
                </a:cubicBezTo>
                <a:cubicBezTo>
                  <a:pt x="1595" y="418"/>
                  <a:pt x="1594" y="419"/>
                  <a:pt x="1594" y="419"/>
                </a:cubicBezTo>
                <a:cubicBezTo>
                  <a:pt x="1594" y="419"/>
                  <a:pt x="1594" y="419"/>
                  <a:pt x="1594" y="419"/>
                </a:cubicBezTo>
                <a:cubicBezTo>
                  <a:pt x="1594" y="420"/>
                  <a:pt x="1594" y="420"/>
                  <a:pt x="1594" y="420"/>
                </a:cubicBezTo>
                <a:cubicBezTo>
                  <a:pt x="1594" y="420"/>
                  <a:pt x="1594" y="420"/>
                  <a:pt x="1594" y="420"/>
                </a:cubicBezTo>
                <a:cubicBezTo>
                  <a:pt x="1594" y="420"/>
                  <a:pt x="1594" y="420"/>
                  <a:pt x="1594" y="420"/>
                </a:cubicBezTo>
                <a:cubicBezTo>
                  <a:pt x="1594" y="420"/>
                  <a:pt x="1594" y="420"/>
                  <a:pt x="1594" y="421"/>
                </a:cubicBezTo>
                <a:cubicBezTo>
                  <a:pt x="1593" y="421"/>
                  <a:pt x="1593" y="420"/>
                  <a:pt x="1593" y="420"/>
                </a:cubicBezTo>
                <a:cubicBezTo>
                  <a:pt x="1593" y="421"/>
                  <a:pt x="1593" y="421"/>
                  <a:pt x="1593" y="421"/>
                </a:cubicBezTo>
                <a:cubicBezTo>
                  <a:pt x="1593" y="421"/>
                  <a:pt x="1593" y="421"/>
                  <a:pt x="1593" y="421"/>
                </a:cubicBezTo>
                <a:cubicBezTo>
                  <a:pt x="1592" y="421"/>
                  <a:pt x="1592" y="420"/>
                  <a:pt x="1592" y="420"/>
                </a:cubicBezTo>
                <a:cubicBezTo>
                  <a:pt x="1592" y="420"/>
                  <a:pt x="1592" y="420"/>
                  <a:pt x="1591" y="420"/>
                </a:cubicBezTo>
                <a:cubicBezTo>
                  <a:pt x="1591" y="420"/>
                  <a:pt x="1591" y="420"/>
                  <a:pt x="1591" y="420"/>
                </a:cubicBezTo>
                <a:cubicBezTo>
                  <a:pt x="1591" y="420"/>
                  <a:pt x="1591" y="420"/>
                  <a:pt x="1591" y="419"/>
                </a:cubicBezTo>
                <a:cubicBezTo>
                  <a:pt x="1591" y="419"/>
                  <a:pt x="1591" y="419"/>
                  <a:pt x="1591" y="419"/>
                </a:cubicBezTo>
                <a:cubicBezTo>
                  <a:pt x="1590" y="419"/>
                  <a:pt x="1590" y="419"/>
                  <a:pt x="1590" y="419"/>
                </a:cubicBezTo>
                <a:cubicBezTo>
                  <a:pt x="1590" y="419"/>
                  <a:pt x="1589" y="419"/>
                  <a:pt x="1589" y="419"/>
                </a:cubicBezTo>
                <a:cubicBezTo>
                  <a:pt x="1589" y="419"/>
                  <a:pt x="1589" y="419"/>
                  <a:pt x="1589" y="419"/>
                </a:cubicBezTo>
                <a:cubicBezTo>
                  <a:pt x="1588" y="419"/>
                  <a:pt x="1587" y="418"/>
                  <a:pt x="1587" y="418"/>
                </a:cubicBezTo>
                <a:cubicBezTo>
                  <a:pt x="1586" y="418"/>
                  <a:pt x="1586" y="418"/>
                  <a:pt x="1585" y="418"/>
                </a:cubicBezTo>
                <a:cubicBezTo>
                  <a:pt x="1585" y="418"/>
                  <a:pt x="1585" y="418"/>
                  <a:pt x="1584" y="418"/>
                </a:cubicBezTo>
                <a:cubicBezTo>
                  <a:pt x="1584" y="418"/>
                  <a:pt x="1583" y="418"/>
                  <a:pt x="1583" y="418"/>
                </a:cubicBezTo>
                <a:cubicBezTo>
                  <a:pt x="1582" y="418"/>
                  <a:pt x="1582" y="418"/>
                  <a:pt x="1581" y="417"/>
                </a:cubicBezTo>
                <a:cubicBezTo>
                  <a:pt x="1581" y="417"/>
                  <a:pt x="1581" y="417"/>
                  <a:pt x="1581" y="417"/>
                </a:cubicBezTo>
                <a:cubicBezTo>
                  <a:pt x="1581" y="417"/>
                  <a:pt x="1580" y="417"/>
                  <a:pt x="1580" y="417"/>
                </a:cubicBezTo>
                <a:cubicBezTo>
                  <a:pt x="1579" y="417"/>
                  <a:pt x="1579" y="417"/>
                  <a:pt x="1578" y="417"/>
                </a:cubicBezTo>
                <a:cubicBezTo>
                  <a:pt x="1578" y="417"/>
                  <a:pt x="1577" y="417"/>
                  <a:pt x="1577" y="418"/>
                </a:cubicBezTo>
                <a:cubicBezTo>
                  <a:pt x="1577" y="418"/>
                  <a:pt x="1577" y="418"/>
                  <a:pt x="1576" y="418"/>
                </a:cubicBezTo>
                <a:cubicBezTo>
                  <a:pt x="1576" y="418"/>
                  <a:pt x="1576" y="418"/>
                  <a:pt x="1576" y="418"/>
                </a:cubicBezTo>
                <a:cubicBezTo>
                  <a:pt x="1575" y="418"/>
                  <a:pt x="1575" y="419"/>
                  <a:pt x="1574" y="419"/>
                </a:cubicBezTo>
                <a:cubicBezTo>
                  <a:pt x="1574" y="419"/>
                  <a:pt x="1573" y="419"/>
                  <a:pt x="1573" y="419"/>
                </a:cubicBezTo>
                <a:cubicBezTo>
                  <a:pt x="1573" y="419"/>
                  <a:pt x="1572" y="419"/>
                  <a:pt x="1572" y="419"/>
                </a:cubicBezTo>
                <a:cubicBezTo>
                  <a:pt x="1572" y="419"/>
                  <a:pt x="1572" y="419"/>
                  <a:pt x="1572" y="419"/>
                </a:cubicBezTo>
                <a:cubicBezTo>
                  <a:pt x="1571" y="419"/>
                  <a:pt x="1571" y="420"/>
                  <a:pt x="1571" y="420"/>
                </a:cubicBezTo>
                <a:cubicBezTo>
                  <a:pt x="1570" y="420"/>
                  <a:pt x="1570" y="419"/>
                  <a:pt x="1569" y="419"/>
                </a:cubicBezTo>
                <a:cubicBezTo>
                  <a:pt x="1569" y="419"/>
                  <a:pt x="1569" y="420"/>
                  <a:pt x="1569" y="420"/>
                </a:cubicBezTo>
                <a:cubicBezTo>
                  <a:pt x="1569" y="420"/>
                  <a:pt x="1569" y="420"/>
                  <a:pt x="1569" y="421"/>
                </a:cubicBezTo>
                <a:cubicBezTo>
                  <a:pt x="1569" y="421"/>
                  <a:pt x="1569" y="421"/>
                  <a:pt x="1569" y="421"/>
                </a:cubicBezTo>
                <a:cubicBezTo>
                  <a:pt x="1569" y="421"/>
                  <a:pt x="1569" y="421"/>
                  <a:pt x="1569" y="422"/>
                </a:cubicBezTo>
                <a:cubicBezTo>
                  <a:pt x="1569" y="422"/>
                  <a:pt x="1569" y="422"/>
                  <a:pt x="1569" y="422"/>
                </a:cubicBezTo>
                <a:close/>
                <a:moveTo>
                  <a:pt x="1560" y="423"/>
                </a:moveTo>
                <a:cubicBezTo>
                  <a:pt x="1560" y="423"/>
                  <a:pt x="1560" y="423"/>
                  <a:pt x="1560" y="423"/>
                </a:cubicBezTo>
                <a:cubicBezTo>
                  <a:pt x="1560" y="423"/>
                  <a:pt x="1560" y="423"/>
                  <a:pt x="1560" y="423"/>
                </a:cubicBezTo>
                <a:cubicBezTo>
                  <a:pt x="1560" y="423"/>
                  <a:pt x="1560" y="423"/>
                  <a:pt x="1560" y="423"/>
                </a:cubicBezTo>
                <a:close/>
                <a:moveTo>
                  <a:pt x="1560" y="422"/>
                </a:moveTo>
                <a:cubicBezTo>
                  <a:pt x="1560" y="422"/>
                  <a:pt x="1560" y="422"/>
                  <a:pt x="1560" y="423"/>
                </a:cubicBezTo>
                <a:cubicBezTo>
                  <a:pt x="1560" y="423"/>
                  <a:pt x="1560" y="423"/>
                  <a:pt x="1560" y="423"/>
                </a:cubicBezTo>
                <a:cubicBezTo>
                  <a:pt x="1561" y="423"/>
                  <a:pt x="1561" y="423"/>
                  <a:pt x="1561" y="423"/>
                </a:cubicBezTo>
                <a:cubicBezTo>
                  <a:pt x="1561" y="423"/>
                  <a:pt x="1560" y="423"/>
                  <a:pt x="1560" y="422"/>
                </a:cubicBezTo>
                <a:cubicBezTo>
                  <a:pt x="1560" y="422"/>
                  <a:pt x="1560" y="422"/>
                  <a:pt x="1560" y="422"/>
                </a:cubicBezTo>
                <a:close/>
                <a:moveTo>
                  <a:pt x="1567" y="439"/>
                </a:moveTo>
                <a:cubicBezTo>
                  <a:pt x="1567" y="439"/>
                  <a:pt x="1567" y="439"/>
                  <a:pt x="1567" y="439"/>
                </a:cubicBezTo>
                <a:cubicBezTo>
                  <a:pt x="1568" y="439"/>
                  <a:pt x="1568" y="438"/>
                  <a:pt x="1568" y="438"/>
                </a:cubicBezTo>
                <a:cubicBezTo>
                  <a:pt x="1568" y="438"/>
                  <a:pt x="1568" y="438"/>
                  <a:pt x="1568" y="438"/>
                </a:cubicBezTo>
                <a:cubicBezTo>
                  <a:pt x="1568" y="438"/>
                  <a:pt x="1568" y="437"/>
                  <a:pt x="1568" y="437"/>
                </a:cubicBezTo>
                <a:cubicBezTo>
                  <a:pt x="1567" y="437"/>
                  <a:pt x="1567" y="437"/>
                  <a:pt x="1567" y="438"/>
                </a:cubicBezTo>
                <a:cubicBezTo>
                  <a:pt x="1567" y="438"/>
                  <a:pt x="1567" y="438"/>
                  <a:pt x="1567" y="439"/>
                </a:cubicBezTo>
                <a:close/>
                <a:moveTo>
                  <a:pt x="1563" y="427"/>
                </a:moveTo>
                <a:cubicBezTo>
                  <a:pt x="1563" y="427"/>
                  <a:pt x="1563" y="427"/>
                  <a:pt x="1563" y="427"/>
                </a:cubicBezTo>
                <a:cubicBezTo>
                  <a:pt x="1563" y="427"/>
                  <a:pt x="1563" y="427"/>
                  <a:pt x="1562" y="428"/>
                </a:cubicBezTo>
                <a:cubicBezTo>
                  <a:pt x="1563" y="428"/>
                  <a:pt x="1563" y="428"/>
                  <a:pt x="1563" y="428"/>
                </a:cubicBezTo>
                <a:cubicBezTo>
                  <a:pt x="1563" y="428"/>
                  <a:pt x="1563" y="428"/>
                  <a:pt x="1563" y="428"/>
                </a:cubicBezTo>
                <a:cubicBezTo>
                  <a:pt x="1563" y="428"/>
                  <a:pt x="1563" y="428"/>
                  <a:pt x="1564" y="428"/>
                </a:cubicBezTo>
                <a:cubicBezTo>
                  <a:pt x="1563" y="428"/>
                  <a:pt x="1563" y="427"/>
                  <a:pt x="1563" y="427"/>
                </a:cubicBezTo>
                <a:cubicBezTo>
                  <a:pt x="1563" y="427"/>
                  <a:pt x="1563" y="427"/>
                  <a:pt x="1563" y="427"/>
                </a:cubicBezTo>
                <a:cubicBezTo>
                  <a:pt x="1563" y="427"/>
                  <a:pt x="1563" y="427"/>
                  <a:pt x="1563" y="427"/>
                </a:cubicBezTo>
                <a:close/>
                <a:moveTo>
                  <a:pt x="1555" y="449"/>
                </a:moveTo>
                <a:cubicBezTo>
                  <a:pt x="1555" y="449"/>
                  <a:pt x="1555" y="449"/>
                  <a:pt x="1555" y="449"/>
                </a:cubicBezTo>
                <a:cubicBezTo>
                  <a:pt x="1555" y="449"/>
                  <a:pt x="1555" y="448"/>
                  <a:pt x="1555" y="448"/>
                </a:cubicBezTo>
                <a:cubicBezTo>
                  <a:pt x="1555" y="448"/>
                  <a:pt x="1555" y="448"/>
                  <a:pt x="1555" y="448"/>
                </a:cubicBezTo>
                <a:cubicBezTo>
                  <a:pt x="1554" y="448"/>
                  <a:pt x="1554" y="449"/>
                  <a:pt x="1554" y="449"/>
                </a:cubicBezTo>
                <a:cubicBezTo>
                  <a:pt x="1555" y="449"/>
                  <a:pt x="1555" y="449"/>
                  <a:pt x="1555" y="449"/>
                </a:cubicBezTo>
                <a:cubicBezTo>
                  <a:pt x="1555" y="449"/>
                  <a:pt x="1555" y="449"/>
                  <a:pt x="1555" y="449"/>
                </a:cubicBezTo>
                <a:close/>
                <a:moveTo>
                  <a:pt x="1556" y="447"/>
                </a:moveTo>
                <a:cubicBezTo>
                  <a:pt x="1557" y="447"/>
                  <a:pt x="1557" y="447"/>
                  <a:pt x="1557" y="447"/>
                </a:cubicBezTo>
                <a:cubicBezTo>
                  <a:pt x="1557" y="447"/>
                  <a:pt x="1557" y="448"/>
                  <a:pt x="1557" y="448"/>
                </a:cubicBezTo>
                <a:cubicBezTo>
                  <a:pt x="1558" y="448"/>
                  <a:pt x="1558" y="448"/>
                  <a:pt x="1558" y="448"/>
                </a:cubicBezTo>
                <a:cubicBezTo>
                  <a:pt x="1558" y="447"/>
                  <a:pt x="1558" y="447"/>
                  <a:pt x="1558" y="447"/>
                </a:cubicBezTo>
                <a:cubicBezTo>
                  <a:pt x="1558" y="447"/>
                  <a:pt x="1559" y="447"/>
                  <a:pt x="1559" y="447"/>
                </a:cubicBezTo>
                <a:cubicBezTo>
                  <a:pt x="1559" y="447"/>
                  <a:pt x="1560" y="447"/>
                  <a:pt x="1560" y="447"/>
                </a:cubicBezTo>
                <a:cubicBezTo>
                  <a:pt x="1560" y="447"/>
                  <a:pt x="1559" y="446"/>
                  <a:pt x="1559" y="446"/>
                </a:cubicBezTo>
                <a:cubicBezTo>
                  <a:pt x="1559" y="446"/>
                  <a:pt x="1559" y="446"/>
                  <a:pt x="1559" y="446"/>
                </a:cubicBezTo>
                <a:cubicBezTo>
                  <a:pt x="1559" y="446"/>
                  <a:pt x="1558" y="446"/>
                  <a:pt x="1558" y="446"/>
                </a:cubicBezTo>
                <a:cubicBezTo>
                  <a:pt x="1558" y="446"/>
                  <a:pt x="1558" y="446"/>
                  <a:pt x="1558" y="446"/>
                </a:cubicBezTo>
                <a:cubicBezTo>
                  <a:pt x="1558" y="446"/>
                  <a:pt x="1558" y="446"/>
                  <a:pt x="1558" y="446"/>
                </a:cubicBezTo>
                <a:cubicBezTo>
                  <a:pt x="1557" y="446"/>
                  <a:pt x="1557" y="446"/>
                  <a:pt x="1557" y="446"/>
                </a:cubicBezTo>
                <a:cubicBezTo>
                  <a:pt x="1556" y="446"/>
                  <a:pt x="1556" y="447"/>
                  <a:pt x="1556" y="447"/>
                </a:cubicBezTo>
                <a:cubicBezTo>
                  <a:pt x="1556" y="447"/>
                  <a:pt x="1556" y="447"/>
                  <a:pt x="1556" y="447"/>
                </a:cubicBezTo>
                <a:close/>
                <a:moveTo>
                  <a:pt x="1557" y="424"/>
                </a:moveTo>
                <a:cubicBezTo>
                  <a:pt x="1557" y="424"/>
                  <a:pt x="1557" y="424"/>
                  <a:pt x="1557" y="425"/>
                </a:cubicBezTo>
                <a:cubicBezTo>
                  <a:pt x="1557" y="425"/>
                  <a:pt x="1557" y="425"/>
                  <a:pt x="1557" y="425"/>
                </a:cubicBezTo>
                <a:cubicBezTo>
                  <a:pt x="1557" y="425"/>
                  <a:pt x="1558" y="425"/>
                  <a:pt x="1558" y="425"/>
                </a:cubicBezTo>
                <a:cubicBezTo>
                  <a:pt x="1558" y="425"/>
                  <a:pt x="1558" y="424"/>
                  <a:pt x="1558" y="424"/>
                </a:cubicBezTo>
                <a:cubicBezTo>
                  <a:pt x="1558" y="424"/>
                  <a:pt x="1557" y="424"/>
                  <a:pt x="1557" y="424"/>
                </a:cubicBezTo>
                <a:cubicBezTo>
                  <a:pt x="1557" y="424"/>
                  <a:pt x="1557" y="423"/>
                  <a:pt x="1557" y="423"/>
                </a:cubicBezTo>
                <a:cubicBezTo>
                  <a:pt x="1557" y="423"/>
                  <a:pt x="1557" y="423"/>
                  <a:pt x="1557" y="423"/>
                </a:cubicBezTo>
                <a:cubicBezTo>
                  <a:pt x="1557" y="423"/>
                  <a:pt x="1557" y="424"/>
                  <a:pt x="1557" y="424"/>
                </a:cubicBezTo>
                <a:close/>
                <a:moveTo>
                  <a:pt x="1564" y="429"/>
                </a:moveTo>
                <a:cubicBezTo>
                  <a:pt x="1563" y="429"/>
                  <a:pt x="1563" y="429"/>
                  <a:pt x="1563" y="428"/>
                </a:cubicBezTo>
                <a:cubicBezTo>
                  <a:pt x="1563" y="429"/>
                  <a:pt x="1563" y="429"/>
                  <a:pt x="1563" y="429"/>
                </a:cubicBezTo>
                <a:cubicBezTo>
                  <a:pt x="1563" y="429"/>
                  <a:pt x="1563" y="429"/>
                  <a:pt x="1563" y="429"/>
                </a:cubicBezTo>
                <a:cubicBezTo>
                  <a:pt x="1563" y="429"/>
                  <a:pt x="1563" y="429"/>
                  <a:pt x="1564" y="429"/>
                </a:cubicBezTo>
                <a:close/>
                <a:moveTo>
                  <a:pt x="1546" y="412"/>
                </a:moveTo>
                <a:cubicBezTo>
                  <a:pt x="1546" y="412"/>
                  <a:pt x="1546" y="412"/>
                  <a:pt x="1546" y="411"/>
                </a:cubicBezTo>
                <a:cubicBezTo>
                  <a:pt x="1546" y="411"/>
                  <a:pt x="1546" y="411"/>
                  <a:pt x="1546" y="411"/>
                </a:cubicBezTo>
                <a:cubicBezTo>
                  <a:pt x="1546" y="411"/>
                  <a:pt x="1545" y="411"/>
                  <a:pt x="1545" y="411"/>
                </a:cubicBezTo>
                <a:cubicBezTo>
                  <a:pt x="1545" y="411"/>
                  <a:pt x="1545" y="411"/>
                  <a:pt x="1545" y="411"/>
                </a:cubicBezTo>
                <a:cubicBezTo>
                  <a:pt x="1545" y="411"/>
                  <a:pt x="1545" y="411"/>
                  <a:pt x="1545" y="411"/>
                </a:cubicBezTo>
                <a:cubicBezTo>
                  <a:pt x="1545" y="411"/>
                  <a:pt x="1545" y="412"/>
                  <a:pt x="1545" y="412"/>
                </a:cubicBezTo>
                <a:cubicBezTo>
                  <a:pt x="1545" y="412"/>
                  <a:pt x="1545" y="412"/>
                  <a:pt x="1545" y="412"/>
                </a:cubicBezTo>
                <a:cubicBezTo>
                  <a:pt x="1546" y="412"/>
                  <a:pt x="1546" y="412"/>
                  <a:pt x="1546" y="412"/>
                </a:cubicBezTo>
                <a:close/>
                <a:moveTo>
                  <a:pt x="1544" y="417"/>
                </a:moveTo>
                <a:cubicBezTo>
                  <a:pt x="1545" y="417"/>
                  <a:pt x="1545" y="417"/>
                  <a:pt x="1545" y="417"/>
                </a:cubicBezTo>
                <a:cubicBezTo>
                  <a:pt x="1546" y="417"/>
                  <a:pt x="1547" y="418"/>
                  <a:pt x="1547" y="418"/>
                </a:cubicBezTo>
                <a:cubicBezTo>
                  <a:pt x="1548" y="418"/>
                  <a:pt x="1548" y="417"/>
                  <a:pt x="1548" y="417"/>
                </a:cubicBezTo>
                <a:cubicBezTo>
                  <a:pt x="1548" y="417"/>
                  <a:pt x="1548" y="417"/>
                  <a:pt x="1548" y="417"/>
                </a:cubicBezTo>
                <a:cubicBezTo>
                  <a:pt x="1548" y="417"/>
                  <a:pt x="1548" y="416"/>
                  <a:pt x="1547" y="416"/>
                </a:cubicBezTo>
                <a:cubicBezTo>
                  <a:pt x="1547" y="416"/>
                  <a:pt x="1546" y="416"/>
                  <a:pt x="1545" y="416"/>
                </a:cubicBezTo>
                <a:cubicBezTo>
                  <a:pt x="1545" y="416"/>
                  <a:pt x="1545" y="416"/>
                  <a:pt x="1544" y="416"/>
                </a:cubicBezTo>
                <a:cubicBezTo>
                  <a:pt x="1544" y="416"/>
                  <a:pt x="1544" y="417"/>
                  <a:pt x="1544" y="417"/>
                </a:cubicBezTo>
                <a:close/>
                <a:moveTo>
                  <a:pt x="1554" y="412"/>
                </a:moveTo>
                <a:cubicBezTo>
                  <a:pt x="1553" y="412"/>
                  <a:pt x="1553" y="412"/>
                  <a:pt x="1553" y="412"/>
                </a:cubicBezTo>
                <a:cubicBezTo>
                  <a:pt x="1553" y="412"/>
                  <a:pt x="1553" y="412"/>
                  <a:pt x="1553" y="412"/>
                </a:cubicBezTo>
                <a:cubicBezTo>
                  <a:pt x="1553" y="412"/>
                  <a:pt x="1554" y="412"/>
                  <a:pt x="1554" y="412"/>
                </a:cubicBezTo>
                <a:cubicBezTo>
                  <a:pt x="1554" y="412"/>
                  <a:pt x="1554" y="412"/>
                  <a:pt x="1554" y="412"/>
                </a:cubicBezTo>
                <a:close/>
                <a:moveTo>
                  <a:pt x="1561" y="416"/>
                </a:moveTo>
                <a:cubicBezTo>
                  <a:pt x="1561" y="416"/>
                  <a:pt x="1561" y="416"/>
                  <a:pt x="1561" y="416"/>
                </a:cubicBezTo>
                <a:cubicBezTo>
                  <a:pt x="1560" y="416"/>
                  <a:pt x="1560" y="416"/>
                  <a:pt x="1560" y="416"/>
                </a:cubicBezTo>
                <a:cubicBezTo>
                  <a:pt x="1560" y="417"/>
                  <a:pt x="1560" y="417"/>
                  <a:pt x="1560" y="417"/>
                </a:cubicBezTo>
                <a:cubicBezTo>
                  <a:pt x="1560" y="417"/>
                  <a:pt x="1561" y="417"/>
                  <a:pt x="1561" y="417"/>
                </a:cubicBezTo>
                <a:cubicBezTo>
                  <a:pt x="1561" y="417"/>
                  <a:pt x="1561" y="417"/>
                  <a:pt x="1562" y="416"/>
                </a:cubicBezTo>
                <a:cubicBezTo>
                  <a:pt x="1562" y="416"/>
                  <a:pt x="1562" y="416"/>
                  <a:pt x="1562" y="416"/>
                </a:cubicBezTo>
                <a:cubicBezTo>
                  <a:pt x="1562" y="416"/>
                  <a:pt x="1562" y="416"/>
                  <a:pt x="1562" y="416"/>
                </a:cubicBezTo>
                <a:cubicBezTo>
                  <a:pt x="1561" y="416"/>
                  <a:pt x="1561" y="416"/>
                  <a:pt x="1561" y="416"/>
                </a:cubicBezTo>
                <a:close/>
                <a:moveTo>
                  <a:pt x="1557" y="412"/>
                </a:moveTo>
                <a:cubicBezTo>
                  <a:pt x="1557" y="413"/>
                  <a:pt x="1557" y="413"/>
                  <a:pt x="1557" y="413"/>
                </a:cubicBezTo>
                <a:cubicBezTo>
                  <a:pt x="1557" y="413"/>
                  <a:pt x="1557" y="413"/>
                  <a:pt x="1557" y="413"/>
                </a:cubicBezTo>
                <a:cubicBezTo>
                  <a:pt x="1557" y="413"/>
                  <a:pt x="1557" y="413"/>
                  <a:pt x="1557" y="414"/>
                </a:cubicBezTo>
                <a:cubicBezTo>
                  <a:pt x="1558" y="413"/>
                  <a:pt x="1558" y="413"/>
                  <a:pt x="1558" y="413"/>
                </a:cubicBezTo>
                <a:cubicBezTo>
                  <a:pt x="1558" y="413"/>
                  <a:pt x="1558" y="413"/>
                  <a:pt x="1558" y="413"/>
                </a:cubicBezTo>
                <a:cubicBezTo>
                  <a:pt x="1558" y="413"/>
                  <a:pt x="1558" y="412"/>
                  <a:pt x="1558" y="412"/>
                </a:cubicBezTo>
                <a:cubicBezTo>
                  <a:pt x="1558" y="412"/>
                  <a:pt x="1557" y="412"/>
                  <a:pt x="1557" y="412"/>
                </a:cubicBezTo>
                <a:close/>
                <a:moveTo>
                  <a:pt x="1559" y="418"/>
                </a:moveTo>
                <a:cubicBezTo>
                  <a:pt x="1559" y="418"/>
                  <a:pt x="1559" y="418"/>
                  <a:pt x="1559" y="418"/>
                </a:cubicBezTo>
                <a:cubicBezTo>
                  <a:pt x="1560" y="418"/>
                  <a:pt x="1560" y="418"/>
                  <a:pt x="1560" y="418"/>
                </a:cubicBezTo>
                <a:cubicBezTo>
                  <a:pt x="1560" y="418"/>
                  <a:pt x="1560" y="418"/>
                  <a:pt x="1560" y="418"/>
                </a:cubicBezTo>
                <a:cubicBezTo>
                  <a:pt x="1561" y="418"/>
                  <a:pt x="1561" y="418"/>
                  <a:pt x="1561" y="418"/>
                </a:cubicBezTo>
                <a:cubicBezTo>
                  <a:pt x="1561" y="418"/>
                  <a:pt x="1560" y="417"/>
                  <a:pt x="1560" y="417"/>
                </a:cubicBezTo>
                <a:cubicBezTo>
                  <a:pt x="1560" y="417"/>
                  <a:pt x="1560" y="418"/>
                  <a:pt x="1559" y="418"/>
                </a:cubicBezTo>
                <a:close/>
                <a:moveTo>
                  <a:pt x="1711" y="721"/>
                </a:moveTo>
                <a:cubicBezTo>
                  <a:pt x="1711" y="721"/>
                  <a:pt x="1710" y="721"/>
                  <a:pt x="1710" y="721"/>
                </a:cubicBezTo>
                <a:cubicBezTo>
                  <a:pt x="1709" y="721"/>
                  <a:pt x="1709" y="720"/>
                  <a:pt x="1709" y="720"/>
                </a:cubicBezTo>
                <a:cubicBezTo>
                  <a:pt x="1709" y="720"/>
                  <a:pt x="1708" y="720"/>
                  <a:pt x="1708" y="720"/>
                </a:cubicBezTo>
                <a:cubicBezTo>
                  <a:pt x="1707" y="720"/>
                  <a:pt x="1707" y="720"/>
                  <a:pt x="1707" y="719"/>
                </a:cubicBezTo>
                <a:cubicBezTo>
                  <a:pt x="1706" y="720"/>
                  <a:pt x="1706" y="720"/>
                  <a:pt x="1705" y="720"/>
                </a:cubicBezTo>
                <a:cubicBezTo>
                  <a:pt x="1706" y="721"/>
                  <a:pt x="1706" y="721"/>
                  <a:pt x="1706" y="721"/>
                </a:cubicBezTo>
                <a:cubicBezTo>
                  <a:pt x="1706" y="721"/>
                  <a:pt x="1707" y="721"/>
                  <a:pt x="1707" y="721"/>
                </a:cubicBezTo>
                <a:cubicBezTo>
                  <a:pt x="1707" y="721"/>
                  <a:pt x="1707" y="722"/>
                  <a:pt x="1708" y="722"/>
                </a:cubicBezTo>
                <a:cubicBezTo>
                  <a:pt x="1708" y="722"/>
                  <a:pt x="1708" y="722"/>
                  <a:pt x="1708" y="722"/>
                </a:cubicBezTo>
                <a:cubicBezTo>
                  <a:pt x="1709" y="722"/>
                  <a:pt x="1709" y="722"/>
                  <a:pt x="1709" y="722"/>
                </a:cubicBezTo>
                <a:cubicBezTo>
                  <a:pt x="1709" y="722"/>
                  <a:pt x="1709" y="722"/>
                  <a:pt x="1709" y="723"/>
                </a:cubicBezTo>
                <a:cubicBezTo>
                  <a:pt x="1710" y="723"/>
                  <a:pt x="1710" y="723"/>
                  <a:pt x="1711" y="724"/>
                </a:cubicBezTo>
                <a:cubicBezTo>
                  <a:pt x="1711" y="723"/>
                  <a:pt x="1712" y="723"/>
                  <a:pt x="1712" y="723"/>
                </a:cubicBezTo>
                <a:cubicBezTo>
                  <a:pt x="1712" y="723"/>
                  <a:pt x="1712" y="723"/>
                  <a:pt x="1712" y="723"/>
                </a:cubicBezTo>
                <a:cubicBezTo>
                  <a:pt x="1712" y="723"/>
                  <a:pt x="1711" y="723"/>
                  <a:pt x="1711" y="723"/>
                </a:cubicBezTo>
                <a:cubicBezTo>
                  <a:pt x="1711" y="723"/>
                  <a:pt x="1711" y="723"/>
                  <a:pt x="1710" y="722"/>
                </a:cubicBezTo>
                <a:cubicBezTo>
                  <a:pt x="1711" y="722"/>
                  <a:pt x="1712" y="722"/>
                  <a:pt x="1712" y="722"/>
                </a:cubicBezTo>
                <a:cubicBezTo>
                  <a:pt x="1712" y="722"/>
                  <a:pt x="1712" y="722"/>
                  <a:pt x="1713" y="722"/>
                </a:cubicBezTo>
                <a:cubicBezTo>
                  <a:pt x="1713" y="722"/>
                  <a:pt x="1713" y="722"/>
                  <a:pt x="1714" y="722"/>
                </a:cubicBezTo>
                <a:cubicBezTo>
                  <a:pt x="1714" y="721"/>
                  <a:pt x="1714" y="721"/>
                  <a:pt x="1714" y="721"/>
                </a:cubicBezTo>
                <a:cubicBezTo>
                  <a:pt x="1713" y="721"/>
                  <a:pt x="1713" y="721"/>
                  <a:pt x="1712" y="721"/>
                </a:cubicBezTo>
                <a:cubicBezTo>
                  <a:pt x="1712" y="721"/>
                  <a:pt x="1711" y="721"/>
                  <a:pt x="1711" y="721"/>
                </a:cubicBezTo>
                <a:close/>
                <a:moveTo>
                  <a:pt x="1701" y="720"/>
                </a:moveTo>
                <a:cubicBezTo>
                  <a:pt x="1700" y="720"/>
                  <a:pt x="1700" y="720"/>
                  <a:pt x="1699" y="720"/>
                </a:cubicBezTo>
                <a:cubicBezTo>
                  <a:pt x="1699" y="721"/>
                  <a:pt x="1699" y="721"/>
                  <a:pt x="1698" y="721"/>
                </a:cubicBezTo>
                <a:cubicBezTo>
                  <a:pt x="1698" y="721"/>
                  <a:pt x="1698" y="721"/>
                  <a:pt x="1698" y="721"/>
                </a:cubicBezTo>
                <a:cubicBezTo>
                  <a:pt x="1697" y="721"/>
                  <a:pt x="1697" y="721"/>
                  <a:pt x="1697" y="722"/>
                </a:cubicBezTo>
                <a:cubicBezTo>
                  <a:pt x="1697" y="722"/>
                  <a:pt x="1698" y="723"/>
                  <a:pt x="1698" y="723"/>
                </a:cubicBezTo>
                <a:cubicBezTo>
                  <a:pt x="1699" y="723"/>
                  <a:pt x="1699" y="724"/>
                  <a:pt x="1700" y="724"/>
                </a:cubicBezTo>
                <a:cubicBezTo>
                  <a:pt x="1700" y="724"/>
                  <a:pt x="1700" y="724"/>
                  <a:pt x="1701" y="724"/>
                </a:cubicBezTo>
                <a:cubicBezTo>
                  <a:pt x="1701" y="724"/>
                  <a:pt x="1701" y="725"/>
                  <a:pt x="1702" y="725"/>
                </a:cubicBezTo>
                <a:cubicBezTo>
                  <a:pt x="1702" y="725"/>
                  <a:pt x="1703" y="725"/>
                  <a:pt x="1703" y="725"/>
                </a:cubicBezTo>
                <a:cubicBezTo>
                  <a:pt x="1703" y="724"/>
                  <a:pt x="1704" y="724"/>
                  <a:pt x="1704" y="723"/>
                </a:cubicBezTo>
                <a:cubicBezTo>
                  <a:pt x="1704" y="722"/>
                  <a:pt x="1703" y="722"/>
                  <a:pt x="1703" y="721"/>
                </a:cubicBezTo>
                <a:cubicBezTo>
                  <a:pt x="1702" y="721"/>
                  <a:pt x="1702" y="721"/>
                  <a:pt x="1701" y="720"/>
                </a:cubicBezTo>
                <a:close/>
                <a:moveTo>
                  <a:pt x="1660" y="708"/>
                </a:moveTo>
                <a:cubicBezTo>
                  <a:pt x="1660" y="709"/>
                  <a:pt x="1660" y="709"/>
                  <a:pt x="1660" y="709"/>
                </a:cubicBezTo>
                <a:cubicBezTo>
                  <a:pt x="1660" y="709"/>
                  <a:pt x="1660" y="709"/>
                  <a:pt x="1661" y="709"/>
                </a:cubicBezTo>
                <a:cubicBezTo>
                  <a:pt x="1661" y="708"/>
                  <a:pt x="1661" y="708"/>
                  <a:pt x="1660" y="708"/>
                </a:cubicBezTo>
                <a:cubicBezTo>
                  <a:pt x="1660" y="708"/>
                  <a:pt x="1660" y="708"/>
                  <a:pt x="1660" y="708"/>
                </a:cubicBezTo>
                <a:close/>
                <a:moveTo>
                  <a:pt x="1663" y="696"/>
                </a:moveTo>
                <a:cubicBezTo>
                  <a:pt x="1663" y="696"/>
                  <a:pt x="1663" y="697"/>
                  <a:pt x="1663" y="697"/>
                </a:cubicBezTo>
                <a:cubicBezTo>
                  <a:pt x="1663" y="697"/>
                  <a:pt x="1664" y="697"/>
                  <a:pt x="1664" y="697"/>
                </a:cubicBezTo>
                <a:cubicBezTo>
                  <a:pt x="1664" y="697"/>
                  <a:pt x="1664" y="697"/>
                  <a:pt x="1664" y="697"/>
                </a:cubicBezTo>
                <a:cubicBezTo>
                  <a:pt x="1664" y="696"/>
                  <a:pt x="1664" y="696"/>
                  <a:pt x="1664" y="696"/>
                </a:cubicBezTo>
                <a:cubicBezTo>
                  <a:pt x="1663" y="696"/>
                  <a:pt x="1663" y="696"/>
                  <a:pt x="1663" y="696"/>
                </a:cubicBezTo>
                <a:close/>
                <a:moveTo>
                  <a:pt x="1663" y="688"/>
                </a:moveTo>
                <a:cubicBezTo>
                  <a:pt x="1663" y="688"/>
                  <a:pt x="1663" y="688"/>
                  <a:pt x="1663" y="688"/>
                </a:cubicBezTo>
                <a:cubicBezTo>
                  <a:pt x="1663" y="687"/>
                  <a:pt x="1663" y="687"/>
                  <a:pt x="1663" y="687"/>
                </a:cubicBezTo>
                <a:cubicBezTo>
                  <a:pt x="1663" y="687"/>
                  <a:pt x="1663" y="687"/>
                  <a:pt x="1663" y="687"/>
                </a:cubicBezTo>
                <a:cubicBezTo>
                  <a:pt x="1663" y="687"/>
                  <a:pt x="1663" y="687"/>
                  <a:pt x="1662" y="688"/>
                </a:cubicBezTo>
                <a:cubicBezTo>
                  <a:pt x="1662" y="688"/>
                  <a:pt x="1662" y="688"/>
                  <a:pt x="1662" y="687"/>
                </a:cubicBezTo>
                <a:cubicBezTo>
                  <a:pt x="1662" y="687"/>
                  <a:pt x="1662" y="687"/>
                  <a:pt x="1662" y="687"/>
                </a:cubicBezTo>
                <a:cubicBezTo>
                  <a:pt x="1662" y="687"/>
                  <a:pt x="1662" y="686"/>
                  <a:pt x="1662" y="686"/>
                </a:cubicBezTo>
                <a:cubicBezTo>
                  <a:pt x="1662" y="686"/>
                  <a:pt x="1662" y="685"/>
                  <a:pt x="1662" y="685"/>
                </a:cubicBezTo>
                <a:cubicBezTo>
                  <a:pt x="1661" y="685"/>
                  <a:pt x="1661" y="686"/>
                  <a:pt x="1661" y="686"/>
                </a:cubicBezTo>
                <a:cubicBezTo>
                  <a:pt x="1661" y="687"/>
                  <a:pt x="1661" y="687"/>
                  <a:pt x="1661" y="687"/>
                </a:cubicBezTo>
                <a:cubicBezTo>
                  <a:pt x="1660" y="687"/>
                  <a:pt x="1660" y="688"/>
                  <a:pt x="1660" y="688"/>
                </a:cubicBezTo>
                <a:cubicBezTo>
                  <a:pt x="1660" y="688"/>
                  <a:pt x="1660" y="689"/>
                  <a:pt x="1660" y="689"/>
                </a:cubicBezTo>
                <a:cubicBezTo>
                  <a:pt x="1660" y="689"/>
                  <a:pt x="1660" y="689"/>
                  <a:pt x="1661" y="689"/>
                </a:cubicBezTo>
                <a:cubicBezTo>
                  <a:pt x="1661" y="689"/>
                  <a:pt x="1661" y="689"/>
                  <a:pt x="1661" y="689"/>
                </a:cubicBezTo>
                <a:cubicBezTo>
                  <a:pt x="1662" y="689"/>
                  <a:pt x="1662" y="689"/>
                  <a:pt x="1662" y="690"/>
                </a:cubicBezTo>
                <a:cubicBezTo>
                  <a:pt x="1662" y="690"/>
                  <a:pt x="1662" y="690"/>
                  <a:pt x="1663" y="690"/>
                </a:cubicBezTo>
                <a:cubicBezTo>
                  <a:pt x="1663" y="689"/>
                  <a:pt x="1663" y="689"/>
                  <a:pt x="1663" y="689"/>
                </a:cubicBezTo>
                <a:cubicBezTo>
                  <a:pt x="1663" y="689"/>
                  <a:pt x="1663" y="688"/>
                  <a:pt x="1663" y="688"/>
                </a:cubicBezTo>
                <a:close/>
                <a:moveTo>
                  <a:pt x="1667" y="691"/>
                </a:moveTo>
                <a:cubicBezTo>
                  <a:pt x="1667" y="691"/>
                  <a:pt x="1667" y="691"/>
                  <a:pt x="1668" y="691"/>
                </a:cubicBezTo>
                <a:cubicBezTo>
                  <a:pt x="1668" y="690"/>
                  <a:pt x="1668" y="690"/>
                  <a:pt x="1668" y="689"/>
                </a:cubicBezTo>
                <a:cubicBezTo>
                  <a:pt x="1668" y="690"/>
                  <a:pt x="1668" y="690"/>
                  <a:pt x="1667" y="690"/>
                </a:cubicBezTo>
                <a:cubicBezTo>
                  <a:pt x="1667" y="691"/>
                  <a:pt x="1667" y="691"/>
                  <a:pt x="1667" y="691"/>
                </a:cubicBezTo>
                <a:close/>
                <a:moveTo>
                  <a:pt x="1660" y="694"/>
                </a:moveTo>
                <a:cubicBezTo>
                  <a:pt x="1660" y="694"/>
                  <a:pt x="1660" y="694"/>
                  <a:pt x="1660" y="694"/>
                </a:cubicBezTo>
                <a:cubicBezTo>
                  <a:pt x="1661" y="694"/>
                  <a:pt x="1661" y="694"/>
                  <a:pt x="1661" y="694"/>
                </a:cubicBezTo>
                <a:cubicBezTo>
                  <a:pt x="1662" y="694"/>
                  <a:pt x="1662" y="694"/>
                  <a:pt x="1662" y="694"/>
                </a:cubicBezTo>
                <a:cubicBezTo>
                  <a:pt x="1662" y="694"/>
                  <a:pt x="1662" y="694"/>
                  <a:pt x="1662" y="694"/>
                </a:cubicBezTo>
                <a:cubicBezTo>
                  <a:pt x="1662" y="693"/>
                  <a:pt x="1662" y="693"/>
                  <a:pt x="1662" y="693"/>
                </a:cubicBezTo>
                <a:cubicBezTo>
                  <a:pt x="1662" y="692"/>
                  <a:pt x="1662" y="692"/>
                  <a:pt x="1662" y="692"/>
                </a:cubicBezTo>
                <a:cubicBezTo>
                  <a:pt x="1662" y="692"/>
                  <a:pt x="1662" y="692"/>
                  <a:pt x="1662" y="691"/>
                </a:cubicBezTo>
                <a:cubicBezTo>
                  <a:pt x="1662" y="691"/>
                  <a:pt x="1661" y="691"/>
                  <a:pt x="1661" y="691"/>
                </a:cubicBezTo>
                <a:cubicBezTo>
                  <a:pt x="1661" y="691"/>
                  <a:pt x="1661" y="691"/>
                  <a:pt x="1661" y="691"/>
                </a:cubicBezTo>
                <a:cubicBezTo>
                  <a:pt x="1661" y="691"/>
                  <a:pt x="1661" y="691"/>
                  <a:pt x="1661" y="692"/>
                </a:cubicBezTo>
                <a:cubicBezTo>
                  <a:pt x="1661" y="692"/>
                  <a:pt x="1661" y="692"/>
                  <a:pt x="1661" y="692"/>
                </a:cubicBezTo>
                <a:cubicBezTo>
                  <a:pt x="1661" y="692"/>
                  <a:pt x="1661" y="692"/>
                  <a:pt x="1661" y="692"/>
                </a:cubicBezTo>
                <a:cubicBezTo>
                  <a:pt x="1661" y="693"/>
                  <a:pt x="1661" y="693"/>
                  <a:pt x="1661" y="693"/>
                </a:cubicBezTo>
                <a:cubicBezTo>
                  <a:pt x="1661" y="693"/>
                  <a:pt x="1661" y="693"/>
                  <a:pt x="1660" y="694"/>
                </a:cubicBezTo>
                <a:close/>
                <a:moveTo>
                  <a:pt x="1661" y="705"/>
                </a:moveTo>
                <a:cubicBezTo>
                  <a:pt x="1661" y="705"/>
                  <a:pt x="1661" y="705"/>
                  <a:pt x="1661" y="705"/>
                </a:cubicBezTo>
                <a:cubicBezTo>
                  <a:pt x="1661" y="706"/>
                  <a:pt x="1661" y="706"/>
                  <a:pt x="1661" y="706"/>
                </a:cubicBezTo>
                <a:cubicBezTo>
                  <a:pt x="1661" y="706"/>
                  <a:pt x="1662" y="706"/>
                  <a:pt x="1662" y="705"/>
                </a:cubicBezTo>
                <a:cubicBezTo>
                  <a:pt x="1662" y="705"/>
                  <a:pt x="1662" y="705"/>
                  <a:pt x="1662" y="705"/>
                </a:cubicBezTo>
                <a:cubicBezTo>
                  <a:pt x="1661" y="705"/>
                  <a:pt x="1661" y="705"/>
                  <a:pt x="1661" y="705"/>
                </a:cubicBezTo>
                <a:close/>
                <a:moveTo>
                  <a:pt x="1661" y="699"/>
                </a:moveTo>
                <a:cubicBezTo>
                  <a:pt x="1661" y="699"/>
                  <a:pt x="1661" y="699"/>
                  <a:pt x="1661" y="700"/>
                </a:cubicBezTo>
                <a:cubicBezTo>
                  <a:pt x="1661" y="700"/>
                  <a:pt x="1661" y="700"/>
                  <a:pt x="1661" y="700"/>
                </a:cubicBezTo>
                <a:cubicBezTo>
                  <a:pt x="1661" y="701"/>
                  <a:pt x="1662" y="701"/>
                  <a:pt x="1662" y="701"/>
                </a:cubicBezTo>
                <a:cubicBezTo>
                  <a:pt x="1662" y="700"/>
                  <a:pt x="1662" y="700"/>
                  <a:pt x="1662" y="700"/>
                </a:cubicBezTo>
                <a:cubicBezTo>
                  <a:pt x="1662" y="700"/>
                  <a:pt x="1662" y="699"/>
                  <a:pt x="1662" y="699"/>
                </a:cubicBezTo>
                <a:cubicBezTo>
                  <a:pt x="1662" y="699"/>
                  <a:pt x="1661" y="699"/>
                  <a:pt x="1661" y="699"/>
                </a:cubicBezTo>
                <a:close/>
                <a:moveTo>
                  <a:pt x="1665" y="694"/>
                </a:moveTo>
                <a:cubicBezTo>
                  <a:pt x="1664" y="694"/>
                  <a:pt x="1664" y="694"/>
                  <a:pt x="1663" y="694"/>
                </a:cubicBezTo>
                <a:cubicBezTo>
                  <a:pt x="1663" y="694"/>
                  <a:pt x="1663" y="694"/>
                  <a:pt x="1663" y="694"/>
                </a:cubicBezTo>
                <a:cubicBezTo>
                  <a:pt x="1663" y="695"/>
                  <a:pt x="1663" y="695"/>
                  <a:pt x="1663" y="695"/>
                </a:cubicBezTo>
                <a:cubicBezTo>
                  <a:pt x="1663" y="695"/>
                  <a:pt x="1664" y="695"/>
                  <a:pt x="1664" y="695"/>
                </a:cubicBezTo>
                <a:cubicBezTo>
                  <a:pt x="1664" y="695"/>
                  <a:pt x="1664" y="695"/>
                  <a:pt x="1664" y="695"/>
                </a:cubicBezTo>
                <a:cubicBezTo>
                  <a:pt x="1664" y="695"/>
                  <a:pt x="1664" y="695"/>
                  <a:pt x="1665" y="695"/>
                </a:cubicBezTo>
                <a:cubicBezTo>
                  <a:pt x="1665" y="695"/>
                  <a:pt x="1665" y="695"/>
                  <a:pt x="1665" y="695"/>
                </a:cubicBezTo>
                <a:cubicBezTo>
                  <a:pt x="1665" y="695"/>
                  <a:pt x="1665" y="695"/>
                  <a:pt x="1665" y="695"/>
                </a:cubicBezTo>
                <a:cubicBezTo>
                  <a:pt x="1665" y="694"/>
                  <a:pt x="1665" y="694"/>
                  <a:pt x="1665" y="694"/>
                </a:cubicBezTo>
                <a:close/>
                <a:moveTo>
                  <a:pt x="1666" y="690"/>
                </a:moveTo>
                <a:cubicBezTo>
                  <a:pt x="1666" y="690"/>
                  <a:pt x="1666" y="690"/>
                  <a:pt x="1665" y="690"/>
                </a:cubicBezTo>
                <a:cubicBezTo>
                  <a:pt x="1665" y="690"/>
                  <a:pt x="1665" y="690"/>
                  <a:pt x="1665" y="690"/>
                </a:cubicBezTo>
                <a:cubicBezTo>
                  <a:pt x="1665" y="690"/>
                  <a:pt x="1665" y="691"/>
                  <a:pt x="1665" y="691"/>
                </a:cubicBezTo>
                <a:cubicBezTo>
                  <a:pt x="1665" y="691"/>
                  <a:pt x="1666" y="691"/>
                  <a:pt x="1666" y="691"/>
                </a:cubicBezTo>
                <a:cubicBezTo>
                  <a:pt x="1666" y="690"/>
                  <a:pt x="1666" y="690"/>
                  <a:pt x="1666" y="690"/>
                </a:cubicBezTo>
                <a:close/>
                <a:moveTo>
                  <a:pt x="1666" y="692"/>
                </a:moveTo>
                <a:cubicBezTo>
                  <a:pt x="1666" y="693"/>
                  <a:pt x="1666" y="693"/>
                  <a:pt x="1666" y="693"/>
                </a:cubicBezTo>
                <a:cubicBezTo>
                  <a:pt x="1666" y="693"/>
                  <a:pt x="1666" y="693"/>
                  <a:pt x="1666" y="693"/>
                </a:cubicBezTo>
                <a:cubicBezTo>
                  <a:pt x="1666" y="693"/>
                  <a:pt x="1666" y="693"/>
                  <a:pt x="1666" y="693"/>
                </a:cubicBezTo>
                <a:cubicBezTo>
                  <a:pt x="1666" y="693"/>
                  <a:pt x="1666" y="692"/>
                  <a:pt x="1667" y="692"/>
                </a:cubicBezTo>
                <a:cubicBezTo>
                  <a:pt x="1666" y="692"/>
                  <a:pt x="1666" y="692"/>
                  <a:pt x="1666" y="692"/>
                </a:cubicBezTo>
                <a:cubicBezTo>
                  <a:pt x="1666" y="692"/>
                  <a:pt x="1666" y="692"/>
                  <a:pt x="1666" y="692"/>
                </a:cubicBezTo>
                <a:close/>
                <a:moveTo>
                  <a:pt x="1638" y="635"/>
                </a:moveTo>
                <a:cubicBezTo>
                  <a:pt x="1638" y="635"/>
                  <a:pt x="1637" y="635"/>
                  <a:pt x="1637" y="635"/>
                </a:cubicBezTo>
                <a:cubicBezTo>
                  <a:pt x="1637" y="635"/>
                  <a:pt x="1637" y="635"/>
                  <a:pt x="1638" y="635"/>
                </a:cubicBezTo>
                <a:cubicBezTo>
                  <a:pt x="1638" y="635"/>
                  <a:pt x="1638" y="635"/>
                  <a:pt x="1638" y="635"/>
                </a:cubicBezTo>
                <a:close/>
                <a:moveTo>
                  <a:pt x="1635" y="636"/>
                </a:moveTo>
                <a:cubicBezTo>
                  <a:pt x="1635" y="636"/>
                  <a:pt x="1635" y="636"/>
                  <a:pt x="1635" y="635"/>
                </a:cubicBezTo>
                <a:cubicBezTo>
                  <a:pt x="1635" y="635"/>
                  <a:pt x="1635" y="635"/>
                  <a:pt x="1635" y="635"/>
                </a:cubicBezTo>
                <a:cubicBezTo>
                  <a:pt x="1635" y="636"/>
                  <a:pt x="1635" y="636"/>
                  <a:pt x="1635" y="636"/>
                </a:cubicBezTo>
                <a:close/>
                <a:moveTo>
                  <a:pt x="1640" y="646"/>
                </a:moveTo>
                <a:cubicBezTo>
                  <a:pt x="1640" y="646"/>
                  <a:pt x="1640" y="646"/>
                  <a:pt x="1640" y="646"/>
                </a:cubicBezTo>
                <a:cubicBezTo>
                  <a:pt x="1640" y="646"/>
                  <a:pt x="1640" y="645"/>
                  <a:pt x="1639" y="645"/>
                </a:cubicBezTo>
                <a:cubicBezTo>
                  <a:pt x="1639" y="645"/>
                  <a:pt x="1639" y="645"/>
                  <a:pt x="1639" y="646"/>
                </a:cubicBezTo>
                <a:cubicBezTo>
                  <a:pt x="1639" y="646"/>
                  <a:pt x="1639" y="646"/>
                  <a:pt x="1639" y="646"/>
                </a:cubicBezTo>
                <a:cubicBezTo>
                  <a:pt x="1639" y="646"/>
                  <a:pt x="1640" y="646"/>
                  <a:pt x="1640" y="646"/>
                </a:cubicBezTo>
                <a:close/>
                <a:moveTo>
                  <a:pt x="1635" y="640"/>
                </a:moveTo>
                <a:cubicBezTo>
                  <a:pt x="1635" y="640"/>
                  <a:pt x="1635" y="640"/>
                  <a:pt x="1635" y="640"/>
                </a:cubicBezTo>
                <a:cubicBezTo>
                  <a:pt x="1635" y="640"/>
                  <a:pt x="1635" y="640"/>
                  <a:pt x="1635" y="641"/>
                </a:cubicBezTo>
                <a:cubicBezTo>
                  <a:pt x="1635" y="641"/>
                  <a:pt x="1636" y="641"/>
                  <a:pt x="1636" y="641"/>
                </a:cubicBezTo>
                <a:cubicBezTo>
                  <a:pt x="1636" y="640"/>
                  <a:pt x="1636" y="640"/>
                  <a:pt x="1636" y="640"/>
                </a:cubicBezTo>
                <a:cubicBezTo>
                  <a:pt x="1636" y="640"/>
                  <a:pt x="1636" y="640"/>
                  <a:pt x="1636" y="639"/>
                </a:cubicBezTo>
                <a:cubicBezTo>
                  <a:pt x="1635" y="639"/>
                  <a:pt x="1635" y="640"/>
                  <a:pt x="1635" y="640"/>
                </a:cubicBezTo>
                <a:close/>
                <a:moveTo>
                  <a:pt x="1639" y="645"/>
                </a:moveTo>
                <a:cubicBezTo>
                  <a:pt x="1639" y="645"/>
                  <a:pt x="1639" y="645"/>
                  <a:pt x="1639" y="645"/>
                </a:cubicBezTo>
                <a:cubicBezTo>
                  <a:pt x="1639" y="645"/>
                  <a:pt x="1639" y="644"/>
                  <a:pt x="1640" y="644"/>
                </a:cubicBezTo>
                <a:cubicBezTo>
                  <a:pt x="1640" y="644"/>
                  <a:pt x="1639" y="644"/>
                  <a:pt x="1639" y="644"/>
                </a:cubicBezTo>
                <a:cubicBezTo>
                  <a:pt x="1639" y="644"/>
                  <a:pt x="1639" y="643"/>
                  <a:pt x="1639" y="643"/>
                </a:cubicBezTo>
                <a:cubicBezTo>
                  <a:pt x="1639" y="643"/>
                  <a:pt x="1639" y="643"/>
                  <a:pt x="1639" y="643"/>
                </a:cubicBezTo>
                <a:cubicBezTo>
                  <a:pt x="1639" y="642"/>
                  <a:pt x="1639" y="642"/>
                  <a:pt x="1639" y="642"/>
                </a:cubicBezTo>
                <a:cubicBezTo>
                  <a:pt x="1638" y="642"/>
                  <a:pt x="1638" y="642"/>
                  <a:pt x="1638" y="642"/>
                </a:cubicBezTo>
                <a:cubicBezTo>
                  <a:pt x="1638" y="642"/>
                  <a:pt x="1637" y="643"/>
                  <a:pt x="1637" y="643"/>
                </a:cubicBezTo>
                <a:cubicBezTo>
                  <a:pt x="1637" y="643"/>
                  <a:pt x="1638" y="643"/>
                  <a:pt x="1638" y="643"/>
                </a:cubicBezTo>
                <a:cubicBezTo>
                  <a:pt x="1638" y="643"/>
                  <a:pt x="1638" y="643"/>
                  <a:pt x="1638" y="644"/>
                </a:cubicBezTo>
                <a:cubicBezTo>
                  <a:pt x="1638" y="644"/>
                  <a:pt x="1638" y="644"/>
                  <a:pt x="1638" y="644"/>
                </a:cubicBezTo>
                <a:cubicBezTo>
                  <a:pt x="1638" y="644"/>
                  <a:pt x="1639" y="644"/>
                  <a:pt x="1639" y="645"/>
                </a:cubicBezTo>
                <a:close/>
                <a:moveTo>
                  <a:pt x="1637" y="644"/>
                </a:moveTo>
                <a:cubicBezTo>
                  <a:pt x="1637" y="644"/>
                  <a:pt x="1637" y="644"/>
                  <a:pt x="1637" y="644"/>
                </a:cubicBezTo>
                <a:cubicBezTo>
                  <a:pt x="1637" y="644"/>
                  <a:pt x="1637" y="644"/>
                  <a:pt x="1637" y="644"/>
                </a:cubicBezTo>
                <a:cubicBezTo>
                  <a:pt x="1637" y="644"/>
                  <a:pt x="1637" y="644"/>
                  <a:pt x="1637" y="644"/>
                </a:cubicBezTo>
                <a:cubicBezTo>
                  <a:pt x="1637" y="644"/>
                  <a:pt x="1637" y="644"/>
                  <a:pt x="1637" y="644"/>
                </a:cubicBezTo>
                <a:close/>
                <a:moveTo>
                  <a:pt x="1668" y="670"/>
                </a:moveTo>
                <a:cubicBezTo>
                  <a:pt x="1668" y="670"/>
                  <a:pt x="1668" y="670"/>
                  <a:pt x="1667" y="670"/>
                </a:cubicBezTo>
                <a:cubicBezTo>
                  <a:pt x="1667" y="670"/>
                  <a:pt x="1667" y="670"/>
                  <a:pt x="1667" y="670"/>
                </a:cubicBezTo>
                <a:cubicBezTo>
                  <a:pt x="1668" y="670"/>
                  <a:pt x="1668" y="670"/>
                  <a:pt x="1668" y="671"/>
                </a:cubicBezTo>
                <a:cubicBezTo>
                  <a:pt x="1668" y="671"/>
                  <a:pt x="1669" y="670"/>
                  <a:pt x="1669" y="670"/>
                </a:cubicBezTo>
                <a:cubicBezTo>
                  <a:pt x="1669" y="670"/>
                  <a:pt x="1669" y="670"/>
                  <a:pt x="1669" y="670"/>
                </a:cubicBezTo>
                <a:cubicBezTo>
                  <a:pt x="1669" y="670"/>
                  <a:pt x="1669" y="670"/>
                  <a:pt x="1668" y="670"/>
                </a:cubicBezTo>
                <a:close/>
                <a:moveTo>
                  <a:pt x="1640" y="640"/>
                </a:moveTo>
                <a:cubicBezTo>
                  <a:pt x="1640" y="640"/>
                  <a:pt x="1640" y="639"/>
                  <a:pt x="1640" y="639"/>
                </a:cubicBezTo>
                <a:cubicBezTo>
                  <a:pt x="1640" y="639"/>
                  <a:pt x="1639" y="639"/>
                  <a:pt x="1639" y="638"/>
                </a:cubicBezTo>
                <a:cubicBezTo>
                  <a:pt x="1639" y="638"/>
                  <a:pt x="1639" y="638"/>
                  <a:pt x="1639" y="638"/>
                </a:cubicBezTo>
                <a:cubicBezTo>
                  <a:pt x="1639" y="638"/>
                  <a:pt x="1639" y="638"/>
                  <a:pt x="1639" y="637"/>
                </a:cubicBezTo>
                <a:cubicBezTo>
                  <a:pt x="1638" y="637"/>
                  <a:pt x="1638" y="637"/>
                  <a:pt x="1638" y="636"/>
                </a:cubicBezTo>
                <a:cubicBezTo>
                  <a:pt x="1638" y="636"/>
                  <a:pt x="1638" y="636"/>
                  <a:pt x="1638" y="636"/>
                </a:cubicBezTo>
                <a:cubicBezTo>
                  <a:pt x="1638" y="636"/>
                  <a:pt x="1638" y="636"/>
                  <a:pt x="1637" y="636"/>
                </a:cubicBezTo>
                <a:cubicBezTo>
                  <a:pt x="1637" y="636"/>
                  <a:pt x="1637" y="636"/>
                  <a:pt x="1637" y="636"/>
                </a:cubicBezTo>
                <a:cubicBezTo>
                  <a:pt x="1637" y="636"/>
                  <a:pt x="1637" y="636"/>
                  <a:pt x="1637" y="637"/>
                </a:cubicBezTo>
                <a:cubicBezTo>
                  <a:pt x="1637" y="637"/>
                  <a:pt x="1638" y="638"/>
                  <a:pt x="1638" y="638"/>
                </a:cubicBezTo>
                <a:cubicBezTo>
                  <a:pt x="1638" y="639"/>
                  <a:pt x="1638" y="639"/>
                  <a:pt x="1639" y="639"/>
                </a:cubicBezTo>
                <a:cubicBezTo>
                  <a:pt x="1639" y="640"/>
                  <a:pt x="1639" y="640"/>
                  <a:pt x="1639" y="640"/>
                </a:cubicBezTo>
                <a:cubicBezTo>
                  <a:pt x="1640" y="640"/>
                  <a:pt x="1640" y="640"/>
                  <a:pt x="1640" y="641"/>
                </a:cubicBezTo>
                <a:cubicBezTo>
                  <a:pt x="1640" y="640"/>
                  <a:pt x="1640" y="640"/>
                  <a:pt x="1640" y="640"/>
                </a:cubicBezTo>
                <a:close/>
                <a:moveTo>
                  <a:pt x="1652" y="655"/>
                </a:moveTo>
                <a:cubicBezTo>
                  <a:pt x="1652" y="654"/>
                  <a:pt x="1652" y="654"/>
                  <a:pt x="1652" y="654"/>
                </a:cubicBezTo>
                <a:cubicBezTo>
                  <a:pt x="1652" y="653"/>
                  <a:pt x="1652" y="653"/>
                  <a:pt x="1652" y="652"/>
                </a:cubicBezTo>
                <a:cubicBezTo>
                  <a:pt x="1652" y="652"/>
                  <a:pt x="1652" y="652"/>
                  <a:pt x="1652" y="652"/>
                </a:cubicBezTo>
                <a:cubicBezTo>
                  <a:pt x="1652" y="651"/>
                  <a:pt x="1652" y="651"/>
                  <a:pt x="1652" y="651"/>
                </a:cubicBezTo>
                <a:cubicBezTo>
                  <a:pt x="1652" y="650"/>
                  <a:pt x="1651" y="650"/>
                  <a:pt x="1651" y="650"/>
                </a:cubicBezTo>
                <a:cubicBezTo>
                  <a:pt x="1651" y="650"/>
                  <a:pt x="1651" y="650"/>
                  <a:pt x="1651" y="650"/>
                </a:cubicBezTo>
                <a:cubicBezTo>
                  <a:pt x="1651" y="651"/>
                  <a:pt x="1651" y="651"/>
                  <a:pt x="1651" y="651"/>
                </a:cubicBezTo>
                <a:cubicBezTo>
                  <a:pt x="1651" y="651"/>
                  <a:pt x="1651" y="651"/>
                  <a:pt x="1651" y="651"/>
                </a:cubicBezTo>
                <a:cubicBezTo>
                  <a:pt x="1651" y="652"/>
                  <a:pt x="1651" y="652"/>
                  <a:pt x="1651" y="652"/>
                </a:cubicBezTo>
                <a:cubicBezTo>
                  <a:pt x="1651" y="653"/>
                  <a:pt x="1651" y="653"/>
                  <a:pt x="1651" y="653"/>
                </a:cubicBezTo>
                <a:cubicBezTo>
                  <a:pt x="1651" y="654"/>
                  <a:pt x="1652" y="655"/>
                  <a:pt x="1652" y="655"/>
                </a:cubicBezTo>
                <a:cubicBezTo>
                  <a:pt x="1652" y="655"/>
                  <a:pt x="1652" y="656"/>
                  <a:pt x="1653" y="656"/>
                </a:cubicBezTo>
                <a:cubicBezTo>
                  <a:pt x="1652" y="656"/>
                  <a:pt x="1652" y="656"/>
                  <a:pt x="1652" y="657"/>
                </a:cubicBezTo>
                <a:cubicBezTo>
                  <a:pt x="1653" y="657"/>
                  <a:pt x="1653" y="657"/>
                  <a:pt x="1653" y="657"/>
                </a:cubicBezTo>
                <a:cubicBezTo>
                  <a:pt x="1653" y="657"/>
                  <a:pt x="1653" y="657"/>
                  <a:pt x="1653" y="656"/>
                </a:cubicBezTo>
                <a:cubicBezTo>
                  <a:pt x="1653" y="656"/>
                  <a:pt x="1653" y="656"/>
                  <a:pt x="1653" y="655"/>
                </a:cubicBezTo>
                <a:cubicBezTo>
                  <a:pt x="1653" y="655"/>
                  <a:pt x="1653" y="655"/>
                  <a:pt x="1652" y="655"/>
                </a:cubicBezTo>
                <a:close/>
                <a:moveTo>
                  <a:pt x="1646" y="647"/>
                </a:moveTo>
                <a:cubicBezTo>
                  <a:pt x="1646" y="648"/>
                  <a:pt x="1646" y="648"/>
                  <a:pt x="1646" y="648"/>
                </a:cubicBezTo>
                <a:cubicBezTo>
                  <a:pt x="1646" y="648"/>
                  <a:pt x="1646" y="648"/>
                  <a:pt x="1646" y="649"/>
                </a:cubicBezTo>
                <a:cubicBezTo>
                  <a:pt x="1647" y="648"/>
                  <a:pt x="1647" y="648"/>
                  <a:pt x="1647" y="648"/>
                </a:cubicBezTo>
                <a:cubicBezTo>
                  <a:pt x="1647" y="649"/>
                  <a:pt x="1647" y="649"/>
                  <a:pt x="1647" y="649"/>
                </a:cubicBezTo>
                <a:cubicBezTo>
                  <a:pt x="1647" y="649"/>
                  <a:pt x="1647" y="649"/>
                  <a:pt x="1647" y="648"/>
                </a:cubicBezTo>
                <a:cubicBezTo>
                  <a:pt x="1648" y="648"/>
                  <a:pt x="1648" y="648"/>
                  <a:pt x="1648" y="648"/>
                </a:cubicBezTo>
                <a:cubicBezTo>
                  <a:pt x="1648" y="648"/>
                  <a:pt x="1647" y="647"/>
                  <a:pt x="1647" y="646"/>
                </a:cubicBezTo>
                <a:cubicBezTo>
                  <a:pt x="1647" y="646"/>
                  <a:pt x="1646" y="645"/>
                  <a:pt x="1646" y="645"/>
                </a:cubicBezTo>
                <a:cubicBezTo>
                  <a:pt x="1646" y="645"/>
                  <a:pt x="1645" y="644"/>
                  <a:pt x="1645" y="644"/>
                </a:cubicBezTo>
                <a:cubicBezTo>
                  <a:pt x="1645" y="643"/>
                  <a:pt x="1644" y="643"/>
                  <a:pt x="1644" y="643"/>
                </a:cubicBezTo>
                <a:cubicBezTo>
                  <a:pt x="1644" y="643"/>
                  <a:pt x="1644" y="644"/>
                  <a:pt x="1644" y="644"/>
                </a:cubicBezTo>
                <a:cubicBezTo>
                  <a:pt x="1645" y="645"/>
                  <a:pt x="1645" y="646"/>
                  <a:pt x="1646" y="646"/>
                </a:cubicBezTo>
                <a:cubicBezTo>
                  <a:pt x="1646" y="647"/>
                  <a:pt x="1646" y="647"/>
                  <a:pt x="1646" y="647"/>
                </a:cubicBezTo>
                <a:close/>
                <a:moveTo>
                  <a:pt x="1648" y="652"/>
                </a:moveTo>
                <a:cubicBezTo>
                  <a:pt x="1649" y="652"/>
                  <a:pt x="1649" y="652"/>
                  <a:pt x="1649" y="653"/>
                </a:cubicBezTo>
                <a:cubicBezTo>
                  <a:pt x="1649" y="652"/>
                  <a:pt x="1649" y="652"/>
                  <a:pt x="1649" y="652"/>
                </a:cubicBezTo>
                <a:cubicBezTo>
                  <a:pt x="1649" y="652"/>
                  <a:pt x="1649" y="652"/>
                  <a:pt x="1648" y="652"/>
                </a:cubicBezTo>
                <a:cubicBezTo>
                  <a:pt x="1648" y="652"/>
                  <a:pt x="1648" y="652"/>
                  <a:pt x="1648" y="652"/>
                </a:cubicBezTo>
                <a:close/>
                <a:moveTo>
                  <a:pt x="1653" y="661"/>
                </a:moveTo>
                <a:cubicBezTo>
                  <a:pt x="1652" y="661"/>
                  <a:pt x="1652" y="660"/>
                  <a:pt x="1652" y="660"/>
                </a:cubicBezTo>
                <a:cubicBezTo>
                  <a:pt x="1651" y="660"/>
                  <a:pt x="1651" y="659"/>
                  <a:pt x="1651" y="659"/>
                </a:cubicBezTo>
                <a:cubicBezTo>
                  <a:pt x="1651" y="659"/>
                  <a:pt x="1650" y="658"/>
                  <a:pt x="1650" y="658"/>
                </a:cubicBezTo>
                <a:cubicBezTo>
                  <a:pt x="1650" y="659"/>
                  <a:pt x="1650" y="659"/>
                  <a:pt x="1650" y="659"/>
                </a:cubicBezTo>
                <a:cubicBezTo>
                  <a:pt x="1650" y="659"/>
                  <a:pt x="1650" y="659"/>
                  <a:pt x="1650" y="660"/>
                </a:cubicBezTo>
                <a:cubicBezTo>
                  <a:pt x="1650" y="660"/>
                  <a:pt x="1651" y="661"/>
                  <a:pt x="1651" y="661"/>
                </a:cubicBezTo>
                <a:cubicBezTo>
                  <a:pt x="1651" y="661"/>
                  <a:pt x="1652" y="662"/>
                  <a:pt x="1652" y="662"/>
                </a:cubicBezTo>
                <a:cubicBezTo>
                  <a:pt x="1652" y="662"/>
                  <a:pt x="1653" y="662"/>
                  <a:pt x="1653" y="663"/>
                </a:cubicBezTo>
                <a:cubicBezTo>
                  <a:pt x="1653" y="662"/>
                  <a:pt x="1653" y="662"/>
                  <a:pt x="1653" y="662"/>
                </a:cubicBezTo>
                <a:cubicBezTo>
                  <a:pt x="1653" y="662"/>
                  <a:pt x="1653" y="662"/>
                  <a:pt x="1653" y="662"/>
                </a:cubicBezTo>
                <a:cubicBezTo>
                  <a:pt x="1653" y="662"/>
                  <a:pt x="1653" y="661"/>
                  <a:pt x="1653" y="661"/>
                </a:cubicBezTo>
                <a:close/>
                <a:moveTo>
                  <a:pt x="1647" y="655"/>
                </a:moveTo>
                <a:cubicBezTo>
                  <a:pt x="1647" y="655"/>
                  <a:pt x="1648" y="655"/>
                  <a:pt x="1648" y="656"/>
                </a:cubicBezTo>
                <a:cubicBezTo>
                  <a:pt x="1648" y="656"/>
                  <a:pt x="1648" y="656"/>
                  <a:pt x="1649" y="656"/>
                </a:cubicBezTo>
                <a:cubicBezTo>
                  <a:pt x="1649" y="656"/>
                  <a:pt x="1649" y="656"/>
                  <a:pt x="1649" y="656"/>
                </a:cubicBezTo>
                <a:cubicBezTo>
                  <a:pt x="1649" y="655"/>
                  <a:pt x="1649" y="655"/>
                  <a:pt x="1649" y="655"/>
                </a:cubicBezTo>
                <a:cubicBezTo>
                  <a:pt x="1649" y="655"/>
                  <a:pt x="1649" y="655"/>
                  <a:pt x="1649" y="655"/>
                </a:cubicBezTo>
                <a:cubicBezTo>
                  <a:pt x="1649" y="655"/>
                  <a:pt x="1649" y="654"/>
                  <a:pt x="1649" y="654"/>
                </a:cubicBezTo>
                <a:cubicBezTo>
                  <a:pt x="1648" y="654"/>
                  <a:pt x="1648" y="653"/>
                  <a:pt x="1647" y="653"/>
                </a:cubicBezTo>
                <a:cubicBezTo>
                  <a:pt x="1647" y="653"/>
                  <a:pt x="1647" y="653"/>
                  <a:pt x="1646" y="652"/>
                </a:cubicBezTo>
                <a:cubicBezTo>
                  <a:pt x="1646" y="652"/>
                  <a:pt x="1646" y="652"/>
                  <a:pt x="1646" y="651"/>
                </a:cubicBezTo>
                <a:cubicBezTo>
                  <a:pt x="1646" y="651"/>
                  <a:pt x="1646" y="651"/>
                  <a:pt x="1645" y="651"/>
                </a:cubicBezTo>
                <a:cubicBezTo>
                  <a:pt x="1645" y="652"/>
                  <a:pt x="1645" y="652"/>
                  <a:pt x="1645" y="652"/>
                </a:cubicBezTo>
                <a:cubicBezTo>
                  <a:pt x="1645" y="653"/>
                  <a:pt x="1645" y="653"/>
                  <a:pt x="1645" y="653"/>
                </a:cubicBezTo>
                <a:cubicBezTo>
                  <a:pt x="1646" y="654"/>
                  <a:pt x="1646" y="654"/>
                  <a:pt x="1646" y="654"/>
                </a:cubicBezTo>
                <a:cubicBezTo>
                  <a:pt x="1647" y="654"/>
                  <a:pt x="1647" y="655"/>
                  <a:pt x="1647" y="655"/>
                </a:cubicBezTo>
                <a:close/>
                <a:moveTo>
                  <a:pt x="1643" y="660"/>
                </a:moveTo>
                <a:cubicBezTo>
                  <a:pt x="1642" y="660"/>
                  <a:pt x="1642" y="660"/>
                  <a:pt x="1642" y="660"/>
                </a:cubicBezTo>
                <a:cubicBezTo>
                  <a:pt x="1642" y="660"/>
                  <a:pt x="1642" y="660"/>
                  <a:pt x="1642" y="660"/>
                </a:cubicBezTo>
                <a:cubicBezTo>
                  <a:pt x="1642" y="660"/>
                  <a:pt x="1642" y="660"/>
                  <a:pt x="1642" y="661"/>
                </a:cubicBezTo>
                <a:cubicBezTo>
                  <a:pt x="1642" y="661"/>
                  <a:pt x="1642" y="661"/>
                  <a:pt x="1643" y="661"/>
                </a:cubicBezTo>
                <a:cubicBezTo>
                  <a:pt x="1643" y="661"/>
                  <a:pt x="1643" y="661"/>
                  <a:pt x="1643" y="662"/>
                </a:cubicBezTo>
                <a:cubicBezTo>
                  <a:pt x="1644" y="662"/>
                  <a:pt x="1644" y="662"/>
                  <a:pt x="1644" y="662"/>
                </a:cubicBezTo>
                <a:cubicBezTo>
                  <a:pt x="1644" y="661"/>
                  <a:pt x="1644" y="661"/>
                  <a:pt x="1643" y="661"/>
                </a:cubicBezTo>
                <a:cubicBezTo>
                  <a:pt x="1643" y="661"/>
                  <a:pt x="1643" y="660"/>
                  <a:pt x="1643" y="660"/>
                </a:cubicBezTo>
                <a:close/>
                <a:moveTo>
                  <a:pt x="1637" y="642"/>
                </a:moveTo>
                <a:cubicBezTo>
                  <a:pt x="1638" y="642"/>
                  <a:pt x="1638" y="642"/>
                  <a:pt x="1638" y="642"/>
                </a:cubicBezTo>
                <a:cubicBezTo>
                  <a:pt x="1638" y="642"/>
                  <a:pt x="1637" y="641"/>
                  <a:pt x="1637" y="641"/>
                </a:cubicBezTo>
                <a:cubicBezTo>
                  <a:pt x="1637" y="641"/>
                  <a:pt x="1637" y="641"/>
                  <a:pt x="1637" y="641"/>
                </a:cubicBezTo>
                <a:cubicBezTo>
                  <a:pt x="1637" y="641"/>
                  <a:pt x="1636" y="641"/>
                  <a:pt x="1636" y="641"/>
                </a:cubicBezTo>
                <a:cubicBezTo>
                  <a:pt x="1636" y="641"/>
                  <a:pt x="1637" y="642"/>
                  <a:pt x="1637" y="642"/>
                </a:cubicBezTo>
                <a:cubicBezTo>
                  <a:pt x="1637" y="642"/>
                  <a:pt x="1637" y="642"/>
                  <a:pt x="1637" y="642"/>
                </a:cubicBezTo>
                <a:close/>
                <a:moveTo>
                  <a:pt x="1632" y="624"/>
                </a:moveTo>
                <a:cubicBezTo>
                  <a:pt x="1632" y="624"/>
                  <a:pt x="1631" y="624"/>
                  <a:pt x="1631" y="624"/>
                </a:cubicBezTo>
                <a:cubicBezTo>
                  <a:pt x="1631" y="624"/>
                  <a:pt x="1631" y="624"/>
                  <a:pt x="1631" y="624"/>
                </a:cubicBezTo>
                <a:cubicBezTo>
                  <a:pt x="1631" y="624"/>
                  <a:pt x="1631" y="624"/>
                  <a:pt x="1631" y="624"/>
                </a:cubicBezTo>
                <a:cubicBezTo>
                  <a:pt x="1631" y="624"/>
                  <a:pt x="1631" y="625"/>
                  <a:pt x="1631" y="625"/>
                </a:cubicBezTo>
                <a:cubicBezTo>
                  <a:pt x="1632" y="625"/>
                  <a:pt x="1632" y="624"/>
                  <a:pt x="1632" y="624"/>
                </a:cubicBezTo>
                <a:cubicBezTo>
                  <a:pt x="1632" y="624"/>
                  <a:pt x="1632" y="624"/>
                  <a:pt x="1632" y="624"/>
                </a:cubicBezTo>
                <a:close/>
                <a:moveTo>
                  <a:pt x="1632" y="627"/>
                </a:moveTo>
                <a:cubicBezTo>
                  <a:pt x="1632" y="627"/>
                  <a:pt x="1632" y="627"/>
                  <a:pt x="1632" y="627"/>
                </a:cubicBezTo>
                <a:cubicBezTo>
                  <a:pt x="1632" y="626"/>
                  <a:pt x="1632" y="626"/>
                  <a:pt x="1631" y="626"/>
                </a:cubicBezTo>
                <a:cubicBezTo>
                  <a:pt x="1631" y="626"/>
                  <a:pt x="1631" y="626"/>
                  <a:pt x="1631" y="626"/>
                </a:cubicBezTo>
                <a:cubicBezTo>
                  <a:pt x="1631" y="626"/>
                  <a:pt x="1631" y="627"/>
                  <a:pt x="1631" y="627"/>
                </a:cubicBezTo>
                <a:cubicBezTo>
                  <a:pt x="1631" y="627"/>
                  <a:pt x="1631" y="627"/>
                  <a:pt x="1631" y="627"/>
                </a:cubicBezTo>
                <a:cubicBezTo>
                  <a:pt x="1631" y="627"/>
                  <a:pt x="1631" y="627"/>
                  <a:pt x="1632" y="627"/>
                </a:cubicBezTo>
                <a:close/>
                <a:moveTo>
                  <a:pt x="1542" y="569"/>
                </a:moveTo>
                <a:cubicBezTo>
                  <a:pt x="1542" y="568"/>
                  <a:pt x="1541" y="568"/>
                  <a:pt x="1540" y="567"/>
                </a:cubicBezTo>
                <a:cubicBezTo>
                  <a:pt x="1540" y="567"/>
                  <a:pt x="1539" y="567"/>
                  <a:pt x="1539" y="567"/>
                </a:cubicBezTo>
                <a:cubicBezTo>
                  <a:pt x="1539" y="567"/>
                  <a:pt x="1539" y="567"/>
                  <a:pt x="1538" y="567"/>
                </a:cubicBezTo>
                <a:cubicBezTo>
                  <a:pt x="1538" y="567"/>
                  <a:pt x="1537" y="567"/>
                  <a:pt x="1537" y="567"/>
                </a:cubicBezTo>
                <a:cubicBezTo>
                  <a:pt x="1537" y="567"/>
                  <a:pt x="1536" y="567"/>
                  <a:pt x="1536" y="567"/>
                </a:cubicBezTo>
                <a:cubicBezTo>
                  <a:pt x="1536" y="567"/>
                  <a:pt x="1536" y="567"/>
                  <a:pt x="1535" y="567"/>
                </a:cubicBezTo>
                <a:cubicBezTo>
                  <a:pt x="1535" y="567"/>
                  <a:pt x="1534" y="567"/>
                  <a:pt x="1534" y="567"/>
                </a:cubicBezTo>
                <a:cubicBezTo>
                  <a:pt x="1534" y="567"/>
                  <a:pt x="1533" y="567"/>
                  <a:pt x="1533" y="567"/>
                </a:cubicBezTo>
                <a:cubicBezTo>
                  <a:pt x="1533" y="567"/>
                  <a:pt x="1533" y="567"/>
                  <a:pt x="1533" y="568"/>
                </a:cubicBezTo>
                <a:cubicBezTo>
                  <a:pt x="1533" y="568"/>
                  <a:pt x="1533" y="568"/>
                  <a:pt x="1533" y="568"/>
                </a:cubicBezTo>
                <a:cubicBezTo>
                  <a:pt x="1533" y="568"/>
                  <a:pt x="1532" y="568"/>
                  <a:pt x="1532" y="568"/>
                </a:cubicBezTo>
                <a:cubicBezTo>
                  <a:pt x="1532" y="568"/>
                  <a:pt x="1531" y="568"/>
                  <a:pt x="1531" y="569"/>
                </a:cubicBezTo>
                <a:cubicBezTo>
                  <a:pt x="1532" y="569"/>
                  <a:pt x="1532" y="569"/>
                  <a:pt x="1532" y="569"/>
                </a:cubicBezTo>
                <a:cubicBezTo>
                  <a:pt x="1533" y="569"/>
                  <a:pt x="1533" y="569"/>
                  <a:pt x="1533" y="569"/>
                </a:cubicBezTo>
                <a:cubicBezTo>
                  <a:pt x="1533" y="569"/>
                  <a:pt x="1533" y="569"/>
                  <a:pt x="1534" y="569"/>
                </a:cubicBezTo>
                <a:cubicBezTo>
                  <a:pt x="1534" y="569"/>
                  <a:pt x="1534" y="569"/>
                  <a:pt x="1534" y="569"/>
                </a:cubicBezTo>
                <a:cubicBezTo>
                  <a:pt x="1534" y="570"/>
                  <a:pt x="1535" y="570"/>
                  <a:pt x="1535" y="570"/>
                </a:cubicBezTo>
                <a:cubicBezTo>
                  <a:pt x="1535" y="571"/>
                  <a:pt x="1535" y="571"/>
                  <a:pt x="1535" y="571"/>
                </a:cubicBezTo>
                <a:cubicBezTo>
                  <a:pt x="1535" y="571"/>
                  <a:pt x="1535" y="571"/>
                  <a:pt x="1535" y="571"/>
                </a:cubicBezTo>
                <a:cubicBezTo>
                  <a:pt x="1535" y="572"/>
                  <a:pt x="1535" y="572"/>
                  <a:pt x="1535" y="572"/>
                </a:cubicBezTo>
                <a:cubicBezTo>
                  <a:pt x="1535" y="573"/>
                  <a:pt x="1535" y="573"/>
                  <a:pt x="1536" y="573"/>
                </a:cubicBezTo>
                <a:cubicBezTo>
                  <a:pt x="1536" y="573"/>
                  <a:pt x="1536" y="574"/>
                  <a:pt x="1536" y="574"/>
                </a:cubicBezTo>
                <a:cubicBezTo>
                  <a:pt x="1537" y="574"/>
                  <a:pt x="1537" y="574"/>
                  <a:pt x="1537" y="574"/>
                </a:cubicBezTo>
                <a:cubicBezTo>
                  <a:pt x="1537" y="574"/>
                  <a:pt x="1537" y="574"/>
                  <a:pt x="1538" y="574"/>
                </a:cubicBezTo>
                <a:cubicBezTo>
                  <a:pt x="1538" y="574"/>
                  <a:pt x="1538" y="574"/>
                  <a:pt x="1538" y="574"/>
                </a:cubicBezTo>
                <a:cubicBezTo>
                  <a:pt x="1538" y="574"/>
                  <a:pt x="1539" y="575"/>
                  <a:pt x="1539" y="575"/>
                </a:cubicBezTo>
                <a:cubicBezTo>
                  <a:pt x="1539" y="575"/>
                  <a:pt x="1540" y="575"/>
                  <a:pt x="1540" y="575"/>
                </a:cubicBezTo>
                <a:cubicBezTo>
                  <a:pt x="1540" y="575"/>
                  <a:pt x="1541" y="575"/>
                  <a:pt x="1541" y="575"/>
                </a:cubicBezTo>
                <a:cubicBezTo>
                  <a:pt x="1541" y="575"/>
                  <a:pt x="1541" y="575"/>
                  <a:pt x="1541" y="575"/>
                </a:cubicBezTo>
                <a:cubicBezTo>
                  <a:pt x="1541" y="575"/>
                  <a:pt x="1541" y="575"/>
                  <a:pt x="1541" y="575"/>
                </a:cubicBezTo>
                <a:cubicBezTo>
                  <a:pt x="1542" y="575"/>
                  <a:pt x="1543" y="576"/>
                  <a:pt x="1543" y="576"/>
                </a:cubicBezTo>
                <a:cubicBezTo>
                  <a:pt x="1543" y="576"/>
                  <a:pt x="1543" y="576"/>
                  <a:pt x="1543" y="577"/>
                </a:cubicBezTo>
                <a:cubicBezTo>
                  <a:pt x="1543" y="577"/>
                  <a:pt x="1543" y="577"/>
                  <a:pt x="1543" y="577"/>
                </a:cubicBezTo>
                <a:cubicBezTo>
                  <a:pt x="1543" y="577"/>
                  <a:pt x="1543" y="577"/>
                  <a:pt x="1542" y="577"/>
                </a:cubicBezTo>
                <a:cubicBezTo>
                  <a:pt x="1542" y="577"/>
                  <a:pt x="1542" y="577"/>
                  <a:pt x="1542" y="577"/>
                </a:cubicBezTo>
                <a:cubicBezTo>
                  <a:pt x="1542" y="578"/>
                  <a:pt x="1541" y="578"/>
                  <a:pt x="1541" y="578"/>
                </a:cubicBezTo>
                <a:cubicBezTo>
                  <a:pt x="1541" y="578"/>
                  <a:pt x="1541" y="577"/>
                  <a:pt x="1541" y="577"/>
                </a:cubicBezTo>
                <a:cubicBezTo>
                  <a:pt x="1540" y="577"/>
                  <a:pt x="1540" y="576"/>
                  <a:pt x="1540" y="576"/>
                </a:cubicBezTo>
                <a:cubicBezTo>
                  <a:pt x="1539" y="576"/>
                  <a:pt x="1539" y="576"/>
                  <a:pt x="1539" y="576"/>
                </a:cubicBezTo>
                <a:cubicBezTo>
                  <a:pt x="1539" y="576"/>
                  <a:pt x="1538" y="576"/>
                  <a:pt x="1538" y="577"/>
                </a:cubicBezTo>
                <a:cubicBezTo>
                  <a:pt x="1538" y="577"/>
                  <a:pt x="1538" y="577"/>
                  <a:pt x="1537" y="577"/>
                </a:cubicBezTo>
                <a:cubicBezTo>
                  <a:pt x="1537" y="576"/>
                  <a:pt x="1537" y="576"/>
                  <a:pt x="1537" y="576"/>
                </a:cubicBezTo>
                <a:cubicBezTo>
                  <a:pt x="1536" y="576"/>
                  <a:pt x="1536" y="576"/>
                  <a:pt x="1536" y="576"/>
                </a:cubicBezTo>
                <a:cubicBezTo>
                  <a:pt x="1536" y="575"/>
                  <a:pt x="1536" y="575"/>
                  <a:pt x="1535" y="575"/>
                </a:cubicBezTo>
                <a:cubicBezTo>
                  <a:pt x="1535" y="575"/>
                  <a:pt x="1535" y="575"/>
                  <a:pt x="1534" y="575"/>
                </a:cubicBezTo>
                <a:cubicBezTo>
                  <a:pt x="1534" y="575"/>
                  <a:pt x="1534" y="575"/>
                  <a:pt x="1534" y="575"/>
                </a:cubicBezTo>
                <a:cubicBezTo>
                  <a:pt x="1534" y="575"/>
                  <a:pt x="1534" y="575"/>
                  <a:pt x="1534" y="576"/>
                </a:cubicBezTo>
                <a:cubicBezTo>
                  <a:pt x="1534" y="576"/>
                  <a:pt x="1534" y="576"/>
                  <a:pt x="1535" y="576"/>
                </a:cubicBezTo>
                <a:cubicBezTo>
                  <a:pt x="1535" y="576"/>
                  <a:pt x="1535" y="577"/>
                  <a:pt x="1535" y="577"/>
                </a:cubicBezTo>
                <a:cubicBezTo>
                  <a:pt x="1535" y="577"/>
                  <a:pt x="1535" y="577"/>
                  <a:pt x="1536" y="578"/>
                </a:cubicBezTo>
                <a:cubicBezTo>
                  <a:pt x="1536" y="578"/>
                  <a:pt x="1536" y="578"/>
                  <a:pt x="1536" y="578"/>
                </a:cubicBezTo>
                <a:cubicBezTo>
                  <a:pt x="1536" y="578"/>
                  <a:pt x="1536" y="578"/>
                  <a:pt x="1536" y="578"/>
                </a:cubicBezTo>
                <a:cubicBezTo>
                  <a:pt x="1536" y="578"/>
                  <a:pt x="1536" y="579"/>
                  <a:pt x="1536" y="579"/>
                </a:cubicBezTo>
                <a:cubicBezTo>
                  <a:pt x="1536" y="579"/>
                  <a:pt x="1536" y="579"/>
                  <a:pt x="1536" y="579"/>
                </a:cubicBezTo>
                <a:cubicBezTo>
                  <a:pt x="1536" y="579"/>
                  <a:pt x="1536" y="579"/>
                  <a:pt x="1536" y="579"/>
                </a:cubicBezTo>
                <a:cubicBezTo>
                  <a:pt x="1535" y="579"/>
                  <a:pt x="1535" y="579"/>
                  <a:pt x="1535" y="580"/>
                </a:cubicBezTo>
                <a:cubicBezTo>
                  <a:pt x="1535" y="580"/>
                  <a:pt x="1535" y="581"/>
                  <a:pt x="1536" y="581"/>
                </a:cubicBezTo>
                <a:cubicBezTo>
                  <a:pt x="1536" y="581"/>
                  <a:pt x="1536" y="581"/>
                  <a:pt x="1536" y="582"/>
                </a:cubicBezTo>
                <a:cubicBezTo>
                  <a:pt x="1537" y="582"/>
                  <a:pt x="1537" y="582"/>
                  <a:pt x="1537" y="582"/>
                </a:cubicBezTo>
                <a:cubicBezTo>
                  <a:pt x="1538" y="582"/>
                  <a:pt x="1538" y="581"/>
                  <a:pt x="1539" y="581"/>
                </a:cubicBezTo>
                <a:cubicBezTo>
                  <a:pt x="1539" y="581"/>
                  <a:pt x="1539" y="581"/>
                  <a:pt x="1539" y="581"/>
                </a:cubicBezTo>
                <a:cubicBezTo>
                  <a:pt x="1539" y="580"/>
                  <a:pt x="1539" y="580"/>
                  <a:pt x="1540" y="580"/>
                </a:cubicBezTo>
                <a:cubicBezTo>
                  <a:pt x="1540" y="580"/>
                  <a:pt x="1540" y="580"/>
                  <a:pt x="1540" y="580"/>
                </a:cubicBezTo>
                <a:cubicBezTo>
                  <a:pt x="1540" y="580"/>
                  <a:pt x="1540" y="580"/>
                  <a:pt x="1541" y="580"/>
                </a:cubicBezTo>
                <a:cubicBezTo>
                  <a:pt x="1541" y="579"/>
                  <a:pt x="1541" y="579"/>
                  <a:pt x="1541" y="579"/>
                </a:cubicBezTo>
                <a:cubicBezTo>
                  <a:pt x="1541" y="579"/>
                  <a:pt x="1542" y="579"/>
                  <a:pt x="1542" y="578"/>
                </a:cubicBezTo>
                <a:cubicBezTo>
                  <a:pt x="1542" y="579"/>
                  <a:pt x="1542" y="579"/>
                  <a:pt x="1542" y="579"/>
                </a:cubicBezTo>
                <a:cubicBezTo>
                  <a:pt x="1541" y="579"/>
                  <a:pt x="1541" y="579"/>
                  <a:pt x="1541" y="580"/>
                </a:cubicBezTo>
                <a:cubicBezTo>
                  <a:pt x="1541" y="580"/>
                  <a:pt x="1541" y="580"/>
                  <a:pt x="1541" y="580"/>
                </a:cubicBezTo>
                <a:cubicBezTo>
                  <a:pt x="1541" y="581"/>
                  <a:pt x="1541" y="581"/>
                  <a:pt x="1541" y="581"/>
                </a:cubicBezTo>
                <a:cubicBezTo>
                  <a:pt x="1541" y="582"/>
                  <a:pt x="1541" y="582"/>
                  <a:pt x="1541" y="582"/>
                </a:cubicBezTo>
                <a:cubicBezTo>
                  <a:pt x="1541" y="582"/>
                  <a:pt x="1541" y="582"/>
                  <a:pt x="1542" y="582"/>
                </a:cubicBezTo>
                <a:cubicBezTo>
                  <a:pt x="1542" y="582"/>
                  <a:pt x="1542" y="582"/>
                  <a:pt x="1542" y="582"/>
                </a:cubicBezTo>
                <a:cubicBezTo>
                  <a:pt x="1542" y="582"/>
                  <a:pt x="1542" y="582"/>
                  <a:pt x="1542" y="582"/>
                </a:cubicBezTo>
                <a:cubicBezTo>
                  <a:pt x="1542" y="582"/>
                  <a:pt x="1542" y="583"/>
                  <a:pt x="1542" y="583"/>
                </a:cubicBezTo>
                <a:cubicBezTo>
                  <a:pt x="1542" y="583"/>
                  <a:pt x="1542" y="583"/>
                  <a:pt x="1543" y="583"/>
                </a:cubicBezTo>
                <a:cubicBezTo>
                  <a:pt x="1543" y="583"/>
                  <a:pt x="1543" y="583"/>
                  <a:pt x="1543" y="583"/>
                </a:cubicBezTo>
                <a:cubicBezTo>
                  <a:pt x="1543" y="583"/>
                  <a:pt x="1543" y="583"/>
                  <a:pt x="1543" y="583"/>
                </a:cubicBezTo>
                <a:cubicBezTo>
                  <a:pt x="1543" y="583"/>
                  <a:pt x="1543" y="584"/>
                  <a:pt x="1544" y="584"/>
                </a:cubicBezTo>
                <a:cubicBezTo>
                  <a:pt x="1544" y="584"/>
                  <a:pt x="1544" y="584"/>
                  <a:pt x="1544" y="584"/>
                </a:cubicBezTo>
                <a:cubicBezTo>
                  <a:pt x="1545" y="584"/>
                  <a:pt x="1545" y="584"/>
                  <a:pt x="1545" y="584"/>
                </a:cubicBezTo>
                <a:cubicBezTo>
                  <a:pt x="1545" y="584"/>
                  <a:pt x="1545" y="584"/>
                  <a:pt x="1545" y="584"/>
                </a:cubicBezTo>
                <a:cubicBezTo>
                  <a:pt x="1545" y="584"/>
                  <a:pt x="1545" y="584"/>
                  <a:pt x="1545" y="584"/>
                </a:cubicBezTo>
                <a:cubicBezTo>
                  <a:pt x="1544" y="584"/>
                  <a:pt x="1544" y="584"/>
                  <a:pt x="1544" y="584"/>
                </a:cubicBezTo>
                <a:cubicBezTo>
                  <a:pt x="1544" y="584"/>
                  <a:pt x="1544" y="584"/>
                  <a:pt x="1544" y="584"/>
                </a:cubicBezTo>
                <a:cubicBezTo>
                  <a:pt x="1544" y="585"/>
                  <a:pt x="1544" y="585"/>
                  <a:pt x="1545" y="585"/>
                </a:cubicBezTo>
                <a:cubicBezTo>
                  <a:pt x="1545" y="585"/>
                  <a:pt x="1545" y="585"/>
                  <a:pt x="1545" y="585"/>
                </a:cubicBezTo>
                <a:cubicBezTo>
                  <a:pt x="1545" y="585"/>
                  <a:pt x="1545" y="585"/>
                  <a:pt x="1545" y="586"/>
                </a:cubicBezTo>
                <a:cubicBezTo>
                  <a:pt x="1545" y="586"/>
                  <a:pt x="1545" y="586"/>
                  <a:pt x="1546" y="586"/>
                </a:cubicBezTo>
                <a:cubicBezTo>
                  <a:pt x="1546" y="587"/>
                  <a:pt x="1547" y="587"/>
                  <a:pt x="1547" y="587"/>
                </a:cubicBezTo>
                <a:cubicBezTo>
                  <a:pt x="1548" y="588"/>
                  <a:pt x="1549" y="588"/>
                  <a:pt x="1549" y="589"/>
                </a:cubicBezTo>
                <a:cubicBezTo>
                  <a:pt x="1550" y="589"/>
                  <a:pt x="1551" y="590"/>
                  <a:pt x="1552" y="591"/>
                </a:cubicBezTo>
                <a:cubicBezTo>
                  <a:pt x="1552" y="591"/>
                  <a:pt x="1552" y="591"/>
                  <a:pt x="1553" y="591"/>
                </a:cubicBezTo>
                <a:cubicBezTo>
                  <a:pt x="1553" y="591"/>
                  <a:pt x="1553" y="591"/>
                  <a:pt x="1554" y="592"/>
                </a:cubicBezTo>
                <a:cubicBezTo>
                  <a:pt x="1554" y="592"/>
                  <a:pt x="1554" y="592"/>
                  <a:pt x="1554" y="592"/>
                </a:cubicBezTo>
                <a:cubicBezTo>
                  <a:pt x="1554" y="593"/>
                  <a:pt x="1554" y="593"/>
                  <a:pt x="1555" y="593"/>
                </a:cubicBezTo>
                <a:cubicBezTo>
                  <a:pt x="1555" y="593"/>
                  <a:pt x="1555" y="593"/>
                  <a:pt x="1556" y="593"/>
                </a:cubicBezTo>
                <a:cubicBezTo>
                  <a:pt x="1556" y="593"/>
                  <a:pt x="1556" y="593"/>
                  <a:pt x="1556" y="593"/>
                </a:cubicBezTo>
                <a:cubicBezTo>
                  <a:pt x="1556" y="594"/>
                  <a:pt x="1556" y="594"/>
                  <a:pt x="1555" y="594"/>
                </a:cubicBezTo>
                <a:cubicBezTo>
                  <a:pt x="1555" y="594"/>
                  <a:pt x="1555" y="594"/>
                  <a:pt x="1556" y="594"/>
                </a:cubicBezTo>
                <a:cubicBezTo>
                  <a:pt x="1556" y="594"/>
                  <a:pt x="1556" y="594"/>
                  <a:pt x="1556" y="594"/>
                </a:cubicBezTo>
                <a:cubicBezTo>
                  <a:pt x="1556" y="594"/>
                  <a:pt x="1556" y="594"/>
                  <a:pt x="1556" y="595"/>
                </a:cubicBezTo>
                <a:cubicBezTo>
                  <a:pt x="1557" y="595"/>
                  <a:pt x="1557" y="595"/>
                  <a:pt x="1557" y="595"/>
                </a:cubicBezTo>
                <a:cubicBezTo>
                  <a:pt x="1557" y="595"/>
                  <a:pt x="1557" y="595"/>
                  <a:pt x="1557" y="595"/>
                </a:cubicBezTo>
                <a:cubicBezTo>
                  <a:pt x="1557" y="595"/>
                  <a:pt x="1557" y="595"/>
                  <a:pt x="1557" y="595"/>
                </a:cubicBezTo>
                <a:cubicBezTo>
                  <a:pt x="1557" y="596"/>
                  <a:pt x="1557" y="596"/>
                  <a:pt x="1557" y="596"/>
                </a:cubicBezTo>
                <a:cubicBezTo>
                  <a:pt x="1557" y="596"/>
                  <a:pt x="1557" y="596"/>
                  <a:pt x="1557" y="596"/>
                </a:cubicBezTo>
                <a:cubicBezTo>
                  <a:pt x="1557" y="596"/>
                  <a:pt x="1557" y="596"/>
                  <a:pt x="1558" y="596"/>
                </a:cubicBezTo>
                <a:cubicBezTo>
                  <a:pt x="1557" y="596"/>
                  <a:pt x="1557" y="597"/>
                  <a:pt x="1557" y="597"/>
                </a:cubicBezTo>
                <a:cubicBezTo>
                  <a:pt x="1557" y="597"/>
                  <a:pt x="1557" y="597"/>
                  <a:pt x="1556" y="597"/>
                </a:cubicBezTo>
                <a:cubicBezTo>
                  <a:pt x="1557" y="597"/>
                  <a:pt x="1557" y="598"/>
                  <a:pt x="1557" y="598"/>
                </a:cubicBezTo>
                <a:cubicBezTo>
                  <a:pt x="1557" y="598"/>
                  <a:pt x="1557" y="599"/>
                  <a:pt x="1557" y="599"/>
                </a:cubicBezTo>
                <a:cubicBezTo>
                  <a:pt x="1557" y="599"/>
                  <a:pt x="1557" y="599"/>
                  <a:pt x="1557" y="599"/>
                </a:cubicBezTo>
                <a:cubicBezTo>
                  <a:pt x="1557" y="599"/>
                  <a:pt x="1557" y="600"/>
                  <a:pt x="1557" y="600"/>
                </a:cubicBezTo>
                <a:cubicBezTo>
                  <a:pt x="1558" y="600"/>
                  <a:pt x="1558" y="601"/>
                  <a:pt x="1558" y="601"/>
                </a:cubicBezTo>
                <a:cubicBezTo>
                  <a:pt x="1558" y="601"/>
                  <a:pt x="1558" y="601"/>
                  <a:pt x="1558" y="602"/>
                </a:cubicBezTo>
                <a:cubicBezTo>
                  <a:pt x="1558" y="601"/>
                  <a:pt x="1558" y="601"/>
                  <a:pt x="1558" y="601"/>
                </a:cubicBezTo>
                <a:cubicBezTo>
                  <a:pt x="1558" y="601"/>
                  <a:pt x="1557" y="601"/>
                  <a:pt x="1557" y="601"/>
                </a:cubicBezTo>
                <a:cubicBezTo>
                  <a:pt x="1557" y="601"/>
                  <a:pt x="1557" y="601"/>
                  <a:pt x="1557" y="601"/>
                </a:cubicBezTo>
                <a:cubicBezTo>
                  <a:pt x="1557" y="602"/>
                  <a:pt x="1557" y="602"/>
                  <a:pt x="1557" y="602"/>
                </a:cubicBezTo>
                <a:cubicBezTo>
                  <a:pt x="1558" y="602"/>
                  <a:pt x="1558" y="603"/>
                  <a:pt x="1558" y="603"/>
                </a:cubicBezTo>
                <a:cubicBezTo>
                  <a:pt x="1558" y="603"/>
                  <a:pt x="1559" y="603"/>
                  <a:pt x="1559" y="603"/>
                </a:cubicBezTo>
                <a:cubicBezTo>
                  <a:pt x="1559" y="603"/>
                  <a:pt x="1559" y="603"/>
                  <a:pt x="1560" y="603"/>
                </a:cubicBezTo>
                <a:cubicBezTo>
                  <a:pt x="1559" y="603"/>
                  <a:pt x="1559" y="603"/>
                  <a:pt x="1559" y="603"/>
                </a:cubicBezTo>
                <a:cubicBezTo>
                  <a:pt x="1559" y="603"/>
                  <a:pt x="1558" y="603"/>
                  <a:pt x="1558" y="603"/>
                </a:cubicBezTo>
                <a:cubicBezTo>
                  <a:pt x="1558" y="603"/>
                  <a:pt x="1558" y="603"/>
                  <a:pt x="1558" y="603"/>
                </a:cubicBezTo>
                <a:cubicBezTo>
                  <a:pt x="1557" y="603"/>
                  <a:pt x="1557" y="603"/>
                  <a:pt x="1557" y="603"/>
                </a:cubicBezTo>
                <a:cubicBezTo>
                  <a:pt x="1557" y="603"/>
                  <a:pt x="1557" y="603"/>
                  <a:pt x="1557" y="604"/>
                </a:cubicBezTo>
                <a:cubicBezTo>
                  <a:pt x="1558" y="604"/>
                  <a:pt x="1558" y="604"/>
                  <a:pt x="1558" y="604"/>
                </a:cubicBezTo>
                <a:cubicBezTo>
                  <a:pt x="1558" y="604"/>
                  <a:pt x="1558" y="604"/>
                  <a:pt x="1557" y="605"/>
                </a:cubicBezTo>
                <a:cubicBezTo>
                  <a:pt x="1557" y="605"/>
                  <a:pt x="1557" y="605"/>
                  <a:pt x="1557" y="605"/>
                </a:cubicBezTo>
                <a:cubicBezTo>
                  <a:pt x="1557" y="605"/>
                  <a:pt x="1557" y="605"/>
                  <a:pt x="1557" y="605"/>
                </a:cubicBezTo>
                <a:cubicBezTo>
                  <a:pt x="1557" y="605"/>
                  <a:pt x="1557" y="606"/>
                  <a:pt x="1556" y="606"/>
                </a:cubicBezTo>
                <a:cubicBezTo>
                  <a:pt x="1556" y="606"/>
                  <a:pt x="1556" y="606"/>
                  <a:pt x="1556" y="606"/>
                </a:cubicBezTo>
                <a:cubicBezTo>
                  <a:pt x="1556" y="606"/>
                  <a:pt x="1556" y="606"/>
                  <a:pt x="1556" y="606"/>
                </a:cubicBezTo>
                <a:cubicBezTo>
                  <a:pt x="1557" y="606"/>
                  <a:pt x="1557" y="606"/>
                  <a:pt x="1557" y="606"/>
                </a:cubicBezTo>
                <a:cubicBezTo>
                  <a:pt x="1558" y="607"/>
                  <a:pt x="1558" y="607"/>
                  <a:pt x="1558" y="607"/>
                </a:cubicBezTo>
                <a:cubicBezTo>
                  <a:pt x="1558" y="607"/>
                  <a:pt x="1558" y="607"/>
                  <a:pt x="1558" y="607"/>
                </a:cubicBezTo>
                <a:cubicBezTo>
                  <a:pt x="1559" y="607"/>
                  <a:pt x="1559" y="607"/>
                  <a:pt x="1559" y="607"/>
                </a:cubicBezTo>
                <a:cubicBezTo>
                  <a:pt x="1560" y="607"/>
                  <a:pt x="1560" y="608"/>
                  <a:pt x="1561" y="608"/>
                </a:cubicBezTo>
                <a:cubicBezTo>
                  <a:pt x="1561" y="608"/>
                  <a:pt x="1561" y="608"/>
                  <a:pt x="1561" y="608"/>
                </a:cubicBezTo>
                <a:cubicBezTo>
                  <a:pt x="1561" y="608"/>
                  <a:pt x="1562" y="607"/>
                  <a:pt x="1562" y="607"/>
                </a:cubicBezTo>
                <a:cubicBezTo>
                  <a:pt x="1562" y="607"/>
                  <a:pt x="1562" y="608"/>
                  <a:pt x="1561" y="608"/>
                </a:cubicBezTo>
                <a:cubicBezTo>
                  <a:pt x="1561" y="608"/>
                  <a:pt x="1561" y="608"/>
                  <a:pt x="1561" y="608"/>
                </a:cubicBezTo>
                <a:cubicBezTo>
                  <a:pt x="1561" y="608"/>
                  <a:pt x="1561" y="609"/>
                  <a:pt x="1561" y="609"/>
                </a:cubicBezTo>
                <a:cubicBezTo>
                  <a:pt x="1561" y="609"/>
                  <a:pt x="1561" y="609"/>
                  <a:pt x="1561" y="609"/>
                </a:cubicBezTo>
                <a:cubicBezTo>
                  <a:pt x="1561" y="609"/>
                  <a:pt x="1561" y="610"/>
                  <a:pt x="1562" y="610"/>
                </a:cubicBezTo>
                <a:cubicBezTo>
                  <a:pt x="1562" y="610"/>
                  <a:pt x="1562" y="610"/>
                  <a:pt x="1562" y="610"/>
                </a:cubicBezTo>
                <a:cubicBezTo>
                  <a:pt x="1562" y="611"/>
                  <a:pt x="1562" y="611"/>
                  <a:pt x="1562" y="611"/>
                </a:cubicBezTo>
                <a:cubicBezTo>
                  <a:pt x="1562" y="611"/>
                  <a:pt x="1562" y="612"/>
                  <a:pt x="1562" y="612"/>
                </a:cubicBezTo>
                <a:cubicBezTo>
                  <a:pt x="1563" y="613"/>
                  <a:pt x="1563" y="613"/>
                  <a:pt x="1563" y="613"/>
                </a:cubicBezTo>
                <a:cubicBezTo>
                  <a:pt x="1563" y="613"/>
                  <a:pt x="1564" y="613"/>
                  <a:pt x="1564" y="613"/>
                </a:cubicBezTo>
                <a:cubicBezTo>
                  <a:pt x="1564" y="614"/>
                  <a:pt x="1565" y="614"/>
                  <a:pt x="1565" y="614"/>
                </a:cubicBezTo>
                <a:cubicBezTo>
                  <a:pt x="1565" y="614"/>
                  <a:pt x="1565" y="614"/>
                  <a:pt x="1565" y="614"/>
                </a:cubicBezTo>
                <a:cubicBezTo>
                  <a:pt x="1566" y="614"/>
                  <a:pt x="1566" y="615"/>
                  <a:pt x="1566" y="615"/>
                </a:cubicBezTo>
                <a:cubicBezTo>
                  <a:pt x="1567" y="615"/>
                  <a:pt x="1568" y="615"/>
                  <a:pt x="1569" y="616"/>
                </a:cubicBezTo>
                <a:cubicBezTo>
                  <a:pt x="1569" y="616"/>
                  <a:pt x="1569" y="616"/>
                  <a:pt x="1569" y="616"/>
                </a:cubicBezTo>
                <a:cubicBezTo>
                  <a:pt x="1569" y="616"/>
                  <a:pt x="1569" y="616"/>
                  <a:pt x="1569" y="616"/>
                </a:cubicBezTo>
                <a:cubicBezTo>
                  <a:pt x="1569" y="617"/>
                  <a:pt x="1570" y="617"/>
                  <a:pt x="1570" y="617"/>
                </a:cubicBezTo>
                <a:cubicBezTo>
                  <a:pt x="1570" y="617"/>
                  <a:pt x="1570" y="617"/>
                  <a:pt x="1570" y="617"/>
                </a:cubicBezTo>
                <a:cubicBezTo>
                  <a:pt x="1571" y="617"/>
                  <a:pt x="1571" y="617"/>
                  <a:pt x="1571" y="617"/>
                </a:cubicBezTo>
                <a:cubicBezTo>
                  <a:pt x="1572" y="618"/>
                  <a:pt x="1573" y="618"/>
                  <a:pt x="1573" y="618"/>
                </a:cubicBezTo>
                <a:cubicBezTo>
                  <a:pt x="1573" y="618"/>
                  <a:pt x="1573" y="618"/>
                  <a:pt x="1573" y="617"/>
                </a:cubicBezTo>
                <a:cubicBezTo>
                  <a:pt x="1574" y="618"/>
                  <a:pt x="1574" y="618"/>
                  <a:pt x="1574" y="618"/>
                </a:cubicBezTo>
                <a:cubicBezTo>
                  <a:pt x="1574" y="618"/>
                  <a:pt x="1574" y="618"/>
                  <a:pt x="1574" y="618"/>
                </a:cubicBezTo>
                <a:cubicBezTo>
                  <a:pt x="1574" y="617"/>
                  <a:pt x="1575" y="617"/>
                  <a:pt x="1575" y="617"/>
                </a:cubicBezTo>
                <a:cubicBezTo>
                  <a:pt x="1574" y="616"/>
                  <a:pt x="1574" y="616"/>
                  <a:pt x="1574" y="616"/>
                </a:cubicBezTo>
                <a:cubicBezTo>
                  <a:pt x="1573" y="615"/>
                  <a:pt x="1573" y="615"/>
                  <a:pt x="1573" y="615"/>
                </a:cubicBezTo>
                <a:cubicBezTo>
                  <a:pt x="1572" y="614"/>
                  <a:pt x="1572" y="614"/>
                  <a:pt x="1572" y="614"/>
                </a:cubicBezTo>
                <a:cubicBezTo>
                  <a:pt x="1572" y="614"/>
                  <a:pt x="1572" y="614"/>
                  <a:pt x="1571" y="613"/>
                </a:cubicBezTo>
                <a:cubicBezTo>
                  <a:pt x="1571" y="613"/>
                  <a:pt x="1571" y="613"/>
                  <a:pt x="1571" y="613"/>
                </a:cubicBezTo>
                <a:cubicBezTo>
                  <a:pt x="1571" y="613"/>
                  <a:pt x="1571" y="613"/>
                  <a:pt x="1571" y="613"/>
                </a:cubicBezTo>
                <a:cubicBezTo>
                  <a:pt x="1570" y="613"/>
                  <a:pt x="1570" y="613"/>
                  <a:pt x="1570" y="612"/>
                </a:cubicBezTo>
                <a:cubicBezTo>
                  <a:pt x="1570" y="612"/>
                  <a:pt x="1570" y="612"/>
                  <a:pt x="1570" y="612"/>
                </a:cubicBezTo>
                <a:cubicBezTo>
                  <a:pt x="1570" y="611"/>
                  <a:pt x="1570" y="611"/>
                  <a:pt x="1570" y="610"/>
                </a:cubicBezTo>
                <a:cubicBezTo>
                  <a:pt x="1570" y="610"/>
                  <a:pt x="1570" y="610"/>
                  <a:pt x="1569" y="610"/>
                </a:cubicBezTo>
                <a:cubicBezTo>
                  <a:pt x="1569" y="610"/>
                  <a:pt x="1569" y="609"/>
                  <a:pt x="1569" y="609"/>
                </a:cubicBezTo>
                <a:cubicBezTo>
                  <a:pt x="1569" y="609"/>
                  <a:pt x="1569" y="609"/>
                  <a:pt x="1569" y="609"/>
                </a:cubicBezTo>
                <a:cubicBezTo>
                  <a:pt x="1569" y="609"/>
                  <a:pt x="1569" y="609"/>
                  <a:pt x="1569" y="609"/>
                </a:cubicBezTo>
                <a:cubicBezTo>
                  <a:pt x="1569" y="609"/>
                  <a:pt x="1569" y="610"/>
                  <a:pt x="1569" y="610"/>
                </a:cubicBezTo>
                <a:cubicBezTo>
                  <a:pt x="1570" y="610"/>
                  <a:pt x="1570" y="610"/>
                  <a:pt x="1570" y="610"/>
                </a:cubicBezTo>
                <a:cubicBezTo>
                  <a:pt x="1570" y="610"/>
                  <a:pt x="1570" y="611"/>
                  <a:pt x="1571" y="611"/>
                </a:cubicBezTo>
                <a:cubicBezTo>
                  <a:pt x="1571" y="611"/>
                  <a:pt x="1571" y="611"/>
                  <a:pt x="1571" y="612"/>
                </a:cubicBezTo>
                <a:cubicBezTo>
                  <a:pt x="1571" y="612"/>
                  <a:pt x="1570" y="612"/>
                  <a:pt x="1570" y="612"/>
                </a:cubicBezTo>
                <a:cubicBezTo>
                  <a:pt x="1571" y="612"/>
                  <a:pt x="1571" y="613"/>
                  <a:pt x="1571" y="613"/>
                </a:cubicBezTo>
                <a:cubicBezTo>
                  <a:pt x="1571" y="613"/>
                  <a:pt x="1571" y="613"/>
                  <a:pt x="1572" y="613"/>
                </a:cubicBezTo>
                <a:cubicBezTo>
                  <a:pt x="1572" y="614"/>
                  <a:pt x="1572" y="614"/>
                  <a:pt x="1572" y="614"/>
                </a:cubicBezTo>
                <a:cubicBezTo>
                  <a:pt x="1572" y="614"/>
                  <a:pt x="1572" y="614"/>
                  <a:pt x="1573" y="614"/>
                </a:cubicBezTo>
                <a:cubicBezTo>
                  <a:pt x="1573" y="614"/>
                  <a:pt x="1573" y="614"/>
                  <a:pt x="1574" y="615"/>
                </a:cubicBezTo>
                <a:cubicBezTo>
                  <a:pt x="1574" y="615"/>
                  <a:pt x="1575" y="615"/>
                  <a:pt x="1575" y="615"/>
                </a:cubicBezTo>
                <a:cubicBezTo>
                  <a:pt x="1575" y="615"/>
                  <a:pt x="1576" y="615"/>
                  <a:pt x="1576" y="615"/>
                </a:cubicBezTo>
                <a:cubicBezTo>
                  <a:pt x="1576" y="615"/>
                  <a:pt x="1576" y="615"/>
                  <a:pt x="1577" y="615"/>
                </a:cubicBezTo>
                <a:cubicBezTo>
                  <a:pt x="1577" y="615"/>
                  <a:pt x="1577" y="615"/>
                  <a:pt x="1577" y="615"/>
                </a:cubicBezTo>
                <a:cubicBezTo>
                  <a:pt x="1576" y="615"/>
                  <a:pt x="1576" y="615"/>
                  <a:pt x="1576" y="614"/>
                </a:cubicBezTo>
                <a:cubicBezTo>
                  <a:pt x="1576" y="614"/>
                  <a:pt x="1576" y="614"/>
                  <a:pt x="1576" y="614"/>
                </a:cubicBezTo>
                <a:cubicBezTo>
                  <a:pt x="1576" y="614"/>
                  <a:pt x="1576" y="614"/>
                  <a:pt x="1575" y="614"/>
                </a:cubicBezTo>
                <a:cubicBezTo>
                  <a:pt x="1575" y="613"/>
                  <a:pt x="1575" y="613"/>
                  <a:pt x="1575" y="613"/>
                </a:cubicBezTo>
                <a:cubicBezTo>
                  <a:pt x="1575" y="613"/>
                  <a:pt x="1575" y="613"/>
                  <a:pt x="1576" y="614"/>
                </a:cubicBezTo>
                <a:cubicBezTo>
                  <a:pt x="1576" y="614"/>
                  <a:pt x="1576" y="614"/>
                  <a:pt x="1577" y="614"/>
                </a:cubicBezTo>
                <a:cubicBezTo>
                  <a:pt x="1577" y="614"/>
                  <a:pt x="1577" y="614"/>
                  <a:pt x="1577" y="615"/>
                </a:cubicBezTo>
                <a:cubicBezTo>
                  <a:pt x="1577" y="615"/>
                  <a:pt x="1577" y="615"/>
                  <a:pt x="1578" y="615"/>
                </a:cubicBezTo>
                <a:cubicBezTo>
                  <a:pt x="1578" y="615"/>
                  <a:pt x="1578" y="615"/>
                  <a:pt x="1577" y="615"/>
                </a:cubicBezTo>
                <a:cubicBezTo>
                  <a:pt x="1578" y="614"/>
                  <a:pt x="1578" y="614"/>
                  <a:pt x="1578" y="614"/>
                </a:cubicBezTo>
                <a:cubicBezTo>
                  <a:pt x="1578" y="614"/>
                  <a:pt x="1578" y="614"/>
                  <a:pt x="1578" y="614"/>
                </a:cubicBezTo>
                <a:cubicBezTo>
                  <a:pt x="1578" y="614"/>
                  <a:pt x="1578" y="614"/>
                  <a:pt x="1578" y="614"/>
                </a:cubicBezTo>
                <a:cubicBezTo>
                  <a:pt x="1579" y="614"/>
                  <a:pt x="1579" y="613"/>
                  <a:pt x="1579" y="613"/>
                </a:cubicBezTo>
                <a:cubicBezTo>
                  <a:pt x="1579" y="613"/>
                  <a:pt x="1578" y="613"/>
                  <a:pt x="1578" y="612"/>
                </a:cubicBezTo>
                <a:cubicBezTo>
                  <a:pt x="1578" y="612"/>
                  <a:pt x="1578" y="612"/>
                  <a:pt x="1578" y="612"/>
                </a:cubicBezTo>
                <a:cubicBezTo>
                  <a:pt x="1579" y="612"/>
                  <a:pt x="1579" y="613"/>
                  <a:pt x="1579" y="613"/>
                </a:cubicBezTo>
                <a:cubicBezTo>
                  <a:pt x="1579" y="613"/>
                  <a:pt x="1579" y="613"/>
                  <a:pt x="1579" y="613"/>
                </a:cubicBezTo>
                <a:cubicBezTo>
                  <a:pt x="1579" y="614"/>
                  <a:pt x="1579" y="614"/>
                  <a:pt x="1580" y="614"/>
                </a:cubicBezTo>
                <a:cubicBezTo>
                  <a:pt x="1580" y="614"/>
                  <a:pt x="1580" y="615"/>
                  <a:pt x="1580" y="615"/>
                </a:cubicBezTo>
                <a:cubicBezTo>
                  <a:pt x="1580" y="615"/>
                  <a:pt x="1580" y="615"/>
                  <a:pt x="1580" y="614"/>
                </a:cubicBezTo>
                <a:cubicBezTo>
                  <a:pt x="1580" y="614"/>
                  <a:pt x="1580" y="614"/>
                  <a:pt x="1580" y="614"/>
                </a:cubicBezTo>
                <a:cubicBezTo>
                  <a:pt x="1581" y="614"/>
                  <a:pt x="1581" y="614"/>
                  <a:pt x="1581" y="614"/>
                </a:cubicBezTo>
                <a:cubicBezTo>
                  <a:pt x="1581" y="614"/>
                  <a:pt x="1581" y="615"/>
                  <a:pt x="1581" y="615"/>
                </a:cubicBezTo>
                <a:cubicBezTo>
                  <a:pt x="1581" y="615"/>
                  <a:pt x="1581" y="615"/>
                  <a:pt x="1581" y="615"/>
                </a:cubicBezTo>
                <a:cubicBezTo>
                  <a:pt x="1581" y="615"/>
                  <a:pt x="1581" y="615"/>
                  <a:pt x="1581" y="615"/>
                </a:cubicBezTo>
                <a:cubicBezTo>
                  <a:pt x="1581" y="614"/>
                  <a:pt x="1581" y="614"/>
                  <a:pt x="1581" y="614"/>
                </a:cubicBezTo>
                <a:cubicBezTo>
                  <a:pt x="1581" y="614"/>
                  <a:pt x="1582" y="614"/>
                  <a:pt x="1582" y="613"/>
                </a:cubicBezTo>
                <a:cubicBezTo>
                  <a:pt x="1582" y="614"/>
                  <a:pt x="1582" y="614"/>
                  <a:pt x="1582" y="614"/>
                </a:cubicBezTo>
                <a:cubicBezTo>
                  <a:pt x="1582" y="614"/>
                  <a:pt x="1583" y="614"/>
                  <a:pt x="1583" y="615"/>
                </a:cubicBezTo>
                <a:cubicBezTo>
                  <a:pt x="1583" y="615"/>
                  <a:pt x="1583" y="615"/>
                  <a:pt x="1583" y="615"/>
                </a:cubicBezTo>
                <a:cubicBezTo>
                  <a:pt x="1583" y="615"/>
                  <a:pt x="1583" y="616"/>
                  <a:pt x="1583" y="616"/>
                </a:cubicBezTo>
                <a:cubicBezTo>
                  <a:pt x="1584" y="616"/>
                  <a:pt x="1584" y="616"/>
                  <a:pt x="1584" y="616"/>
                </a:cubicBezTo>
                <a:cubicBezTo>
                  <a:pt x="1584" y="616"/>
                  <a:pt x="1584" y="616"/>
                  <a:pt x="1584" y="616"/>
                </a:cubicBezTo>
                <a:cubicBezTo>
                  <a:pt x="1584" y="616"/>
                  <a:pt x="1585" y="616"/>
                  <a:pt x="1585" y="616"/>
                </a:cubicBezTo>
                <a:cubicBezTo>
                  <a:pt x="1585" y="616"/>
                  <a:pt x="1585" y="616"/>
                  <a:pt x="1585" y="616"/>
                </a:cubicBezTo>
                <a:cubicBezTo>
                  <a:pt x="1584" y="617"/>
                  <a:pt x="1584" y="617"/>
                  <a:pt x="1584" y="617"/>
                </a:cubicBezTo>
                <a:cubicBezTo>
                  <a:pt x="1584" y="617"/>
                  <a:pt x="1585" y="617"/>
                  <a:pt x="1585" y="617"/>
                </a:cubicBezTo>
                <a:cubicBezTo>
                  <a:pt x="1585" y="617"/>
                  <a:pt x="1585" y="618"/>
                  <a:pt x="1585" y="618"/>
                </a:cubicBezTo>
                <a:cubicBezTo>
                  <a:pt x="1586" y="618"/>
                  <a:pt x="1587" y="619"/>
                  <a:pt x="1587" y="619"/>
                </a:cubicBezTo>
                <a:cubicBezTo>
                  <a:pt x="1588" y="619"/>
                  <a:pt x="1588" y="620"/>
                  <a:pt x="1588" y="620"/>
                </a:cubicBezTo>
                <a:cubicBezTo>
                  <a:pt x="1588" y="620"/>
                  <a:pt x="1588" y="620"/>
                  <a:pt x="1588" y="621"/>
                </a:cubicBezTo>
                <a:cubicBezTo>
                  <a:pt x="1588" y="621"/>
                  <a:pt x="1588" y="621"/>
                  <a:pt x="1588" y="622"/>
                </a:cubicBezTo>
                <a:cubicBezTo>
                  <a:pt x="1588" y="622"/>
                  <a:pt x="1589" y="623"/>
                  <a:pt x="1589" y="624"/>
                </a:cubicBezTo>
                <a:cubicBezTo>
                  <a:pt x="1589" y="624"/>
                  <a:pt x="1589" y="624"/>
                  <a:pt x="1589" y="624"/>
                </a:cubicBezTo>
                <a:cubicBezTo>
                  <a:pt x="1589" y="624"/>
                  <a:pt x="1589" y="624"/>
                  <a:pt x="1590" y="625"/>
                </a:cubicBezTo>
                <a:cubicBezTo>
                  <a:pt x="1590" y="625"/>
                  <a:pt x="1590" y="625"/>
                  <a:pt x="1590" y="625"/>
                </a:cubicBezTo>
                <a:cubicBezTo>
                  <a:pt x="1590" y="625"/>
                  <a:pt x="1590" y="626"/>
                  <a:pt x="1590" y="626"/>
                </a:cubicBezTo>
                <a:cubicBezTo>
                  <a:pt x="1590" y="627"/>
                  <a:pt x="1591" y="627"/>
                  <a:pt x="1591" y="628"/>
                </a:cubicBezTo>
                <a:cubicBezTo>
                  <a:pt x="1591" y="628"/>
                  <a:pt x="1591" y="629"/>
                  <a:pt x="1591" y="629"/>
                </a:cubicBezTo>
                <a:cubicBezTo>
                  <a:pt x="1591" y="629"/>
                  <a:pt x="1591" y="629"/>
                  <a:pt x="1591" y="630"/>
                </a:cubicBezTo>
                <a:cubicBezTo>
                  <a:pt x="1592" y="630"/>
                  <a:pt x="1592" y="630"/>
                  <a:pt x="1592" y="630"/>
                </a:cubicBezTo>
                <a:cubicBezTo>
                  <a:pt x="1593" y="630"/>
                  <a:pt x="1593" y="631"/>
                  <a:pt x="1593" y="631"/>
                </a:cubicBezTo>
                <a:cubicBezTo>
                  <a:pt x="1593" y="631"/>
                  <a:pt x="1593" y="631"/>
                  <a:pt x="1593" y="631"/>
                </a:cubicBezTo>
                <a:cubicBezTo>
                  <a:pt x="1594" y="631"/>
                  <a:pt x="1594" y="631"/>
                  <a:pt x="1594" y="631"/>
                </a:cubicBezTo>
                <a:cubicBezTo>
                  <a:pt x="1594" y="631"/>
                  <a:pt x="1595" y="632"/>
                  <a:pt x="1595" y="632"/>
                </a:cubicBezTo>
                <a:cubicBezTo>
                  <a:pt x="1596" y="632"/>
                  <a:pt x="1596" y="632"/>
                  <a:pt x="1596" y="632"/>
                </a:cubicBezTo>
                <a:cubicBezTo>
                  <a:pt x="1596" y="632"/>
                  <a:pt x="1597" y="633"/>
                  <a:pt x="1597" y="633"/>
                </a:cubicBezTo>
                <a:cubicBezTo>
                  <a:pt x="1597" y="633"/>
                  <a:pt x="1598" y="633"/>
                  <a:pt x="1598" y="633"/>
                </a:cubicBezTo>
                <a:cubicBezTo>
                  <a:pt x="1598" y="634"/>
                  <a:pt x="1599" y="634"/>
                  <a:pt x="1599" y="634"/>
                </a:cubicBezTo>
                <a:cubicBezTo>
                  <a:pt x="1599" y="634"/>
                  <a:pt x="1599" y="634"/>
                  <a:pt x="1600" y="634"/>
                </a:cubicBezTo>
                <a:cubicBezTo>
                  <a:pt x="1600" y="635"/>
                  <a:pt x="1600" y="635"/>
                  <a:pt x="1600" y="635"/>
                </a:cubicBezTo>
                <a:cubicBezTo>
                  <a:pt x="1600" y="635"/>
                  <a:pt x="1601" y="635"/>
                  <a:pt x="1601" y="635"/>
                </a:cubicBezTo>
                <a:cubicBezTo>
                  <a:pt x="1601" y="635"/>
                  <a:pt x="1601" y="636"/>
                  <a:pt x="1601" y="636"/>
                </a:cubicBezTo>
                <a:cubicBezTo>
                  <a:pt x="1601" y="636"/>
                  <a:pt x="1601" y="636"/>
                  <a:pt x="1600" y="636"/>
                </a:cubicBezTo>
                <a:cubicBezTo>
                  <a:pt x="1601" y="636"/>
                  <a:pt x="1601" y="636"/>
                  <a:pt x="1601" y="636"/>
                </a:cubicBezTo>
                <a:cubicBezTo>
                  <a:pt x="1601" y="637"/>
                  <a:pt x="1602" y="637"/>
                  <a:pt x="1602" y="637"/>
                </a:cubicBezTo>
                <a:cubicBezTo>
                  <a:pt x="1602" y="637"/>
                  <a:pt x="1603" y="637"/>
                  <a:pt x="1603" y="637"/>
                </a:cubicBezTo>
                <a:cubicBezTo>
                  <a:pt x="1603" y="637"/>
                  <a:pt x="1603" y="637"/>
                  <a:pt x="1603" y="637"/>
                </a:cubicBezTo>
                <a:cubicBezTo>
                  <a:pt x="1603" y="637"/>
                  <a:pt x="1603" y="636"/>
                  <a:pt x="1603" y="636"/>
                </a:cubicBezTo>
                <a:cubicBezTo>
                  <a:pt x="1602" y="636"/>
                  <a:pt x="1602" y="636"/>
                  <a:pt x="1602" y="636"/>
                </a:cubicBezTo>
                <a:cubicBezTo>
                  <a:pt x="1602" y="636"/>
                  <a:pt x="1602" y="636"/>
                  <a:pt x="1602" y="636"/>
                </a:cubicBezTo>
                <a:cubicBezTo>
                  <a:pt x="1603" y="636"/>
                  <a:pt x="1603" y="636"/>
                  <a:pt x="1603" y="636"/>
                </a:cubicBezTo>
                <a:cubicBezTo>
                  <a:pt x="1603" y="636"/>
                  <a:pt x="1604" y="636"/>
                  <a:pt x="1604" y="636"/>
                </a:cubicBezTo>
                <a:cubicBezTo>
                  <a:pt x="1604" y="636"/>
                  <a:pt x="1605" y="636"/>
                  <a:pt x="1605" y="636"/>
                </a:cubicBezTo>
                <a:cubicBezTo>
                  <a:pt x="1604" y="636"/>
                  <a:pt x="1604" y="636"/>
                  <a:pt x="1603" y="635"/>
                </a:cubicBezTo>
                <a:cubicBezTo>
                  <a:pt x="1603" y="635"/>
                  <a:pt x="1602" y="635"/>
                  <a:pt x="1602" y="634"/>
                </a:cubicBezTo>
                <a:cubicBezTo>
                  <a:pt x="1601" y="634"/>
                  <a:pt x="1601" y="634"/>
                  <a:pt x="1601" y="633"/>
                </a:cubicBezTo>
                <a:cubicBezTo>
                  <a:pt x="1601" y="633"/>
                  <a:pt x="1600" y="633"/>
                  <a:pt x="1600" y="633"/>
                </a:cubicBezTo>
                <a:cubicBezTo>
                  <a:pt x="1601" y="633"/>
                  <a:pt x="1601" y="633"/>
                  <a:pt x="1602" y="633"/>
                </a:cubicBezTo>
                <a:cubicBezTo>
                  <a:pt x="1602" y="633"/>
                  <a:pt x="1602" y="633"/>
                  <a:pt x="1602" y="633"/>
                </a:cubicBezTo>
                <a:cubicBezTo>
                  <a:pt x="1602" y="633"/>
                  <a:pt x="1603" y="633"/>
                  <a:pt x="1603" y="633"/>
                </a:cubicBezTo>
                <a:cubicBezTo>
                  <a:pt x="1603" y="633"/>
                  <a:pt x="1602" y="633"/>
                  <a:pt x="1602" y="633"/>
                </a:cubicBezTo>
                <a:cubicBezTo>
                  <a:pt x="1602" y="632"/>
                  <a:pt x="1601" y="632"/>
                  <a:pt x="1601" y="632"/>
                </a:cubicBezTo>
                <a:cubicBezTo>
                  <a:pt x="1600" y="632"/>
                  <a:pt x="1600" y="631"/>
                  <a:pt x="1599" y="631"/>
                </a:cubicBezTo>
                <a:cubicBezTo>
                  <a:pt x="1599" y="631"/>
                  <a:pt x="1599" y="631"/>
                  <a:pt x="1599" y="630"/>
                </a:cubicBezTo>
                <a:cubicBezTo>
                  <a:pt x="1599" y="630"/>
                  <a:pt x="1599" y="630"/>
                  <a:pt x="1599" y="630"/>
                </a:cubicBezTo>
                <a:cubicBezTo>
                  <a:pt x="1599" y="630"/>
                  <a:pt x="1600" y="630"/>
                  <a:pt x="1600" y="630"/>
                </a:cubicBezTo>
                <a:cubicBezTo>
                  <a:pt x="1600" y="630"/>
                  <a:pt x="1600" y="630"/>
                  <a:pt x="1600" y="629"/>
                </a:cubicBezTo>
                <a:cubicBezTo>
                  <a:pt x="1600" y="629"/>
                  <a:pt x="1600" y="629"/>
                  <a:pt x="1600" y="629"/>
                </a:cubicBezTo>
                <a:cubicBezTo>
                  <a:pt x="1600" y="629"/>
                  <a:pt x="1600" y="629"/>
                  <a:pt x="1600" y="629"/>
                </a:cubicBezTo>
                <a:cubicBezTo>
                  <a:pt x="1599" y="629"/>
                  <a:pt x="1599" y="629"/>
                  <a:pt x="1599" y="629"/>
                </a:cubicBezTo>
                <a:cubicBezTo>
                  <a:pt x="1599" y="629"/>
                  <a:pt x="1599" y="628"/>
                  <a:pt x="1598" y="628"/>
                </a:cubicBezTo>
                <a:cubicBezTo>
                  <a:pt x="1598" y="628"/>
                  <a:pt x="1598" y="628"/>
                  <a:pt x="1598" y="628"/>
                </a:cubicBezTo>
                <a:cubicBezTo>
                  <a:pt x="1598" y="628"/>
                  <a:pt x="1598" y="627"/>
                  <a:pt x="1598" y="627"/>
                </a:cubicBezTo>
                <a:cubicBezTo>
                  <a:pt x="1598" y="627"/>
                  <a:pt x="1598" y="626"/>
                  <a:pt x="1598" y="626"/>
                </a:cubicBezTo>
                <a:cubicBezTo>
                  <a:pt x="1598" y="626"/>
                  <a:pt x="1597" y="626"/>
                  <a:pt x="1597" y="625"/>
                </a:cubicBezTo>
                <a:cubicBezTo>
                  <a:pt x="1597" y="625"/>
                  <a:pt x="1597" y="624"/>
                  <a:pt x="1597" y="624"/>
                </a:cubicBezTo>
                <a:cubicBezTo>
                  <a:pt x="1597" y="624"/>
                  <a:pt x="1597" y="623"/>
                  <a:pt x="1597" y="623"/>
                </a:cubicBezTo>
                <a:cubicBezTo>
                  <a:pt x="1597" y="623"/>
                  <a:pt x="1597" y="623"/>
                  <a:pt x="1597" y="623"/>
                </a:cubicBezTo>
                <a:cubicBezTo>
                  <a:pt x="1597" y="623"/>
                  <a:pt x="1596" y="622"/>
                  <a:pt x="1596" y="622"/>
                </a:cubicBezTo>
                <a:cubicBezTo>
                  <a:pt x="1596" y="622"/>
                  <a:pt x="1596" y="622"/>
                  <a:pt x="1595" y="622"/>
                </a:cubicBezTo>
                <a:cubicBezTo>
                  <a:pt x="1595" y="621"/>
                  <a:pt x="1595" y="621"/>
                  <a:pt x="1595" y="621"/>
                </a:cubicBezTo>
                <a:cubicBezTo>
                  <a:pt x="1595" y="620"/>
                  <a:pt x="1595" y="620"/>
                  <a:pt x="1595" y="620"/>
                </a:cubicBezTo>
                <a:cubicBezTo>
                  <a:pt x="1595" y="619"/>
                  <a:pt x="1595" y="619"/>
                  <a:pt x="1595" y="619"/>
                </a:cubicBezTo>
                <a:cubicBezTo>
                  <a:pt x="1595" y="619"/>
                  <a:pt x="1595" y="618"/>
                  <a:pt x="1594" y="618"/>
                </a:cubicBezTo>
                <a:cubicBezTo>
                  <a:pt x="1594" y="618"/>
                  <a:pt x="1594" y="617"/>
                  <a:pt x="1594" y="617"/>
                </a:cubicBezTo>
                <a:cubicBezTo>
                  <a:pt x="1594" y="617"/>
                  <a:pt x="1594" y="617"/>
                  <a:pt x="1594" y="617"/>
                </a:cubicBezTo>
                <a:cubicBezTo>
                  <a:pt x="1595" y="617"/>
                  <a:pt x="1596" y="617"/>
                  <a:pt x="1596" y="618"/>
                </a:cubicBezTo>
                <a:cubicBezTo>
                  <a:pt x="1597" y="618"/>
                  <a:pt x="1597" y="618"/>
                  <a:pt x="1598" y="618"/>
                </a:cubicBezTo>
                <a:cubicBezTo>
                  <a:pt x="1598" y="618"/>
                  <a:pt x="1599" y="618"/>
                  <a:pt x="1599" y="618"/>
                </a:cubicBezTo>
                <a:cubicBezTo>
                  <a:pt x="1599" y="617"/>
                  <a:pt x="1599" y="617"/>
                  <a:pt x="1599" y="617"/>
                </a:cubicBezTo>
                <a:cubicBezTo>
                  <a:pt x="1599" y="616"/>
                  <a:pt x="1599" y="616"/>
                  <a:pt x="1598" y="615"/>
                </a:cubicBezTo>
                <a:cubicBezTo>
                  <a:pt x="1598" y="615"/>
                  <a:pt x="1598" y="615"/>
                  <a:pt x="1597" y="615"/>
                </a:cubicBezTo>
                <a:cubicBezTo>
                  <a:pt x="1597" y="615"/>
                  <a:pt x="1597" y="615"/>
                  <a:pt x="1597" y="615"/>
                </a:cubicBezTo>
                <a:cubicBezTo>
                  <a:pt x="1597" y="614"/>
                  <a:pt x="1596" y="614"/>
                  <a:pt x="1596" y="614"/>
                </a:cubicBezTo>
                <a:cubicBezTo>
                  <a:pt x="1596" y="613"/>
                  <a:pt x="1595" y="613"/>
                  <a:pt x="1595" y="613"/>
                </a:cubicBezTo>
                <a:cubicBezTo>
                  <a:pt x="1595" y="612"/>
                  <a:pt x="1594" y="612"/>
                  <a:pt x="1594" y="612"/>
                </a:cubicBezTo>
                <a:cubicBezTo>
                  <a:pt x="1594" y="612"/>
                  <a:pt x="1594" y="611"/>
                  <a:pt x="1593" y="611"/>
                </a:cubicBezTo>
                <a:cubicBezTo>
                  <a:pt x="1593" y="611"/>
                  <a:pt x="1592" y="610"/>
                  <a:pt x="1591" y="610"/>
                </a:cubicBezTo>
                <a:cubicBezTo>
                  <a:pt x="1591" y="610"/>
                  <a:pt x="1591" y="609"/>
                  <a:pt x="1591" y="609"/>
                </a:cubicBezTo>
                <a:cubicBezTo>
                  <a:pt x="1592" y="609"/>
                  <a:pt x="1592" y="609"/>
                  <a:pt x="1592" y="609"/>
                </a:cubicBezTo>
                <a:cubicBezTo>
                  <a:pt x="1593" y="609"/>
                  <a:pt x="1593" y="608"/>
                  <a:pt x="1593" y="608"/>
                </a:cubicBezTo>
                <a:cubicBezTo>
                  <a:pt x="1593" y="608"/>
                  <a:pt x="1593" y="608"/>
                  <a:pt x="1593" y="607"/>
                </a:cubicBezTo>
                <a:cubicBezTo>
                  <a:pt x="1592" y="607"/>
                  <a:pt x="1592" y="606"/>
                  <a:pt x="1592" y="605"/>
                </a:cubicBezTo>
                <a:cubicBezTo>
                  <a:pt x="1591" y="605"/>
                  <a:pt x="1591" y="605"/>
                  <a:pt x="1591" y="605"/>
                </a:cubicBezTo>
                <a:cubicBezTo>
                  <a:pt x="1591" y="605"/>
                  <a:pt x="1591" y="605"/>
                  <a:pt x="1591" y="605"/>
                </a:cubicBezTo>
                <a:cubicBezTo>
                  <a:pt x="1590" y="605"/>
                  <a:pt x="1590" y="605"/>
                  <a:pt x="1590" y="605"/>
                </a:cubicBezTo>
                <a:cubicBezTo>
                  <a:pt x="1590" y="604"/>
                  <a:pt x="1590" y="604"/>
                  <a:pt x="1590" y="604"/>
                </a:cubicBezTo>
                <a:cubicBezTo>
                  <a:pt x="1590" y="604"/>
                  <a:pt x="1590" y="603"/>
                  <a:pt x="1590" y="603"/>
                </a:cubicBezTo>
                <a:cubicBezTo>
                  <a:pt x="1589" y="603"/>
                  <a:pt x="1589" y="603"/>
                  <a:pt x="1589" y="603"/>
                </a:cubicBezTo>
                <a:cubicBezTo>
                  <a:pt x="1589" y="602"/>
                  <a:pt x="1589" y="602"/>
                  <a:pt x="1589" y="602"/>
                </a:cubicBezTo>
                <a:cubicBezTo>
                  <a:pt x="1589" y="602"/>
                  <a:pt x="1588" y="602"/>
                  <a:pt x="1588" y="602"/>
                </a:cubicBezTo>
                <a:cubicBezTo>
                  <a:pt x="1588" y="602"/>
                  <a:pt x="1588" y="601"/>
                  <a:pt x="1588" y="601"/>
                </a:cubicBezTo>
                <a:cubicBezTo>
                  <a:pt x="1587" y="601"/>
                  <a:pt x="1587" y="601"/>
                  <a:pt x="1587" y="601"/>
                </a:cubicBezTo>
                <a:cubicBezTo>
                  <a:pt x="1586" y="600"/>
                  <a:pt x="1586" y="600"/>
                  <a:pt x="1586" y="600"/>
                </a:cubicBezTo>
                <a:cubicBezTo>
                  <a:pt x="1586" y="600"/>
                  <a:pt x="1585" y="599"/>
                  <a:pt x="1585" y="599"/>
                </a:cubicBezTo>
                <a:cubicBezTo>
                  <a:pt x="1585" y="599"/>
                  <a:pt x="1584" y="598"/>
                  <a:pt x="1584" y="598"/>
                </a:cubicBezTo>
                <a:cubicBezTo>
                  <a:pt x="1583" y="597"/>
                  <a:pt x="1582" y="597"/>
                  <a:pt x="1581" y="596"/>
                </a:cubicBezTo>
                <a:cubicBezTo>
                  <a:pt x="1581" y="596"/>
                  <a:pt x="1581" y="596"/>
                  <a:pt x="1581" y="596"/>
                </a:cubicBezTo>
                <a:cubicBezTo>
                  <a:pt x="1580" y="596"/>
                  <a:pt x="1580" y="595"/>
                  <a:pt x="1580" y="595"/>
                </a:cubicBezTo>
                <a:cubicBezTo>
                  <a:pt x="1580" y="595"/>
                  <a:pt x="1580" y="595"/>
                  <a:pt x="1580" y="595"/>
                </a:cubicBezTo>
                <a:cubicBezTo>
                  <a:pt x="1580" y="595"/>
                  <a:pt x="1580" y="595"/>
                  <a:pt x="1580" y="595"/>
                </a:cubicBezTo>
                <a:cubicBezTo>
                  <a:pt x="1579" y="594"/>
                  <a:pt x="1579" y="594"/>
                  <a:pt x="1578" y="594"/>
                </a:cubicBezTo>
                <a:cubicBezTo>
                  <a:pt x="1578" y="593"/>
                  <a:pt x="1578" y="593"/>
                  <a:pt x="1578" y="593"/>
                </a:cubicBezTo>
                <a:cubicBezTo>
                  <a:pt x="1577" y="593"/>
                  <a:pt x="1577" y="593"/>
                  <a:pt x="1577" y="592"/>
                </a:cubicBezTo>
                <a:cubicBezTo>
                  <a:pt x="1577" y="592"/>
                  <a:pt x="1576" y="592"/>
                  <a:pt x="1576" y="591"/>
                </a:cubicBezTo>
                <a:cubicBezTo>
                  <a:pt x="1575" y="591"/>
                  <a:pt x="1575" y="591"/>
                  <a:pt x="1575" y="591"/>
                </a:cubicBezTo>
                <a:cubicBezTo>
                  <a:pt x="1575" y="591"/>
                  <a:pt x="1575" y="591"/>
                  <a:pt x="1575" y="591"/>
                </a:cubicBezTo>
                <a:cubicBezTo>
                  <a:pt x="1575" y="591"/>
                  <a:pt x="1574" y="591"/>
                  <a:pt x="1574" y="591"/>
                </a:cubicBezTo>
                <a:cubicBezTo>
                  <a:pt x="1574" y="591"/>
                  <a:pt x="1574" y="591"/>
                  <a:pt x="1574" y="590"/>
                </a:cubicBezTo>
                <a:cubicBezTo>
                  <a:pt x="1574" y="590"/>
                  <a:pt x="1574" y="590"/>
                  <a:pt x="1574" y="590"/>
                </a:cubicBezTo>
                <a:cubicBezTo>
                  <a:pt x="1574" y="590"/>
                  <a:pt x="1574" y="590"/>
                  <a:pt x="1574" y="590"/>
                </a:cubicBezTo>
                <a:cubicBezTo>
                  <a:pt x="1574" y="590"/>
                  <a:pt x="1574" y="589"/>
                  <a:pt x="1574" y="589"/>
                </a:cubicBezTo>
                <a:cubicBezTo>
                  <a:pt x="1573" y="589"/>
                  <a:pt x="1573" y="589"/>
                  <a:pt x="1573" y="589"/>
                </a:cubicBezTo>
                <a:cubicBezTo>
                  <a:pt x="1572" y="589"/>
                  <a:pt x="1572" y="588"/>
                  <a:pt x="1572" y="588"/>
                </a:cubicBezTo>
                <a:cubicBezTo>
                  <a:pt x="1571" y="588"/>
                  <a:pt x="1571" y="588"/>
                  <a:pt x="1571" y="588"/>
                </a:cubicBezTo>
                <a:cubicBezTo>
                  <a:pt x="1571" y="588"/>
                  <a:pt x="1571" y="588"/>
                  <a:pt x="1570" y="588"/>
                </a:cubicBezTo>
                <a:cubicBezTo>
                  <a:pt x="1570" y="587"/>
                  <a:pt x="1569" y="586"/>
                  <a:pt x="1568" y="586"/>
                </a:cubicBezTo>
                <a:cubicBezTo>
                  <a:pt x="1568" y="585"/>
                  <a:pt x="1567" y="585"/>
                  <a:pt x="1567" y="585"/>
                </a:cubicBezTo>
                <a:cubicBezTo>
                  <a:pt x="1567" y="585"/>
                  <a:pt x="1567" y="585"/>
                  <a:pt x="1566" y="585"/>
                </a:cubicBezTo>
                <a:cubicBezTo>
                  <a:pt x="1566" y="584"/>
                  <a:pt x="1566" y="584"/>
                  <a:pt x="1566" y="584"/>
                </a:cubicBezTo>
                <a:cubicBezTo>
                  <a:pt x="1565" y="583"/>
                  <a:pt x="1565" y="583"/>
                  <a:pt x="1564" y="583"/>
                </a:cubicBezTo>
                <a:cubicBezTo>
                  <a:pt x="1564" y="582"/>
                  <a:pt x="1563" y="582"/>
                  <a:pt x="1563" y="582"/>
                </a:cubicBezTo>
                <a:cubicBezTo>
                  <a:pt x="1563" y="581"/>
                  <a:pt x="1563" y="581"/>
                  <a:pt x="1562" y="581"/>
                </a:cubicBezTo>
                <a:cubicBezTo>
                  <a:pt x="1562" y="581"/>
                  <a:pt x="1562" y="581"/>
                  <a:pt x="1561" y="580"/>
                </a:cubicBezTo>
                <a:cubicBezTo>
                  <a:pt x="1561" y="580"/>
                  <a:pt x="1560" y="580"/>
                  <a:pt x="1559" y="580"/>
                </a:cubicBezTo>
                <a:cubicBezTo>
                  <a:pt x="1559" y="581"/>
                  <a:pt x="1559" y="581"/>
                  <a:pt x="1558" y="581"/>
                </a:cubicBezTo>
                <a:cubicBezTo>
                  <a:pt x="1559" y="581"/>
                  <a:pt x="1559" y="581"/>
                  <a:pt x="1559" y="582"/>
                </a:cubicBezTo>
                <a:cubicBezTo>
                  <a:pt x="1558" y="582"/>
                  <a:pt x="1558" y="582"/>
                  <a:pt x="1558" y="582"/>
                </a:cubicBezTo>
                <a:cubicBezTo>
                  <a:pt x="1558" y="582"/>
                  <a:pt x="1557" y="582"/>
                  <a:pt x="1557" y="582"/>
                </a:cubicBezTo>
                <a:cubicBezTo>
                  <a:pt x="1557" y="581"/>
                  <a:pt x="1556" y="581"/>
                  <a:pt x="1556" y="581"/>
                </a:cubicBezTo>
                <a:cubicBezTo>
                  <a:pt x="1556" y="581"/>
                  <a:pt x="1556" y="581"/>
                  <a:pt x="1555" y="581"/>
                </a:cubicBezTo>
                <a:cubicBezTo>
                  <a:pt x="1555" y="581"/>
                  <a:pt x="1555" y="581"/>
                  <a:pt x="1555" y="581"/>
                </a:cubicBezTo>
                <a:cubicBezTo>
                  <a:pt x="1555" y="581"/>
                  <a:pt x="1555" y="581"/>
                  <a:pt x="1555" y="581"/>
                </a:cubicBezTo>
                <a:cubicBezTo>
                  <a:pt x="1554" y="581"/>
                  <a:pt x="1554" y="582"/>
                  <a:pt x="1554" y="582"/>
                </a:cubicBezTo>
                <a:cubicBezTo>
                  <a:pt x="1554" y="582"/>
                  <a:pt x="1553" y="582"/>
                  <a:pt x="1553" y="582"/>
                </a:cubicBezTo>
                <a:cubicBezTo>
                  <a:pt x="1553" y="582"/>
                  <a:pt x="1553" y="582"/>
                  <a:pt x="1552" y="581"/>
                </a:cubicBezTo>
                <a:cubicBezTo>
                  <a:pt x="1552" y="582"/>
                  <a:pt x="1552" y="582"/>
                  <a:pt x="1551" y="582"/>
                </a:cubicBezTo>
                <a:cubicBezTo>
                  <a:pt x="1551" y="582"/>
                  <a:pt x="1551" y="582"/>
                  <a:pt x="1551" y="583"/>
                </a:cubicBezTo>
                <a:cubicBezTo>
                  <a:pt x="1551" y="583"/>
                  <a:pt x="1551" y="583"/>
                  <a:pt x="1550" y="583"/>
                </a:cubicBezTo>
                <a:cubicBezTo>
                  <a:pt x="1550" y="583"/>
                  <a:pt x="1550" y="583"/>
                  <a:pt x="1550" y="583"/>
                </a:cubicBezTo>
                <a:cubicBezTo>
                  <a:pt x="1550" y="583"/>
                  <a:pt x="1549" y="583"/>
                  <a:pt x="1549" y="583"/>
                </a:cubicBezTo>
                <a:cubicBezTo>
                  <a:pt x="1549" y="583"/>
                  <a:pt x="1549" y="583"/>
                  <a:pt x="1548" y="583"/>
                </a:cubicBezTo>
                <a:cubicBezTo>
                  <a:pt x="1548" y="583"/>
                  <a:pt x="1548" y="583"/>
                  <a:pt x="1548" y="583"/>
                </a:cubicBezTo>
                <a:cubicBezTo>
                  <a:pt x="1547" y="583"/>
                  <a:pt x="1547" y="583"/>
                  <a:pt x="1547" y="582"/>
                </a:cubicBezTo>
                <a:cubicBezTo>
                  <a:pt x="1547" y="582"/>
                  <a:pt x="1547" y="582"/>
                  <a:pt x="1546" y="581"/>
                </a:cubicBezTo>
                <a:cubicBezTo>
                  <a:pt x="1546" y="581"/>
                  <a:pt x="1546" y="581"/>
                  <a:pt x="1546" y="581"/>
                </a:cubicBezTo>
                <a:cubicBezTo>
                  <a:pt x="1546" y="581"/>
                  <a:pt x="1546" y="581"/>
                  <a:pt x="1546" y="581"/>
                </a:cubicBezTo>
                <a:cubicBezTo>
                  <a:pt x="1546" y="580"/>
                  <a:pt x="1546" y="580"/>
                  <a:pt x="1546" y="580"/>
                </a:cubicBezTo>
                <a:cubicBezTo>
                  <a:pt x="1546" y="580"/>
                  <a:pt x="1546" y="579"/>
                  <a:pt x="1546" y="579"/>
                </a:cubicBezTo>
                <a:cubicBezTo>
                  <a:pt x="1546" y="579"/>
                  <a:pt x="1546" y="579"/>
                  <a:pt x="1546" y="579"/>
                </a:cubicBezTo>
                <a:cubicBezTo>
                  <a:pt x="1546" y="579"/>
                  <a:pt x="1546" y="579"/>
                  <a:pt x="1545" y="579"/>
                </a:cubicBezTo>
                <a:cubicBezTo>
                  <a:pt x="1545" y="579"/>
                  <a:pt x="1545" y="579"/>
                  <a:pt x="1545" y="580"/>
                </a:cubicBezTo>
                <a:cubicBezTo>
                  <a:pt x="1545" y="580"/>
                  <a:pt x="1545" y="580"/>
                  <a:pt x="1545" y="580"/>
                </a:cubicBezTo>
                <a:cubicBezTo>
                  <a:pt x="1545" y="579"/>
                  <a:pt x="1545" y="579"/>
                  <a:pt x="1545" y="579"/>
                </a:cubicBezTo>
                <a:cubicBezTo>
                  <a:pt x="1544" y="579"/>
                  <a:pt x="1544" y="578"/>
                  <a:pt x="1544" y="578"/>
                </a:cubicBezTo>
                <a:cubicBezTo>
                  <a:pt x="1544" y="577"/>
                  <a:pt x="1545" y="577"/>
                  <a:pt x="1545" y="576"/>
                </a:cubicBezTo>
                <a:cubicBezTo>
                  <a:pt x="1545" y="576"/>
                  <a:pt x="1545" y="576"/>
                  <a:pt x="1545" y="575"/>
                </a:cubicBezTo>
                <a:cubicBezTo>
                  <a:pt x="1545" y="575"/>
                  <a:pt x="1545" y="575"/>
                  <a:pt x="1546" y="575"/>
                </a:cubicBezTo>
                <a:cubicBezTo>
                  <a:pt x="1546" y="575"/>
                  <a:pt x="1546" y="575"/>
                  <a:pt x="1547" y="574"/>
                </a:cubicBezTo>
                <a:cubicBezTo>
                  <a:pt x="1546" y="574"/>
                  <a:pt x="1546" y="574"/>
                  <a:pt x="1546" y="574"/>
                </a:cubicBezTo>
                <a:cubicBezTo>
                  <a:pt x="1546" y="573"/>
                  <a:pt x="1546" y="573"/>
                  <a:pt x="1546" y="573"/>
                </a:cubicBezTo>
                <a:cubicBezTo>
                  <a:pt x="1546" y="573"/>
                  <a:pt x="1546" y="572"/>
                  <a:pt x="1546" y="572"/>
                </a:cubicBezTo>
                <a:cubicBezTo>
                  <a:pt x="1546" y="572"/>
                  <a:pt x="1547" y="572"/>
                  <a:pt x="1547" y="572"/>
                </a:cubicBezTo>
                <a:cubicBezTo>
                  <a:pt x="1547" y="572"/>
                  <a:pt x="1547" y="572"/>
                  <a:pt x="1546" y="571"/>
                </a:cubicBezTo>
                <a:cubicBezTo>
                  <a:pt x="1546" y="571"/>
                  <a:pt x="1546" y="571"/>
                  <a:pt x="1545" y="571"/>
                </a:cubicBezTo>
                <a:cubicBezTo>
                  <a:pt x="1545" y="571"/>
                  <a:pt x="1544" y="570"/>
                  <a:pt x="1544" y="570"/>
                </a:cubicBezTo>
                <a:cubicBezTo>
                  <a:pt x="1543" y="570"/>
                  <a:pt x="1543" y="569"/>
                  <a:pt x="1542" y="569"/>
                </a:cubicBezTo>
                <a:close/>
                <a:moveTo>
                  <a:pt x="1635" y="633"/>
                </a:moveTo>
                <a:cubicBezTo>
                  <a:pt x="1634" y="632"/>
                  <a:pt x="1634" y="632"/>
                  <a:pt x="1634" y="631"/>
                </a:cubicBezTo>
                <a:cubicBezTo>
                  <a:pt x="1633" y="631"/>
                  <a:pt x="1633" y="631"/>
                  <a:pt x="1633" y="630"/>
                </a:cubicBezTo>
                <a:cubicBezTo>
                  <a:pt x="1633" y="630"/>
                  <a:pt x="1633" y="629"/>
                  <a:pt x="1633" y="629"/>
                </a:cubicBezTo>
                <a:cubicBezTo>
                  <a:pt x="1633" y="629"/>
                  <a:pt x="1633" y="629"/>
                  <a:pt x="1632" y="628"/>
                </a:cubicBezTo>
                <a:cubicBezTo>
                  <a:pt x="1632" y="628"/>
                  <a:pt x="1632" y="628"/>
                  <a:pt x="1632" y="628"/>
                </a:cubicBezTo>
                <a:cubicBezTo>
                  <a:pt x="1631" y="628"/>
                  <a:pt x="1631" y="628"/>
                  <a:pt x="1631" y="629"/>
                </a:cubicBezTo>
                <a:cubicBezTo>
                  <a:pt x="1631" y="629"/>
                  <a:pt x="1631" y="629"/>
                  <a:pt x="1631" y="629"/>
                </a:cubicBezTo>
                <a:cubicBezTo>
                  <a:pt x="1631" y="630"/>
                  <a:pt x="1631" y="630"/>
                  <a:pt x="1630" y="630"/>
                </a:cubicBezTo>
                <a:cubicBezTo>
                  <a:pt x="1631" y="631"/>
                  <a:pt x="1631" y="631"/>
                  <a:pt x="1631" y="631"/>
                </a:cubicBezTo>
                <a:cubicBezTo>
                  <a:pt x="1631" y="632"/>
                  <a:pt x="1631" y="632"/>
                  <a:pt x="1631" y="633"/>
                </a:cubicBezTo>
                <a:cubicBezTo>
                  <a:pt x="1631" y="633"/>
                  <a:pt x="1631" y="633"/>
                  <a:pt x="1631" y="633"/>
                </a:cubicBezTo>
                <a:cubicBezTo>
                  <a:pt x="1631" y="633"/>
                  <a:pt x="1631" y="633"/>
                  <a:pt x="1631" y="634"/>
                </a:cubicBezTo>
                <a:cubicBezTo>
                  <a:pt x="1631" y="634"/>
                  <a:pt x="1632" y="634"/>
                  <a:pt x="1632" y="634"/>
                </a:cubicBezTo>
                <a:cubicBezTo>
                  <a:pt x="1632" y="634"/>
                  <a:pt x="1632" y="634"/>
                  <a:pt x="1632" y="634"/>
                </a:cubicBezTo>
                <a:cubicBezTo>
                  <a:pt x="1633" y="634"/>
                  <a:pt x="1633" y="635"/>
                  <a:pt x="1633" y="635"/>
                </a:cubicBezTo>
                <a:cubicBezTo>
                  <a:pt x="1634" y="635"/>
                  <a:pt x="1634" y="635"/>
                  <a:pt x="1634" y="635"/>
                </a:cubicBezTo>
                <a:cubicBezTo>
                  <a:pt x="1634" y="635"/>
                  <a:pt x="1634" y="635"/>
                  <a:pt x="1634" y="635"/>
                </a:cubicBezTo>
                <a:cubicBezTo>
                  <a:pt x="1635" y="634"/>
                  <a:pt x="1635" y="634"/>
                  <a:pt x="1635" y="634"/>
                </a:cubicBezTo>
                <a:cubicBezTo>
                  <a:pt x="1635" y="633"/>
                  <a:pt x="1635" y="633"/>
                  <a:pt x="1635" y="633"/>
                </a:cubicBezTo>
                <a:close/>
                <a:moveTo>
                  <a:pt x="1617" y="647"/>
                </a:moveTo>
                <a:cubicBezTo>
                  <a:pt x="1617" y="647"/>
                  <a:pt x="1617" y="647"/>
                  <a:pt x="1617" y="647"/>
                </a:cubicBezTo>
                <a:cubicBezTo>
                  <a:pt x="1617" y="647"/>
                  <a:pt x="1617" y="647"/>
                  <a:pt x="1617" y="647"/>
                </a:cubicBezTo>
                <a:cubicBezTo>
                  <a:pt x="1617" y="647"/>
                  <a:pt x="1617" y="647"/>
                  <a:pt x="1618" y="648"/>
                </a:cubicBezTo>
                <a:cubicBezTo>
                  <a:pt x="1618" y="647"/>
                  <a:pt x="1618" y="647"/>
                  <a:pt x="1618" y="647"/>
                </a:cubicBezTo>
                <a:cubicBezTo>
                  <a:pt x="1618" y="647"/>
                  <a:pt x="1618" y="647"/>
                  <a:pt x="1617" y="647"/>
                </a:cubicBezTo>
                <a:cubicBezTo>
                  <a:pt x="1617" y="647"/>
                  <a:pt x="1617" y="647"/>
                  <a:pt x="1617" y="647"/>
                </a:cubicBezTo>
                <a:close/>
                <a:moveTo>
                  <a:pt x="1626" y="618"/>
                </a:moveTo>
                <a:cubicBezTo>
                  <a:pt x="1626" y="618"/>
                  <a:pt x="1626" y="618"/>
                  <a:pt x="1626" y="617"/>
                </a:cubicBezTo>
                <a:cubicBezTo>
                  <a:pt x="1625" y="617"/>
                  <a:pt x="1625" y="617"/>
                  <a:pt x="1625" y="616"/>
                </a:cubicBezTo>
                <a:cubicBezTo>
                  <a:pt x="1625" y="616"/>
                  <a:pt x="1624" y="616"/>
                  <a:pt x="1624" y="615"/>
                </a:cubicBezTo>
                <a:cubicBezTo>
                  <a:pt x="1624" y="615"/>
                  <a:pt x="1624" y="615"/>
                  <a:pt x="1623" y="615"/>
                </a:cubicBezTo>
                <a:cubicBezTo>
                  <a:pt x="1623" y="614"/>
                  <a:pt x="1622" y="613"/>
                  <a:pt x="1622" y="613"/>
                </a:cubicBezTo>
                <a:cubicBezTo>
                  <a:pt x="1622" y="613"/>
                  <a:pt x="1621" y="612"/>
                  <a:pt x="1621" y="612"/>
                </a:cubicBezTo>
                <a:cubicBezTo>
                  <a:pt x="1620" y="611"/>
                  <a:pt x="1620" y="611"/>
                  <a:pt x="1619" y="610"/>
                </a:cubicBezTo>
                <a:cubicBezTo>
                  <a:pt x="1619" y="610"/>
                  <a:pt x="1619" y="610"/>
                  <a:pt x="1619" y="611"/>
                </a:cubicBezTo>
                <a:cubicBezTo>
                  <a:pt x="1619" y="611"/>
                  <a:pt x="1619" y="611"/>
                  <a:pt x="1620" y="611"/>
                </a:cubicBezTo>
                <a:cubicBezTo>
                  <a:pt x="1620" y="612"/>
                  <a:pt x="1621" y="613"/>
                  <a:pt x="1622" y="614"/>
                </a:cubicBezTo>
                <a:cubicBezTo>
                  <a:pt x="1622" y="615"/>
                  <a:pt x="1623" y="615"/>
                  <a:pt x="1623" y="616"/>
                </a:cubicBezTo>
                <a:cubicBezTo>
                  <a:pt x="1624" y="616"/>
                  <a:pt x="1624" y="616"/>
                  <a:pt x="1624" y="616"/>
                </a:cubicBezTo>
                <a:cubicBezTo>
                  <a:pt x="1625" y="617"/>
                  <a:pt x="1625" y="617"/>
                  <a:pt x="1625" y="618"/>
                </a:cubicBezTo>
                <a:cubicBezTo>
                  <a:pt x="1625" y="619"/>
                  <a:pt x="1625" y="619"/>
                  <a:pt x="1625" y="620"/>
                </a:cubicBezTo>
                <a:cubicBezTo>
                  <a:pt x="1625" y="620"/>
                  <a:pt x="1625" y="620"/>
                  <a:pt x="1624" y="620"/>
                </a:cubicBezTo>
                <a:cubicBezTo>
                  <a:pt x="1624" y="621"/>
                  <a:pt x="1624" y="621"/>
                  <a:pt x="1624" y="621"/>
                </a:cubicBezTo>
                <a:cubicBezTo>
                  <a:pt x="1624" y="622"/>
                  <a:pt x="1625" y="622"/>
                  <a:pt x="1625" y="622"/>
                </a:cubicBezTo>
                <a:cubicBezTo>
                  <a:pt x="1625" y="622"/>
                  <a:pt x="1625" y="622"/>
                  <a:pt x="1625" y="622"/>
                </a:cubicBezTo>
                <a:cubicBezTo>
                  <a:pt x="1626" y="622"/>
                  <a:pt x="1626" y="621"/>
                  <a:pt x="1626" y="621"/>
                </a:cubicBezTo>
                <a:cubicBezTo>
                  <a:pt x="1626" y="621"/>
                  <a:pt x="1626" y="621"/>
                  <a:pt x="1626" y="621"/>
                </a:cubicBezTo>
                <a:cubicBezTo>
                  <a:pt x="1626" y="621"/>
                  <a:pt x="1626" y="620"/>
                  <a:pt x="1626" y="620"/>
                </a:cubicBezTo>
                <a:cubicBezTo>
                  <a:pt x="1626" y="620"/>
                  <a:pt x="1626" y="619"/>
                  <a:pt x="1626" y="619"/>
                </a:cubicBezTo>
                <a:cubicBezTo>
                  <a:pt x="1626" y="619"/>
                  <a:pt x="1626" y="619"/>
                  <a:pt x="1626" y="618"/>
                </a:cubicBezTo>
                <a:close/>
                <a:moveTo>
                  <a:pt x="1616" y="637"/>
                </a:moveTo>
                <a:cubicBezTo>
                  <a:pt x="1616" y="637"/>
                  <a:pt x="1616" y="637"/>
                  <a:pt x="1616" y="637"/>
                </a:cubicBezTo>
                <a:cubicBezTo>
                  <a:pt x="1616" y="637"/>
                  <a:pt x="1615" y="636"/>
                  <a:pt x="1615" y="636"/>
                </a:cubicBezTo>
                <a:cubicBezTo>
                  <a:pt x="1615" y="636"/>
                  <a:pt x="1615" y="636"/>
                  <a:pt x="1615" y="636"/>
                </a:cubicBezTo>
                <a:cubicBezTo>
                  <a:pt x="1615" y="636"/>
                  <a:pt x="1615" y="636"/>
                  <a:pt x="1615" y="636"/>
                </a:cubicBezTo>
                <a:cubicBezTo>
                  <a:pt x="1615" y="636"/>
                  <a:pt x="1615" y="636"/>
                  <a:pt x="1615" y="636"/>
                </a:cubicBezTo>
                <a:cubicBezTo>
                  <a:pt x="1615" y="637"/>
                  <a:pt x="1616" y="637"/>
                  <a:pt x="1616" y="637"/>
                </a:cubicBezTo>
                <a:close/>
                <a:moveTo>
                  <a:pt x="1613" y="645"/>
                </a:moveTo>
                <a:cubicBezTo>
                  <a:pt x="1613" y="645"/>
                  <a:pt x="1613" y="645"/>
                  <a:pt x="1613" y="645"/>
                </a:cubicBezTo>
                <a:cubicBezTo>
                  <a:pt x="1613" y="646"/>
                  <a:pt x="1613" y="646"/>
                  <a:pt x="1614" y="647"/>
                </a:cubicBezTo>
                <a:cubicBezTo>
                  <a:pt x="1614" y="647"/>
                  <a:pt x="1614" y="647"/>
                  <a:pt x="1614" y="647"/>
                </a:cubicBezTo>
                <a:cubicBezTo>
                  <a:pt x="1614" y="647"/>
                  <a:pt x="1614" y="647"/>
                  <a:pt x="1614" y="647"/>
                </a:cubicBezTo>
                <a:cubicBezTo>
                  <a:pt x="1615" y="647"/>
                  <a:pt x="1615" y="647"/>
                  <a:pt x="1615" y="647"/>
                </a:cubicBezTo>
                <a:cubicBezTo>
                  <a:pt x="1615" y="647"/>
                  <a:pt x="1615" y="647"/>
                  <a:pt x="1615" y="647"/>
                </a:cubicBezTo>
                <a:cubicBezTo>
                  <a:pt x="1615" y="647"/>
                  <a:pt x="1614" y="647"/>
                  <a:pt x="1614" y="646"/>
                </a:cubicBezTo>
                <a:cubicBezTo>
                  <a:pt x="1614" y="646"/>
                  <a:pt x="1614" y="646"/>
                  <a:pt x="1613" y="645"/>
                </a:cubicBezTo>
                <a:close/>
                <a:moveTo>
                  <a:pt x="1617" y="610"/>
                </a:moveTo>
                <a:cubicBezTo>
                  <a:pt x="1617" y="610"/>
                  <a:pt x="1617" y="609"/>
                  <a:pt x="1617" y="609"/>
                </a:cubicBezTo>
                <a:cubicBezTo>
                  <a:pt x="1617" y="609"/>
                  <a:pt x="1617" y="609"/>
                  <a:pt x="1617" y="609"/>
                </a:cubicBezTo>
                <a:cubicBezTo>
                  <a:pt x="1617" y="609"/>
                  <a:pt x="1616" y="609"/>
                  <a:pt x="1616" y="608"/>
                </a:cubicBezTo>
                <a:cubicBezTo>
                  <a:pt x="1616" y="609"/>
                  <a:pt x="1616" y="609"/>
                  <a:pt x="1616" y="609"/>
                </a:cubicBezTo>
                <a:cubicBezTo>
                  <a:pt x="1616" y="609"/>
                  <a:pt x="1616" y="609"/>
                  <a:pt x="1616" y="610"/>
                </a:cubicBezTo>
                <a:cubicBezTo>
                  <a:pt x="1617" y="610"/>
                  <a:pt x="1617" y="610"/>
                  <a:pt x="1617" y="610"/>
                </a:cubicBezTo>
                <a:close/>
                <a:moveTo>
                  <a:pt x="1584" y="617"/>
                </a:moveTo>
                <a:cubicBezTo>
                  <a:pt x="1584" y="617"/>
                  <a:pt x="1584" y="616"/>
                  <a:pt x="1584" y="616"/>
                </a:cubicBezTo>
                <a:cubicBezTo>
                  <a:pt x="1584" y="616"/>
                  <a:pt x="1584" y="616"/>
                  <a:pt x="1584" y="616"/>
                </a:cubicBezTo>
                <a:cubicBezTo>
                  <a:pt x="1584" y="617"/>
                  <a:pt x="1584" y="617"/>
                  <a:pt x="1584" y="617"/>
                </a:cubicBezTo>
                <a:close/>
                <a:moveTo>
                  <a:pt x="1613" y="617"/>
                </a:moveTo>
                <a:cubicBezTo>
                  <a:pt x="1613" y="617"/>
                  <a:pt x="1612" y="617"/>
                  <a:pt x="1612" y="616"/>
                </a:cubicBezTo>
                <a:cubicBezTo>
                  <a:pt x="1612" y="616"/>
                  <a:pt x="1612" y="616"/>
                  <a:pt x="1612" y="616"/>
                </a:cubicBezTo>
                <a:cubicBezTo>
                  <a:pt x="1612" y="616"/>
                  <a:pt x="1611" y="616"/>
                  <a:pt x="1611" y="616"/>
                </a:cubicBezTo>
                <a:cubicBezTo>
                  <a:pt x="1612" y="617"/>
                  <a:pt x="1612" y="617"/>
                  <a:pt x="1612" y="618"/>
                </a:cubicBezTo>
                <a:cubicBezTo>
                  <a:pt x="1612" y="617"/>
                  <a:pt x="1612" y="617"/>
                  <a:pt x="1613" y="617"/>
                </a:cubicBezTo>
                <a:close/>
                <a:moveTo>
                  <a:pt x="1609" y="632"/>
                </a:moveTo>
                <a:cubicBezTo>
                  <a:pt x="1609" y="632"/>
                  <a:pt x="1609" y="632"/>
                  <a:pt x="1610" y="632"/>
                </a:cubicBezTo>
                <a:cubicBezTo>
                  <a:pt x="1610" y="632"/>
                  <a:pt x="1610" y="632"/>
                  <a:pt x="1610" y="632"/>
                </a:cubicBezTo>
                <a:cubicBezTo>
                  <a:pt x="1610" y="631"/>
                  <a:pt x="1610" y="631"/>
                  <a:pt x="1610" y="631"/>
                </a:cubicBezTo>
                <a:cubicBezTo>
                  <a:pt x="1610" y="631"/>
                  <a:pt x="1610" y="631"/>
                  <a:pt x="1610" y="631"/>
                </a:cubicBezTo>
                <a:cubicBezTo>
                  <a:pt x="1610" y="631"/>
                  <a:pt x="1609" y="631"/>
                  <a:pt x="1609" y="631"/>
                </a:cubicBezTo>
                <a:cubicBezTo>
                  <a:pt x="1609" y="631"/>
                  <a:pt x="1609" y="631"/>
                  <a:pt x="1609" y="631"/>
                </a:cubicBezTo>
                <a:cubicBezTo>
                  <a:pt x="1610" y="631"/>
                  <a:pt x="1610" y="631"/>
                  <a:pt x="1610" y="631"/>
                </a:cubicBezTo>
                <a:cubicBezTo>
                  <a:pt x="1610" y="632"/>
                  <a:pt x="1610" y="632"/>
                  <a:pt x="1610" y="632"/>
                </a:cubicBezTo>
                <a:cubicBezTo>
                  <a:pt x="1609" y="632"/>
                  <a:pt x="1609" y="632"/>
                  <a:pt x="1609" y="632"/>
                </a:cubicBezTo>
                <a:close/>
                <a:moveTo>
                  <a:pt x="1594" y="608"/>
                </a:moveTo>
                <a:cubicBezTo>
                  <a:pt x="1594" y="608"/>
                  <a:pt x="1594" y="608"/>
                  <a:pt x="1594" y="608"/>
                </a:cubicBezTo>
                <a:cubicBezTo>
                  <a:pt x="1595" y="608"/>
                  <a:pt x="1595" y="608"/>
                  <a:pt x="1595" y="608"/>
                </a:cubicBezTo>
                <a:cubicBezTo>
                  <a:pt x="1594" y="607"/>
                  <a:pt x="1594" y="607"/>
                  <a:pt x="1594" y="607"/>
                </a:cubicBezTo>
                <a:cubicBezTo>
                  <a:pt x="1594" y="608"/>
                  <a:pt x="1594" y="608"/>
                  <a:pt x="1594" y="608"/>
                </a:cubicBezTo>
                <a:close/>
                <a:moveTo>
                  <a:pt x="1617" y="604"/>
                </a:moveTo>
                <a:cubicBezTo>
                  <a:pt x="1617" y="603"/>
                  <a:pt x="1616" y="603"/>
                  <a:pt x="1616" y="603"/>
                </a:cubicBezTo>
                <a:cubicBezTo>
                  <a:pt x="1616" y="603"/>
                  <a:pt x="1616" y="602"/>
                  <a:pt x="1616" y="602"/>
                </a:cubicBezTo>
                <a:cubicBezTo>
                  <a:pt x="1616" y="603"/>
                  <a:pt x="1616" y="603"/>
                  <a:pt x="1616" y="603"/>
                </a:cubicBezTo>
                <a:cubicBezTo>
                  <a:pt x="1616" y="603"/>
                  <a:pt x="1616" y="604"/>
                  <a:pt x="1616" y="604"/>
                </a:cubicBezTo>
                <a:cubicBezTo>
                  <a:pt x="1616" y="604"/>
                  <a:pt x="1617" y="604"/>
                  <a:pt x="1617" y="604"/>
                </a:cubicBezTo>
                <a:close/>
                <a:moveTo>
                  <a:pt x="1605" y="601"/>
                </a:moveTo>
                <a:cubicBezTo>
                  <a:pt x="1605" y="601"/>
                  <a:pt x="1605" y="601"/>
                  <a:pt x="1604" y="601"/>
                </a:cubicBezTo>
                <a:cubicBezTo>
                  <a:pt x="1604" y="601"/>
                  <a:pt x="1604" y="601"/>
                  <a:pt x="1604" y="601"/>
                </a:cubicBezTo>
                <a:cubicBezTo>
                  <a:pt x="1604" y="600"/>
                  <a:pt x="1603" y="600"/>
                  <a:pt x="1603" y="600"/>
                </a:cubicBezTo>
                <a:cubicBezTo>
                  <a:pt x="1603" y="600"/>
                  <a:pt x="1603" y="600"/>
                  <a:pt x="1603" y="600"/>
                </a:cubicBezTo>
                <a:cubicBezTo>
                  <a:pt x="1602" y="600"/>
                  <a:pt x="1602" y="600"/>
                  <a:pt x="1602" y="600"/>
                </a:cubicBezTo>
                <a:cubicBezTo>
                  <a:pt x="1602" y="600"/>
                  <a:pt x="1602" y="600"/>
                  <a:pt x="1601" y="600"/>
                </a:cubicBezTo>
                <a:cubicBezTo>
                  <a:pt x="1601" y="600"/>
                  <a:pt x="1602" y="600"/>
                  <a:pt x="1602" y="600"/>
                </a:cubicBezTo>
                <a:cubicBezTo>
                  <a:pt x="1602" y="600"/>
                  <a:pt x="1602" y="600"/>
                  <a:pt x="1602" y="601"/>
                </a:cubicBezTo>
                <a:cubicBezTo>
                  <a:pt x="1602" y="601"/>
                  <a:pt x="1602" y="601"/>
                  <a:pt x="1602" y="601"/>
                </a:cubicBezTo>
                <a:cubicBezTo>
                  <a:pt x="1603" y="601"/>
                  <a:pt x="1603" y="601"/>
                  <a:pt x="1604" y="601"/>
                </a:cubicBezTo>
                <a:cubicBezTo>
                  <a:pt x="1604" y="601"/>
                  <a:pt x="1604" y="601"/>
                  <a:pt x="1605" y="601"/>
                </a:cubicBezTo>
                <a:close/>
                <a:moveTo>
                  <a:pt x="1606" y="637"/>
                </a:moveTo>
                <a:cubicBezTo>
                  <a:pt x="1606" y="637"/>
                  <a:pt x="1607" y="637"/>
                  <a:pt x="1607" y="637"/>
                </a:cubicBezTo>
                <a:cubicBezTo>
                  <a:pt x="1607" y="637"/>
                  <a:pt x="1607" y="637"/>
                  <a:pt x="1607" y="637"/>
                </a:cubicBezTo>
                <a:cubicBezTo>
                  <a:pt x="1607" y="637"/>
                  <a:pt x="1607" y="637"/>
                  <a:pt x="1608" y="637"/>
                </a:cubicBezTo>
                <a:cubicBezTo>
                  <a:pt x="1608" y="636"/>
                  <a:pt x="1608" y="636"/>
                  <a:pt x="1608" y="636"/>
                </a:cubicBezTo>
                <a:cubicBezTo>
                  <a:pt x="1608" y="636"/>
                  <a:pt x="1607" y="636"/>
                  <a:pt x="1607" y="636"/>
                </a:cubicBezTo>
                <a:cubicBezTo>
                  <a:pt x="1607" y="636"/>
                  <a:pt x="1607" y="636"/>
                  <a:pt x="1607" y="636"/>
                </a:cubicBezTo>
                <a:cubicBezTo>
                  <a:pt x="1607" y="636"/>
                  <a:pt x="1607" y="636"/>
                  <a:pt x="1607" y="636"/>
                </a:cubicBezTo>
                <a:cubicBezTo>
                  <a:pt x="1606" y="636"/>
                  <a:pt x="1606" y="636"/>
                  <a:pt x="1606" y="636"/>
                </a:cubicBezTo>
                <a:cubicBezTo>
                  <a:pt x="1606" y="635"/>
                  <a:pt x="1606" y="635"/>
                  <a:pt x="1606" y="635"/>
                </a:cubicBezTo>
                <a:cubicBezTo>
                  <a:pt x="1606" y="635"/>
                  <a:pt x="1606" y="635"/>
                  <a:pt x="1606" y="635"/>
                </a:cubicBezTo>
                <a:cubicBezTo>
                  <a:pt x="1606" y="635"/>
                  <a:pt x="1606" y="635"/>
                  <a:pt x="1605" y="635"/>
                </a:cubicBezTo>
                <a:cubicBezTo>
                  <a:pt x="1605" y="635"/>
                  <a:pt x="1605" y="635"/>
                  <a:pt x="1605" y="635"/>
                </a:cubicBezTo>
                <a:cubicBezTo>
                  <a:pt x="1606" y="635"/>
                  <a:pt x="1606" y="635"/>
                  <a:pt x="1606" y="635"/>
                </a:cubicBezTo>
                <a:cubicBezTo>
                  <a:pt x="1606" y="635"/>
                  <a:pt x="1606" y="635"/>
                  <a:pt x="1606" y="636"/>
                </a:cubicBezTo>
                <a:cubicBezTo>
                  <a:pt x="1606" y="636"/>
                  <a:pt x="1606" y="636"/>
                  <a:pt x="1606" y="636"/>
                </a:cubicBezTo>
                <a:cubicBezTo>
                  <a:pt x="1606" y="636"/>
                  <a:pt x="1606" y="636"/>
                  <a:pt x="1606" y="636"/>
                </a:cubicBezTo>
                <a:cubicBezTo>
                  <a:pt x="1606" y="636"/>
                  <a:pt x="1606" y="637"/>
                  <a:pt x="1606" y="637"/>
                </a:cubicBezTo>
                <a:close/>
                <a:moveTo>
                  <a:pt x="1600" y="615"/>
                </a:moveTo>
                <a:cubicBezTo>
                  <a:pt x="1600" y="615"/>
                  <a:pt x="1601" y="615"/>
                  <a:pt x="1601" y="616"/>
                </a:cubicBezTo>
                <a:cubicBezTo>
                  <a:pt x="1601" y="615"/>
                  <a:pt x="1601" y="615"/>
                  <a:pt x="1601" y="615"/>
                </a:cubicBezTo>
                <a:cubicBezTo>
                  <a:pt x="1601" y="615"/>
                  <a:pt x="1601" y="615"/>
                  <a:pt x="1601" y="615"/>
                </a:cubicBezTo>
                <a:cubicBezTo>
                  <a:pt x="1601" y="614"/>
                  <a:pt x="1601" y="614"/>
                  <a:pt x="1601" y="614"/>
                </a:cubicBezTo>
                <a:cubicBezTo>
                  <a:pt x="1600" y="614"/>
                  <a:pt x="1600" y="614"/>
                  <a:pt x="1600" y="614"/>
                </a:cubicBezTo>
                <a:cubicBezTo>
                  <a:pt x="1600" y="614"/>
                  <a:pt x="1600" y="615"/>
                  <a:pt x="1600" y="615"/>
                </a:cubicBezTo>
                <a:close/>
                <a:moveTo>
                  <a:pt x="1604" y="632"/>
                </a:moveTo>
                <a:cubicBezTo>
                  <a:pt x="1604" y="632"/>
                  <a:pt x="1604" y="632"/>
                  <a:pt x="1604" y="632"/>
                </a:cubicBezTo>
                <a:cubicBezTo>
                  <a:pt x="1604" y="632"/>
                  <a:pt x="1604" y="632"/>
                  <a:pt x="1604" y="632"/>
                </a:cubicBezTo>
                <a:cubicBezTo>
                  <a:pt x="1604" y="632"/>
                  <a:pt x="1604" y="633"/>
                  <a:pt x="1604" y="633"/>
                </a:cubicBezTo>
                <a:cubicBezTo>
                  <a:pt x="1604" y="633"/>
                  <a:pt x="1604" y="633"/>
                  <a:pt x="1604" y="633"/>
                </a:cubicBezTo>
                <a:cubicBezTo>
                  <a:pt x="1604" y="633"/>
                  <a:pt x="1604" y="633"/>
                  <a:pt x="1605" y="633"/>
                </a:cubicBezTo>
                <a:cubicBezTo>
                  <a:pt x="1605" y="633"/>
                  <a:pt x="1605" y="633"/>
                  <a:pt x="1605" y="633"/>
                </a:cubicBezTo>
                <a:cubicBezTo>
                  <a:pt x="1605" y="633"/>
                  <a:pt x="1605" y="632"/>
                  <a:pt x="1605" y="632"/>
                </a:cubicBezTo>
                <a:cubicBezTo>
                  <a:pt x="1604" y="632"/>
                  <a:pt x="1604" y="632"/>
                  <a:pt x="1604" y="632"/>
                </a:cubicBezTo>
                <a:close/>
                <a:moveTo>
                  <a:pt x="1606" y="634"/>
                </a:moveTo>
                <a:cubicBezTo>
                  <a:pt x="1606" y="634"/>
                  <a:pt x="1606" y="633"/>
                  <a:pt x="1606" y="633"/>
                </a:cubicBezTo>
                <a:cubicBezTo>
                  <a:pt x="1606" y="633"/>
                  <a:pt x="1606" y="633"/>
                  <a:pt x="1605" y="633"/>
                </a:cubicBezTo>
                <a:cubicBezTo>
                  <a:pt x="1605" y="633"/>
                  <a:pt x="1605" y="633"/>
                  <a:pt x="1605" y="633"/>
                </a:cubicBezTo>
                <a:cubicBezTo>
                  <a:pt x="1605" y="633"/>
                  <a:pt x="1605" y="634"/>
                  <a:pt x="1605" y="634"/>
                </a:cubicBezTo>
                <a:cubicBezTo>
                  <a:pt x="1605" y="634"/>
                  <a:pt x="1605" y="634"/>
                  <a:pt x="1605" y="634"/>
                </a:cubicBezTo>
                <a:cubicBezTo>
                  <a:pt x="1606" y="634"/>
                  <a:pt x="1606" y="634"/>
                  <a:pt x="1606" y="634"/>
                </a:cubicBezTo>
                <a:cubicBezTo>
                  <a:pt x="1606" y="634"/>
                  <a:pt x="1606" y="635"/>
                  <a:pt x="1606" y="635"/>
                </a:cubicBezTo>
                <a:cubicBezTo>
                  <a:pt x="1606" y="635"/>
                  <a:pt x="1606" y="635"/>
                  <a:pt x="1606" y="635"/>
                </a:cubicBezTo>
                <a:cubicBezTo>
                  <a:pt x="1606" y="634"/>
                  <a:pt x="1606" y="634"/>
                  <a:pt x="1606" y="634"/>
                </a:cubicBezTo>
                <a:cubicBezTo>
                  <a:pt x="1606" y="634"/>
                  <a:pt x="1606" y="634"/>
                  <a:pt x="1606" y="634"/>
                </a:cubicBezTo>
                <a:cubicBezTo>
                  <a:pt x="1606" y="634"/>
                  <a:pt x="1606" y="634"/>
                  <a:pt x="1606" y="634"/>
                </a:cubicBezTo>
                <a:cubicBezTo>
                  <a:pt x="1606" y="634"/>
                  <a:pt x="1606" y="634"/>
                  <a:pt x="1606" y="634"/>
                </a:cubicBezTo>
                <a:close/>
                <a:moveTo>
                  <a:pt x="1597" y="612"/>
                </a:moveTo>
                <a:cubicBezTo>
                  <a:pt x="1598" y="612"/>
                  <a:pt x="1598" y="612"/>
                  <a:pt x="1598" y="613"/>
                </a:cubicBezTo>
                <a:cubicBezTo>
                  <a:pt x="1598" y="613"/>
                  <a:pt x="1598" y="613"/>
                  <a:pt x="1598" y="613"/>
                </a:cubicBezTo>
                <a:cubicBezTo>
                  <a:pt x="1598" y="613"/>
                  <a:pt x="1598" y="612"/>
                  <a:pt x="1598" y="612"/>
                </a:cubicBezTo>
                <a:cubicBezTo>
                  <a:pt x="1598" y="612"/>
                  <a:pt x="1598" y="612"/>
                  <a:pt x="1598" y="612"/>
                </a:cubicBezTo>
                <a:cubicBezTo>
                  <a:pt x="1598" y="612"/>
                  <a:pt x="1598" y="612"/>
                  <a:pt x="1597" y="612"/>
                </a:cubicBezTo>
                <a:close/>
                <a:moveTo>
                  <a:pt x="1621" y="621"/>
                </a:moveTo>
                <a:cubicBezTo>
                  <a:pt x="1621" y="621"/>
                  <a:pt x="1621" y="621"/>
                  <a:pt x="1621" y="621"/>
                </a:cubicBezTo>
                <a:cubicBezTo>
                  <a:pt x="1622" y="621"/>
                  <a:pt x="1622" y="621"/>
                  <a:pt x="1623" y="621"/>
                </a:cubicBezTo>
                <a:cubicBezTo>
                  <a:pt x="1623" y="621"/>
                  <a:pt x="1623" y="620"/>
                  <a:pt x="1623" y="620"/>
                </a:cubicBezTo>
                <a:cubicBezTo>
                  <a:pt x="1623" y="619"/>
                  <a:pt x="1623" y="619"/>
                  <a:pt x="1623" y="618"/>
                </a:cubicBezTo>
                <a:cubicBezTo>
                  <a:pt x="1622" y="618"/>
                  <a:pt x="1622" y="618"/>
                  <a:pt x="1622" y="618"/>
                </a:cubicBezTo>
                <a:cubicBezTo>
                  <a:pt x="1622" y="619"/>
                  <a:pt x="1622" y="619"/>
                  <a:pt x="1622" y="619"/>
                </a:cubicBezTo>
                <a:cubicBezTo>
                  <a:pt x="1621" y="618"/>
                  <a:pt x="1621" y="618"/>
                  <a:pt x="1621" y="618"/>
                </a:cubicBezTo>
                <a:cubicBezTo>
                  <a:pt x="1621" y="618"/>
                  <a:pt x="1620" y="618"/>
                  <a:pt x="1620" y="617"/>
                </a:cubicBezTo>
                <a:cubicBezTo>
                  <a:pt x="1620" y="618"/>
                  <a:pt x="1620" y="618"/>
                  <a:pt x="1619" y="618"/>
                </a:cubicBezTo>
                <a:cubicBezTo>
                  <a:pt x="1619" y="618"/>
                  <a:pt x="1619" y="619"/>
                  <a:pt x="1619" y="619"/>
                </a:cubicBezTo>
                <a:cubicBezTo>
                  <a:pt x="1619" y="620"/>
                  <a:pt x="1619" y="620"/>
                  <a:pt x="1619" y="620"/>
                </a:cubicBezTo>
                <a:cubicBezTo>
                  <a:pt x="1619" y="620"/>
                  <a:pt x="1619" y="620"/>
                  <a:pt x="1619" y="620"/>
                </a:cubicBezTo>
                <a:cubicBezTo>
                  <a:pt x="1618" y="620"/>
                  <a:pt x="1618" y="620"/>
                  <a:pt x="1618" y="620"/>
                </a:cubicBezTo>
                <a:cubicBezTo>
                  <a:pt x="1617" y="620"/>
                  <a:pt x="1616" y="620"/>
                  <a:pt x="1616" y="620"/>
                </a:cubicBezTo>
                <a:cubicBezTo>
                  <a:pt x="1615" y="620"/>
                  <a:pt x="1615" y="620"/>
                  <a:pt x="1615" y="620"/>
                </a:cubicBezTo>
                <a:cubicBezTo>
                  <a:pt x="1615" y="620"/>
                  <a:pt x="1615" y="620"/>
                  <a:pt x="1614" y="620"/>
                </a:cubicBezTo>
                <a:cubicBezTo>
                  <a:pt x="1614" y="620"/>
                  <a:pt x="1614" y="620"/>
                  <a:pt x="1614" y="620"/>
                </a:cubicBezTo>
                <a:cubicBezTo>
                  <a:pt x="1614" y="620"/>
                  <a:pt x="1613" y="620"/>
                  <a:pt x="1613" y="620"/>
                </a:cubicBezTo>
                <a:cubicBezTo>
                  <a:pt x="1613" y="620"/>
                  <a:pt x="1613" y="620"/>
                  <a:pt x="1613" y="619"/>
                </a:cubicBezTo>
                <a:cubicBezTo>
                  <a:pt x="1613" y="619"/>
                  <a:pt x="1612" y="619"/>
                  <a:pt x="1612" y="619"/>
                </a:cubicBezTo>
                <a:cubicBezTo>
                  <a:pt x="1612" y="619"/>
                  <a:pt x="1612" y="619"/>
                  <a:pt x="1611" y="619"/>
                </a:cubicBezTo>
                <a:cubicBezTo>
                  <a:pt x="1611" y="619"/>
                  <a:pt x="1611" y="619"/>
                  <a:pt x="1611" y="619"/>
                </a:cubicBezTo>
                <a:cubicBezTo>
                  <a:pt x="1611" y="619"/>
                  <a:pt x="1611" y="618"/>
                  <a:pt x="1611" y="618"/>
                </a:cubicBezTo>
                <a:cubicBezTo>
                  <a:pt x="1611" y="618"/>
                  <a:pt x="1611" y="618"/>
                  <a:pt x="1611" y="618"/>
                </a:cubicBezTo>
                <a:cubicBezTo>
                  <a:pt x="1611" y="617"/>
                  <a:pt x="1611" y="617"/>
                  <a:pt x="1611" y="617"/>
                </a:cubicBezTo>
                <a:cubicBezTo>
                  <a:pt x="1611" y="617"/>
                  <a:pt x="1611" y="617"/>
                  <a:pt x="1610" y="617"/>
                </a:cubicBezTo>
                <a:cubicBezTo>
                  <a:pt x="1610" y="617"/>
                  <a:pt x="1610" y="618"/>
                  <a:pt x="1610" y="618"/>
                </a:cubicBezTo>
                <a:cubicBezTo>
                  <a:pt x="1610" y="618"/>
                  <a:pt x="1610" y="618"/>
                  <a:pt x="1609" y="618"/>
                </a:cubicBezTo>
                <a:cubicBezTo>
                  <a:pt x="1609" y="618"/>
                  <a:pt x="1609" y="617"/>
                  <a:pt x="1609" y="617"/>
                </a:cubicBezTo>
                <a:cubicBezTo>
                  <a:pt x="1608" y="617"/>
                  <a:pt x="1608" y="617"/>
                  <a:pt x="1607" y="617"/>
                </a:cubicBezTo>
                <a:cubicBezTo>
                  <a:pt x="1607" y="617"/>
                  <a:pt x="1607" y="617"/>
                  <a:pt x="1607" y="617"/>
                </a:cubicBezTo>
                <a:cubicBezTo>
                  <a:pt x="1606" y="617"/>
                  <a:pt x="1606" y="616"/>
                  <a:pt x="1606" y="616"/>
                </a:cubicBezTo>
                <a:cubicBezTo>
                  <a:pt x="1606" y="616"/>
                  <a:pt x="1606" y="616"/>
                  <a:pt x="1605" y="616"/>
                </a:cubicBezTo>
                <a:cubicBezTo>
                  <a:pt x="1605" y="616"/>
                  <a:pt x="1605" y="616"/>
                  <a:pt x="1604" y="616"/>
                </a:cubicBezTo>
                <a:cubicBezTo>
                  <a:pt x="1604" y="615"/>
                  <a:pt x="1604" y="615"/>
                  <a:pt x="1603" y="615"/>
                </a:cubicBezTo>
                <a:cubicBezTo>
                  <a:pt x="1603" y="615"/>
                  <a:pt x="1603" y="615"/>
                  <a:pt x="1602" y="615"/>
                </a:cubicBezTo>
                <a:cubicBezTo>
                  <a:pt x="1603" y="616"/>
                  <a:pt x="1603" y="616"/>
                  <a:pt x="1603" y="616"/>
                </a:cubicBezTo>
                <a:cubicBezTo>
                  <a:pt x="1603" y="617"/>
                  <a:pt x="1603" y="617"/>
                  <a:pt x="1604" y="617"/>
                </a:cubicBezTo>
                <a:cubicBezTo>
                  <a:pt x="1604" y="617"/>
                  <a:pt x="1604" y="618"/>
                  <a:pt x="1605" y="618"/>
                </a:cubicBezTo>
                <a:cubicBezTo>
                  <a:pt x="1605" y="619"/>
                  <a:pt x="1605" y="619"/>
                  <a:pt x="1605" y="619"/>
                </a:cubicBezTo>
                <a:cubicBezTo>
                  <a:pt x="1605" y="619"/>
                  <a:pt x="1605" y="619"/>
                  <a:pt x="1605" y="619"/>
                </a:cubicBezTo>
                <a:cubicBezTo>
                  <a:pt x="1606" y="619"/>
                  <a:pt x="1606" y="619"/>
                  <a:pt x="1607" y="620"/>
                </a:cubicBezTo>
                <a:cubicBezTo>
                  <a:pt x="1607" y="620"/>
                  <a:pt x="1607" y="620"/>
                  <a:pt x="1607" y="620"/>
                </a:cubicBezTo>
                <a:cubicBezTo>
                  <a:pt x="1607" y="621"/>
                  <a:pt x="1608" y="621"/>
                  <a:pt x="1608" y="621"/>
                </a:cubicBezTo>
                <a:cubicBezTo>
                  <a:pt x="1608" y="621"/>
                  <a:pt x="1609" y="621"/>
                  <a:pt x="1609" y="621"/>
                </a:cubicBezTo>
                <a:cubicBezTo>
                  <a:pt x="1609" y="621"/>
                  <a:pt x="1610" y="622"/>
                  <a:pt x="1611" y="622"/>
                </a:cubicBezTo>
                <a:cubicBezTo>
                  <a:pt x="1611" y="622"/>
                  <a:pt x="1611" y="622"/>
                  <a:pt x="1611" y="622"/>
                </a:cubicBezTo>
                <a:cubicBezTo>
                  <a:pt x="1612" y="622"/>
                  <a:pt x="1612" y="622"/>
                  <a:pt x="1612" y="622"/>
                </a:cubicBezTo>
                <a:cubicBezTo>
                  <a:pt x="1612" y="623"/>
                  <a:pt x="1613" y="623"/>
                  <a:pt x="1613" y="623"/>
                </a:cubicBezTo>
                <a:cubicBezTo>
                  <a:pt x="1613" y="623"/>
                  <a:pt x="1613" y="623"/>
                  <a:pt x="1614" y="623"/>
                </a:cubicBezTo>
                <a:cubicBezTo>
                  <a:pt x="1614" y="623"/>
                  <a:pt x="1614" y="623"/>
                  <a:pt x="1614" y="623"/>
                </a:cubicBezTo>
                <a:cubicBezTo>
                  <a:pt x="1614" y="623"/>
                  <a:pt x="1615" y="623"/>
                  <a:pt x="1615" y="623"/>
                </a:cubicBezTo>
                <a:cubicBezTo>
                  <a:pt x="1616" y="623"/>
                  <a:pt x="1616" y="623"/>
                  <a:pt x="1617" y="622"/>
                </a:cubicBezTo>
                <a:cubicBezTo>
                  <a:pt x="1617" y="622"/>
                  <a:pt x="1617" y="622"/>
                  <a:pt x="1617" y="622"/>
                </a:cubicBezTo>
                <a:cubicBezTo>
                  <a:pt x="1618" y="622"/>
                  <a:pt x="1618" y="622"/>
                  <a:pt x="1618" y="622"/>
                </a:cubicBezTo>
                <a:cubicBezTo>
                  <a:pt x="1618" y="622"/>
                  <a:pt x="1618" y="622"/>
                  <a:pt x="1619" y="623"/>
                </a:cubicBezTo>
                <a:cubicBezTo>
                  <a:pt x="1619" y="623"/>
                  <a:pt x="1619" y="623"/>
                  <a:pt x="1620" y="623"/>
                </a:cubicBezTo>
                <a:cubicBezTo>
                  <a:pt x="1620" y="623"/>
                  <a:pt x="1620" y="623"/>
                  <a:pt x="1621" y="622"/>
                </a:cubicBezTo>
                <a:cubicBezTo>
                  <a:pt x="1620" y="622"/>
                  <a:pt x="1620" y="622"/>
                  <a:pt x="1620" y="621"/>
                </a:cubicBezTo>
                <a:cubicBezTo>
                  <a:pt x="1620" y="621"/>
                  <a:pt x="1620" y="621"/>
                  <a:pt x="1620" y="621"/>
                </a:cubicBezTo>
                <a:cubicBezTo>
                  <a:pt x="1620" y="621"/>
                  <a:pt x="1621" y="621"/>
                  <a:pt x="1621" y="621"/>
                </a:cubicBezTo>
                <a:close/>
                <a:moveTo>
                  <a:pt x="1576" y="617"/>
                </a:moveTo>
                <a:cubicBezTo>
                  <a:pt x="1576" y="617"/>
                  <a:pt x="1575" y="616"/>
                  <a:pt x="1575" y="616"/>
                </a:cubicBezTo>
                <a:cubicBezTo>
                  <a:pt x="1575" y="616"/>
                  <a:pt x="1576" y="617"/>
                  <a:pt x="1576" y="618"/>
                </a:cubicBezTo>
                <a:cubicBezTo>
                  <a:pt x="1576" y="617"/>
                  <a:pt x="1576" y="617"/>
                  <a:pt x="1576" y="617"/>
                </a:cubicBezTo>
                <a:close/>
                <a:moveTo>
                  <a:pt x="1579" y="615"/>
                </a:moveTo>
                <a:cubicBezTo>
                  <a:pt x="1579" y="614"/>
                  <a:pt x="1579" y="614"/>
                  <a:pt x="1579" y="614"/>
                </a:cubicBezTo>
                <a:cubicBezTo>
                  <a:pt x="1579" y="614"/>
                  <a:pt x="1579" y="615"/>
                  <a:pt x="1579" y="615"/>
                </a:cubicBezTo>
                <a:cubicBezTo>
                  <a:pt x="1579" y="615"/>
                  <a:pt x="1579" y="615"/>
                  <a:pt x="1579" y="615"/>
                </a:cubicBezTo>
                <a:cubicBezTo>
                  <a:pt x="1579" y="615"/>
                  <a:pt x="1579" y="615"/>
                  <a:pt x="1579" y="615"/>
                </a:cubicBezTo>
                <a:close/>
                <a:moveTo>
                  <a:pt x="1575" y="616"/>
                </a:moveTo>
                <a:cubicBezTo>
                  <a:pt x="1575" y="616"/>
                  <a:pt x="1575" y="616"/>
                  <a:pt x="1576" y="616"/>
                </a:cubicBezTo>
                <a:cubicBezTo>
                  <a:pt x="1576" y="616"/>
                  <a:pt x="1576" y="616"/>
                  <a:pt x="1576" y="616"/>
                </a:cubicBezTo>
                <a:cubicBezTo>
                  <a:pt x="1576" y="616"/>
                  <a:pt x="1575" y="616"/>
                  <a:pt x="1575" y="616"/>
                </a:cubicBezTo>
                <a:close/>
                <a:moveTo>
                  <a:pt x="1582" y="615"/>
                </a:moveTo>
                <a:cubicBezTo>
                  <a:pt x="1582" y="615"/>
                  <a:pt x="1582" y="615"/>
                  <a:pt x="1582" y="615"/>
                </a:cubicBezTo>
                <a:cubicBezTo>
                  <a:pt x="1581" y="615"/>
                  <a:pt x="1581" y="615"/>
                  <a:pt x="1581" y="615"/>
                </a:cubicBezTo>
                <a:cubicBezTo>
                  <a:pt x="1581" y="615"/>
                  <a:pt x="1581" y="615"/>
                  <a:pt x="1581" y="615"/>
                </a:cubicBezTo>
                <a:cubicBezTo>
                  <a:pt x="1581" y="615"/>
                  <a:pt x="1581" y="615"/>
                  <a:pt x="1582" y="615"/>
                </a:cubicBezTo>
                <a:close/>
                <a:moveTo>
                  <a:pt x="1578" y="615"/>
                </a:moveTo>
                <a:cubicBezTo>
                  <a:pt x="1578" y="615"/>
                  <a:pt x="1579" y="614"/>
                  <a:pt x="1579" y="614"/>
                </a:cubicBezTo>
                <a:cubicBezTo>
                  <a:pt x="1578" y="614"/>
                  <a:pt x="1578" y="614"/>
                  <a:pt x="1578" y="614"/>
                </a:cubicBezTo>
                <a:cubicBezTo>
                  <a:pt x="1578" y="614"/>
                  <a:pt x="1578" y="614"/>
                  <a:pt x="1578" y="615"/>
                </a:cubicBezTo>
                <a:cubicBezTo>
                  <a:pt x="1578" y="615"/>
                  <a:pt x="1578" y="615"/>
                  <a:pt x="1578" y="615"/>
                </a:cubicBezTo>
                <a:cubicBezTo>
                  <a:pt x="1578" y="615"/>
                  <a:pt x="1578" y="615"/>
                  <a:pt x="1578" y="615"/>
                </a:cubicBezTo>
                <a:cubicBezTo>
                  <a:pt x="1578" y="615"/>
                  <a:pt x="1578" y="615"/>
                  <a:pt x="1578" y="615"/>
                </a:cubicBezTo>
                <a:close/>
                <a:moveTo>
                  <a:pt x="1576" y="617"/>
                </a:moveTo>
                <a:cubicBezTo>
                  <a:pt x="1576" y="617"/>
                  <a:pt x="1576" y="617"/>
                  <a:pt x="1576" y="617"/>
                </a:cubicBezTo>
                <a:cubicBezTo>
                  <a:pt x="1576" y="617"/>
                  <a:pt x="1576" y="617"/>
                  <a:pt x="1576" y="617"/>
                </a:cubicBezTo>
                <a:cubicBezTo>
                  <a:pt x="1576" y="617"/>
                  <a:pt x="1576" y="617"/>
                  <a:pt x="1576" y="617"/>
                </a:cubicBezTo>
                <a:close/>
                <a:moveTo>
                  <a:pt x="1577" y="615"/>
                </a:moveTo>
                <a:cubicBezTo>
                  <a:pt x="1577" y="615"/>
                  <a:pt x="1577" y="615"/>
                  <a:pt x="1577" y="615"/>
                </a:cubicBezTo>
                <a:cubicBezTo>
                  <a:pt x="1577" y="615"/>
                  <a:pt x="1577" y="615"/>
                  <a:pt x="1577" y="615"/>
                </a:cubicBezTo>
                <a:cubicBezTo>
                  <a:pt x="1577" y="615"/>
                  <a:pt x="1577" y="615"/>
                  <a:pt x="1577" y="615"/>
                </a:cubicBezTo>
                <a:cubicBezTo>
                  <a:pt x="1577" y="615"/>
                  <a:pt x="1577" y="615"/>
                  <a:pt x="1577" y="615"/>
                </a:cubicBezTo>
                <a:close/>
                <a:moveTo>
                  <a:pt x="1578" y="616"/>
                </a:moveTo>
                <a:cubicBezTo>
                  <a:pt x="1577" y="616"/>
                  <a:pt x="1577" y="616"/>
                  <a:pt x="1577" y="616"/>
                </a:cubicBezTo>
                <a:cubicBezTo>
                  <a:pt x="1577" y="616"/>
                  <a:pt x="1577" y="616"/>
                  <a:pt x="1576" y="616"/>
                </a:cubicBezTo>
                <a:cubicBezTo>
                  <a:pt x="1576" y="616"/>
                  <a:pt x="1577" y="616"/>
                  <a:pt x="1577" y="616"/>
                </a:cubicBezTo>
                <a:cubicBezTo>
                  <a:pt x="1577" y="616"/>
                  <a:pt x="1578" y="616"/>
                  <a:pt x="1578" y="616"/>
                </a:cubicBezTo>
                <a:close/>
                <a:moveTo>
                  <a:pt x="1582" y="615"/>
                </a:moveTo>
                <a:cubicBezTo>
                  <a:pt x="1582" y="615"/>
                  <a:pt x="1582" y="615"/>
                  <a:pt x="1582" y="616"/>
                </a:cubicBezTo>
                <a:cubicBezTo>
                  <a:pt x="1582" y="615"/>
                  <a:pt x="1582" y="615"/>
                  <a:pt x="1582" y="615"/>
                </a:cubicBezTo>
                <a:cubicBezTo>
                  <a:pt x="1582" y="615"/>
                  <a:pt x="1582" y="615"/>
                  <a:pt x="1583" y="615"/>
                </a:cubicBezTo>
                <a:cubicBezTo>
                  <a:pt x="1582" y="615"/>
                  <a:pt x="1582" y="615"/>
                  <a:pt x="1582" y="615"/>
                </a:cubicBezTo>
                <a:cubicBezTo>
                  <a:pt x="1582" y="615"/>
                  <a:pt x="1582" y="615"/>
                  <a:pt x="1582" y="615"/>
                </a:cubicBezTo>
                <a:close/>
                <a:moveTo>
                  <a:pt x="1583" y="615"/>
                </a:moveTo>
                <a:cubicBezTo>
                  <a:pt x="1583" y="615"/>
                  <a:pt x="1583" y="615"/>
                  <a:pt x="1582" y="615"/>
                </a:cubicBezTo>
                <a:cubicBezTo>
                  <a:pt x="1582" y="615"/>
                  <a:pt x="1582" y="616"/>
                  <a:pt x="1582" y="616"/>
                </a:cubicBezTo>
                <a:cubicBezTo>
                  <a:pt x="1583" y="616"/>
                  <a:pt x="1583" y="616"/>
                  <a:pt x="1583" y="615"/>
                </a:cubicBezTo>
                <a:close/>
                <a:moveTo>
                  <a:pt x="1524" y="514"/>
                </a:moveTo>
                <a:cubicBezTo>
                  <a:pt x="1524" y="514"/>
                  <a:pt x="1524" y="514"/>
                  <a:pt x="1524" y="514"/>
                </a:cubicBezTo>
                <a:cubicBezTo>
                  <a:pt x="1524" y="514"/>
                  <a:pt x="1524" y="514"/>
                  <a:pt x="1524" y="514"/>
                </a:cubicBezTo>
                <a:cubicBezTo>
                  <a:pt x="1524" y="514"/>
                  <a:pt x="1524" y="514"/>
                  <a:pt x="1524" y="514"/>
                </a:cubicBezTo>
                <a:cubicBezTo>
                  <a:pt x="1524" y="514"/>
                  <a:pt x="1524" y="514"/>
                  <a:pt x="1524" y="514"/>
                </a:cubicBezTo>
                <a:close/>
                <a:moveTo>
                  <a:pt x="1495" y="505"/>
                </a:moveTo>
                <a:cubicBezTo>
                  <a:pt x="1495" y="505"/>
                  <a:pt x="1495" y="505"/>
                  <a:pt x="1495" y="505"/>
                </a:cubicBezTo>
                <a:cubicBezTo>
                  <a:pt x="1495" y="505"/>
                  <a:pt x="1495" y="505"/>
                  <a:pt x="1494" y="505"/>
                </a:cubicBezTo>
                <a:cubicBezTo>
                  <a:pt x="1494" y="505"/>
                  <a:pt x="1494" y="505"/>
                  <a:pt x="1494" y="505"/>
                </a:cubicBezTo>
                <a:cubicBezTo>
                  <a:pt x="1494" y="505"/>
                  <a:pt x="1494" y="505"/>
                  <a:pt x="1495" y="505"/>
                </a:cubicBezTo>
                <a:cubicBezTo>
                  <a:pt x="1495" y="506"/>
                  <a:pt x="1495" y="506"/>
                  <a:pt x="1495" y="506"/>
                </a:cubicBezTo>
                <a:cubicBezTo>
                  <a:pt x="1495" y="506"/>
                  <a:pt x="1496" y="505"/>
                  <a:pt x="1496" y="505"/>
                </a:cubicBezTo>
                <a:cubicBezTo>
                  <a:pt x="1495" y="505"/>
                  <a:pt x="1495" y="505"/>
                  <a:pt x="1495" y="505"/>
                </a:cubicBezTo>
                <a:cubicBezTo>
                  <a:pt x="1495" y="505"/>
                  <a:pt x="1495" y="505"/>
                  <a:pt x="1495" y="505"/>
                </a:cubicBezTo>
                <a:close/>
                <a:moveTo>
                  <a:pt x="1510" y="522"/>
                </a:moveTo>
                <a:cubicBezTo>
                  <a:pt x="1510" y="522"/>
                  <a:pt x="1510" y="523"/>
                  <a:pt x="1510" y="523"/>
                </a:cubicBezTo>
                <a:cubicBezTo>
                  <a:pt x="1511" y="523"/>
                  <a:pt x="1511" y="523"/>
                  <a:pt x="1511" y="523"/>
                </a:cubicBezTo>
                <a:cubicBezTo>
                  <a:pt x="1511" y="524"/>
                  <a:pt x="1512" y="524"/>
                  <a:pt x="1512" y="524"/>
                </a:cubicBezTo>
                <a:cubicBezTo>
                  <a:pt x="1512" y="524"/>
                  <a:pt x="1512" y="525"/>
                  <a:pt x="1512" y="525"/>
                </a:cubicBezTo>
                <a:cubicBezTo>
                  <a:pt x="1512" y="525"/>
                  <a:pt x="1512" y="525"/>
                  <a:pt x="1512" y="526"/>
                </a:cubicBezTo>
                <a:cubicBezTo>
                  <a:pt x="1512" y="525"/>
                  <a:pt x="1512" y="525"/>
                  <a:pt x="1511" y="525"/>
                </a:cubicBezTo>
                <a:cubicBezTo>
                  <a:pt x="1511" y="525"/>
                  <a:pt x="1511" y="525"/>
                  <a:pt x="1511" y="525"/>
                </a:cubicBezTo>
                <a:cubicBezTo>
                  <a:pt x="1511" y="525"/>
                  <a:pt x="1511" y="525"/>
                  <a:pt x="1511" y="525"/>
                </a:cubicBezTo>
                <a:cubicBezTo>
                  <a:pt x="1511" y="526"/>
                  <a:pt x="1511" y="526"/>
                  <a:pt x="1510" y="526"/>
                </a:cubicBezTo>
                <a:cubicBezTo>
                  <a:pt x="1510" y="526"/>
                  <a:pt x="1511" y="526"/>
                  <a:pt x="1511" y="526"/>
                </a:cubicBezTo>
                <a:cubicBezTo>
                  <a:pt x="1511" y="526"/>
                  <a:pt x="1511" y="527"/>
                  <a:pt x="1511" y="527"/>
                </a:cubicBezTo>
                <a:cubicBezTo>
                  <a:pt x="1510" y="527"/>
                  <a:pt x="1510" y="527"/>
                  <a:pt x="1510" y="527"/>
                </a:cubicBezTo>
                <a:cubicBezTo>
                  <a:pt x="1510" y="528"/>
                  <a:pt x="1510" y="528"/>
                  <a:pt x="1511" y="528"/>
                </a:cubicBezTo>
                <a:cubicBezTo>
                  <a:pt x="1511" y="528"/>
                  <a:pt x="1511" y="529"/>
                  <a:pt x="1511" y="529"/>
                </a:cubicBezTo>
                <a:cubicBezTo>
                  <a:pt x="1511" y="529"/>
                  <a:pt x="1511" y="529"/>
                  <a:pt x="1511" y="530"/>
                </a:cubicBezTo>
                <a:cubicBezTo>
                  <a:pt x="1511" y="530"/>
                  <a:pt x="1512" y="530"/>
                  <a:pt x="1512" y="530"/>
                </a:cubicBezTo>
                <a:cubicBezTo>
                  <a:pt x="1512" y="530"/>
                  <a:pt x="1513" y="531"/>
                  <a:pt x="1513" y="531"/>
                </a:cubicBezTo>
                <a:cubicBezTo>
                  <a:pt x="1513" y="531"/>
                  <a:pt x="1513" y="531"/>
                  <a:pt x="1514" y="532"/>
                </a:cubicBezTo>
                <a:cubicBezTo>
                  <a:pt x="1514" y="532"/>
                  <a:pt x="1514" y="532"/>
                  <a:pt x="1514" y="532"/>
                </a:cubicBezTo>
                <a:cubicBezTo>
                  <a:pt x="1515" y="532"/>
                  <a:pt x="1515" y="531"/>
                  <a:pt x="1515" y="531"/>
                </a:cubicBezTo>
                <a:cubicBezTo>
                  <a:pt x="1515" y="531"/>
                  <a:pt x="1515" y="531"/>
                  <a:pt x="1515" y="531"/>
                </a:cubicBezTo>
                <a:cubicBezTo>
                  <a:pt x="1515" y="531"/>
                  <a:pt x="1515" y="531"/>
                  <a:pt x="1516" y="532"/>
                </a:cubicBezTo>
                <a:cubicBezTo>
                  <a:pt x="1515" y="532"/>
                  <a:pt x="1515" y="532"/>
                  <a:pt x="1515" y="532"/>
                </a:cubicBezTo>
                <a:cubicBezTo>
                  <a:pt x="1515" y="532"/>
                  <a:pt x="1515" y="532"/>
                  <a:pt x="1515" y="533"/>
                </a:cubicBezTo>
                <a:cubicBezTo>
                  <a:pt x="1515" y="533"/>
                  <a:pt x="1515" y="533"/>
                  <a:pt x="1515" y="533"/>
                </a:cubicBezTo>
                <a:cubicBezTo>
                  <a:pt x="1516" y="533"/>
                  <a:pt x="1516" y="533"/>
                  <a:pt x="1516" y="533"/>
                </a:cubicBezTo>
                <a:cubicBezTo>
                  <a:pt x="1517" y="533"/>
                  <a:pt x="1517" y="532"/>
                  <a:pt x="1518" y="532"/>
                </a:cubicBezTo>
                <a:cubicBezTo>
                  <a:pt x="1518" y="532"/>
                  <a:pt x="1518" y="532"/>
                  <a:pt x="1518" y="531"/>
                </a:cubicBezTo>
                <a:cubicBezTo>
                  <a:pt x="1518" y="531"/>
                  <a:pt x="1518" y="531"/>
                  <a:pt x="1518" y="531"/>
                </a:cubicBezTo>
                <a:cubicBezTo>
                  <a:pt x="1518" y="531"/>
                  <a:pt x="1518" y="530"/>
                  <a:pt x="1518" y="530"/>
                </a:cubicBezTo>
                <a:cubicBezTo>
                  <a:pt x="1518" y="530"/>
                  <a:pt x="1517" y="529"/>
                  <a:pt x="1517" y="529"/>
                </a:cubicBezTo>
                <a:cubicBezTo>
                  <a:pt x="1517" y="529"/>
                  <a:pt x="1517" y="529"/>
                  <a:pt x="1518" y="529"/>
                </a:cubicBezTo>
                <a:cubicBezTo>
                  <a:pt x="1518" y="528"/>
                  <a:pt x="1519" y="528"/>
                  <a:pt x="1519" y="528"/>
                </a:cubicBezTo>
                <a:cubicBezTo>
                  <a:pt x="1520" y="527"/>
                  <a:pt x="1520" y="527"/>
                  <a:pt x="1520" y="527"/>
                </a:cubicBezTo>
                <a:cubicBezTo>
                  <a:pt x="1520" y="528"/>
                  <a:pt x="1520" y="528"/>
                  <a:pt x="1520" y="528"/>
                </a:cubicBezTo>
                <a:cubicBezTo>
                  <a:pt x="1520" y="529"/>
                  <a:pt x="1520" y="529"/>
                  <a:pt x="1520" y="529"/>
                </a:cubicBezTo>
                <a:cubicBezTo>
                  <a:pt x="1520" y="529"/>
                  <a:pt x="1520" y="530"/>
                  <a:pt x="1521" y="530"/>
                </a:cubicBezTo>
                <a:cubicBezTo>
                  <a:pt x="1520" y="530"/>
                  <a:pt x="1520" y="530"/>
                  <a:pt x="1520" y="530"/>
                </a:cubicBezTo>
                <a:cubicBezTo>
                  <a:pt x="1520" y="531"/>
                  <a:pt x="1520" y="531"/>
                  <a:pt x="1520" y="532"/>
                </a:cubicBezTo>
                <a:cubicBezTo>
                  <a:pt x="1520" y="532"/>
                  <a:pt x="1520" y="532"/>
                  <a:pt x="1520" y="532"/>
                </a:cubicBezTo>
                <a:cubicBezTo>
                  <a:pt x="1520" y="532"/>
                  <a:pt x="1521" y="532"/>
                  <a:pt x="1521" y="532"/>
                </a:cubicBezTo>
                <a:cubicBezTo>
                  <a:pt x="1521" y="532"/>
                  <a:pt x="1521" y="531"/>
                  <a:pt x="1521" y="531"/>
                </a:cubicBezTo>
                <a:cubicBezTo>
                  <a:pt x="1521" y="531"/>
                  <a:pt x="1521" y="530"/>
                  <a:pt x="1521" y="530"/>
                </a:cubicBezTo>
                <a:cubicBezTo>
                  <a:pt x="1521" y="530"/>
                  <a:pt x="1521" y="530"/>
                  <a:pt x="1521" y="530"/>
                </a:cubicBezTo>
                <a:cubicBezTo>
                  <a:pt x="1522" y="530"/>
                  <a:pt x="1522" y="530"/>
                  <a:pt x="1522" y="530"/>
                </a:cubicBezTo>
                <a:cubicBezTo>
                  <a:pt x="1522" y="530"/>
                  <a:pt x="1522" y="530"/>
                  <a:pt x="1522" y="530"/>
                </a:cubicBezTo>
                <a:cubicBezTo>
                  <a:pt x="1522" y="530"/>
                  <a:pt x="1522" y="530"/>
                  <a:pt x="1522" y="530"/>
                </a:cubicBezTo>
                <a:cubicBezTo>
                  <a:pt x="1522" y="530"/>
                  <a:pt x="1523" y="530"/>
                  <a:pt x="1523" y="530"/>
                </a:cubicBezTo>
                <a:cubicBezTo>
                  <a:pt x="1523" y="530"/>
                  <a:pt x="1523" y="530"/>
                  <a:pt x="1523" y="529"/>
                </a:cubicBezTo>
                <a:cubicBezTo>
                  <a:pt x="1524" y="529"/>
                  <a:pt x="1524" y="528"/>
                  <a:pt x="1524" y="528"/>
                </a:cubicBezTo>
                <a:cubicBezTo>
                  <a:pt x="1524" y="528"/>
                  <a:pt x="1524" y="528"/>
                  <a:pt x="1523" y="527"/>
                </a:cubicBezTo>
                <a:cubicBezTo>
                  <a:pt x="1523" y="527"/>
                  <a:pt x="1523" y="527"/>
                  <a:pt x="1523" y="526"/>
                </a:cubicBezTo>
                <a:cubicBezTo>
                  <a:pt x="1523" y="526"/>
                  <a:pt x="1523" y="526"/>
                  <a:pt x="1524" y="526"/>
                </a:cubicBezTo>
                <a:cubicBezTo>
                  <a:pt x="1524" y="525"/>
                  <a:pt x="1524" y="525"/>
                  <a:pt x="1524" y="525"/>
                </a:cubicBezTo>
                <a:cubicBezTo>
                  <a:pt x="1524" y="525"/>
                  <a:pt x="1523" y="525"/>
                  <a:pt x="1523" y="525"/>
                </a:cubicBezTo>
                <a:cubicBezTo>
                  <a:pt x="1523" y="525"/>
                  <a:pt x="1523" y="525"/>
                  <a:pt x="1524" y="524"/>
                </a:cubicBezTo>
                <a:cubicBezTo>
                  <a:pt x="1524" y="524"/>
                  <a:pt x="1524" y="524"/>
                  <a:pt x="1524" y="524"/>
                </a:cubicBezTo>
                <a:cubicBezTo>
                  <a:pt x="1524" y="524"/>
                  <a:pt x="1523" y="524"/>
                  <a:pt x="1523" y="524"/>
                </a:cubicBezTo>
                <a:cubicBezTo>
                  <a:pt x="1523" y="523"/>
                  <a:pt x="1523" y="523"/>
                  <a:pt x="1523" y="523"/>
                </a:cubicBezTo>
                <a:cubicBezTo>
                  <a:pt x="1523" y="523"/>
                  <a:pt x="1523" y="523"/>
                  <a:pt x="1523" y="523"/>
                </a:cubicBezTo>
                <a:cubicBezTo>
                  <a:pt x="1524" y="523"/>
                  <a:pt x="1524" y="523"/>
                  <a:pt x="1524" y="523"/>
                </a:cubicBezTo>
                <a:cubicBezTo>
                  <a:pt x="1524" y="523"/>
                  <a:pt x="1524" y="522"/>
                  <a:pt x="1524" y="522"/>
                </a:cubicBezTo>
                <a:cubicBezTo>
                  <a:pt x="1524" y="522"/>
                  <a:pt x="1524" y="521"/>
                  <a:pt x="1524" y="521"/>
                </a:cubicBezTo>
                <a:cubicBezTo>
                  <a:pt x="1524" y="521"/>
                  <a:pt x="1524" y="521"/>
                  <a:pt x="1524" y="521"/>
                </a:cubicBezTo>
                <a:cubicBezTo>
                  <a:pt x="1524" y="521"/>
                  <a:pt x="1524" y="521"/>
                  <a:pt x="1523" y="521"/>
                </a:cubicBezTo>
                <a:cubicBezTo>
                  <a:pt x="1523" y="520"/>
                  <a:pt x="1523" y="520"/>
                  <a:pt x="1523" y="520"/>
                </a:cubicBezTo>
                <a:cubicBezTo>
                  <a:pt x="1522" y="519"/>
                  <a:pt x="1522" y="519"/>
                  <a:pt x="1522" y="519"/>
                </a:cubicBezTo>
                <a:cubicBezTo>
                  <a:pt x="1522" y="518"/>
                  <a:pt x="1522" y="518"/>
                  <a:pt x="1522" y="518"/>
                </a:cubicBezTo>
                <a:cubicBezTo>
                  <a:pt x="1522" y="518"/>
                  <a:pt x="1522" y="518"/>
                  <a:pt x="1521" y="518"/>
                </a:cubicBezTo>
                <a:cubicBezTo>
                  <a:pt x="1521" y="518"/>
                  <a:pt x="1521" y="518"/>
                  <a:pt x="1521" y="517"/>
                </a:cubicBezTo>
                <a:cubicBezTo>
                  <a:pt x="1521" y="518"/>
                  <a:pt x="1521" y="518"/>
                  <a:pt x="1520" y="518"/>
                </a:cubicBezTo>
                <a:cubicBezTo>
                  <a:pt x="1520" y="519"/>
                  <a:pt x="1520" y="519"/>
                  <a:pt x="1520" y="520"/>
                </a:cubicBezTo>
                <a:cubicBezTo>
                  <a:pt x="1520" y="520"/>
                  <a:pt x="1520" y="520"/>
                  <a:pt x="1520" y="520"/>
                </a:cubicBezTo>
                <a:cubicBezTo>
                  <a:pt x="1520" y="520"/>
                  <a:pt x="1520" y="520"/>
                  <a:pt x="1520" y="519"/>
                </a:cubicBezTo>
                <a:cubicBezTo>
                  <a:pt x="1519" y="519"/>
                  <a:pt x="1519" y="519"/>
                  <a:pt x="1519" y="519"/>
                </a:cubicBezTo>
                <a:cubicBezTo>
                  <a:pt x="1519" y="520"/>
                  <a:pt x="1519" y="520"/>
                  <a:pt x="1519" y="520"/>
                </a:cubicBezTo>
                <a:cubicBezTo>
                  <a:pt x="1519" y="520"/>
                  <a:pt x="1519" y="520"/>
                  <a:pt x="1518" y="520"/>
                </a:cubicBezTo>
                <a:cubicBezTo>
                  <a:pt x="1518" y="520"/>
                  <a:pt x="1518" y="520"/>
                  <a:pt x="1518" y="520"/>
                </a:cubicBezTo>
                <a:cubicBezTo>
                  <a:pt x="1518" y="520"/>
                  <a:pt x="1517" y="519"/>
                  <a:pt x="1517" y="519"/>
                </a:cubicBezTo>
                <a:cubicBezTo>
                  <a:pt x="1517" y="520"/>
                  <a:pt x="1516" y="520"/>
                  <a:pt x="1516" y="520"/>
                </a:cubicBezTo>
                <a:cubicBezTo>
                  <a:pt x="1516" y="521"/>
                  <a:pt x="1516" y="521"/>
                  <a:pt x="1516" y="521"/>
                </a:cubicBezTo>
                <a:cubicBezTo>
                  <a:pt x="1516" y="521"/>
                  <a:pt x="1516" y="521"/>
                  <a:pt x="1516" y="521"/>
                </a:cubicBezTo>
                <a:cubicBezTo>
                  <a:pt x="1516" y="521"/>
                  <a:pt x="1516" y="521"/>
                  <a:pt x="1515" y="521"/>
                </a:cubicBezTo>
                <a:cubicBezTo>
                  <a:pt x="1515" y="521"/>
                  <a:pt x="1515" y="521"/>
                  <a:pt x="1515" y="520"/>
                </a:cubicBezTo>
                <a:cubicBezTo>
                  <a:pt x="1515" y="520"/>
                  <a:pt x="1515" y="520"/>
                  <a:pt x="1514" y="520"/>
                </a:cubicBezTo>
                <a:cubicBezTo>
                  <a:pt x="1514" y="521"/>
                  <a:pt x="1514" y="521"/>
                  <a:pt x="1513" y="521"/>
                </a:cubicBezTo>
                <a:cubicBezTo>
                  <a:pt x="1513" y="521"/>
                  <a:pt x="1512" y="521"/>
                  <a:pt x="1512" y="521"/>
                </a:cubicBezTo>
                <a:cubicBezTo>
                  <a:pt x="1512" y="521"/>
                  <a:pt x="1511" y="521"/>
                  <a:pt x="1511" y="521"/>
                </a:cubicBezTo>
                <a:cubicBezTo>
                  <a:pt x="1511" y="521"/>
                  <a:pt x="1510" y="521"/>
                  <a:pt x="1510" y="521"/>
                </a:cubicBezTo>
                <a:cubicBezTo>
                  <a:pt x="1510" y="521"/>
                  <a:pt x="1511" y="521"/>
                  <a:pt x="1511" y="521"/>
                </a:cubicBezTo>
                <a:cubicBezTo>
                  <a:pt x="1511" y="520"/>
                  <a:pt x="1512" y="520"/>
                  <a:pt x="1512" y="519"/>
                </a:cubicBezTo>
                <a:cubicBezTo>
                  <a:pt x="1511" y="519"/>
                  <a:pt x="1511" y="519"/>
                  <a:pt x="1511" y="518"/>
                </a:cubicBezTo>
                <a:cubicBezTo>
                  <a:pt x="1511" y="518"/>
                  <a:pt x="1510" y="518"/>
                  <a:pt x="1510" y="518"/>
                </a:cubicBezTo>
                <a:cubicBezTo>
                  <a:pt x="1510" y="518"/>
                  <a:pt x="1510" y="518"/>
                  <a:pt x="1509" y="518"/>
                </a:cubicBezTo>
                <a:cubicBezTo>
                  <a:pt x="1509" y="518"/>
                  <a:pt x="1508" y="518"/>
                  <a:pt x="1508" y="518"/>
                </a:cubicBezTo>
                <a:cubicBezTo>
                  <a:pt x="1508" y="519"/>
                  <a:pt x="1508" y="519"/>
                  <a:pt x="1507" y="519"/>
                </a:cubicBezTo>
                <a:cubicBezTo>
                  <a:pt x="1507" y="519"/>
                  <a:pt x="1507" y="519"/>
                  <a:pt x="1508" y="520"/>
                </a:cubicBezTo>
                <a:cubicBezTo>
                  <a:pt x="1507" y="520"/>
                  <a:pt x="1507" y="519"/>
                  <a:pt x="1506" y="519"/>
                </a:cubicBezTo>
                <a:cubicBezTo>
                  <a:pt x="1506" y="519"/>
                  <a:pt x="1506" y="519"/>
                  <a:pt x="1505" y="519"/>
                </a:cubicBezTo>
                <a:cubicBezTo>
                  <a:pt x="1505" y="519"/>
                  <a:pt x="1505" y="519"/>
                  <a:pt x="1504" y="519"/>
                </a:cubicBezTo>
                <a:cubicBezTo>
                  <a:pt x="1504" y="519"/>
                  <a:pt x="1504" y="519"/>
                  <a:pt x="1503" y="519"/>
                </a:cubicBezTo>
                <a:cubicBezTo>
                  <a:pt x="1503" y="519"/>
                  <a:pt x="1503" y="519"/>
                  <a:pt x="1502" y="519"/>
                </a:cubicBezTo>
                <a:cubicBezTo>
                  <a:pt x="1502" y="520"/>
                  <a:pt x="1502" y="520"/>
                  <a:pt x="1502" y="520"/>
                </a:cubicBezTo>
                <a:cubicBezTo>
                  <a:pt x="1502" y="520"/>
                  <a:pt x="1502" y="521"/>
                  <a:pt x="1502" y="521"/>
                </a:cubicBezTo>
                <a:cubicBezTo>
                  <a:pt x="1501" y="521"/>
                  <a:pt x="1501" y="521"/>
                  <a:pt x="1501" y="522"/>
                </a:cubicBezTo>
                <a:cubicBezTo>
                  <a:pt x="1501" y="522"/>
                  <a:pt x="1501" y="522"/>
                  <a:pt x="1501" y="523"/>
                </a:cubicBezTo>
                <a:cubicBezTo>
                  <a:pt x="1502" y="523"/>
                  <a:pt x="1502" y="523"/>
                  <a:pt x="1502" y="522"/>
                </a:cubicBezTo>
                <a:cubicBezTo>
                  <a:pt x="1502" y="522"/>
                  <a:pt x="1503" y="522"/>
                  <a:pt x="1503" y="521"/>
                </a:cubicBezTo>
                <a:cubicBezTo>
                  <a:pt x="1504" y="521"/>
                  <a:pt x="1504" y="521"/>
                  <a:pt x="1504" y="521"/>
                </a:cubicBezTo>
                <a:cubicBezTo>
                  <a:pt x="1504" y="521"/>
                  <a:pt x="1505" y="521"/>
                  <a:pt x="1505" y="520"/>
                </a:cubicBezTo>
                <a:cubicBezTo>
                  <a:pt x="1505" y="520"/>
                  <a:pt x="1505" y="520"/>
                  <a:pt x="1505" y="520"/>
                </a:cubicBezTo>
                <a:cubicBezTo>
                  <a:pt x="1506" y="521"/>
                  <a:pt x="1506" y="521"/>
                  <a:pt x="1506" y="521"/>
                </a:cubicBezTo>
                <a:cubicBezTo>
                  <a:pt x="1506" y="521"/>
                  <a:pt x="1506" y="521"/>
                  <a:pt x="1505" y="522"/>
                </a:cubicBezTo>
                <a:cubicBezTo>
                  <a:pt x="1505" y="522"/>
                  <a:pt x="1506" y="522"/>
                  <a:pt x="1506" y="522"/>
                </a:cubicBezTo>
                <a:cubicBezTo>
                  <a:pt x="1506" y="522"/>
                  <a:pt x="1506" y="522"/>
                  <a:pt x="1506" y="522"/>
                </a:cubicBezTo>
                <a:cubicBezTo>
                  <a:pt x="1506" y="522"/>
                  <a:pt x="1506" y="522"/>
                  <a:pt x="1506" y="522"/>
                </a:cubicBezTo>
                <a:cubicBezTo>
                  <a:pt x="1507" y="522"/>
                  <a:pt x="1507" y="522"/>
                  <a:pt x="1507" y="522"/>
                </a:cubicBezTo>
                <a:cubicBezTo>
                  <a:pt x="1507" y="522"/>
                  <a:pt x="1507" y="522"/>
                  <a:pt x="1507" y="522"/>
                </a:cubicBezTo>
                <a:cubicBezTo>
                  <a:pt x="1507" y="522"/>
                  <a:pt x="1507" y="522"/>
                  <a:pt x="1508" y="522"/>
                </a:cubicBezTo>
                <a:cubicBezTo>
                  <a:pt x="1507" y="522"/>
                  <a:pt x="1507" y="522"/>
                  <a:pt x="1507" y="522"/>
                </a:cubicBezTo>
                <a:cubicBezTo>
                  <a:pt x="1507" y="522"/>
                  <a:pt x="1508" y="522"/>
                  <a:pt x="1508" y="522"/>
                </a:cubicBezTo>
                <a:cubicBezTo>
                  <a:pt x="1508" y="523"/>
                  <a:pt x="1508" y="523"/>
                  <a:pt x="1508" y="523"/>
                </a:cubicBezTo>
                <a:cubicBezTo>
                  <a:pt x="1508" y="523"/>
                  <a:pt x="1509" y="523"/>
                  <a:pt x="1509" y="523"/>
                </a:cubicBezTo>
                <a:cubicBezTo>
                  <a:pt x="1509" y="523"/>
                  <a:pt x="1508" y="523"/>
                  <a:pt x="1508" y="523"/>
                </a:cubicBezTo>
                <a:cubicBezTo>
                  <a:pt x="1509" y="523"/>
                  <a:pt x="1509" y="522"/>
                  <a:pt x="1509" y="522"/>
                </a:cubicBezTo>
                <a:cubicBezTo>
                  <a:pt x="1509" y="522"/>
                  <a:pt x="1509" y="522"/>
                  <a:pt x="1509" y="522"/>
                </a:cubicBezTo>
                <a:cubicBezTo>
                  <a:pt x="1509" y="522"/>
                  <a:pt x="1509" y="522"/>
                  <a:pt x="1509" y="522"/>
                </a:cubicBezTo>
                <a:cubicBezTo>
                  <a:pt x="1509" y="522"/>
                  <a:pt x="1510" y="522"/>
                  <a:pt x="1510" y="522"/>
                </a:cubicBezTo>
                <a:close/>
                <a:moveTo>
                  <a:pt x="1524" y="515"/>
                </a:moveTo>
                <a:cubicBezTo>
                  <a:pt x="1524" y="515"/>
                  <a:pt x="1523" y="514"/>
                  <a:pt x="1523" y="514"/>
                </a:cubicBezTo>
                <a:cubicBezTo>
                  <a:pt x="1523" y="514"/>
                  <a:pt x="1523" y="514"/>
                  <a:pt x="1523" y="515"/>
                </a:cubicBezTo>
                <a:cubicBezTo>
                  <a:pt x="1523" y="515"/>
                  <a:pt x="1523" y="515"/>
                  <a:pt x="1523" y="515"/>
                </a:cubicBezTo>
                <a:cubicBezTo>
                  <a:pt x="1524" y="515"/>
                  <a:pt x="1524" y="515"/>
                  <a:pt x="1524" y="515"/>
                </a:cubicBezTo>
                <a:close/>
                <a:moveTo>
                  <a:pt x="1496" y="500"/>
                </a:moveTo>
                <a:cubicBezTo>
                  <a:pt x="1496" y="500"/>
                  <a:pt x="1496" y="500"/>
                  <a:pt x="1496" y="501"/>
                </a:cubicBezTo>
                <a:cubicBezTo>
                  <a:pt x="1496" y="501"/>
                  <a:pt x="1496" y="501"/>
                  <a:pt x="1496" y="501"/>
                </a:cubicBezTo>
                <a:cubicBezTo>
                  <a:pt x="1496" y="501"/>
                  <a:pt x="1496" y="501"/>
                  <a:pt x="1496" y="501"/>
                </a:cubicBezTo>
                <a:cubicBezTo>
                  <a:pt x="1497" y="501"/>
                  <a:pt x="1497" y="501"/>
                  <a:pt x="1497" y="501"/>
                </a:cubicBezTo>
                <a:cubicBezTo>
                  <a:pt x="1497" y="500"/>
                  <a:pt x="1497" y="500"/>
                  <a:pt x="1497" y="500"/>
                </a:cubicBezTo>
                <a:cubicBezTo>
                  <a:pt x="1496" y="500"/>
                  <a:pt x="1496" y="500"/>
                  <a:pt x="1496" y="499"/>
                </a:cubicBezTo>
                <a:cubicBezTo>
                  <a:pt x="1496" y="500"/>
                  <a:pt x="1496" y="500"/>
                  <a:pt x="1496" y="500"/>
                </a:cubicBezTo>
                <a:close/>
                <a:moveTo>
                  <a:pt x="1510" y="473"/>
                </a:moveTo>
                <a:cubicBezTo>
                  <a:pt x="1510" y="473"/>
                  <a:pt x="1510" y="474"/>
                  <a:pt x="1510" y="474"/>
                </a:cubicBezTo>
                <a:cubicBezTo>
                  <a:pt x="1510" y="473"/>
                  <a:pt x="1510" y="473"/>
                  <a:pt x="1510" y="473"/>
                </a:cubicBezTo>
                <a:cubicBezTo>
                  <a:pt x="1510" y="473"/>
                  <a:pt x="1510" y="473"/>
                  <a:pt x="1510" y="473"/>
                </a:cubicBezTo>
                <a:close/>
                <a:moveTo>
                  <a:pt x="1506" y="506"/>
                </a:moveTo>
                <a:cubicBezTo>
                  <a:pt x="1506" y="506"/>
                  <a:pt x="1506" y="506"/>
                  <a:pt x="1506" y="507"/>
                </a:cubicBezTo>
                <a:cubicBezTo>
                  <a:pt x="1506" y="507"/>
                  <a:pt x="1506" y="507"/>
                  <a:pt x="1505" y="508"/>
                </a:cubicBezTo>
                <a:cubicBezTo>
                  <a:pt x="1505" y="508"/>
                  <a:pt x="1505" y="508"/>
                  <a:pt x="1505" y="509"/>
                </a:cubicBezTo>
                <a:cubicBezTo>
                  <a:pt x="1505" y="509"/>
                  <a:pt x="1506" y="509"/>
                  <a:pt x="1506" y="509"/>
                </a:cubicBezTo>
                <a:cubicBezTo>
                  <a:pt x="1506" y="509"/>
                  <a:pt x="1506" y="509"/>
                  <a:pt x="1506" y="509"/>
                </a:cubicBezTo>
                <a:cubicBezTo>
                  <a:pt x="1507" y="509"/>
                  <a:pt x="1507" y="509"/>
                  <a:pt x="1507" y="509"/>
                </a:cubicBezTo>
                <a:cubicBezTo>
                  <a:pt x="1508" y="509"/>
                  <a:pt x="1508" y="509"/>
                  <a:pt x="1508" y="509"/>
                </a:cubicBezTo>
                <a:cubicBezTo>
                  <a:pt x="1508" y="509"/>
                  <a:pt x="1508" y="509"/>
                  <a:pt x="1508" y="509"/>
                </a:cubicBezTo>
                <a:cubicBezTo>
                  <a:pt x="1508" y="509"/>
                  <a:pt x="1509" y="509"/>
                  <a:pt x="1509" y="509"/>
                </a:cubicBezTo>
                <a:cubicBezTo>
                  <a:pt x="1509" y="509"/>
                  <a:pt x="1509" y="509"/>
                  <a:pt x="1509" y="509"/>
                </a:cubicBezTo>
                <a:cubicBezTo>
                  <a:pt x="1510" y="508"/>
                  <a:pt x="1510" y="508"/>
                  <a:pt x="1511" y="508"/>
                </a:cubicBezTo>
                <a:cubicBezTo>
                  <a:pt x="1511" y="508"/>
                  <a:pt x="1511" y="508"/>
                  <a:pt x="1511" y="508"/>
                </a:cubicBezTo>
                <a:cubicBezTo>
                  <a:pt x="1512" y="508"/>
                  <a:pt x="1512" y="508"/>
                  <a:pt x="1512" y="508"/>
                </a:cubicBezTo>
                <a:cubicBezTo>
                  <a:pt x="1512" y="507"/>
                  <a:pt x="1512" y="507"/>
                  <a:pt x="1512" y="507"/>
                </a:cubicBezTo>
                <a:cubicBezTo>
                  <a:pt x="1512" y="507"/>
                  <a:pt x="1512" y="507"/>
                  <a:pt x="1512" y="506"/>
                </a:cubicBezTo>
                <a:cubicBezTo>
                  <a:pt x="1512" y="506"/>
                  <a:pt x="1512" y="506"/>
                  <a:pt x="1512" y="506"/>
                </a:cubicBezTo>
                <a:cubicBezTo>
                  <a:pt x="1511" y="507"/>
                  <a:pt x="1511" y="507"/>
                  <a:pt x="1511" y="507"/>
                </a:cubicBezTo>
                <a:cubicBezTo>
                  <a:pt x="1511" y="507"/>
                  <a:pt x="1510" y="506"/>
                  <a:pt x="1510" y="506"/>
                </a:cubicBezTo>
                <a:cubicBezTo>
                  <a:pt x="1510" y="506"/>
                  <a:pt x="1510" y="506"/>
                  <a:pt x="1510" y="506"/>
                </a:cubicBezTo>
                <a:cubicBezTo>
                  <a:pt x="1509" y="505"/>
                  <a:pt x="1509" y="505"/>
                  <a:pt x="1509" y="505"/>
                </a:cubicBezTo>
                <a:cubicBezTo>
                  <a:pt x="1509" y="505"/>
                  <a:pt x="1508" y="505"/>
                  <a:pt x="1508" y="505"/>
                </a:cubicBezTo>
                <a:cubicBezTo>
                  <a:pt x="1508" y="505"/>
                  <a:pt x="1508" y="505"/>
                  <a:pt x="1509" y="505"/>
                </a:cubicBezTo>
                <a:cubicBezTo>
                  <a:pt x="1508" y="505"/>
                  <a:pt x="1508" y="505"/>
                  <a:pt x="1508" y="504"/>
                </a:cubicBezTo>
                <a:cubicBezTo>
                  <a:pt x="1508" y="504"/>
                  <a:pt x="1507" y="504"/>
                  <a:pt x="1507" y="503"/>
                </a:cubicBezTo>
                <a:cubicBezTo>
                  <a:pt x="1507" y="503"/>
                  <a:pt x="1507" y="503"/>
                  <a:pt x="1506" y="503"/>
                </a:cubicBezTo>
                <a:cubicBezTo>
                  <a:pt x="1506" y="503"/>
                  <a:pt x="1506" y="503"/>
                  <a:pt x="1506" y="504"/>
                </a:cubicBezTo>
                <a:cubicBezTo>
                  <a:pt x="1506" y="504"/>
                  <a:pt x="1506" y="504"/>
                  <a:pt x="1507" y="504"/>
                </a:cubicBezTo>
                <a:cubicBezTo>
                  <a:pt x="1507" y="504"/>
                  <a:pt x="1507" y="504"/>
                  <a:pt x="1507" y="504"/>
                </a:cubicBezTo>
                <a:cubicBezTo>
                  <a:pt x="1507" y="505"/>
                  <a:pt x="1507" y="505"/>
                  <a:pt x="1507" y="505"/>
                </a:cubicBezTo>
                <a:cubicBezTo>
                  <a:pt x="1507" y="505"/>
                  <a:pt x="1507" y="505"/>
                  <a:pt x="1506" y="506"/>
                </a:cubicBezTo>
                <a:close/>
                <a:moveTo>
                  <a:pt x="1511" y="503"/>
                </a:moveTo>
                <a:cubicBezTo>
                  <a:pt x="1511" y="502"/>
                  <a:pt x="1511" y="502"/>
                  <a:pt x="1510" y="502"/>
                </a:cubicBezTo>
                <a:cubicBezTo>
                  <a:pt x="1510" y="502"/>
                  <a:pt x="1510" y="502"/>
                  <a:pt x="1510" y="502"/>
                </a:cubicBezTo>
                <a:cubicBezTo>
                  <a:pt x="1510" y="502"/>
                  <a:pt x="1510" y="502"/>
                  <a:pt x="1510" y="503"/>
                </a:cubicBezTo>
                <a:cubicBezTo>
                  <a:pt x="1510" y="503"/>
                  <a:pt x="1510" y="503"/>
                  <a:pt x="1511" y="503"/>
                </a:cubicBezTo>
                <a:cubicBezTo>
                  <a:pt x="1511" y="503"/>
                  <a:pt x="1511" y="503"/>
                  <a:pt x="1511" y="503"/>
                </a:cubicBezTo>
                <a:close/>
                <a:moveTo>
                  <a:pt x="1522" y="518"/>
                </a:moveTo>
                <a:cubicBezTo>
                  <a:pt x="1522" y="518"/>
                  <a:pt x="1522" y="518"/>
                  <a:pt x="1522" y="518"/>
                </a:cubicBezTo>
                <a:cubicBezTo>
                  <a:pt x="1522" y="518"/>
                  <a:pt x="1523" y="517"/>
                  <a:pt x="1523" y="517"/>
                </a:cubicBezTo>
                <a:cubicBezTo>
                  <a:pt x="1523" y="517"/>
                  <a:pt x="1523" y="517"/>
                  <a:pt x="1522" y="516"/>
                </a:cubicBezTo>
                <a:cubicBezTo>
                  <a:pt x="1522" y="516"/>
                  <a:pt x="1523" y="516"/>
                  <a:pt x="1523" y="516"/>
                </a:cubicBezTo>
                <a:cubicBezTo>
                  <a:pt x="1523" y="516"/>
                  <a:pt x="1523" y="516"/>
                  <a:pt x="1523" y="516"/>
                </a:cubicBezTo>
                <a:cubicBezTo>
                  <a:pt x="1523" y="516"/>
                  <a:pt x="1523" y="515"/>
                  <a:pt x="1523" y="515"/>
                </a:cubicBezTo>
                <a:cubicBezTo>
                  <a:pt x="1523" y="515"/>
                  <a:pt x="1523" y="515"/>
                  <a:pt x="1522" y="515"/>
                </a:cubicBezTo>
                <a:cubicBezTo>
                  <a:pt x="1522" y="515"/>
                  <a:pt x="1522" y="516"/>
                  <a:pt x="1522" y="516"/>
                </a:cubicBezTo>
                <a:cubicBezTo>
                  <a:pt x="1522" y="516"/>
                  <a:pt x="1522" y="517"/>
                  <a:pt x="1522" y="517"/>
                </a:cubicBezTo>
                <a:cubicBezTo>
                  <a:pt x="1522" y="517"/>
                  <a:pt x="1522" y="517"/>
                  <a:pt x="1522" y="517"/>
                </a:cubicBezTo>
                <a:cubicBezTo>
                  <a:pt x="1522" y="518"/>
                  <a:pt x="1522" y="518"/>
                  <a:pt x="1522" y="518"/>
                </a:cubicBezTo>
                <a:close/>
                <a:moveTo>
                  <a:pt x="1513" y="505"/>
                </a:moveTo>
                <a:cubicBezTo>
                  <a:pt x="1513" y="505"/>
                  <a:pt x="1514" y="505"/>
                  <a:pt x="1514" y="505"/>
                </a:cubicBezTo>
                <a:cubicBezTo>
                  <a:pt x="1514" y="505"/>
                  <a:pt x="1514" y="505"/>
                  <a:pt x="1515" y="505"/>
                </a:cubicBezTo>
                <a:cubicBezTo>
                  <a:pt x="1515" y="505"/>
                  <a:pt x="1515" y="506"/>
                  <a:pt x="1515" y="506"/>
                </a:cubicBezTo>
                <a:cubicBezTo>
                  <a:pt x="1516" y="506"/>
                  <a:pt x="1516" y="507"/>
                  <a:pt x="1516" y="507"/>
                </a:cubicBezTo>
                <a:cubicBezTo>
                  <a:pt x="1517" y="507"/>
                  <a:pt x="1517" y="507"/>
                  <a:pt x="1517" y="507"/>
                </a:cubicBezTo>
                <a:cubicBezTo>
                  <a:pt x="1517" y="507"/>
                  <a:pt x="1517" y="507"/>
                  <a:pt x="1517" y="507"/>
                </a:cubicBezTo>
                <a:cubicBezTo>
                  <a:pt x="1517" y="507"/>
                  <a:pt x="1517" y="506"/>
                  <a:pt x="1517" y="506"/>
                </a:cubicBezTo>
                <a:cubicBezTo>
                  <a:pt x="1516" y="506"/>
                  <a:pt x="1516" y="505"/>
                  <a:pt x="1516" y="505"/>
                </a:cubicBezTo>
                <a:cubicBezTo>
                  <a:pt x="1515" y="505"/>
                  <a:pt x="1515" y="505"/>
                  <a:pt x="1515" y="505"/>
                </a:cubicBezTo>
                <a:cubicBezTo>
                  <a:pt x="1515" y="504"/>
                  <a:pt x="1515" y="504"/>
                  <a:pt x="1514" y="504"/>
                </a:cubicBezTo>
                <a:cubicBezTo>
                  <a:pt x="1514" y="504"/>
                  <a:pt x="1514" y="504"/>
                  <a:pt x="1514" y="504"/>
                </a:cubicBezTo>
                <a:cubicBezTo>
                  <a:pt x="1514" y="503"/>
                  <a:pt x="1514" y="503"/>
                  <a:pt x="1514" y="503"/>
                </a:cubicBezTo>
                <a:cubicBezTo>
                  <a:pt x="1514" y="503"/>
                  <a:pt x="1514" y="503"/>
                  <a:pt x="1514" y="503"/>
                </a:cubicBezTo>
                <a:cubicBezTo>
                  <a:pt x="1514" y="503"/>
                  <a:pt x="1513" y="503"/>
                  <a:pt x="1513" y="504"/>
                </a:cubicBezTo>
                <a:cubicBezTo>
                  <a:pt x="1513" y="504"/>
                  <a:pt x="1513" y="504"/>
                  <a:pt x="1513" y="504"/>
                </a:cubicBezTo>
                <a:cubicBezTo>
                  <a:pt x="1513" y="504"/>
                  <a:pt x="1513" y="504"/>
                  <a:pt x="1513" y="504"/>
                </a:cubicBezTo>
                <a:cubicBezTo>
                  <a:pt x="1513" y="505"/>
                  <a:pt x="1513" y="505"/>
                  <a:pt x="1513" y="505"/>
                </a:cubicBezTo>
                <a:cubicBezTo>
                  <a:pt x="1513" y="505"/>
                  <a:pt x="1513" y="505"/>
                  <a:pt x="1513" y="505"/>
                </a:cubicBezTo>
                <a:close/>
                <a:moveTo>
                  <a:pt x="1507" y="503"/>
                </a:moveTo>
                <a:cubicBezTo>
                  <a:pt x="1507" y="503"/>
                  <a:pt x="1508" y="503"/>
                  <a:pt x="1508" y="503"/>
                </a:cubicBezTo>
                <a:cubicBezTo>
                  <a:pt x="1508" y="503"/>
                  <a:pt x="1508" y="502"/>
                  <a:pt x="1508" y="502"/>
                </a:cubicBezTo>
                <a:cubicBezTo>
                  <a:pt x="1508" y="502"/>
                  <a:pt x="1508" y="502"/>
                  <a:pt x="1508" y="501"/>
                </a:cubicBezTo>
                <a:cubicBezTo>
                  <a:pt x="1508" y="501"/>
                  <a:pt x="1509" y="501"/>
                  <a:pt x="1509" y="501"/>
                </a:cubicBezTo>
                <a:cubicBezTo>
                  <a:pt x="1509" y="501"/>
                  <a:pt x="1509" y="501"/>
                  <a:pt x="1508" y="501"/>
                </a:cubicBezTo>
                <a:cubicBezTo>
                  <a:pt x="1508" y="501"/>
                  <a:pt x="1508" y="501"/>
                  <a:pt x="1508" y="501"/>
                </a:cubicBezTo>
                <a:cubicBezTo>
                  <a:pt x="1507" y="501"/>
                  <a:pt x="1507" y="502"/>
                  <a:pt x="1507" y="502"/>
                </a:cubicBezTo>
                <a:cubicBezTo>
                  <a:pt x="1507" y="502"/>
                  <a:pt x="1507" y="502"/>
                  <a:pt x="1507" y="503"/>
                </a:cubicBezTo>
                <a:close/>
                <a:moveTo>
                  <a:pt x="1516" y="505"/>
                </a:moveTo>
                <a:cubicBezTo>
                  <a:pt x="1516" y="504"/>
                  <a:pt x="1516" y="504"/>
                  <a:pt x="1516" y="504"/>
                </a:cubicBezTo>
                <a:cubicBezTo>
                  <a:pt x="1516" y="504"/>
                  <a:pt x="1515" y="504"/>
                  <a:pt x="1515" y="503"/>
                </a:cubicBezTo>
                <a:cubicBezTo>
                  <a:pt x="1515" y="504"/>
                  <a:pt x="1515" y="504"/>
                  <a:pt x="1515" y="504"/>
                </a:cubicBezTo>
                <a:cubicBezTo>
                  <a:pt x="1516" y="504"/>
                  <a:pt x="1516" y="504"/>
                  <a:pt x="1516" y="505"/>
                </a:cubicBezTo>
                <a:cubicBezTo>
                  <a:pt x="1516" y="505"/>
                  <a:pt x="1516" y="505"/>
                  <a:pt x="1516" y="505"/>
                </a:cubicBezTo>
                <a:close/>
                <a:moveTo>
                  <a:pt x="1509" y="509"/>
                </a:moveTo>
                <a:cubicBezTo>
                  <a:pt x="1509" y="509"/>
                  <a:pt x="1509" y="509"/>
                  <a:pt x="1509" y="509"/>
                </a:cubicBezTo>
                <a:cubicBezTo>
                  <a:pt x="1508" y="509"/>
                  <a:pt x="1508" y="509"/>
                  <a:pt x="1508" y="509"/>
                </a:cubicBezTo>
                <a:cubicBezTo>
                  <a:pt x="1508" y="509"/>
                  <a:pt x="1507" y="509"/>
                  <a:pt x="1507" y="510"/>
                </a:cubicBezTo>
                <a:cubicBezTo>
                  <a:pt x="1507" y="510"/>
                  <a:pt x="1508" y="510"/>
                  <a:pt x="1508" y="510"/>
                </a:cubicBezTo>
                <a:cubicBezTo>
                  <a:pt x="1508" y="510"/>
                  <a:pt x="1508" y="510"/>
                  <a:pt x="1509" y="510"/>
                </a:cubicBezTo>
                <a:cubicBezTo>
                  <a:pt x="1509" y="510"/>
                  <a:pt x="1509" y="510"/>
                  <a:pt x="1509" y="509"/>
                </a:cubicBezTo>
                <a:close/>
                <a:moveTo>
                  <a:pt x="1503" y="495"/>
                </a:moveTo>
                <a:cubicBezTo>
                  <a:pt x="1503" y="495"/>
                  <a:pt x="1503" y="495"/>
                  <a:pt x="1502" y="495"/>
                </a:cubicBezTo>
                <a:cubicBezTo>
                  <a:pt x="1502" y="495"/>
                  <a:pt x="1502" y="495"/>
                  <a:pt x="1501" y="494"/>
                </a:cubicBezTo>
                <a:cubicBezTo>
                  <a:pt x="1501" y="494"/>
                  <a:pt x="1501" y="494"/>
                  <a:pt x="1500" y="494"/>
                </a:cubicBezTo>
                <a:cubicBezTo>
                  <a:pt x="1500" y="495"/>
                  <a:pt x="1500" y="495"/>
                  <a:pt x="1500" y="495"/>
                </a:cubicBezTo>
                <a:cubicBezTo>
                  <a:pt x="1501" y="495"/>
                  <a:pt x="1501" y="495"/>
                  <a:pt x="1501" y="495"/>
                </a:cubicBezTo>
                <a:cubicBezTo>
                  <a:pt x="1501" y="495"/>
                  <a:pt x="1501" y="496"/>
                  <a:pt x="1501" y="496"/>
                </a:cubicBezTo>
                <a:cubicBezTo>
                  <a:pt x="1501" y="496"/>
                  <a:pt x="1501" y="496"/>
                  <a:pt x="1502" y="496"/>
                </a:cubicBezTo>
                <a:cubicBezTo>
                  <a:pt x="1502" y="497"/>
                  <a:pt x="1502" y="497"/>
                  <a:pt x="1502" y="497"/>
                </a:cubicBezTo>
                <a:cubicBezTo>
                  <a:pt x="1502" y="498"/>
                  <a:pt x="1502" y="498"/>
                  <a:pt x="1502" y="498"/>
                </a:cubicBezTo>
                <a:cubicBezTo>
                  <a:pt x="1502" y="498"/>
                  <a:pt x="1502" y="499"/>
                  <a:pt x="1502" y="499"/>
                </a:cubicBezTo>
                <a:cubicBezTo>
                  <a:pt x="1502" y="499"/>
                  <a:pt x="1502" y="499"/>
                  <a:pt x="1502" y="500"/>
                </a:cubicBezTo>
                <a:cubicBezTo>
                  <a:pt x="1502" y="500"/>
                  <a:pt x="1502" y="500"/>
                  <a:pt x="1503" y="501"/>
                </a:cubicBezTo>
                <a:cubicBezTo>
                  <a:pt x="1503" y="501"/>
                  <a:pt x="1503" y="501"/>
                  <a:pt x="1503" y="501"/>
                </a:cubicBezTo>
                <a:cubicBezTo>
                  <a:pt x="1504" y="501"/>
                  <a:pt x="1504" y="501"/>
                  <a:pt x="1504" y="501"/>
                </a:cubicBezTo>
                <a:cubicBezTo>
                  <a:pt x="1504" y="501"/>
                  <a:pt x="1505" y="500"/>
                  <a:pt x="1505" y="500"/>
                </a:cubicBezTo>
                <a:cubicBezTo>
                  <a:pt x="1505" y="500"/>
                  <a:pt x="1505" y="500"/>
                  <a:pt x="1505" y="500"/>
                </a:cubicBezTo>
                <a:cubicBezTo>
                  <a:pt x="1505" y="500"/>
                  <a:pt x="1505" y="500"/>
                  <a:pt x="1505" y="500"/>
                </a:cubicBezTo>
                <a:cubicBezTo>
                  <a:pt x="1505" y="499"/>
                  <a:pt x="1505" y="499"/>
                  <a:pt x="1505" y="499"/>
                </a:cubicBezTo>
                <a:cubicBezTo>
                  <a:pt x="1505" y="499"/>
                  <a:pt x="1505" y="499"/>
                  <a:pt x="1506" y="499"/>
                </a:cubicBezTo>
                <a:cubicBezTo>
                  <a:pt x="1506" y="498"/>
                  <a:pt x="1506" y="498"/>
                  <a:pt x="1506" y="498"/>
                </a:cubicBezTo>
                <a:cubicBezTo>
                  <a:pt x="1506" y="498"/>
                  <a:pt x="1505" y="498"/>
                  <a:pt x="1505" y="497"/>
                </a:cubicBezTo>
                <a:cubicBezTo>
                  <a:pt x="1504" y="497"/>
                  <a:pt x="1504" y="496"/>
                  <a:pt x="1503" y="495"/>
                </a:cubicBezTo>
                <a:close/>
                <a:moveTo>
                  <a:pt x="1514" y="513"/>
                </a:moveTo>
                <a:cubicBezTo>
                  <a:pt x="1515" y="512"/>
                  <a:pt x="1515" y="512"/>
                  <a:pt x="1515" y="512"/>
                </a:cubicBezTo>
                <a:cubicBezTo>
                  <a:pt x="1515" y="512"/>
                  <a:pt x="1515" y="512"/>
                  <a:pt x="1515" y="511"/>
                </a:cubicBezTo>
                <a:cubicBezTo>
                  <a:pt x="1515" y="511"/>
                  <a:pt x="1515" y="511"/>
                  <a:pt x="1516" y="511"/>
                </a:cubicBezTo>
                <a:cubicBezTo>
                  <a:pt x="1516" y="511"/>
                  <a:pt x="1516" y="510"/>
                  <a:pt x="1516" y="510"/>
                </a:cubicBezTo>
                <a:cubicBezTo>
                  <a:pt x="1516" y="510"/>
                  <a:pt x="1516" y="510"/>
                  <a:pt x="1515" y="510"/>
                </a:cubicBezTo>
                <a:cubicBezTo>
                  <a:pt x="1515" y="510"/>
                  <a:pt x="1515" y="510"/>
                  <a:pt x="1515" y="511"/>
                </a:cubicBezTo>
                <a:cubicBezTo>
                  <a:pt x="1514" y="511"/>
                  <a:pt x="1514" y="511"/>
                  <a:pt x="1513" y="512"/>
                </a:cubicBezTo>
                <a:cubicBezTo>
                  <a:pt x="1513" y="512"/>
                  <a:pt x="1513" y="512"/>
                  <a:pt x="1513" y="512"/>
                </a:cubicBezTo>
                <a:cubicBezTo>
                  <a:pt x="1513" y="513"/>
                  <a:pt x="1512" y="513"/>
                  <a:pt x="1512" y="513"/>
                </a:cubicBezTo>
                <a:cubicBezTo>
                  <a:pt x="1512" y="513"/>
                  <a:pt x="1511" y="513"/>
                  <a:pt x="1511" y="514"/>
                </a:cubicBezTo>
                <a:cubicBezTo>
                  <a:pt x="1511" y="514"/>
                  <a:pt x="1511" y="514"/>
                  <a:pt x="1511" y="514"/>
                </a:cubicBezTo>
                <a:cubicBezTo>
                  <a:pt x="1511" y="515"/>
                  <a:pt x="1511" y="515"/>
                  <a:pt x="1511" y="515"/>
                </a:cubicBezTo>
                <a:cubicBezTo>
                  <a:pt x="1511" y="515"/>
                  <a:pt x="1511" y="515"/>
                  <a:pt x="1512" y="515"/>
                </a:cubicBezTo>
                <a:cubicBezTo>
                  <a:pt x="1512" y="514"/>
                  <a:pt x="1512" y="514"/>
                  <a:pt x="1513" y="513"/>
                </a:cubicBezTo>
                <a:cubicBezTo>
                  <a:pt x="1513" y="513"/>
                  <a:pt x="1514" y="513"/>
                  <a:pt x="1514" y="513"/>
                </a:cubicBezTo>
                <a:close/>
                <a:moveTo>
                  <a:pt x="1523" y="519"/>
                </a:moveTo>
                <a:cubicBezTo>
                  <a:pt x="1523" y="519"/>
                  <a:pt x="1523" y="519"/>
                  <a:pt x="1524" y="519"/>
                </a:cubicBezTo>
                <a:cubicBezTo>
                  <a:pt x="1523" y="519"/>
                  <a:pt x="1523" y="519"/>
                  <a:pt x="1523" y="519"/>
                </a:cubicBezTo>
                <a:cubicBezTo>
                  <a:pt x="1523" y="519"/>
                  <a:pt x="1523" y="519"/>
                  <a:pt x="1523" y="519"/>
                </a:cubicBezTo>
                <a:cubicBezTo>
                  <a:pt x="1523" y="519"/>
                  <a:pt x="1523" y="519"/>
                  <a:pt x="1523" y="519"/>
                </a:cubicBezTo>
                <a:close/>
                <a:moveTo>
                  <a:pt x="1512" y="510"/>
                </a:moveTo>
                <a:cubicBezTo>
                  <a:pt x="1512" y="509"/>
                  <a:pt x="1512" y="509"/>
                  <a:pt x="1511" y="509"/>
                </a:cubicBezTo>
                <a:cubicBezTo>
                  <a:pt x="1511" y="509"/>
                  <a:pt x="1511" y="509"/>
                  <a:pt x="1511" y="509"/>
                </a:cubicBezTo>
                <a:cubicBezTo>
                  <a:pt x="1510" y="509"/>
                  <a:pt x="1510" y="510"/>
                  <a:pt x="1510" y="510"/>
                </a:cubicBezTo>
                <a:cubicBezTo>
                  <a:pt x="1510" y="510"/>
                  <a:pt x="1510" y="510"/>
                  <a:pt x="1510" y="510"/>
                </a:cubicBezTo>
                <a:cubicBezTo>
                  <a:pt x="1509" y="511"/>
                  <a:pt x="1509" y="511"/>
                  <a:pt x="1509" y="511"/>
                </a:cubicBezTo>
                <a:cubicBezTo>
                  <a:pt x="1509" y="512"/>
                  <a:pt x="1509" y="512"/>
                  <a:pt x="1509" y="512"/>
                </a:cubicBezTo>
                <a:cubicBezTo>
                  <a:pt x="1508" y="512"/>
                  <a:pt x="1507" y="512"/>
                  <a:pt x="1507" y="512"/>
                </a:cubicBezTo>
                <a:cubicBezTo>
                  <a:pt x="1507" y="512"/>
                  <a:pt x="1507" y="512"/>
                  <a:pt x="1506" y="512"/>
                </a:cubicBezTo>
                <a:cubicBezTo>
                  <a:pt x="1506" y="512"/>
                  <a:pt x="1506" y="513"/>
                  <a:pt x="1506" y="513"/>
                </a:cubicBezTo>
                <a:cubicBezTo>
                  <a:pt x="1506" y="513"/>
                  <a:pt x="1507" y="513"/>
                  <a:pt x="1507" y="513"/>
                </a:cubicBezTo>
                <a:cubicBezTo>
                  <a:pt x="1507" y="514"/>
                  <a:pt x="1507" y="514"/>
                  <a:pt x="1508" y="514"/>
                </a:cubicBezTo>
                <a:cubicBezTo>
                  <a:pt x="1508" y="514"/>
                  <a:pt x="1508" y="515"/>
                  <a:pt x="1509" y="515"/>
                </a:cubicBezTo>
                <a:cubicBezTo>
                  <a:pt x="1509" y="515"/>
                  <a:pt x="1508" y="515"/>
                  <a:pt x="1508" y="516"/>
                </a:cubicBezTo>
                <a:cubicBezTo>
                  <a:pt x="1509" y="516"/>
                  <a:pt x="1509" y="516"/>
                  <a:pt x="1509" y="516"/>
                </a:cubicBezTo>
                <a:cubicBezTo>
                  <a:pt x="1509" y="516"/>
                  <a:pt x="1510" y="516"/>
                  <a:pt x="1510" y="516"/>
                </a:cubicBezTo>
                <a:cubicBezTo>
                  <a:pt x="1510" y="516"/>
                  <a:pt x="1510" y="516"/>
                  <a:pt x="1510" y="515"/>
                </a:cubicBezTo>
                <a:cubicBezTo>
                  <a:pt x="1510" y="515"/>
                  <a:pt x="1510" y="515"/>
                  <a:pt x="1510" y="514"/>
                </a:cubicBezTo>
                <a:cubicBezTo>
                  <a:pt x="1510" y="514"/>
                  <a:pt x="1510" y="513"/>
                  <a:pt x="1510" y="513"/>
                </a:cubicBezTo>
                <a:cubicBezTo>
                  <a:pt x="1511" y="512"/>
                  <a:pt x="1511" y="512"/>
                  <a:pt x="1512" y="511"/>
                </a:cubicBezTo>
                <a:cubicBezTo>
                  <a:pt x="1512" y="511"/>
                  <a:pt x="1512" y="511"/>
                  <a:pt x="1513" y="511"/>
                </a:cubicBezTo>
                <a:cubicBezTo>
                  <a:pt x="1513" y="511"/>
                  <a:pt x="1513" y="510"/>
                  <a:pt x="1513" y="510"/>
                </a:cubicBezTo>
                <a:cubicBezTo>
                  <a:pt x="1513" y="510"/>
                  <a:pt x="1513" y="510"/>
                  <a:pt x="1513" y="510"/>
                </a:cubicBezTo>
                <a:cubicBezTo>
                  <a:pt x="1512" y="510"/>
                  <a:pt x="1512" y="510"/>
                  <a:pt x="1512" y="510"/>
                </a:cubicBezTo>
                <a:close/>
                <a:moveTo>
                  <a:pt x="1517" y="519"/>
                </a:moveTo>
                <a:cubicBezTo>
                  <a:pt x="1517" y="519"/>
                  <a:pt x="1517" y="519"/>
                  <a:pt x="1517" y="518"/>
                </a:cubicBezTo>
                <a:cubicBezTo>
                  <a:pt x="1517" y="518"/>
                  <a:pt x="1517" y="518"/>
                  <a:pt x="1517" y="518"/>
                </a:cubicBezTo>
                <a:cubicBezTo>
                  <a:pt x="1516" y="518"/>
                  <a:pt x="1516" y="518"/>
                  <a:pt x="1516" y="518"/>
                </a:cubicBezTo>
                <a:cubicBezTo>
                  <a:pt x="1516" y="518"/>
                  <a:pt x="1516" y="518"/>
                  <a:pt x="1516" y="518"/>
                </a:cubicBezTo>
                <a:cubicBezTo>
                  <a:pt x="1516" y="519"/>
                  <a:pt x="1517" y="519"/>
                  <a:pt x="1517" y="519"/>
                </a:cubicBezTo>
                <a:close/>
                <a:moveTo>
                  <a:pt x="1511" y="516"/>
                </a:moveTo>
                <a:cubicBezTo>
                  <a:pt x="1511" y="516"/>
                  <a:pt x="1511" y="517"/>
                  <a:pt x="1511" y="517"/>
                </a:cubicBezTo>
                <a:cubicBezTo>
                  <a:pt x="1511" y="517"/>
                  <a:pt x="1512" y="517"/>
                  <a:pt x="1512" y="517"/>
                </a:cubicBezTo>
                <a:cubicBezTo>
                  <a:pt x="1512" y="517"/>
                  <a:pt x="1512" y="517"/>
                  <a:pt x="1512" y="517"/>
                </a:cubicBezTo>
                <a:cubicBezTo>
                  <a:pt x="1512" y="516"/>
                  <a:pt x="1512" y="516"/>
                  <a:pt x="1512" y="516"/>
                </a:cubicBezTo>
                <a:cubicBezTo>
                  <a:pt x="1512" y="516"/>
                  <a:pt x="1511" y="516"/>
                  <a:pt x="1511" y="516"/>
                </a:cubicBezTo>
                <a:cubicBezTo>
                  <a:pt x="1511" y="516"/>
                  <a:pt x="1511" y="516"/>
                  <a:pt x="1511" y="516"/>
                </a:cubicBezTo>
                <a:close/>
                <a:moveTo>
                  <a:pt x="1525" y="517"/>
                </a:moveTo>
                <a:cubicBezTo>
                  <a:pt x="1524" y="517"/>
                  <a:pt x="1524" y="518"/>
                  <a:pt x="1524" y="518"/>
                </a:cubicBezTo>
                <a:cubicBezTo>
                  <a:pt x="1524" y="518"/>
                  <a:pt x="1524" y="518"/>
                  <a:pt x="1524" y="518"/>
                </a:cubicBezTo>
                <a:cubicBezTo>
                  <a:pt x="1524" y="518"/>
                  <a:pt x="1524" y="519"/>
                  <a:pt x="1524" y="519"/>
                </a:cubicBezTo>
                <a:cubicBezTo>
                  <a:pt x="1524" y="519"/>
                  <a:pt x="1525" y="519"/>
                  <a:pt x="1525" y="519"/>
                </a:cubicBezTo>
                <a:cubicBezTo>
                  <a:pt x="1525" y="519"/>
                  <a:pt x="1525" y="518"/>
                  <a:pt x="1525" y="518"/>
                </a:cubicBezTo>
                <a:cubicBezTo>
                  <a:pt x="1525" y="518"/>
                  <a:pt x="1525" y="518"/>
                  <a:pt x="1525" y="517"/>
                </a:cubicBezTo>
                <a:close/>
                <a:moveTo>
                  <a:pt x="1481" y="510"/>
                </a:moveTo>
                <a:cubicBezTo>
                  <a:pt x="1481" y="510"/>
                  <a:pt x="1480" y="510"/>
                  <a:pt x="1480" y="509"/>
                </a:cubicBezTo>
                <a:cubicBezTo>
                  <a:pt x="1480" y="509"/>
                  <a:pt x="1480" y="509"/>
                  <a:pt x="1480" y="509"/>
                </a:cubicBezTo>
                <a:cubicBezTo>
                  <a:pt x="1480" y="510"/>
                  <a:pt x="1480" y="510"/>
                  <a:pt x="1481" y="510"/>
                </a:cubicBezTo>
                <a:close/>
                <a:moveTo>
                  <a:pt x="1500" y="523"/>
                </a:moveTo>
                <a:cubicBezTo>
                  <a:pt x="1500" y="524"/>
                  <a:pt x="1500" y="524"/>
                  <a:pt x="1500" y="524"/>
                </a:cubicBezTo>
                <a:cubicBezTo>
                  <a:pt x="1500" y="524"/>
                  <a:pt x="1500" y="524"/>
                  <a:pt x="1500" y="525"/>
                </a:cubicBezTo>
                <a:cubicBezTo>
                  <a:pt x="1501" y="524"/>
                  <a:pt x="1501" y="524"/>
                  <a:pt x="1502" y="524"/>
                </a:cubicBezTo>
                <a:cubicBezTo>
                  <a:pt x="1502" y="524"/>
                  <a:pt x="1502" y="524"/>
                  <a:pt x="1502" y="524"/>
                </a:cubicBezTo>
                <a:cubicBezTo>
                  <a:pt x="1502" y="524"/>
                  <a:pt x="1502" y="524"/>
                  <a:pt x="1502" y="524"/>
                </a:cubicBezTo>
                <a:cubicBezTo>
                  <a:pt x="1501" y="524"/>
                  <a:pt x="1501" y="523"/>
                  <a:pt x="1501" y="523"/>
                </a:cubicBezTo>
                <a:cubicBezTo>
                  <a:pt x="1501" y="523"/>
                  <a:pt x="1501" y="523"/>
                  <a:pt x="1501" y="523"/>
                </a:cubicBezTo>
                <a:cubicBezTo>
                  <a:pt x="1500" y="523"/>
                  <a:pt x="1500" y="523"/>
                  <a:pt x="1500" y="523"/>
                </a:cubicBezTo>
                <a:cubicBezTo>
                  <a:pt x="1500" y="523"/>
                  <a:pt x="1500" y="523"/>
                  <a:pt x="1500" y="523"/>
                </a:cubicBezTo>
                <a:close/>
                <a:moveTo>
                  <a:pt x="1478" y="510"/>
                </a:moveTo>
                <a:cubicBezTo>
                  <a:pt x="1478" y="510"/>
                  <a:pt x="1478" y="510"/>
                  <a:pt x="1478" y="510"/>
                </a:cubicBezTo>
                <a:cubicBezTo>
                  <a:pt x="1478" y="510"/>
                  <a:pt x="1478" y="511"/>
                  <a:pt x="1478" y="511"/>
                </a:cubicBezTo>
                <a:cubicBezTo>
                  <a:pt x="1478" y="511"/>
                  <a:pt x="1478" y="511"/>
                  <a:pt x="1478" y="511"/>
                </a:cubicBezTo>
                <a:cubicBezTo>
                  <a:pt x="1479" y="511"/>
                  <a:pt x="1479" y="511"/>
                  <a:pt x="1479" y="510"/>
                </a:cubicBezTo>
                <a:cubicBezTo>
                  <a:pt x="1479" y="510"/>
                  <a:pt x="1479" y="510"/>
                  <a:pt x="1479" y="510"/>
                </a:cubicBezTo>
                <a:cubicBezTo>
                  <a:pt x="1479" y="510"/>
                  <a:pt x="1479" y="510"/>
                  <a:pt x="1479" y="510"/>
                </a:cubicBezTo>
                <a:cubicBezTo>
                  <a:pt x="1479" y="510"/>
                  <a:pt x="1478" y="510"/>
                  <a:pt x="1478" y="510"/>
                </a:cubicBezTo>
                <a:close/>
                <a:moveTo>
                  <a:pt x="1480" y="509"/>
                </a:moveTo>
                <a:cubicBezTo>
                  <a:pt x="1480" y="509"/>
                  <a:pt x="1480" y="509"/>
                  <a:pt x="1480" y="509"/>
                </a:cubicBezTo>
                <a:cubicBezTo>
                  <a:pt x="1480" y="509"/>
                  <a:pt x="1480" y="509"/>
                  <a:pt x="1479" y="509"/>
                </a:cubicBezTo>
                <a:cubicBezTo>
                  <a:pt x="1480" y="509"/>
                  <a:pt x="1480" y="509"/>
                  <a:pt x="1480" y="509"/>
                </a:cubicBezTo>
                <a:close/>
                <a:moveTo>
                  <a:pt x="1500" y="489"/>
                </a:moveTo>
                <a:cubicBezTo>
                  <a:pt x="1501" y="489"/>
                  <a:pt x="1501" y="489"/>
                  <a:pt x="1501" y="489"/>
                </a:cubicBezTo>
                <a:cubicBezTo>
                  <a:pt x="1501" y="489"/>
                  <a:pt x="1501" y="489"/>
                  <a:pt x="1501" y="489"/>
                </a:cubicBezTo>
                <a:cubicBezTo>
                  <a:pt x="1501" y="489"/>
                  <a:pt x="1501" y="489"/>
                  <a:pt x="1501" y="490"/>
                </a:cubicBezTo>
                <a:cubicBezTo>
                  <a:pt x="1501" y="490"/>
                  <a:pt x="1501" y="490"/>
                  <a:pt x="1502" y="491"/>
                </a:cubicBezTo>
                <a:cubicBezTo>
                  <a:pt x="1502" y="491"/>
                  <a:pt x="1502" y="491"/>
                  <a:pt x="1502" y="491"/>
                </a:cubicBezTo>
                <a:cubicBezTo>
                  <a:pt x="1502" y="491"/>
                  <a:pt x="1503" y="491"/>
                  <a:pt x="1503" y="491"/>
                </a:cubicBezTo>
                <a:cubicBezTo>
                  <a:pt x="1503" y="491"/>
                  <a:pt x="1503" y="490"/>
                  <a:pt x="1503" y="490"/>
                </a:cubicBezTo>
                <a:cubicBezTo>
                  <a:pt x="1503" y="490"/>
                  <a:pt x="1503" y="490"/>
                  <a:pt x="1503" y="490"/>
                </a:cubicBezTo>
                <a:cubicBezTo>
                  <a:pt x="1503" y="490"/>
                  <a:pt x="1503" y="490"/>
                  <a:pt x="1504" y="490"/>
                </a:cubicBezTo>
                <a:cubicBezTo>
                  <a:pt x="1504" y="490"/>
                  <a:pt x="1504" y="491"/>
                  <a:pt x="1504" y="491"/>
                </a:cubicBezTo>
                <a:cubicBezTo>
                  <a:pt x="1504" y="491"/>
                  <a:pt x="1504" y="491"/>
                  <a:pt x="1503" y="492"/>
                </a:cubicBezTo>
                <a:cubicBezTo>
                  <a:pt x="1503" y="492"/>
                  <a:pt x="1503" y="492"/>
                  <a:pt x="1502" y="492"/>
                </a:cubicBezTo>
                <a:cubicBezTo>
                  <a:pt x="1502" y="492"/>
                  <a:pt x="1502" y="492"/>
                  <a:pt x="1502" y="492"/>
                </a:cubicBezTo>
                <a:cubicBezTo>
                  <a:pt x="1502" y="492"/>
                  <a:pt x="1502" y="493"/>
                  <a:pt x="1502" y="493"/>
                </a:cubicBezTo>
                <a:cubicBezTo>
                  <a:pt x="1502" y="493"/>
                  <a:pt x="1502" y="494"/>
                  <a:pt x="1502" y="494"/>
                </a:cubicBezTo>
                <a:cubicBezTo>
                  <a:pt x="1502" y="494"/>
                  <a:pt x="1503" y="494"/>
                  <a:pt x="1503" y="493"/>
                </a:cubicBezTo>
                <a:cubicBezTo>
                  <a:pt x="1503" y="493"/>
                  <a:pt x="1503" y="493"/>
                  <a:pt x="1503" y="493"/>
                </a:cubicBezTo>
                <a:cubicBezTo>
                  <a:pt x="1503" y="494"/>
                  <a:pt x="1503" y="494"/>
                  <a:pt x="1504" y="494"/>
                </a:cubicBezTo>
                <a:cubicBezTo>
                  <a:pt x="1503" y="494"/>
                  <a:pt x="1503" y="494"/>
                  <a:pt x="1503" y="495"/>
                </a:cubicBezTo>
                <a:cubicBezTo>
                  <a:pt x="1503" y="495"/>
                  <a:pt x="1503" y="495"/>
                  <a:pt x="1504" y="495"/>
                </a:cubicBezTo>
                <a:cubicBezTo>
                  <a:pt x="1504" y="495"/>
                  <a:pt x="1504" y="495"/>
                  <a:pt x="1504" y="495"/>
                </a:cubicBezTo>
                <a:cubicBezTo>
                  <a:pt x="1505" y="495"/>
                  <a:pt x="1505" y="495"/>
                  <a:pt x="1505" y="496"/>
                </a:cubicBezTo>
                <a:cubicBezTo>
                  <a:pt x="1506" y="496"/>
                  <a:pt x="1506" y="496"/>
                  <a:pt x="1506" y="496"/>
                </a:cubicBezTo>
                <a:cubicBezTo>
                  <a:pt x="1506" y="495"/>
                  <a:pt x="1506" y="495"/>
                  <a:pt x="1506" y="495"/>
                </a:cubicBezTo>
                <a:cubicBezTo>
                  <a:pt x="1506" y="495"/>
                  <a:pt x="1507" y="495"/>
                  <a:pt x="1507" y="495"/>
                </a:cubicBezTo>
                <a:cubicBezTo>
                  <a:pt x="1507" y="495"/>
                  <a:pt x="1508" y="495"/>
                  <a:pt x="1508" y="495"/>
                </a:cubicBezTo>
                <a:cubicBezTo>
                  <a:pt x="1509" y="496"/>
                  <a:pt x="1509" y="496"/>
                  <a:pt x="1510" y="496"/>
                </a:cubicBezTo>
                <a:cubicBezTo>
                  <a:pt x="1510" y="497"/>
                  <a:pt x="1510" y="497"/>
                  <a:pt x="1510" y="497"/>
                </a:cubicBezTo>
                <a:cubicBezTo>
                  <a:pt x="1510" y="497"/>
                  <a:pt x="1511" y="498"/>
                  <a:pt x="1511" y="498"/>
                </a:cubicBezTo>
                <a:cubicBezTo>
                  <a:pt x="1511" y="498"/>
                  <a:pt x="1511" y="499"/>
                  <a:pt x="1511" y="499"/>
                </a:cubicBezTo>
                <a:cubicBezTo>
                  <a:pt x="1511" y="499"/>
                  <a:pt x="1512" y="499"/>
                  <a:pt x="1512" y="500"/>
                </a:cubicBezTo>
                <a:cubicBezTo>
                  <a:pt x="1512" y="499"/>
                  <a:pt x="1512" y="499"/>
                  <a:pt x="1512" y="498"/>
                </a:cubicBezTo>
                <a:cubicBezTo>
                  <a:pt x="1512" y="498"/>
                  <a:pt x="1511" y="497"/>
                  <a:pt x="1511" y="497"/>
                </a:cubicBezTo>
                <a:cubicBezTo>
                  <a:pt x="1511" y="497"/>
                  <a:pt x="1511" y="496"/>
                  <a:pt x="1512" y="496"/>
                </a:cubicBezTo>
                <a:cubicBezTo>
                  <a:pt x="1512" y="496"/>
                  <a:pt x="1512" y="497"/>
                  <a:pt x="1512" y="497"/>
                </a:cubicBezTo>
                <a:cubicBezTo>
                  <a:pt x="1512" y="497"/>
                  <a:pt x="1512" y="497"/>
                  <a:pt x="1512" y="497"/>
                </a:cubicBezTo>
                <a:cubicBezTo>
                  <a:pt x="1513" y="497"/>
                  <a:pt x="1513" y="497"/>
                  <a:pt x="1513" y="498"/>
                </a:cubicBezTo>
                <a:cubicBezTo>
                  <a:pt x="1513" y="498"/>
                  <a:pt x="1513" y="498"/>
                  <a:pt x="1513" y="499"/>
                </a:cubicBezTo>
                <a:cubicBezTo>
                  <a:pt x="1514" y="499"/>
                  <a:pt x="1514" y="499"/>
                  <a:pt x="1515" y="500"/>
                </a:cubicBezTo>
                <a:cubicBezTo>
                  <a:pt x="1515" y="500"/>
                  <a:pt x="1515" y="500"/>
                  <a:pt x="1515" y="500"/>
                </a:cubicBezTo>
                <a:cubicBezTo>
                  <a:pt x="1515" y="501"/>
                  <a:pt x="1514" y="501"/>
                  <a:pt x="1514" y="501"/>
                </a:cubicBezTo>
                <a:cubicBezTo>
                  <a:pt x="1515" y="501"/>
                  <a:pt x="1515" y="501"/>
                  <a:pt x="1515" y="501"/>
                </a:cubicBezTo>
                <a:cubicBezTo>
                  <a:pt x="1515" y="502"/>
                  <a:pt x="1515" y="502"/>
                  <a:pt x="1516" y="503"/>
                </a:cubicBezTo>
                <a:cubicBezTo>
                  <a:pt x="1516" y="503"/>
                  <a:pt x="1516" y="503"/>
                  <a:pt x="1517" y="503"/>
                </a:cubicBezTo>
                <a:cubicBezTo>
                  <a:pt x="1517" y="503"/>
                  <a:pt x="1517" y="503"/>
                  <a:pt x="1517" y="503"/>
                </a:cubicBezTo>
                <a:cubicBezTo>
                  <a:pt x="1517" y="503"/>
                  <a:pt x="1517" y="503"/>
                  <a:pt x="1517" y="503"/>
                </a:cubicBezTo>
                <a:cubicBezTo>
                  <a:pt x="1517" y="503"/>
                  <a:pt x="1517" y="503"/>
                  <a:pt x="1517" y="503"/>
                </a:cubicBezTo>
                <a:cubicBezTo>
                  <a:pt x="1517" y="503"/>
                  <a:pt x="1517" y="503"/>
                  <a:pt x="1516" y="503"/>
                </a:cubicBezTo>
                <a:cubicBezTo>
                  <a:pt x="1517" y="504"/>
                  <a:pt x="1517" y="504"/>
                  <a:pt x="1517" y="504"/>
                </a:cubicBezTo>
                <a:cubicBezTo>
                  <a:pt x="1517" y="505"/>
                  <a:pt x="1517" y="505"/>
                  <a:pt x="1518" y="505"/>
                </a:cubicBezTo>
                <a:cubicBezTo>
                  <a:pt x="1518" y="505"/>
                  <a:pt x="1518" y="504"/>
                  <a:pt x="1518" y="504"/>
                </a:cubicBezTo>
                <a:cubicBezTo>
                  <a:pt x="1518" y="504"/>
                  <a:pt x="1518" y="504"/>
                  <a:pt x="1518" y="504"/>
                </a:cubicBezTo>
                <a:cubicBezTo>
                  <a:pt x="1519" y="504"/>
                  <a:pt x="1519" y="503"/>
                  <a:pt x="1519" y="503"/>
                </a:cubicBezTo>
                <a:cubicBezTo>
                  <a:pt x="1519" y="503"/>
                  <a:pt x="1519" y="503"/>
                  <a:pt x="1519" y="503"/>
                </a:cubicBezTo>
                <a:cubicBezTo>
                  <a:pt x="1518" y="503"/>
                  <a:pt x="1518" y="503"/>
                  <a:pt x="1518" y="503"/>
                </a:cubicBezTo>
                <a:cubicBezTo>
                  <a:pt x="1518" y="502"/>
                  <a:pt x="1517" y="502"/>
                  <a:pt x="1517" y="502"/>
                </a:cubicBezTo>
                <a:cubicBezTo>
                  <a:pt x="1517" y="502"/>
                  <a:pt x="1517" y="502"/>
                  <a:pt x="1516" y="502"/>
                </a:cubicBezTo>
                <a:cubicBezTo>
                  <a:pt x="1516" y="502"/>
                  <a:pt x="1516" y="501"/>
                  <a:pt x="1517" y="501"/>
                </a:cubicBezTo>
                <a:cubicBezTo>
                  <a:pt x="1516" y="501"/>
                  <a:pt x="1516" y="500"/>
                  <a:pt x="1516" y="500"/>
                </a:cubicBezTo>
                <a:cubicBezTo>
                  <a:pt x="1516" y="500"/>
                  <a:pt x="1516" y="499"/>
                  <a:pt x="1516" y="499"/>
                </a:cubicBezTo>
                <a:cubicBezTo>
                  <a:pt x="1517" y="499"/>
                  <a:pt x="1517" y="499"/>
                  <a:pt x="1517" y="499"/>
                </a:cubicBezTo>
                <a:cubicBezTo>
                  <a:pt x="1517" y="499"/>
                  <a:pt x="1517" y="499"/>
                  <a:pt x="1517" y="500"/>
                </a:cubicBezTo>
                <a:cubicBezTo>
                  <a:pt x="1518" y="500"/>
                  <a:pt x="1518" y="500"/>
                  <a:pt x="1518" y="500"/>
                </a:cubicBezTo>
                <a:cubicBezTo>
                  <a:pt x="1518" y="500"/>
                  <a:pt x="1518" y="500"/>
                  <a:pt x="1518" y="499"/>
                </a:cubicBezTo>
                <a:cubicBezTo>
                  <a:pt x="1518" y="499"/>
                  <a:pt x="1517" y="499"/>
                  <a:pt x="1517" y="499"/>
                </a:cubicBezTo>
                <a:cubicBezTo>
                  <a:pt x="1517" y="498"/>
                  <a:pt x="1516" y="498"/>
                  <a:pt x="1516" y="498"/>
                </a:cubicBezTo>
                <a:cubicBezTo>
                  <a:pt x="1516" y="498"/>
                  <a:pt x="1516" y="498"/>
                  <a:pt x="1516" y="497"/>
                </a:cubicBezTo>
                <a:cubicBezTo>
                  <a:pt x="1516" y="497"/>
                  <a:pt x="1515" y="497"/>
                  <a:pt x="1515" y="497"/>
                </a:cubicBezTo>
                <a:cubicBezTo>
                  <a:pt x="1515" y="498"/>
                  <a:pt x="1515" y="498"/>
                  <a:pt x="1515" y="498"/>
                </a:cubicBezTo>
                <a:cubicBezTo>
                  <a:pt x="1515" y="498"/>
                  <a:pt x="1515" y="498"/>
                  <a:pt x="1514" y="498"/>
                </a:cubicBezTo>
                <a:cubicBezTo>
                  <a:pt x="1514" y="498"/>
                  <a:pt x="1514" y="498"/>
                  <a:pt x="1514" y="498"/>
                </a:cubicBezTo>
                <a:cubicBezTo>
                  <a:pt x="1514" y="497"/>
                  <a:pt x="1514" y="497"/>
                  <a:pt x="1514" y="497"/>
                </a:cubicBezTo>
                <a:cubicBezTo>
                  <a:pt x="1514" y="497"/>
                  <a:pt x="1514" y="496"/>
                  <a:pt x="1514" y="496"/>
                </a:cubicBezTo>
                <a:cubicBezTo>
                  <a:pt x="1514" y="496"/>
                  <a:pt x="1513" y="495"/>
                  <a:pt x="1513" y="495"/>
                </a:cubicBezTo>
                <a:cubicBezTo>
                  <a:pt x="1513" y="495"/>
                  <a:pt x="1512" y="495"/>
                  <a:pt x="1512" y="494"/>
                </a:cubicBezTo>
                <a:cubicBezTo>
                  <a:pt x="1512" y="495"/>
                  <a:pt x="1511" y="495"/>
                  <a:pt x="1511" y="495"/>
                </a:cubicBezTo>
                <a:cubicBezTo>
                  <a:pt x="1510" y="495"/>
                  <a:pt x="1510" y="495"/>
                  <a:pt x="1510" y="495"/>
                </a:cubicBezTo>
                <a:cubicBezTo>
                  <a:pt x="1510" y="495"/>
                  <a:pt x="1510" y="495"/>
                  <a:pt x="1509" y="495"/>
                </a:cubicBezTo>
                <a:cubicBezTo>
                  <a:pt x="1509" y="495"/>
                  <a:pt x="1509" y="495"/>
                  <a:pt x="1508" y="495"/>
                </a:cubicBezTo>
                <a:cubicBezTo>
                  <a:pt x="1508" y="494"/>
                  <a:pt x="1508" y="494"/>
                  <a:pt x="1508" y="494"/>
                </a:cubicBezTo>
                <a:cubicBezTo>
                  <a:pt x="1508" y="493"/>
                  <a:pt x="1508" y="493"/>
                  <a:pt x="1508" y="493"/>
                </a:cubicBezTo>
                <a:cubicBezTo>
                  <a:pt x="1508" y="493"/>
                  <a:pt x="1508" y="492"/>
                  <a:pt x="1508" y="492"/>
                </a:cubicBezTo>
                <a:cubicBezTo>
                  <a:pt x="1508" y="492"/>
                  <a:pt x="1508" y="492"/>
                  <a:pt x="1508" y="492"/>
                </a:cubicBezTo>
                <a:cubicBezTo>
                  <a:pt x="1508" y="492"/>
                  <a:pt x="1508" y="491"/>
                  <a:pt x="1508" y="491"/>
                </a:cubicBezTo>
                <a:cubicBezTo>
                  <a:pt x="1508" y="491"/>
                  <a:pt x="1508" y="491"/>
                  <a:pt x="1508" y="490"/>
                </a:cubicBezTo>
                <a:cubicBezTo>
                  <a:pt x="1508" y="490"/>
                  <a:pt x="1508" y="490"/>
                  <a:pt x="1507" y="490"/>
                </a:cubicBezTo>
                <a:cubicBezTo>
                  <a:pt x="1508" y="489"/>
                  <a:pt x="1508" y="489"/>
                  <a:pt x="1508" y="489"/>
                </a:cubicBezTo>
                <a:cubicBezTo>
                  <a:pt x="1508" y="489"/>
                  <a:pt x="1508" y="489"/>
                  <a:pt x="1509" y="489"/>
                </a:cubicBezTo>
                <a:cubicBezTo>
                  <a:pt x="1509" y="488"/>
                  <a:pt x="1509" y="488"/>
                  <a:pt x="1509" y="488"/>
                </a:cubicBezTo>
                <a:cubicBezTo>
                  <a:pt x="1509" y="488"/>
                  <a:pt x="1509" y="487"/>
                  <a:pt x="1509" y="487"/>
                </a:cubicBezTo>
                <a:cubicBezTo>
                  <a:pt x="1510" y="487"/>
                  <a:pt x="1511" y="487"/>
                  <a:pt x="1511" y="487"/>
                </a:cubicBezTo>
                <a:cubicBezTo>
                  <a:pt x="1511" y="487"/>
                  <a:pt x="1512" y="487"/>
                  <a:pt x="1512" y="487"/>
                </a:cubicBezTo>
                <a:cubicBezTo>
                  <a:pt x="1512" y="487"/>
                  <a:pt x="1512" y="487"/>
                  <a:pt x="1511" y="487"/>
                </a:cubicBezTo>
                <a:cubicBezTo>
                  <a:pt x="1511" y="487"/>
                  <a:pt x="1511" y="487"/>
                  <a:pt x="1511" y="487"/>
                </a:cubicBezTo>
                <a:cubicBezTo>
                  <a:pt x="1512" y="487"/>
                  <a:pt x="1512" y="487"/>
                  <a:pt x="1512" y="487"/>
                </a:cubicBezTo>
                <a:cubicBezTo>
                  <a:pt x="1512" y="487"/>
                  <a:pt x="1512" y="486"/>
                  <a:pt x="1513" y="486"/>
                </a:cubicBezTo>
                <a:cubicBezTo>
                  <a:pt x="1513" y="486"/>
                  <a:pt x="1513" y="485"/>
                  <a:pt x="1513" y="485"/>
                </a:cubicBezTo>
                <a:cubicBezTo>
                  <a:pt x="1514" y="485"/>
                  <a:pt x="1514" y="484"/>
                  <a:pt x="1515" y="484"/>
                </a:cubicBezTo>
                <a:cubicBezTo>
                  <a:pt x="1514" y="483"/>
                  <a:pt x="1514" y="483"/>
                  <a:pt x="1514" y="483"/>
                </a:cubicBezTo>
                <a:cubicBezTo>
                  <a:pt x="1514" y="483"/>
                  <a:pt x="1514" y="482"/>
                  <a:pt x="1514" y="482"/>
                </a:cubicBezTo>
                <a:cubicBezTo>
                  <a:pt x="1514" y="482"/>
                  <a:pt x="1514" y="482"/>
                  <a:pt x="1514" y="482"/>
                </a:cubicBezTo>
                <a:cubicBezTo>
                  <a:pt x="1514" y="481"/>
                  <a:pt x="1513" y="481"/>
                  <a:pt x="1513" y="480"/>
                </a:cubicBezTo>
                <a:cubicBezTo>
                  <a:pt x="1514" y="480"/>
                  <a:pt x="1514" y="479"/>
                  <a:pt x="1514" y="479"/>
                </a:cubicBezTo>
                <a:cubicBezTo>
                  <a:pt x="1514" y="479"/>
                  <a:pt x="1514" y="479"/>
                  <a:pt x="1515" y="479"/>
                </a:cubicBezTo>
                <a:cubicBezTo>
                  <a:pt x="1515" y="479"/>
                  <a:pt x="1515" y="478"/>
                  <a:pt x="1515" y="478"/>
                </a:cubicBezTo>
                <a:cubicBezTo>
                  <a:pt x="1515" y="478"/>
                  <a:pt x="1515" y="478"/>
                  <a:pt x="1515" y="477"/>
                </a:cubicBezTo>
                <a:cubicBezTo>
                  <a:pt x="1514" y="477"/>
                  <a:pt x="1514" y="477"/>
                  <a:pt x="1514" y="477"/>
                </a:cubicBezTo>
                <a:cubicBezTo>
                  <a:pt x="1514" y="478"/>
                  <a:pt x="1514" y="478"/>
                  <a:pt x="1514" y="478"/>
                </a:cubicBezTo>
                <a:cubicBezTo>
                  <a:pt x="1514" y="478"/>
                  <a:pt x="1513" y="478"/>
                  <a:pt x="1513" y="478"/>
                </a:cubicBezTo>
                <a:cubicBezTo>
                  <a:pt x="1513" y="478"/>
                  <a:pt x="1512" y="478"/>
                  <a:pt x="1512" y="477"/>
                </a:cubicBezTo>
                <a:cubicBezTo>
                  <a:pt x="1512" y="478"/>
                  <a:pt x="1511" y="478"/>
                  <a:pt x="1511" y="478"/>
                </a:cubicBezTo>
                <a:cubicBezTo>
                  <a:pt x="1511" y="477"/>
                  <a:pt x="1511" y="477"/>
                  <a:pt x="1511" y="477"/>
                </a:cubicBezTo>
                <a:cubicBezTo>
                  <a:pt x="1511" y="477"/>
                  <a:pt x="1510" y="477"/>
                  <a:pt x="1510" y="476"/>
                </a:cubicBezTo>
                <a:cubicBezTo>
                  <a:pt x="1510" y="476"/>
                  <a:pt x="1509" y="476"/>
                  <a:pt x="1508" y="475"/>
                </a:cubicBezTo>
                <a:cubicBezTo>
                  <a:pt x="1508" y="475"/>
                  <a:pt x="1507" y="475"/>
                  <a:pt x="1507" y="475"/>
                </a:cubicBezTo>
                <a:cubicBezTo>
                  <a:pt x="1507" y="475"/>
                  <a:pt x="1507" y="476"/>
                  <a:pt x="1507" y="476"/>
                </a:cubicBezTo>
                <a:cubicBezTo>
                  <a:pt x="1506" y="476"/>
                  <a:pt x="1506" y="477"/>
                  <a:pt x="1505" y="477"/>
                </a:cubicBezTo>
                <a:cubicBezTo>
                  <a:pt x="1505" y="477"/>
                  <a:pt x="1505" y="478"/>
                  <a:pt x="1505" y="478"/>
                </a:cubicBezTo>
                <a:cubicBezTo>
                  <a:pt x="1505" y="478"/>
                  <a:pt x="1505" y="479"/>
                  <a:pt x="1504" y="479"/>
                </a:cubicBezTo>
                <a:cubicBezTo>
                  <a:pt x="1504" y="480"/>
                  <a:pt x="1504" y="480"/>
                  <a:pt x="1503" y="481"/>
                </a:cubicBezTo>
                <a:cubicBezTo>
                  <a:pt x="1503" y="481"/>
                  <a:pt x="1503" y="481"/>
                  <a:pt x="1502" y="482"/>
                </a:cubicBezTo>
                <a:cubicBezTo>
                  <a:pt x="1503" y="482"/>
                  <a:pt x="1503" y="482"/>
                  <a:pt x="1503" y="483"/>
                </a:cubicBezTo>
                <a:cubicBezTo>
                  <a:pt x="1503" y="483"/>
                  <a:pt x="1503" y="483"/>
                  <a:pt x="1503" y="483"/>
                </a:cubicBezTo>
                <a:cubicBezTo>
                  <a:pt x="1502" y="483"/>
                  <a:pt x="1502" y="483"/>
                  <a:pt x="1502" y="483"/>
                </a:cubicBezTo>
                <a:cubicBezTo>
                  <a:pt x="1502" y="483"/>
                  <a:pt x="1501" y="483"/>
                  <a:pt x="1501" y="483"/>
                </a:cubicBezTo>
                <a:cubicBezTo>
                  <a:pt x="1501" y="483"/>
                  <a:pt x="1501" y="483"/>
                  <a:pt x="1501" y="482"/>
                </a:cubicBezTo>
                <a:cubicBezTo>
                  <a:pt x="1500" y="483"/>
                  <a:pt x="1500" y="483"/>
                  <a:pt x="1500" y="483"/>
                </a:cubicBezTo>
                <a:cubicBezTo>
                  <a:pt x="1500" y="483"/>
                  <a:pt x="1500" y="484"/>
                  <a:pt x="1500" y="484"/>
                </a:cubicBezTo>
                <a:cubicBezTo>
                  <a:pt x="1500" y="484"/>
                  <a:pt x="1500" y="484"/>
                  <a:pt x="1501" y="484"/>
                </a:cubicBezTo>
                <a:cubicBezTo>
                  <a:pt x="1501" y="484"/>
                  <a:pt x="1501" y="484"/>
                  <a:pt x="1501" y="484"/>
                </a:cubicBezTo>
                <a:cubicBezTo>
                  <a:pt x="1501" y="485"/>
                  <a:pt x="1500" y="485"/>
                  <a:pt x="1500" y="485"/>
                </a:cubicBezTo>
                <a:cubicBezTo>
                  <a:pt x="1500" y="485"/>
                  <a:pt x="1500" y="486"/>
                  <a:pt x="1500" y="486"/>
                </a:cubicBezTo>
                <a:cubicBezTo>
                  <a:pt x="1500" y="486"/>
                  <a:pt x="1500" y="487"/>
                  <a:pt x="1501" y="487"/>
                </a:cubicBezTo>
                <a:cubicBezTo>
                  <a:pt x="1500" y="488"/>
                  <a:pt x="1500" y="488"/>
                  <a:pt x="1500" y="488"/>
                </a:cubicBezTo>
                <a:cubicBezTo>
                  <a:pt x="1500" y="488"/>
                  <a:pt x="1500" y="489"/>
                  <a:pt x="1500" y="489"/>
                </a:cubicBezTo>
                <a:close/>
                <a:moveTo>
                  <a:pt x="1515" y="516"/>
                </a:moveTo>
                <a:cubicBezTo>
                  <a:pt x="1515" y="516"/>
                  <a:pt x="1516" y="516"/>
                  <a:pt x="1516" y="516"/>
                </a:cubicBezTo>
                <a:cubicBezTo>
                  <a:pt x="1516" y="516"/>
                  <a:pt x="1517" y="516"/>
                  <a:pt x="1517" y="516"/>
                </a:cubicBezTo>
                <a:cubicBezTo>
                  <a:pt x="1517" y="515"/>
                  <a:pt x="1517" y="515"/>
                  <a:pt x="1517" y="515"/>
                </a:cubicBezTo>
                <a:cubicBezTo>
                  <a:pt x="1517" y="515"/>
                  <a:pt x="1517" y="514"/>
                  <a:pt x="1517" y="514"/>
                </a:cubicBezTo>
                <a:cubicBezTo>
                  <a:pt x="1516" y="514"/>
                  <a:pt x="1516" y="514"/>
                  <a:pt x="1516" y="514"/>
                </a:cubicBezTo>
                <a:cubicBezTo>
                  <a:pt x="1515" y="514"/>
                  <a:pt x="1515" y="514"/>
                  <a:pt x="1514" y="514"/>
                </a:cubicBezTo>
                <a:cubicBezTo>
                  <a:pt x="1514" y="514"/>
                  <a:pt x="1514" y="514"/>
                  <a:pt x="1513" y="515"/>
                </a:cubicBezTo>
                <a:cubicBezTo>
                  <a:pt x="1513" y="515"/>
                  <a:pt x="1514" y="515"/>
                  <a:pt x="1514" y="515"/>
                </a:cubicBezTo>
                <a:cubicBezTo>
                  <a:pt x="1514" y="515"/>
                  <a:pt x="1514" y="515"/>
                  <a:pt x="1513" y="516"/>
                </a:cubicBezTo>
                <a:cubicBezTo>
                  <a:pt x="1514" y="516"/>
                  <a:pt x="1514" y="516"/>
                  <a:pt x="1515" y="516"/>
                </a:cubicBezTo>
                <a:close/>
                <a:moveTo>
                  <a:pt x="1518" y="512"/>
                </a:moveTo>
                <a:cubicBezTo>
                  <a:pt x="1518" y="512"/>
                  <a:pt x="1518" y="512"/>
                  <a:pt x="1518" y="512"/>
                </a:cubicBezTo>
                <a:cubicBezTo>
                  <a:pt x="1518" y="512"/>
                  <a:pt x="1519" y="512"/>
                  <a:pt x="1519" y="512"/>
                </a:cubicBezTo>
                <a:cubicBezTo>
                  <a:pt x="1519" y="512"/>
                  <a:pt x="1518" y="513"/>
                  <a:pt x="1518" y="513"/>
                </a:cubicBezTo>
                <a:cubicBezTo>
                  <a:pt x="1518" y="513"/>
                  <a:pt x="1518" y="514"/>
                  <a:pt x="1519" y="514"/>
                </a:cubicBezTo>
                <a:cubicBezTo>
                  <a:pt x="1518" y="514"/>
                  <a:pt x="1518" y="515"/>
                  <a:pt x="1518" y="515"/>
                </a:cubicBezTo>
                <a:cubicBezTo>
                  <a:pt x="1519" y="515"/>
                  <a:pt x="1519" y="515"/>
                  <a:pt x="1519" y="516"/>
                </a:cubicBezTo>
                <a:cubicBezTo>
                  <a:pt x="1519" y="515"/>
                  <a:pt x="1519" y="515"/>
                  <a:pt x="1519" y="515"/>
                </a:cubicBezTo>
                <a:cubicBezTo>
                  <a:pt x="1519" y="515"/>
                  <a:pt x="1520" y="515"/>
                  <a:pt x="1520" y="515"/>
                </a:cubicBezTo>
                <a:cubicBezTo>
                  <a:pt x="1520" y="515"/>
                  <a:pt x="1520" y="515"/>
                  <a:pt x="1521" y="515"/>
                </a:cubicBezTo>
                <a:cubicBezTo>
                  <a:pt x="1521" y="515"/>
                  <a:pt x="1521" y="515"/>
                  <a:pt x="1521" y="515"/>
                </a:cubicBezTo>
                <a:cubicBezTo>
                  <a:pt x="1521" y="515"/>
                  <a:pt x="1521" y="514"/>
                  <a:pt x="1520" y="514"/>
                </a:cubicBezTo>
                <a:cubicBezTo>
                  <a:pt x="1520" y="513"/>
                  <a:pt x="1520" y="513"/>
                  <a:pt x="1520" y="513"/>
                </a:cubicBezTo>
                <a:cubicBezTo>
                  <a:pt x="1520" y="513"/>
                  <a:pt x="1520" y="512"/>
                  <a:pt x="1520" y="512"/>
                </a:cubicBezTo>
                <a:cubicBezTo>
                  <a:pt x="1520" y="512"/>
                  <a:pt x="1520" y="511"/>
                  <a:pt x="1520" y="511"/>
                </a:cubicBezTo>
                <a:cubicBezTo>
                  <a:pt x="1520" y="511"/>
                  <a:pt x="1520" y="511"/>
                  <a:pt x="1520" y="511"/>
                </a:cubicBezTo>
                <a:cubicBezTo>
                  <a:pt x="1520" y="511"/>
                  <a:pt x="1519" y="510"/>
                  <a:pt x="1519" y="510"/>
                </a:cubicBezTo>
                <a:cubicBezTo>
                  <a:pt x="1519" y="510"/>
                  <a:pt x="1518" y="510"/>
                  <a:pt x="1518" y="510"/>
                </a:cubicBezTo>
                <a:cubicBezTo>
                  <a:pt x="1518" y="510"/>
                  <a:pt x="1518" y="510"/>
                  <a:pt x="1518" y="510"/>
                </a:cubicBezTo>
                <a:cubicBezTo>
                  <a:pt x="1518" y="510"/>
                  <a:pt x="1518" y="510"/>
                  <a:pt x="1518" y="510"/>
                </a:cubicBezTo>
                <a:cubicBezTo>
                  <a:pt x="1518" y="511"/>
                  <a:pt x="1517" y="511"/>
                  <a:pt x="1517" y="511"/>
                </a:cubicBezTo>
                <a:cubicBezTo>
                  <a:pt x="1517" y="511"/>
                  <a:pt x="1518" y="512"/>
                  <a:pt x="1518" y="512"/>
                </a:cubicBezTo>
                <a:close/>
                <a:moveTo>
                  <a:pt x="1520" y="517"/>
                </a:moveTo>
                <a:cubicBezTo>
                  <a:pt x="1520" y="517"/>
                  <a:pt x="1520" y="517"/>
                  <a:pt x="1521" y="517"/>
                </a:cubicBezTo>
                <a:cubicBezTo>
                  <a:pt x="1520" y="516"/>
                  <a:pt x="1520" y="516"/>
                  <a:pt x="1520" y="516"/>
                </a:cubicBezTo>
                <a:cubicBezTo>
                  <a:pt x="1520" y="516"/>
                  <a:pt x="1520" y="516"/>
                  <a:pt x="1520" y="516"/>
                </a:cubicBezTo>
                <a:cubicBezTo>
                  <a:pt x="1520" y="517"/>
                  <a:pt x="1520" y="517"/>
                  <a:pt x="1520" y="517"/>
                </a:cubicBezTo>
                <a:close/>
                <a:moveTo>
                  <a:pt x="1516" y="512"/>
                </a:moveTo>
                <a:cubicBezTo>
                  <a:pt x="1516" y="512"/>
                  <a:pt x="1516" y="512"/>
                  <a:pt x="1516" y="512"/>
                </a:cubicBezTo>
                <a:cubicBezTo>
                  <a:pt x="1517" y="512"/>
                  <a:pt x="1517" y="512"/>
                  <a:pt x="1517" y="512"/>
                </a:cubicBezTo>
                <a:cubicBezTo>
                  <a:pt x="1517" y="512"/>
                  <a:pt x="1516" y="512"/>
                  <a:pt x="1516" y="512"/>
                </a:cubicBezTo>
                <a:close/>
                <a:moveTo>
                  <a:pt x="1491" y="504"/>
                </a:moveTo>
                <a:cubicBezTo>
                  <a:pt x="1491" y="504"/>
                  <a:pt x="1491" y="504"/>
                  <a:pt x="1490" y="504"/>
                </a:cubicBezTo>
                <a:cubicBezTo>
                  <a:pt x="1490" y="504"/>
                  <a:pt x="1490" y="504"/>
                  <a:pt x="1489" y="505"/>
                </a:cubicBezTo>
                <a:cubicBezTo>
                  <a:pt x="1489" y="505"/>
                  <a:pt x="1489" y="505"/>
                  <a:pt x="1489" y="505"/>
                </a:cubicBezTo>
                <a:cubicBezTo>
                  <a:pt x="1489" y="505"/>
                  <a:pt x="1488" y="505"/>
                  <a:pt x="1488" y="505"/>
                </a:cubicBezTo>
                <a:cubicBezTo>
                  <a:pt x="1487" y="505"/>
                  <a:pt x="1487" y="506"/>
                  <a:pt x="1486" y="506"/>
                </a:cubicBezTo>
                <a:cubicBezTo>
                  <a:pt x="1486" y="506"/>
                  <a:pt x="1485" y="507"/>
                  <a:pt x="1485" y="507"/>
                </a:cubicBezTo>
                <a:cubicBezTo>
                  <a:pt x="1484" y="507"/>
                  <a:pt x="1484" y="507"/>
                  <a:pt x="1484" y="507"/>
                </a:cubicBezTo>
                <a:cubicBezTo>
                  <a:pt x="1483" y="507"/>
                  <a:pt x="1483" y="507"/>
                  <a:pt x="1483" y="507"/>
                </a:cubicBezTo>
                <a:cubicBezTo>
                  <a:pt x="1483" y="507"/>
                  <a:pt x="1482" y="507"/>
                  <a:pt x="1482" y="507"/>
                </a:cubicBezTo>
                <a:cubicBezTo>
                  <a:pt x="1482" y="508"/>
                  <a:pt x="1481" y="508"/>
                  <a:pt x="1480" y="508"/>
                </a:cubicBezTo>
                <a:cubicBezTo>
                  <a:pt x="1480" y="508"/>
                  <a:pt x="1480" y="508"/>
                  <a:pt x="1480" y="508"/>
                </a:cubicBezTo>
                <a:cubicBezTo>
                  <a:pt x="1480" y="508"/>
                  <a:pt x="1480" y="509"/>
                  <a:pt x="1480" y="509"/>
                </a:cubicBezTo>
                <a:cubicBezTo>
                  <a:pt x="1480" y="509"/>
                  <a:pt x="1481" y="508"/>
                  <a:pt x="1481" y="508"/>
                </a:cubicBezTo>
                <a:cubicBezTo>
                  <a:pt x="1481" y="508"/>
                  <a:pt x="1482" y="509"/>
                  <a:pt x="1482" y="509"/>
                </a:cubicBezTo>
                <a:cubicBezTo>
                  <a:pt x="1482" y="508"/>
                  <a:pt x="1482" y="508"/>
                  <a:pt x="1483" y="508"/>
                </a:cubicBezTo>
                <a:cubicBezTo>
                  <a:pt x="1483" y="508"/>
                  <a:pt x="1483" y="508"/>
                  <a:pt x="1484" y="508"/>
                </a:cubicBezTo>
                <a:cubicBezTo>
                  <a:pt x="1484" y="508"/>
                  <a:pt x="1485" y="508"/>
                  <a:pt x="1485" y="508"/>
                </a:cubicBezTo>
                <a:cubicBezTo>
                  <a:pt x="1486" y="508"/>
                  <a:pt x="1486" y="508"/>
                  <a:pt x="1486" y="508"/>
                </a:cubicBezTo>
                <a:cubicBezTo>
                  <a:pt x="1487" y="508"/>
                  <a:pt x="1487" y="507"/>
                  <a:pt x="1487" y="507"/>
                </a:cubicBezTo>
                <a:cubicBezTo>
                  <a:pt x="1487" y="507"/>
                  <a:pt x="1487" y="507"/>
                  <a:pt x="1488" y="507"/>
                </a:cubicBezTo>
                <a:cubicBezTo>
                  <a:pt x="1488" y="507"/>
                  <a:pt x="1488" y="507"/>
                  <a:pt x="1488" y="507"/>
                </a:cubicBezTo>
                <a:cubicBezTo>
                  <a:pt x="1488" y="506"/>
                  <a:pt x="1489" y="506"/>
                  <a:pt x="1489" y="506"/>
                </a:cubicBezTo>
                <a:cubicBezTo>
                  <a:pt x="1489" y="506"/>
                  <a:pt x="1489" y="505"/>
                  <a:pt x="1489" y="505"/>
                </a:cubicBezTo>
                <a:cubicBezTo>
                  <a:pt x="1490" y="506"/>
                  <a:pt x="1490" y="506"/>
                  <a:pt x="1491" y="506"/>
                </a:cubicBezTo>
                <a:cubicBezTo>
                  <a:pt x="1491" y="506"/>
                  <a:pt x="1491" y="505"/>
                  <a:pt x="1492" y="505"/>
                </a:cubicBezTo>
                <a:cubicBezTo>
                  <a:pt x="1492" y="505"/>
                  <a:pt x="1492" y="505"/>
                  <a:pt x="1492" y="505"/>
                </a:cubicBezTo>
                <a:cubicBezTo>
                  <a:pt x="1493" y="505"/>
                  <a:pt x="1493" y="505"/>
                  <a:pt x="1493" y="505"/>
                </a:cubicBezTo>
                <a:cubicBezTo>
                  <a:pt x="1493" y="505"/>
                  <a:pt x="1494" y="505"/>
                  <a:pt x="1494" y="505"/>
                </a:cubicBezTo>
                <a:cubicBezTo>
                  <a:pt x="1494" y="504"/>
                  <a:pt x="1494" y="504"/>
                  <a:pt x="1494" y="504"/>
                </a:cubicBezTo>
                <a:cubicBezTo>
                  <a:pt x="1493" y="503"/>
                  <a:pt x="1493" y="503"/>
                  <a:pt x="1493" y="503"/>
                </a:cubicBezTo>
                <a:cubicBezTo>
                  <a:pt x="1493" y="503"/>
                  <a:pt x="1493" y="502"/>
                  <a:pt x="1493" y="502"/>
                </a:cubicBezTo>
                <a:cubicBezTo>
                  <a:pt x="1494" y="502"/>
                  <a:pt x="1494" y="501"/>
                  <a:pt x="1494" y="501"/>
                </a:cubicBezTo>
                <a:cubicBezTo>
                  <a:pt x="1494" y="501"/>
                  <a:pt x="1493" y="501"/>
                  <a:pt x="1493" y="501"/>
                </a:cubicBezTo>
                <a:cubicBezTo>
                  <a:pt x="1493" y="501"/>
                  <a:pt x="1493" y="502"/>
                  <a:pt x="1493" y="502"/>
                </a:cubicBezTo>
                <a:cubicBezTo>
                  <a:pt x="1493" y="502"/>
                  <a:pt x="1493" y="503"/>
                  <a:pt x="1492" y="503"/>
                </a:cubicBezTo>
                <a:cubicBezTo>
                  <a:pt x="1492" y="503"/>
                  <a:pt x="1492" y="503"/>
                  <a:pt x="1492" y="503"/>
                </a:cubicBezTo>
                <a:cubicBezTo>
                  <a:pt x="1492" y="503"/>
                  <a:pt x="1492" y="503"/>
                  <a:pt x="1492" y="503"/>
                </a:cubicBezTo>
                <a:cubicBezTo>
                  <a:pt x="1492" y="504"/>
                  <a:pt x="1492" y="504"/>
                  <a:pt x="1492" y="504"/>
                </a:cubicBezTo>
                <a:cubicBezTo>
                  <a:pt x="1492" y="504"/>
                  <a:pt x="1491" y="504"/>
                  <a:pt x="1491" y="504"/>
                </a:cubicBezTo>
                <a:close/>
                <a:moveTo>
                  <a:pt x="1519" y="510"/>
                </a:moveTo>
                <a:cubicBezTo>
                  <a:pt x="1519" y="509"/>
                  <a:pt x="1519" y="509"/>
                  <a:pt x="1519" y="509"/>
                </a:cubicBezTo>
                <a:cubicBezTo>
                  <a:pt x="1519" y="509"/>
                  <a:pt x="1518" y="509"/>
                  <a:pt x="1518" y="509"/>
                </a:cubicBezTo>
                <a:cubicBezTo>
                  <a:pt x="1518" y="509"/>
                  <a:pt x="1518" y="509"/>
                  <a:pt x="1517" y="509"/>
                </a:cubicBezTo>
                <a:cubicBezTo>
                  <a:pt x="1518" y="509"/>
                  <a:pt x="1518" y="509"/>
                  <a:pt x="1518" y="509"/>
                </a:cubicBezTo>
                <a:cubicBezTo>
                  <a:pt x="1518" y="510"/>
                  <a:pt x="1518" y="510"/>
                  <a:pt x="1519" y="510"/>
                </a:cubicBezTo>
                <a:close/>
                <a:moveTo>
                  <a:pt x="1514" y="502"/>
                </a:moveTo>
                <a:cubicBezTo>
                  <a:pt x="1514" y="502"/>
                  <a:pt x="1514" y="502"/>
                  <a:pt x="1514" y="501"/>
                </a:cubicBezTo>
                <a:cubicBezTo>
                  <a:pt x="1514" y="501"/>
                  <a:pt x="1514" y="501"/>
                  <a:pt x="1513" y="500"/>
                </a:cubicBezTo>
                <a:cubicBezTo>
                  <a:pt x="1513" y="500"/>
                  <a:pt x="1513" y="500"/>
                  <a:pt x="1513" y="500"/>
                </a:cubicBezTo>
                <a:cubicBezTo>
                  <a:pt x="1513" y="500"/>
                  <a:pt x="1513" y="501"/>
                  <a:pt x="1513" y="501"/>
                </a:cubicBezTo>
                <a:cubicBezTo>
                  <a:pt x="1513" y="501"/>
                  <a:pt x="1513" y="502"/>
                  <a:pt x="1514" y="502"/>
                </a:cubicBezTo>
                <a:cubicBezTo>
                  <a:pt x="1514" y="502"/>
                  <a:pt x="1514" y="502"/>
                  <a:pt x="1514" y="502"/>
                </a:cubicBezTo>
                <a:close/>
                <a:moveTo>
                  <a:pt x="1521" y="506"/>
                </a:moveTo>
                <a:cubicBezTo>
                  <a:pt x="1521" y="506"/>
                  <a:pt x="1521" y="506"/>
                  <a:pt x="1521" y="506"/>
                </a:cubicBezTo>
                <a:cubicBezTo>
                  <a:pt x="1521" y="506"/>
                  <a:pt x="1520" y="505"/>
                  <a:pt x="1520" y="505"/>
                </a:cubicBezTo>
                <a:cubicBezTo>
                  <a:pt x="1520" y="505"/>
                  <a:pt x="1519" y="505"/>
                  <a:pt x="1519" y="505"/>
                </a:cubicBezTo>
                <a:cubicBezTo>
                  <a:pt x="1519" y="505"/>
                  <a:pt x="1519" y="505"/>
                  <a:pt x="1519" y="505"/>
                </a:cubicBezTo>
                <a:cubicBezTo>
                  <a:pt x="1519" y="505"/>
                  <a:pt x="1519" y="505"/>
                  <a:pt x="1519" y="505"/>
                </a:cubicBezTo>
                <a:cubicBezTo>
                  <a:pt x="1519" y="506"/>
                  <a:pt x="1519" y="506"/>
                  <a:pt x="1519" y="507"/>
                </a:cubicBezTo>
                <a:cubicBezTo>
                  <a:pt x="1519" y="507"/>
                  <a:pt x="1520" y="507"/>
                  <a:pt x="1520" y="508"/>
                </a:cubicBezTo>
                <a:cubicBezTo>
                  <a:pt x="1520" y="508"/>
                  <a:pt x="1520" y="509"/>
                  <a:pt x="1521" y="509"/>
                </a:cubicBezTo>
                <a:cubicBezTo>
                  <a:pt x="1521" y="509"/>
                  <a:pt x="1521" y="509"/>
                  <a:pt x="1521" y="510"/>
                </a:cubicBezTo>
                <a:cubicBezTo>
                  <a:pt x="1521" y="510"/>
                  <a:pt x="1521" y="510"/>
                  <a:pt x="1521" y="510"/>
                </a:cubicBezTo>
                <a:cubicBezTo>
                  <a:pt x="1521" y="510"/>
                  <a:pt x="1520" y="510"/>
                  <a:pt x="1520" y="510"/>
                </a:cubicBezTo>
                <a:cubicBezTo>
                  <a:pt x="1520" y="510"/>
                  <a:pt x="1520" y="510"/>
                  <a:pt x="1520" y="510"/>
                </a:cubicBezTo>
                <a:cubicBezTo>
                  <a:pt x="1520" y="510"/>
                  <a:pt x="1520" y="510"/>
                  <a:pt x="1520" y="510"/>
                </a:cubicBezTo>
                <a:cubicBezTo>
                  <a:pt x="1520" y="510"/>
                  <a:pt x="1520" y="510"/>
                  <a:pt x="1521" y="510"/>
                </a:cubicBezTo>
                <a:cubicBezTo>
                  <a:pt x="1521" y="511"/>
                  <a:pt x="1521" y="511"/>
                  <a:pt x="1521" y="511"/>
                </a:cubicBezTo>
                <a:cubicBezTo>
                  <a:pt x="1521" y="511"/>
                  <a:pt x="1521" y="511"/>
                  <a:pt x="1521" y="511"/>
                </a:cubicBezTo>
                <a:cubicBezTo>
                  <a:pt x="1521" y="512"/>
                  <a:pt x="1521" y="512"/>
                  <a:pt x="1521" y="512"/>
                </a:cubicBezTo>
                <a:cubicBezTo>
                  <a:pt x="1522" y="512"/>
                  <a:pt x="1522" y="512"/>
                  <a:pt x="1523" y="513"/>
                </a:cubicBezTo>
                <a:cubicBezTo>
                  <a:pt x="1523" y="513"/>
                  <a:pt x="1523" y="513"/>
                  <a:pt x="1523" y="513"/>
                </a:cubicBezTo>
                <a:cubicBezTo>
                  <a:pt x="1523" y="513"/>
                  <a:pt x="1523" y="513"/>
                  <a:pt x="1523" y="513"/>
                </a:cubicBezTo>
                <a:cubicBezTo>
                  <a:pt x="1524" y="513"/>
                  <a:pt x="1524" y="513"/>
                  <a:pt x="1524" y="513"/>
                </a:cubicBezTo>
                <a:cubicBezTo>
                  <a:pt x="1524" y="513"/>
                  <a:pt x="1524" y="513"/>
                  <a:pt x="1524" y="512"/>
                </a:cubicBezTo>
                <a:cubicBezTo>
                  <a:pt x="1524" y="512"/>
                  <a:pt x="1524" y="512"/>
                  <a:pt x="1524" y="512"/>
                </a:cubicBezTo>
                <a:cubicBezTo>
                  <a:pt x="1523" y="511"/>
                  <a:pt x="1523" y="511"/>
                  <a:pt x="1523" y="511"/>
                </a:cubicBezTo>
                <a:cubicBezTo>
                  <a:pt x="1523" y="511"/>
                  <a:pt x="1523" y="510"/>
                  <a:pt x="1524" y="510"/>
                </a:cubicBezTo>
                <a:cubicBezTo>
                  <a:pt x="1524" y="510"/>
                  <a:pt x="1524" y="509"/>
                  <a:pt x="1524" y="509"/>
                </a:cubicBezTo>
                <a:cubicBezTo>
                  <a:pt x="1524" y="509"/>
                  <a:pt x="1524" y="509"/>
                  <a:pt x="1524" y="509"/>
                </a:cubicBezTo>
                <a:cubicBezTo>
                  <a:pt x="1524" y="508"/>
                  <a:pt x="1524" y="508"/>
                  <a:pt x="1524" y="508"/>
                </a:cubicBezTo>
                <a:cubicBezTo>
                  <a:pt x="1524" y="508"/>
                  <a:pt x="1524" y="507"/>
                  <a:pt x="1523" y="507"/>
                </a:cubicBezTo>
                <a:cubicBezTo>
                  <a:pt x="1523" y="507"/>
                  <a:pt x="1523" y="507"/>
                  <a:pt x="1523" y="506"/>
                </a:cubicBezTo>
                <a:cubicBezTo>
                  <a:pt x="1523" y="506"/>
                  <a:pt x="1523" y="506"/>
                  <a:pt x="1523" y="506"/>
                </a:cubicBezTo>
                <a:cubicBezTo>
                  <a:pt x="1522" y="506"/>
                  <a:pt x="1522" y="506"/>
                  <a:pt x="1522" y="506"/>
                </a:cubicBezTo>
                <a:cubicBezTo>
                  <a:pt x="1522" y="506"/>
                  <a:pt x="1522" y="506"/>
                  <a:pt x="1522" y="506"/>
                </a:cubicBezTo>
                <a:cubicBezTo>
                  <a:pt x="1522" y="506"/>
                  <a:pt x="1521" y="506"/>
                  <a:pt x="1521" y="506"/>
                </a:cubicBezTo>
                <a:close/>
                <a:moveTo>
                  <a:pt x="1520" y="499"/>
                </a:moveTo>
                <a:cubicBezTo>
                  <a:pt x="1520" y="499"/>
                  <a:pt x="1520" y="499"/>
                  <a:pt x="1520" y="499"/>
                </a:cubicBezTo>
                <a:cubicBezTo>
                  <a:pt x="1520" y="499"/>
                  <a:pt x="1520" y="499"/>
                  <a:pt x="1519" y="500"/>
                </a:cubicBezTo>
                <a:cubicBezTo>
                  <a:pt x="1519" y="500"/>
                  <a:pt x="1519" y="500"/>
                  <a:pt x="1519" y="500"/>
                </a:cubicBezTo>
                <a:cubicBezTo>
                  <a:pt x="1519" y="500"/>
                  <a:pt x="1519" y="500"/>
                  <a:pt x="1519" y="500"/>
                </a:cubicBezTo>
                <a:cubicBezTo>
                  <a:pt x="1519" y="500"/>
                  <a:pt x="1519" y="501"/>
                  <a:pt x="1519" y="501"/>
                </a:cubicBezTo>
                <a:cubicBezTo>
                  <a:pt x="1519" y="501"/>
                  <a:pt x="1520" y="501"/>
                  <a:pt x="1520" y="501"/>
                </a:cubicBezTo>
                <a:cubicBezTo>
                  <a:pt x="1520" y="501"/>
                  <a:pt x="1521" y="501"/>
                  <a:pt x="1521" y="500"/>
                </a:cubicBezTo>
                <a:cubicBezTo>
                  <a:pt x="1521" y="500"/>
                  <a:pt x="1521" y="500"/>
                  <a:pt x="1521" y="500"/>
                </a:cubicBezTo>
                <a:cubicBezTo>
                  <a:pt x="1520" y="499"/>
                  <a:pt x="1520" y="499"/>
                  <a:pt x="1520" y="499"/>
                </a:cubicBezTo>
                <a:close/>
                <a:moveTo>
                  <a:pt x="1511" y="492"/>
                </a:moveTo>
                <a:cubicBezTo>
                  <a:pt x="1511" y="492"/>
                  <a:pt x="1511" y="491"/>
                  <a:pt x="1511" y="491"/>
                </a:cubicBezTo>
                <a:cubicBezTo>
                  <a:pt x="1511" y="491"/>
                  <a:pt x="1511" y="491"/>
                  <a:pt x="1511" y="491"/>
                </a:cubicBezTo>
                <a:cubicBezTo>
                  <a:pt x="1510" y="491"/>
                  <a:pt x="1510" y="491"/>
                  <a:pt x="1509" y="491"/>
                </a:cubicBezTo>
                <a:cubicBezTo>
                  <a:pt x="1509" y="491"/>
                  <a:pt x="1509" y="492"/>
                  <a:pt x="1509" y="492"/>
                </a:cubicBezTo>
                <a:cubicBezTo>
                  <a:pt x="1509" y="492"/>
                  <a:pt x="1509" y="492"/>
                  <a:pt x="1509" y="492"/>
                </a:cubicBezTo>
                <a:cubicBezTo>
                  <a:pt x="1509" y="492"/>
                  <a:pt x="1509" y="493"/>
                  <a:pt x="1509" y="493"/>
                </a:cubicBezTo>
                <a:cubicBezTo>
                  <a:pt x="1510" y="493"/>
                  <a:pt x="1510" y="493"/>
                  <a:pt x="1510" y="493"/>
                </a:cubicBezTo>
                <a:cubicBezTo>
                  <a:pt x="1510" y="492"/>
                  <a:pt x="1510" y="492"/>
                  <a:pt x="1511" y="492"/>
                </a:cubicBezTo>
                <a:close/>
                <a:moveTo>
                  <a:pt x="1509" y="495"/>
                </a:moveTo>
                <a:cubicBezTo>
                  <a:pt x="1509" y="495"/>
                  <a:pt x="1510" y="495"/>
                  <a:pt x="1510" y="495"/>
                </a:cubicBezTo>
                <a:cubicBezTo>
                  <a:pt x="1510" y="495"/>
                  <a:pt x="1510" y="495"/>
                  <a:pt x="1510" y="494"/>
                </a:cubicBezTo>
                <a:cubicBezTo>
                  <a:pt x="1510" y="494"/>
                  <a:pt x="1509" y="494"/>
                  <a:pt x="1509" y="494"/>
                </a:cubicBezTo>
                <a:cubicBezTo>
                  <a:pt x="1509" y="494"/>
                  <a:pt x="1509" y="494"/>
                  <a:pt x="1509" y="495"/>
                </a:cubicBezTo>
                <a:close/>
                <a:moveTo>
                  <a:pt x="1513" y="476"/>
                </a:moveTo>
                <a:cubicBezTo>
                  <a:pt x="1514" y="476"/>
                  <a:pt x="1514" y="476"/>
                  <a:pt x="1514" y="476"/>
                </a:cubicBezTo>
                <a:cubicBezTo>
                  <a:pt x="1514" y="476"/>
                  <a:pt x="1514" y="475"/>
                  <a:pt x="1514" y="475"/>
                </a:cubicBezTo>
                <a:cubicBezTo>
                  <a:pt x="1514" y="475"/>
                  <a:pt x="1513" y="475"/>
                  <a:pt x="1513" y="475"/>
                </a:cubicBezTo>
                <a:cubicBezTo>
                  <a:pt x="1513" y="476"/>
                  <a:pt x="1513" y="476"/>
                  <a:pt x="1513" y="476"/>
                </a:cubicBezTo>
                <a:close/>
                <a:moveTo>
                  <a:pt x="1509" y="498"/>
                </a:moveTo>
                <a:cubicBezTo>
                  <a:pt x="1509" y="498"/>
                  <a:pt x="1509" y="498"/>
                  <a:pt x="1509" y="498"/>
                </a:cubicBezTo>
                <a:cubicBezTo>
                  <a:pt x="1509" y="498"/>
                  <a:pt x="1509" y="497"/>
                  <a:pt x="1509" y="497"/>
                </a:cubicBezTo>
                <a:cubicBezTo>
                  <a:pt x="1509" y="497"/>
                  <a:pt x="1509" y="497"/>
                  <a:pt x="1508" y="497"/>
                </a:cubicBezTo>
                <a:cubicBezTo>
                  <a:pt x="1508" y="497"/>
                  <a:pt x="1508" y="497"/>
                  <a:pt x="1508" y="497"/>
                </a:cubicBezTo>
                <a:cubicBezTo>
                  <a:pt x="1508" y="497"/>
                  <a:pt x="1508" y="497"/>
                  <a:pt x="1508" y="497"/>
                </a:cubicBezTo>
                <a:cubicBezTo>
                  <a:pt x="1508" y="498"/>
                  <a:pt x="1508" y="498"/>
                  <a:pt x="1508" y="498"/>
                </a:cubicBezTo>
                <a:cubicBezTo>
                  <a:pt x="1509" y="498"/>
                  <a:pt x="1509" y="498"/>
                  <a:pt x="1509" y="498"/>
                </a:cubicBezTo>
                <a:close/>
                <a:moveTo>
                  <a:pt x="1512" y="473"/>
                </a:moveTo>
                <a:cubicBezTo>
                  <a:pt x="1512" y="473"/>
                  <a:pt x="1512" y="473"/>
                  <a:pt x="1512" y="473"/>
                </a:cubicBezTo>
                <a:cubicBezTo>
                  <a:pt x="1512" y="473"/>
                  <a:pt x="1512" y="473"/>
                  <a:pt x="1512" y="473"/>
                </a:cubicBezTo>
                <a:cubicBezTo>
                  <a:pt x="1512" y="473"/>
                  <a:pt x="1512" y="473"/>
                  <a:pt x="1512" y="473"/>
                </a:cubicBezTo>
                <a:close/>
                <a:moveTo>
                  <a:pt x="1499" y="492"/>
                </a:moveTo>
                <a:cubicBezTo>
                  <a:pt x="1499" y="493"/>
                  <a:pt x="1499" y="493"/>
                  <a:pt x="1499" y="493"/>
                </a:cubicBezTo>
                <a:cubicBezTo>
                  <a:pt x="1500" y="493"/>
                  <a:pt x="1500" y="493"/>
                  <a:pt x="1500" y="494"/>
                </a:cubicBezTo>
                <a:cubicBezTo>
                  <a:pt x="1500" y="494"/>
                  <a:pt x="1500" y="494"/>
                  <a:pt x="1501" y="494"/>
                </a:cubicBezTo>
                <a:cubicBezTo>
                  <a:pt x="1500" y="493"/>
                  <a:pt x="1500" y="493"/>
                  <a:pt x="1500" y="493"/>
                </a:cubicBezTo>
                <a:cubicBezTo>
                  <a:pt x="1500" y="493"/>
                  <a:pt x="1499" y="492"/>
                  <a:pt x="1499" y="492"/>
                </a:cubicBezTo>
                <a:close/>
                <a:moveTo>
                  <a:pt x="1511" y="475"/>
                </a:moveTo>
                <a:cubicBezTo>
                  <a:pt x="1511" y="475"/>
                  <a:pt x="1510" y="475"/>
                  <a:pt x="1510" y="475"/>
                </a:cubicBezTo>
                <a:cubicBezTo>
                  <a:pt x="1510" y="475"/>
                  <a:pt x="1510" y="475"/>
                  <a:pt x="1510" y="475"/>
                </a:cubicBezTo>
                <a:cubicBezTo>
                  <a:pt x="1511" y="475"/>
                  <a:pt x="1511" y="475"/>
                  <a:pt x="1511" y="475"/>
                </a:cubicBezTo>
                <a:close/>
                <a:moveTo>
                  <a:pt x="1498" y="499"/>
                </a:moveTo>
                <a:cubicBezTo>
                  <a:pt x="1497" y="499"/>
                  <a:pt x="1497" y="499"/>
                  <a:pt x="1497" y="498"/>
                </a:cubicBezTo>
                <a:cubicBezTo>
                  <a:pt x="1497" y="498"/>
                  <a:pt x="1497" y="498"/>
                  <a:pt x="1496" y="498"/>
                </a:cubicBezTo>
                <a:cubicBezTo>
                  <a:pt x="1496" y="498"/>
                  <a:pt x="1496" y="498"/>
                  <a:pt x="1496" y="498"/>
                </a:cubicBezTo>
                <a:cubicBezTo>
                  <a:pt x="1496" y="498"/>
                  <a:pt x="1496" y="499"/>
                  <a:pt x="1496" y="499"/>
                </a:cubicBezTo>
                <a:cubicBezTo>
                  <a:pt x="1496" y="499"/>
                  <a:pt x="1496" y="499"/>
                  <a:pt x="1497" y="499"/>
                </a:cubicBezTo>
                <a:cubicBezTo>
                  <a:pt x="1497" y="499"/>
                  <a:pt x="1497" y="500"/>
                  <a:pt x="1497" y="500"/>
                </a:cubicBezTo>
                <a:cubicBezTo>
                  <a:pt x="1498" y="500"/>
                  <a:pt x="1498" y="500"/>
                  <a:pt x="1498" y="500"/>
                </a:cubicBezTo>
                <a:cubicBezTo>
                  <a:pt x="1498" y="500"/>
                  <a:pt x="1498" y="500"/>
                  <a:pt x="1499" y="500"/>
                </a:cubicBezTo>
                <a:cubicBezTo>
                  <a:pt x="1499" y="500"/>
                  <a:pt x="1499" y="500"/>
                  <a:pt x="1499" y="499"/>
                </a:cubicBezTo>
                <a:cubicBezTo>
                  <a:pt x="1498" y="499"/>
                  <a:pt x="1498" y="499"/>
                  <a:pt x="1498" y="499"/>
                </a:cubicBezTo>
                <a:close/>
                <a:moveTo>
                  <a:pt x="1477" y="528"/>
                </a:moveTo>
                <a:cubicBezTo>
                  <a:pt x="1476" y="527"/>
                  <a:pt x="1476" y="527"/>
                  <a:pt x="1476" y="527"/>
                </a:cubicBezTo>
                <a:cubicBezTo>
                  <a:pt x="1476" y="527"/>
                  <a:pt x="1476" y="528"/>
                  <a:pt x="1476" y="528"/>
                </a:cubicBezTo>
                <a:cubicBezTo>
                  <a:pt x="1477" y="528"/>
                  <a:pt x="1477" y="528"/>
                  <a:pt x="1477" y="528"/>
                </a:cubicBezTo>
                <a:close/>
                <a:moveTo>
                  <a:pt x="1477" y="526"/>
                </a:moveTo>
                <a:cubicBezTo>
                  <a:pt x="1477" y="526"/>
                  <a:pt x="1477" y="526"/>
                  <a:pt x="1477" y="526"/>
                </a:cubicBezTo>
                <a:cubicBezTo>
                  <a:pt x="1477" y="526"/>
                  <a:pt x="1477" y="526"/>
                  <a:pt x="1477" y="526"/>
                </a:cubicBezTo>
                <a:cubicBezTo>
                  <a:pt x="1477" y="526"/>
                  <a:pt x="1477" y="526"/>
                  <a:pt x="1477" y="526"/>
                </a:cubicBezTo>
                <a:close/>
                <a:moveTo>
                  <a:pt x="1521" y="589"/>
                </a:moveTo>
                <a:cubicBezTo>
                  <a:pt x="1521" y="589"/>
                  <a:pt x="1521" y="590"/>
                  <a:pt x="1521" y="590"/>
                </a:cubicBezTo>
                <a:cubicBezTo>
                  <a:pt x="1521" y="590"/>
                  <a:pt x="1521" y="589"/>
                  <a:pt x="1521" y="589"/>
                </a:cubicBezTo>
                <a:cubicBezTo>
                  <a:pt x="1521" y="589"/>
                  <a:pt x="1521" y="589"/>
                  <a:pt x="1521" y="589"/>
                </a:cubicBezTo>
                <a:close/>
                <a:moveTo>
                  <a:pt x="1478" y="526"/>
                </a:moveTo>
                <a:cubicBezTo>
                  <a:pt x="1478" y="526"/>
                  <a:pt x="1478" y="526"/>
                  <a:pt x="1478" y="526"/>
                </a:cubicBezTo>
                <a:cubicBezTo>
                  <a:pt x="1478" y="526"/>
                  <a:pt x="1477" y="526"/>
                  <a:pt x="1477" y="525"/>
                </a:cubicBezTo>
                <a:cubicBezTo>
                  <a:pt x="1477" y="525"/>
                  <a:pt x="1477" y="525"/>
                  <a:pt x="1477" y="526"/>
                </a:cubicBezTo>
                <a:cubicBezTo>
                  <a:pt x="1477" y="526"/>
                  <a:pt x="1477" y="526"/>
                  <a:pt x="1477" y="526"/>
                </a:cubicBezTo>
                <a:cubicBezTo>
                  <a:pt x="1477" y="526"/>
                  <a:pt x="1478" y="526"/>
                  <a:pt x="1478" y="526"/>
                </a:cubicBezTo>
                <a:close/>
                <a:moveTo>
                  <a:pt x="1521" y="541"/>
                </a:moveTo>
                <a:cubicBezTo>
                  <a:pt x="1521" y="540"/>
                  <a:pt x="1521" y="540"/>
                  <a:pt x="1521" y="540"/>
                </a:cubicBezTo>
                <a:cubicBezTo>
                  <a:pt x="1521" y="540"/>
                  <a:pt x="1520" y="540"/>
                  <a:pt x="1520" y="539"/>
                </a:cubicBezTo>
                <a:cubicBezTo>
                  <a:pt x="1520" y="539"/>
                  <a:pt x="1520" y="540"/>
                  <a:pt x="1520" y="540"/>
                </a:cubicBezTo>
                <a:cubicBezTo>
                  <a:pt x="1520" y="540"/>
                  <a:pt x="1520" y="540"/>
                  <a:pt x="1520" y="540"/>
                </a:cubicBezTo>
                <a:cubicBezTo>
                  <a:pt x="1520" y="541"/>
                  <a:pt x="1520" y="541"/>
                  <a:pt x="1519" y="541"/>
                </a:cubicBezTo>
                <a:cubicBezTo>
                  <a:pt x="1520" y="541"/>
                  <a:pt x="1520" y="541"/>
                  <a:pt x="1520" y="541"/>
                </a:cubicBezTo>
                <a:cubicBezTo>
                  <a:pt x="1520" y="541"/>
                  <a:pt x="1520" y="541"/>
                  <a:pt x="1521" y="541"/>
                </a:cubicBezTo>
                <a:close/>
                <a:moveTo>
                  <a:pt x="1486" y="526"/>
                </a:moveTo>
                <a:cubicBezTo>
                  <a:pt x="1486" y="526"/>
                  <a:pt x="1486" y="526"/>
                  <a:pt x="1486" y="525"/>
                </a:cubicBezTo>
                <a:cubicBezTo>
                  <a:pt x="1486" y="526"/>
                  <a:pt x="1486" y="526"/>
                  <a:pt x="1486" y="526"/>
                </a:cubicBezTo>
                <a:cubicBezTo>
                  <a:pt x="1486" y="526"/>
                  <a:pt x="1486" y="526"/>
                  <a:pt x="1486" y="527"/>
                </a:cubicBezTo>
                <a:cubicBezTo>
                  <a:pt x="1486" y="526"/>
                  <a:pt x="1486" y="526"/>
                  <a:pt x="1486" y="526"/>
                </a:cubicBezTo>
                <a:close/>
                <a:moveTo>
                  <a:pt x="1500" y="583"/>
                </a:moveTo>
                <a:cubicBezTo>
                  <a:pt x="1500" y="583"/>
                  <a:pt x="1500" y="583"/>
                  <a:pt x="1500" y="584"/>
                </a:cubicBezTo>
                <a:cubicBezTo>
                  <a:pt x="1500" y="583"/>
                  <a:pt x="1500" y="583"/>
                  <a:pt x="1501" y="583"/>
                </a:cubicBezTo>
                <a:cubicBezTo>
                  <a:pt x="1501" y="583"/>
                  <a:pt x="1501" y="583"/>
                  <a:pt x="1501" y="583"/>
                </a:cubicBezTo>
                <a:cubicBezTo>
                  <a:pt x="1502" y="583"/>
                  <a:pt x="1502" y="583"/>
                  <a:pt x="1502" y="583"/>
                </a:cubicBezTo>
                <a:cubicBezTo>
                  <a:pt x="1502" y="583"/>
                  <a:pt x="1502" y="583"/>
                  <a:pt x="1502" y="583"/>
                </a:cubicBezTo>
                <a:cubicBezTo>
                  <a:pt x="1502" y="583"/>
                  <a:pt x="1502" y="582"/>
                  <a:pt x="1502" y="582"/>
                </a:cubicBezTo>
                <a:cubicBezTo>
                  <a:pt x="1501" y="582"/>
                  <a:pt x="1501" y="582"/>
                  <a:pt x="1501" y="582"/>
                </a:cubicBezTo>
                <a:cubicBezTo>
                  <a:pt x="1500" y="582"/>
                  <a:pt x="1500" y="582"/>
                  <a:pt x="1499" y="582"/>
                </a:cubicBezTo>
                <a:cubicBezTo>
                  <a:pt x="1499" y="582"/>
                  <a:pt x="1499" y="582"/>
                  <a:pt x="1499" y="581"/>
                </a:cubicBezTo>
                <a:cubicBezTo>
                  <a:pt x="1498" y="581"/>
                  <a:pt x="1498" y="581"/>
                  <a:pt x="1498" y="581"/>
                </a:cubicBezTo>
                <a:cubicBezTo>
                  <a:pt x="1498" y="582"/>
                  <a:pt x="1498" y="582"/>
                  <a:pt x="1497" y="582"/>
                </a:cubicBezTo>
                <a:cubicBezTo>
                  <a:pt x="1497" y="582"/>
                  <a:pt x="1497" y="582"/>
                  <a:pt x="1497" y="582"/>
                </a:cubicBezTo>
                <a:cubicBezTo>
                  <a:pt x="1498" y="582"/>
                  <a:pt x="1498" y="582"/>
                  <a:pt x="1499" y="582"/>
                </a:cubicBezTo>
                <a:cubicBezTo>
                  <a:pt x="1499" y="583"/>
                  <a:pt x="1499" y="583"/>
                  <a:pt x="1500" y="583"/>
                </a:cubicBezTo>
                <a:close/>
                <a:moveTo>
                  <a:pt x="1489" y="526"/>
                </a:moveTo>
                <a:cubicBezTo>
                  <a:pt x="1489" y="526"/>
                  <a:pt x="1490" y="526"/>
                  <a:pt x="1490" y="526"/>
                </a:cubicBezTo>
                <a:cubicBezTo>
                  <a:pt x="1490" y="525"/>
                  <a:pt x="1490" y="525"/>
                  <a:pt x="1490" y="525"/>
                </a:cubicBezTo>
                <a:cubicBezTo>
                  <a:pt x="1490" y="525"/>
                  <a:pt x="1490" y="525"/>
                  <a:pt x="1490" y="525"/>
                </a:cubicBezTo>
                <a:cubicBezTo>
                  <a:pt x="1489" y="525"/>
                  <a:pt x="1488" y="525"/>
                  <a:pt x="1488" y="525"/>
                </a:cubicBezTo>
                <a:cubicBezTo>
                  <a:pt x="1488" y="525"/>
                  <a:pt x="1488" y="525"/>
                  <a:pt x="1488" y="526"/>
                </a:cubicBezTo>
                <a:cubicBezTo>
                  <a:pt x="1488" y="526"/>
                  <a:pt x="1489" y="526"/>
                  <a:pt x="1489" y="526"/>
                </a:cubicBezTo>
                <a:close/>
                <a:moveTo>
                  <a:pt x="1510" y="569"/>
                </a:moveTo>
                <a:cubicBezTo>
                  <a:pt x="1510" y="570"/>
                  <a:pt x="1510" y="570"/>
                  <a:pt x="1511" y="570"/>
                </a:cubicBezTo>
                <a:cubicBezTo>
                  <a:pt x="1511" y="570"/>
                  <a:pt x="1511" y="569"/>
                  <a:pt x="1511" y="569"/>
                </a:cubicBezTo>
                <a:cubicBezTo>
                  <a:pt x="1511" y="569"/>
                  <a:pt x="1511" y="569"/>
                  <a:pt x="1510" y="568"/>
                </a:cubicBezTo>
                <a:cubicBezTo>
                  <a:pt x="1510" y="568"/>
                  <a:pt x="1511" y="568"/>
                  <a:pt x="1511" y="568"/>
                </a:cubicBezTo>
                <a:cubicBezTo>
                  <a:pt x="1510" y="568"/>
                  <a:pt x="1510" y="567"/>
                  <a:pt x="1509" y="567"/>
                </a:cubicBezTo>
                <a:cubicBezTo>
                  <a:pt x="1509" y="567"/>
                  <a:pt x="1508" y="567"/>
                  <a:pt x="1508" y="566"/>
                </a:cubicBezTo>
                <a:cubicBezTo>
                  <a:pt x="1507" y="566"/>
                  <a:pt x="1507" y="566"/>
                  <a:pt x="1507" y="567"/>
                </a:cubicBezTo>
                <a:cubicBezTo>
                  <a:pt x="1507" y="566"/>
                  <a:pt x="1506" y="566"/>
                  <a:pt x="1506" y="566"/>
                </a:cubicBezTo>
                <a:cubicBezTo>
                  <a:pt x="1506" y="566"/>
                  <a:pt x="1505" y="566"/>
                  <a:pt x="1505" y="566"/>
                </a:cubicBezTo>
                <a:cubicBezTo>
                  <a:pt x="1505" y="566"/>
                  <a:pt x="1505" y="567"/>
                  <a:pt x="1505" y="567"/>
                </a:cubicBezTo>
                <a:cubicBezTo>
                  <a:pt x="1505" y="567"/>
                  <a:pt x="1505" y="568"/>
                  <a:pt x="1505" y="568"/>
                </a:cubicBezTo>
                <a:cubicBezTo>
                  <a:pt x="1506" y="568"/>
                  <a:pt x="1506" y="568"/>
                  <a:pt x="1506" y="569"/>
                </a:cubicBezTo>
                <a:cubicBezTo>
                  <a:pt x="1506" y="569"/>
                  <a:pt x="1507" y="569"/>
                  <a:pt x="1507" y="569"/>
                </a:cubicBezTo>
                <a:cubicBezTo>
                  <a:pt x="1507" y="569"/>
                  <a:pt x="1507" y="569"/>
                  <a:pt x="1508" y="569"/>
                </a:cubicBezTo>
                <a:cubicBezTo>
                  <a:pt x="1508" y="569"/>
                  <a:pt x="1508" y="570"/>
                  <a:pt x="1509" y="570"/>
                </a:cubicBezTo>
                <a:cubicBezTo>
                  <a:pt x="1509" y="570"/>
                  <a:pt x="1510" y="570"/>
                  <a:pt x="1510" y="569"/>
                </a:cubicBezTo>
                <a:close/>
                <a:moveTo>
                  <a:pt x="1513" y="540"/>
                </a:moveTo>
                <a:cubicBezTo>
                  <a:pt x="1513" y="540"/>
                  <a:pt x="1513" y="540"/>
                  <a:pt x="1513" y="540"/>
                </a:cubicBezTo>
                <a:cubicBezTo>
                  <a:pt x="1513" y="541"/>
                  <a:pt x="1513" y="541"/>
                  <a:pt x="1512" y="541"/>
                </a:cubicBezTo>
                <a:cubicBezTo>
                  <a:pt x="1513" y="542"/>
                  <a:pt x="1513" y="542"/>
                  <a:pt x="1513" y="542"/>
                </a:cubicBezTo>
                <a:cubicBezTo>
                  <a:pt x="1513" y="542"/>
                  <a:pt x="1513" y="542"/>
                  <a:pt x="1514" y="542"/>
                </a:cubicBezTo>
                <a:cubicBezTo>
                  <a:pt x="1514" y="542"/>
                  <a:pt x="1514" y="541"/>
                  <a:pt x="1514" y="541"/>
                </a:cubicBezTo>
                <a:cubicBezTo>
                  <a:pt x="1513" y="541"/>
                  <a:pt x="1513" y="540"/>
                  <a:pt x="1513" y="540"/>
                </a:cubicBezTo>
                <a:close/>
                <a:moveTo>
                  <a:pt x="1519" y="542"/>
                </a:moveTo>
                <a:cubicBezTo>
                  <a:pt x="1519" y="541"/>
                  <a:pt x="1519" y="541"/>
                  <a:pt x="1519" y="541"/>
                </a:cubicBezTo>
                <a:cubicBezTo>
                  <a:pt x="1519" y="542"/>
                  <a:pt x="1519" y="542"/>
                  <a:pt x="1519" y="542"/>
                </a:cubicBezTo>
                <a:cubicBezTo>
                  <a:pt x="1519" y="542"/>
                  <a:pt x="1519" y="542"/>
                  <a:pt x="1519" y="542"/>
                </a:cubicBezTo>
                <a:cubicBezTo>
                  <a:pt x="1519" y="542"/>
                  <a:pt x="1519" y="542"/>
                  <a:pt x="1519" y="542"/>
                </a:cubicBezTo>
                <a:close/>
                <a:moveTo>
                  <a:pt x="1515" y="558"/>
                </a:moveTo>
                <a:cubicBezTo>
                  <a:pt x="1515" y="558"/>
                  <a:pt x="1515" y="558"/>
                  <a:pt x="1515" y="558"/>
                </a:cubicBezTo>
                <a:cubicBezTo>
                  <a:pt x="1515" y="558"/>
                  <a:pt x="1515" y="558"/>
                  <a:pt x="1515" y="558"/>
                </a:cubicBezTo>
                <a:cubicBezTo>
                  <a:pt x="1515" y="558"/>
                  <a:pt x="1515" y="558"/>
                  <a:pt x="1514" y="558"/>
                </a:cubicBezTo>
                <a:cubicBezTo>
                  <a:pt x="1515" y="559"/>
                  <a:pt x="1515" y="559"/>
                  <a:pt x="1515" y="559"/>
                </a:cubicBezTo>
                <a:cubicBezTo>
                  <a:pt x="1515" y="559"/>
                  <a:pt x="1515" y="559"/>
                  <a:pt x="1515" y="558"/>
                </a:cubicBezTo>
                <a:close/>
                <a:moveTo>
                  <a:pt x="1556" y="605"/>
                </a:moveTo>
                <a:cubicBezTo>
                  <a:pt x="1556" y="605"/>
                  <a:pt x="1556" y="605"/>
                  <a:pt x="1557" y="605"/>
                </a:cubicBezTo>
                <a:cubicBezTo>
                  <a:pt x="1557" y="605"/>
                  <a:pt x="1557" y="605"/>
                  <a:pt x="1557" y="604"/>
                </a:cubicBezTo>
                <a:cubicBezTo>
                  <a:pt x="1557" y="604"/>
                  <a:pt x="1557" y="604"/>
                  <a:pt x="1557" y="604"/>
                </a:cubicBezTo>
                <a:cubicBezTo>
                  <a:pt x="1557" y="604"/>
                  <a:pt x="1557" y="604"/>
                  <a:pt x="1557" y="604"/>
                </a:cubicBezTo>
                <a:cubicBezTo>
                  <a:pt x="1557" y="603"/>
                  <a:pt x="1557" y="603"/>
                  <a:pt x="1557" y="603"/>
                </a:cubicBezTo>
                <a:cubicBezTo>
                  <a:pt x="1556" y="603"/>
                  <a:pt x="1556" y="603"/>
                  <a:pt x="1555" y="602"/>
                </a:cubicBezTo>
                <a:cubicBezTo>
                  <a:pt x="1555" y="602"/>
                  <a:pt x="1554" y="602"/>
                  <a:pt x="1554" y="602"/>
                </a:cubicBezTo>
                <a:cubicBezTo>
                  <a:pt x="1554" y="603"/>
                  <a:pt x="1553" y="603"/>
                  <a:pt x="1553" y="603"/>
                </a:cubicBezTo>
                <a:cubicBezTo>
                  <a:pt x="1553" y="603"/>
                  <a:pt x="1552" y="604"/>
                  <a:pt x="1552" y="604"/>
                </a:cubicBezTo>
                <a:cubicBezTo>
                  <a:pt x="1551" y="604"/>
                  <a:pt x="1551" y="604"/>
                  <a:pt x="1550" y="604"/>
                </a:cubicBezTo>
                <a:cubicBezTo>
                  <a:pt x="1550" y="604"/>
                  <a:pt x="1551" y="605"/>
                  <a:pt x="1551" y="605"/>
                </a:cubicBezTo>
                <a:cubicBezTo>
                  <a:pt x="1552" y="605"/>
                  <a:pt x="1552" y="605"/>
                  <a:pt x="1552" y="605"/>
                </a:cubicBezTo>
                <a:cubicBezTo>
                  <a:pt x="1552" y="605"/>
                  <a:pt x="1553" y="605"/>
                  <a:pt x="1553" y="606"/>
                </a:cubicBezTo>
                <a:cubicBezTo>
                  <a:pt x="1553" y="606"/>
                  <a:pt x="1554" y="606"/>
                  <a:pt x="1554" y="606"/>
                </a:cubicBezTo>
                <a:cubicBezTo>
                  <a:pt x="1554" y="606"/>
                  <a:pt x="1555" y="605"/>
                  <a:pt x="1555" y="605"/>
                </a:cubicBezTo>
                <a:cubicBezTo>
                  <a:pt x="1555" y="605"/>
                  <a:pt x="1555" y="605"/>
                  <a:pt x="1556" y="605"/>
                </a:cubicBezTo>
                <a:cubicBezTo>
                  <a:pt x="1556" y="605"/>
                  <a:pt x="1556" y="605"/>
                  <a:pt x="1556" y="605"/>
                </a:cubicBezTo>
                <a:cubicBezTo>
                  <a:pt x="1556" y="605"/>
                  <a:pt x="1556" y="605"/>
                  <a:pt x="1556" y="605"/>
                </a:cubicBezTo>
                <a:close/>
                <a:moveTo>
                  <a:pt x="1468" y="575"/>
                </a:moveTo>
                <a:cubicBezTo>
                  <a:pt x="1468" y="575"/>
                  <a:pt x="1468" y="575"/>
                  <a:pt x="1468" y="575"/>
                </a:cubicBezTo>
                <a:cubicBezTo>
                  <a:pt x="1468" y="575"/>
                  <a:pt x="1468" y="575"/>
                  <a:pt x="1467" y="575"/>
                </a:cubicBezTo>
                <a:cubicBezTo>
                  <a:pt x="1468" y="575"/>
                  <a:pt x="1468" y="575"/>
                  <a:pt x="1468" y="575"/>
                </a:cubicBezTo>
                <a:cubicBezTo>
                  <a:pt x="1468" y="575"/>
                  <a:pt x="1468" y="575"/>
                  <a:pt x="1468" y="575"/>
                </a:cubicBezTo>
                <a:close/>
                <a:moveTo>
                  <a:pt x="1494" y="522"/>
                </a:moveTo>
                <a:cubicBezTo>
                  <a:pt x="1494" y="522"/>
                  <a:pt x="1494" y="522"/>
                  <a:pt x="1494" y="522"/>
                </a:cubicBezTo>
                <a:cubicBezTo>
                  <a:pt x="1494" y="522"/>
                  <a:pt x="1494" y="522"/>
                  <a:pt x="1493" y="522"/>
                </a:cubicBezTo>
                <a:cubicBezTo>
                  <a:pt x="1493" y="522"/>
                  <a:pt x="1494" y="522"/>
                  <a:pt x="1494" y="522"/>
                </a:cubicBezTo>
                <a:cubicBezTo>
                  <a:pt x="1494" y="522"/>
                  <a:pt x="1494" y="522"/>
                  <a:pt x="1494" y="522"/>
                </a:cubicBezTo>
                <a:close/>
                <a:moveTo>
                  <a:pt x="1466" y="574"/>
                </a:moveTo>
                <a:cubicBezTo>
                  <a:pt x="1466" y="575"/>
                  <a:pt x="1467" y="575"/>
                  <a:pt x="1467" y="575"/>
                </a:cubicBezTo>
                <a:cubicBezTo>
                  <a:pt x="1467" y="575"/>
                  <a:pt x="1467" y="575"/>
                  <a:pt x="1467" y="574"/>
                </a:cubicBezTo>
                <a:cubicBezTo>
                  <a:pt x="1467" y="574"/>
                  <a:pt x="1468" y="574"/>
                  <a:pt x="1468" y="574"/>
                </a:cubicBezTo>
                <a:cubicBezTo>
                  <a:pt x="1467" y="574"/>
                  <a:pt x="1467" y="574"/>
                  <a:pt x="1467" y="574"/>
                </a:cubicBezTo>
                <a:cubicBezTo>
                  <a:pt x="1467" y="574"/>
                  <a:pt x="1467" y="574"/>
                  <a:pt x="1466" y="574"/>
                </a:cubicBezTo>
                <a:close/>
                <a:moveTo>
                  <a:pt x="1495" y="525"/>
                </a:moveTo>
                <a:cubicBezTo>
                  <a:pt x="1495" y="525"/>
                  <a:pt x="1495" y="525"/>
                  <a:pt x="1496" y="525"/>
                </a:cubicBezTo>
                <a:cubicBezTo>
                  <a:pt x="1496" y="525"/>
                  <a:pt x="1496" y="525"/>
                  <a:pt x="1496" y="525"/>
                </a:cubicBezTo>
                <a:cubicBezTo>
                  <a:pt x="1496" y="525"/>
                  <a:pt x="1496" y="525"/>
                  <a:pt x="1497" y="525"/>
                </a:cubicBezTo>
                <a:cubicBezTo>
                  <a:pt x="1497" y="525"/>
                  <a:pt x="1497" y="525"/>
                  <a:pt x="1497" y="525"/>
                </a:cubicBezTo>
                <a:cubicBezTo>
                  <a:pt x="1496" y="524"/>
                  <a:pt x="1496" y="524"/>
                  <a:pt x="1496" y="524"/>
                </a:cubicBezTo>
                <a:cubicBezTo>
                  <a:pt x="1495" y="524"/>
                  <a:pt x="1495" y="524"/>
                  <a:pt x="1495" y="524"/>
                </a:cubicBezTo>
                <a:cubicBezTo>
                  <a:pt x="1494" y="524"/>
                  <a:pt x="1494" y="524"/>
                  <a:pt x="1494" y="524"/>
                </a:cubicBezTo>
                <a:cubicBezTo>
                  <a:pt x="1494" y="524"/>
                  <a:pt x="1494" y="524"/>
                  <a:pt x="1494" y="524"/>
                </a:cubicBezTo>
                <a:cubicBezTo>
                  <a:pt x="1495" y="524"/>
                  <a:pt x="1495" y="525"/>
                  <a:pt x="1495" y="525"/>
                </a:cubicBezTo>
                <a:close/>
                <a:moveTo>
                  <a:pt x="1476" y="568"/>
                </a:moveTo>
                <a:cubicBezTo>
                  <a:pt x="1476" y="568"/>
                  <a:pt x="1476" y="567"/>
                  <a:pt x="1477" y="567"/>
                </a:cubicBezTo>
                <a:cubicBezTo>
                  <a:pt x="1477" y="567"/>
                  <a:pt x="1476" y="566"/>
                  <a:pt x="1476" y="566"/>
                </a:cubicBezTo>
                <a:cubicBezTo>
                  <a:pt x="1476" y="566"/>
                  <a:pt x="1476" y="566"/>
                  <a:pt x="1476" y="566"/>
                </a:cubicBezTo>
                <a:cubicBezTo>
                  <a:pt x="1476" y="566"/>
                  <a:pt x="1476" y="567"/>
                  <a:pt x="1476" y="567"/>
                </a:cubicBezTo>
                <a:cubicBezTo>
                  <a:pt x="1476" y="567"/>
                  <a:pt x="1475" y="567"/>
                  <a:pt x="1475" y="567"/>
                </a:cubicBezTo>
                <a:cubicBezTo>
                  <a:pt x="1475" y="567"/>
                  <a:pt x="1475" y="568"/>
                  <a:pt x="1475" y="568"/>
                </a:cubicBezTo>
                <a:cubicBezTo>
                  <a:pt x="1475" y="568"/>
                  <a:pt x="1475" y="568"/>
                  <a:pt x="1475" y="568"/>
                </a:cubicBezTo>
                <a:cubicBezTo>
                  <a:pt x="1476" y="568"/>
                  <a:pt x="1476" y="568"/>
                  <a:pt x="1476" y="568"/>
                </a:cubicBezTo>
                <a:close/>
                <a:moveTo>
                  <a:pt x="1496" y="554"/>
                </a:moveTo>
                <a:cubicBezTo>
                  <a:pt x="1496" y="554"/>
                  <a:pt x="1495" y="554"/>
                  <a:pt x="1495" y="554"/>
                </a:cubicBezTo>
                <a:cubicBezTo>
                  <a:pt x="1494" y="554"/>
                  <a:pt x="1494" y="554"/>
                  <a:pt x="1494" y="554"/>
                </a:cubicBezTo>
                <a:cubicBezTo>
                  <a:pt x="1493" y="554"/>
                  <a:pt x="1493" y="554"/>
                  <a:pt x="1493" y="555"/>
                </a:cubicBezTo>
                <a:cubicBezTo>
                  <a:pt x="1494" y="555"/>
                  <a:pt x="1494" y="555"/>
                  <a:pt x="1494" y="555"/>
                </a:cubicBezTo>
                <a:cubicBezTo>
                  <a:pt x="1494" y="555"/>
                  <a:pt x="1494" y="555"/>
                  <a:pt x="1495" y="555"/>
                </a:cubicBezTo>
                <a:cubicBezTo>
                  <a:pt x="1495" y="555"/>
                  <a:pt x="1495" y="556"/>
                  <a:pt x="1495" y="556"/>
                </a:cubicBezTo>
                <a:cubicBezTo>
                  <a:pt x="1495" y="556"/>
                  <a:pt x="1496" y="556"/>
                  <a:pt x="1496" y="556"/>
                </a:cubicBezTo>
                <a:cubicBezTo>
                  <a:pt x="1496" y="556"/>
                  <a:pt x="1496" y="556"/>
                  <a:pt x="1496" y="556"/>
                </a:cubicBezTo>
                <a:cubicBezTo>
                  <a:pt x="1496" y="556"/>
                  <a:pt x="1497" y="556"/>
                  <a:pt x="1497" y="556"/>
                </a:cubicBezTo>
                <a:cubicBezTo>
                  <a:pt x="1497" y="556"/>
                  <a:pt x="1497" y="556"/>
                  <a:pt x="1497" y="556"/>
                </a:cubicBezTo>
                <a:cubicBezTo>
                  <a:pt x="1497" y="555"/>
                  <a:pt x="1497" y="555"/>
                  <a:pt x="1497" y="555"/>
                </a:cubicBezTo>
                <a:cubicBezTo>
                  <a:pt x="1497" y="555"/>
                  <a:pt x="1496" y="555"/>
                  <a:pt x="1496" y="555"/>
                </a:cubicBezTo>
                <a:cubicBezTo>
                  <a:pt x="1496" y="555"/>
                  <a:pt x="1496" y="555"/>
                  <a:pt x="1495" y="555"/>
                </a:cubicBezTo>
                <a:cubicBezTo>
                  <a:pt x="1496" y="555"/>
                  <a:pt x="1496" y="555"/>
                  <a:pt x="1496" y="555"/>
                </a:cubicBezTo>
                <a:cubicBezTo>
                  <a:pt x="1496" y="555"/>
                  <a:pt x="1496" y="555"/>
                  <a:pt x="1496" y="554"/>
                </a:cubicBezTo>
                <a:close/>
                <a:moveTo>
                  <a:pt x="1494" y="557"/>
                </a:moveTo>
                <a:cubicBezTo>
                  <a:pt x="1494" y="557"/>
                  <a:pt x="1494" y="557"/>
                  <a:pt x="1494" y="557"/>
                </a:cubicBezTo>
                <a:cubicBezTo>
                  <a:pt x="1494" y="557"/>
                  <a:pt x="1494" y="557"/>
                  <a:pt x="1494" y="557"/>
                </a:cubicBezTo>
                <a:cubicBezTo>
                  <a:pt x="1494" y="557"/>
                  <a:pt x="1494" y="557"/>
                  <a:pt x="1494" y="557"/>
                </a:cubicBezTo>
                <a:close/>
                <a:moveTo>
                  <a:pt x="1485" y="581"/>
                </a:moveTo>
                <a:cubicBezTo>
                  <a:pt x="1486" y="581"/>
                  <a:pt x="1486" y="581"/>
                  <a:pt x="1486" y="581"/>
                </a:cubicBezTo>
                <a:cubicBezTo>
                  <a:pt x="1486" y="581"/>
                  <a:pt x="1487" y="581"/>
                  <a:pt x="1487" y="581"/>
                </a:cubicBezTo>
                <a:cubicBezTo>
                  <a:pt x="1487" y="581"/>
                  <a:pt x="1488" y="581"/>
                  <a:pt x="1488" y="581"/>
                </a:cubicBezTo>
                <a:cubicBezTo>
                  <a:pt x="1488" y="580"/>
                  <a:pt x="1488" y="580"/>
                  <a:pt x="1488" y="580"/>
                </a:cubicBezTo>
                <a:cubicBezTo>
                  <a:pt x="1487" y="580"/>
                  <a:pt x="1487" y="580"/>
                  <a:pt x="1487" y="580"/>
                </a:cubicBezTo>
                <a:cubicBezTo>
                  <a:pt x="1487" y="580"/>
                  <a:pt x="1487" y="580"/>
                  <a:pt x="1486" y="580"/>
                </a:cubicBezTo>
                <a:cubicBezTo>
                  <a:pt x="1486" y="580"/>
                  <a:pt x="1486" y="580"/>
                  <a:pt x="1486" y="580"/>
                </a:cubicBezTo>
                <a:cubicBezTo>
                  <a:pt x="1486" y="580"/>
                  <a:pt x="1486" y="580"/>
                  <a:pt x="1486" y="580"/>
                </a:cubicBezTo>
                <a:cubicBezTo>
                  <a:pt x="1486" y="580"/>
                  <a:pt x="1485" y="580"/>
                  <a:pt x="1485" y="580"/>
                </a:cubicBezTo>
                <a:cubicBezTo>
                  <a:pt x="1485" y="581"/>
                  <a:pt x="1485" y="581"/>
                  <a:pt x="1485" y="581"/>
                </a:cubicBezTo>
                <a:close/>
                <a:moveTo>
                  <a:pt x="1488" y="581"/>
                </a:moveTo>
                <a:cubicBezTo>
                  <a:pt x="1488" y="581"/>
                  <a:pt x="1488" y="581"/>
                  <a:pt x="1488" y="581"/>
                </a:cubicBezTo>
                <a:cubicBezTo>
                  <a:pt x="1488" y="581"/>
                  <a:pt x="1488" y="582"/>
                  <a:pt x="1488" y="582"/>
                </a:cubicBezTo>
                <a:cubicBezTo>
                  <a:pt x="1488" y="582"/>
                  <a:pt x="1489" y="582"/>
                  <a:pt x="1489" y="582"/>
                </a:cubicBezTo>
                <a:cubicBezTo>
                  <a:pt x="1489" y="582"/>
                  <a:pt x="1489" y="582"/>
                  <a:pt x="1490" y="582"/>
                </a:cubicBezTo>
                <a:cubicBezTo>
                  <a:pt x="1490" y="581"/>
                  <a:pt x="1490" y="581"/>
                  <a:pt x="1490" y="581"/>
                </a:cubicBezTo>
                <a:cubicBezTo>
                  <a:pt x="1489" y="581"/>
                  <a:pt x="1489" y="581"/>
                  <a:pt x="1489" y="581"/>
                </a:cubicBezTo>
                <a:cubicBezTo>
                  <a:pt x="1489" y="581"/>
                  <a:pt x="1489" y="581"/>
                  <a:pt x="1488" y="581"/>
                </a:cubicBezTo>
                <a:close/>
                <a:moveTo>
                  <a:pt x="1491" y="549"/>
                </a:moveTo>
                <a:cubicBezTo>
                  <a:pt x="1491" y="549"/>
                  <a:pt x="1490" y="549"/>
                  <a:pt x="1490" y="549"/>
                </a:cubicBezTo>
                <a:cubicBezTo>
                  <a:pt x="1490" y="549"/>
                  <a:pt x="1490" y="549"/>
                  <a:pt x="1491" y="549"/>
                </a:cubicBezTo>
                <a:cubicBezTo>
                  <a:pt x="1491" y="549"/>
                  <a:pt x="1491" y="549"/>
                  <a:pt x="1491" y="549"/>
                </a:cubicBezTo>
                <a:close/>
                <a:moveTo>
                  <a:pt x="1497" y="546"/>
                </a:moveTo>
                <a:cubicBezTo>
                  <a:pt x="1497" y="546"/>
                  <a:pt x="1497" y="546"/>
                  <a:pt x="1497" y="546"/>
                </a:cubicBezTo>
                <a:cubicBezTo>
                  <a:pt x="1497" y="546"/>
                  <a:pt x="1497" y="546"/>
                  <a:pt x="1496" y="546"/>
                </a:cubicBezTo>
                <a:cubicBezTo>
                  <a:pt x="1496" y="546"/>
                  <a:pt x="1496" y="546"/>
                  <a:pt x="1496" y="545"/>
                </a:cubicBezTo>
                <a:cubicBezTo>
                  <a:pt x="1495" y="545"/>
                  <a:pt x="1495" y="545"/>
                  <a:pt x="1495" y="545"/>
                </a:cubicBezTo>
                <a:cubicBezTo>
                  <a:pt x="1495" y="545"/>
                  <a:pt x="1495" y="545"/>
                  <a:pt x="1494" y="545"/>
                </a:cubicBezTo>
                <a:cubicBezTo>
                  <a:pt x="1494" y="545"/>
                  <a:pt x="1494" y="544"/>
                  <a:pt x="1493" y="544"/>
                </a:cubicBezTo>
                <a:cubicBezTo>
                  <a:pt x="1493" y="544"/>
                  <a:pt x="1493" y="544"/>
                  <a:pt x="1492" y="544"/>
                </a:cubicBezTo>
                <a:cubicBezTo>
                  <a:pt x="1492" y="544"/>
                  <a:pt x="1492" y="544"/>
                  <a:pt x="1492" y="544"/>
                </a:cubicBezTo>
                <a:cubicBezTo>
                  <a:pt x="1491" y="544"/>
                  <a:pt x="1491" y="543"/>
                  <a:pt x="1491" y="543"/>
                </a:cubicBezTo>
                <a:cubicBezTo>
                  <a:pt x="1491" y="543"/>
                  <a:pt x="1491" y="543"/>
                  <a:pt x="1490" y="542"/>
                </a:cubicBezTo>
                <a:cubicBezTo>
                  <a:pt x="1490" y="542"/>
                  <a:pt x="1489" y="542"/>
                  <a:pt x="1489" y="542"/>
                </a:cubicBezTo>
                <a:cubicBezTo>
                  <a:pt x="1489" y="542"/>
                  <a:pt x="1488" y="541"/>
                  <a:pt x="1488" y="541"/>
                </a:cubicBezTo>
                <a:cubicBezTo>
                  <a:pt x="1488" y="542"/>
                  <a:pt x="1488" y="542"/>
                  <a:pt x="1488" y="542"/>
                </a:cubicBezTo>
                <a:cubicBezTo>
                  <a:pt x="1488" y="542"/>
                  <a:pt x="1487" y="542"/>
                  <a:pt x="1487" y="542"/>
                </a:cubicBezTo>
                <a:cubicBezTo>
                  <a:pt x="1487" y="542"/>
                  <a:pt x="1487" y="543"/>
                  <a:pt x="1486" y="543"/>
                </a:cubicBezTo>
                <a:cubicBezTo>
                  <a:pt x="1486" y="543"/>
                  <a:pt x="1486" y="543"/>
                  <a:pt x="1486" y="543"/>
                </a:cubicBezTo>
                <a:cubicBezTo>
                  <a:pt x="1485" y="543"/>
                  <a:pt x="1485" y="542"/>
                  <a:pt x="1485" y="542"/>
                </a:cubicBezTo>
                <a:cubicBezTo>
                  <a:pt x="1484" y="542"/>
                  <a:pt x="1484" y="542"/>
                  <a:pt x="1483" y="542"/>
                </a:cubicBezTo>
                <a:cubicBezTo>
                  <a:pt x="1483" y="542"/>
                  <a:pt x="1483" y="542"/>
                  <a:pt x="1483" y="542"/>
                </a:cubicBezTo>
                <a:cubicBezTo>
                  <a:pt x="1483" y="542"/>
                  <a:pt x="1483" y="542"/>
                  <a:pt x="1483" y="543"/>
                </a:cubicBezTo>
                <a:cubicBezTo>
                  <a:pt x="1482" y="543"/>
                  <a:pt x="1482" y="543"/>
                  <a:pt x="1481" y="543"/>
                </a:cubicBezTo>
                <a:cubicBezTo>
                  <a:pt x="1481" y="543"/>
                  <a:pt x="1481" y="544"/>
                  <a:pt x="1481" y="544"/>
                </a:cubicBezTo>
                <a:cubicBezTo>
                  <a:pt x="1481" y="544"/>
                  <a:pt x="1481" y="544"/>
                  <a:pt x="1481" y="545"/>
                </a:cubicBezTo>
                <a:cubicBezTo>
                  <a:pt x="1481" y="545"/>
                  <a:pt x="1481" y="545"/>
                  <a:pt x="1481" y="546"/>
                </a:cubicBezTo>
                <a:cubicBezTo>
                  <a:pt x="1480" y="546"/>
                  <a:pt x="1480" y="546"/>
                  <a:pt x="1480" y="546"/>
                </a:cubicBezTo>
                <a:cubicBezTo>
                  <a:pt x="1480" y="546"/>
                  <a:pt x="1480" y="547"/>
                  <a:pt x="1480" y="547"/>
                </a:cubicBezTo>
                <a:cubicBezTo>
                  <a:pt x="1480" y="547"/>
                  <a:pt x="1480" y="548"/>
                  <a:pt x="1480" y="548"/>
                </a:cubicBezTo>
                <a:cubicBezTo>
                  <a:pt x="1480" y="548"/>
                  <a:pt x="1480" y="547"/>
                  <a:pt x="1480" y="547"/>
                </a:cubicBezTo>
                <a:cubicBezTo>
                  <a:pt x="1480" y="547"/>
                  <a:pt x="1480" y="547"/>
                  <a:pt x="1480" y="547"/>
                </a:cubicBezTo>
                <a:cubicBezTo>
                  <a:pt x="1480" y="547"/>
                  <a:pt x="1479" y="547"/>
                  <a:pt x="1479" y="547"/>
                </a:cubicBezTo>
                <a:cubicBezTo>
                  <a:pt x="1479" y="547"/>
                  <a:pt x="1479" y="547"/>
                  <a:pt x="1478" y="547"/>
                </a:cubicBezTo>
                <a:cubicBezTo>
                  <a:pt x="1478" y="547"/>
                  <a:pt x="1478" y="547"/>
                  <a:pt x="1478" y="547"/>
                </a:cubicBezTo>
                <a:cubicBezTo>
                  <a:pt x="1477" y="547"/>
                  <a:pt x="1477" y="547"/>
                  <a:pt x="1477" y="548"/>
                </a:cubicBezTo>
                <a:cubicBezTo>
                  <a:pt x="1477" y="548"/>
                  <a:pt x="1477" y="548"/>
                  <a:pt x="1477" y="548"/>
                </a:cubicBezTo>
                <a:cubicBezTo>
                  <a:pt x="1477" y="549"/>
                  <a:pt x="1477" y="549"/>
                  <a:pt x="1476" y="549"/>
                </a:cubicBezTo>
                <a:cubicBezTo>
                  <a:pt x="1476" y="549"/>
                  <a:pt x="1476" y="550"/>
                  <a:pt x="1476" y="550"/>
                </a:cubicBezTo>
                <a:cubicBezTo>
                  <a:pt x="1476" y="550"/>
                  <a:pt x="1476" y="551"/>
                  <a:pt x="1476" y="551"/>
                </a:cubicBezTo>
                <a:cubicBezTo>
                  <a:pt x="1476" y="551"/>
                  <a:pt x="1476" y="551"/>
                  <a:pt x="1475" y="551"/>
                </a:cubicBezTo>
                <a:cubicBezTo>
                  <a:pt x="1475" y="551"/>
                  <a:pt x="1475" y="551"/>
                  <a:pt x="1475" y="551"/>
                </a:cubicBezTo>
                <a:cubicBezTo>
                  <a:pt x="1475" y="551"/>
                  <a:pt x="1475" y="552"/>
                  <a:pt x="1474" y="552"/>
                </a:cubicBezTo>
                <a:cubicBezTo>
                  <a:pt x="1474" y="552"/>
                  <a:pt x="1474" y="552"/>
                  <a:pt x="1473" y="552"/>
                </a:cubicBezTo>
                <a:cubicBezTo>
                  <a:pt x="1473" y="553"/>
                  <a:pt x="1473" y="553"/>
                  <a:pt x="1473" y="553"/>
                </a:cubicBezTo>
                <a:cubicBezTo>
                  <a:pt x="1473" y="553"/>
                  <a:pt x="1473" y="553"/>
                  <a:pt x="1473" y="553"/>
                </a:cubicBezTo>
                <a:cubicBezTo>
                  <a:pt x="1472" y="554"/>
                  <a:pt x="1472" y="554"/>
                  <a:pt x="1472" y="554"/>
                </a:cubicBezTo>
                <a:cubicBezTo>
                  <a:pt x="1472" y="554"/>
                  <a:pt x="1472" y="555"/>
                  <a:pt x="1472" y="555"/>
                </a:cubicBezTo>
                <a:cubicBezTo>
                  <a:pt x="1472" y="555"/>
                  <a:pt x="1472" y="556"/>
                  <a:pt x="1472" y="556"/>
                </a:cubicBezTo>
                <a:cubicBezTo>
                  <a:pt x="1473" y="556"/>
                  <a:pt x="1473" y="556"/>
                  <a:pt x="1473" y="556"/>
                </a:cubicBezTo>
                <a:cubicBezTo>
                  <a:pt x="1473" y="556"/>
                  <a:pt x="1473" y="556"/>
                  <a:pt x="1473" y="556"/>
                </a:cubicBezTo>
                <a:cubicBezTo>
                  <a:pt x="1474" y="556"/>
                  <a:pt x="1474" y="556"/>
                  <a:pt x="1474" y="556"/>
                </a:cubicBezTo>
                <a:cubicBezTo>
                  <a:pt x="1474" y="556"/>
                  <a:pt x="1474" y="556"/>
                  <a:pt x="1474" y="556"/>
                </a:cubicBezTo>
                <a:cubicBezTo>
                  <a:pt x="1474" y="557"/>
                  <a:pt x="1474" y="557"/>
                  <a:pt x="1474" y="557"/>
                </a:cubicBezTo>
                <a:cubicBezTo>
                  <a:pt x="1475" y="558"/>
                  <a:pt x="1475" y="558"/>
                  <a:pt x="1475" y="559"/>
                </a:cubicBezTo>
                <a:cubicBezTo>
                  <a:pt x="1474" y="559"/>
                  <a:pt x="1474" y="559"/>
                  <a:pt x="1474" y="559"/>
                </a:cubicBezTo>
                <a:cubicBezTo>
                  <a:pt x="1474" y="560"/>
                  <a:pt x="1474" y="560"/>
                  <a:pt x="1474" y="560"/>
                </a:cubicBezTo>
                <a:cubicBezTo>
                  <a:pt x="1473" y="560"/>
                  <a:pt x="1473" y="561"/>
                  <a:pt x="1473" y="561"/>
                </a:cubicBezTo>
                <a:cubicBezTo>
                  <a:pt x="1472" y="561"/>
                  <a:pt x="1472" y="562"/>
                  <a:pt x="1472" y="562"/>
                </a:cubicBezTo>
                <a:cubicBezTo>
                  <a:pt x="1472" y="563"/>
                  <a:pt x="1472" y="563"/>
                  <a:pt x="1472" y="563"/>
                </a:cubicBezTo>
                <a:cubicBezTo>
                  <a:pt x="1472" y="563"/>
                  <a:pt x="1472" y="564"/>
                  <a:pt x="1472" y="564"/>
                </a:cubicBezTo>
                <a:cubicBezTo>
                  <a:pt x="1472" y="564"/>
                  <a:pt x="1473" y="564"/>
                  <a:pt x="1473" y="564"/>
                </a:cubicBezTo>
                <a:cubicBezTo>
                  <a:pt x="1473" y="564"/>
                  <a:pt x="1473" y="564"/>
                  <a:pt x="1474" y="564"/>
                </a:cubicBezTo>
                <a:cubicBezTo>
                  <a:pt x="1474" y="564"/>
                  <a:pt x="1474" y="564"/>
                  <a:pt x="1474" y="564"/>
                </a:cubicBezTo>
                <a:cubicBezTo>
                  <a:pt x="1474" y="564"/>
                  <a:pt x="1475" y="564"/>
                  <a:pt x="1475" y="565"/>
                </a:cubicBezTo>
                <a:cubicBezTo>
                  <a:pt x="1475" y="565"/>
                  <a:pt x="1476" y="565"/>
                  <a:pt x="1476" y="565"/>
                </a:cubicBezTo>
                <a:cubicBezTo>
                  <a:pt x="1476" y="565"/>
                  <a:pt x="1476" y="565"/>
                  <a:pt x="1476" y="565"/>
                </a:cubicBezTo>
                <a:cubicBezTo>
                  <a:pt x="1476" y="565"/>
                  <a:pt x="1476" y="565"/>
                  <a:pt x="1477" y="565"/>
                </a:cubicBezTo>
                <a:cubicBezTo>
                  <a:pt x="1477" y="565"/>
                  <a:pt x="1477" y="564"/>
                  <a:pt x="1477" y="564"/>
                </a:cubicBezTo>
                <a:cubicBezTo>
                  <a:pt x="1477" y="564"/>
                  <a:pt x="1476" y="564"/>
                  <a:pt x="1476" y="564"/>
                </a:cubicBezTo>
                <a:cubicBezTo>
                  <a:pt x="1476" y="563"/>
                  <a:pt x="1476" y="563"/>
                  <a:pt x="1476" y="563"/>
                </a:cubicBezTo>
                <a:cubicBezTo>
                  <a:pt x="1477" y="562"/>
                  <a:pt x="1477" y="562"/>
                  <a:pt x="1477" y="562"/>
                </a:cubicBezTo>
                <a:cubicBezTo>
                  <a:pt x="1477" y="562"/>
                  <a:pt x="1478" y="561"/>
                  <a:pt x="1478" y="561"/>
                </a:cubicBezTo>
                <a:cubicBezTo>
                  <a:pt x="1478" y="561"/>
                  <a:pt x="1478" y="560"/>
                  <a:pt x="1478" y="560"/>
                </a:cubicBezTo>
                <a:cubicBezTo>
                  <a:pt x="1478" y="560"/>
                  <a:pt x="1478" y="560"/>
                  <a:pt x="1478" y="559"/>
                </a:cubicBezTo>
                <a:cubicBezTo>
                  <a:pt x="1478" y="559"/>
                  <a:pt x="1479" y="559"/>
                  <a:pt x="1479" y="559"/>
                </a:cubicBezTo>
                <a:cubicBezTo>
                  <a:pt x="1479" y="559"/>
                  <a:pt x="1480" y="558"/>
                  <a:pt x="1480" y="558"/>
                </a:cubicBezTo>
                <a:cubicBezTo>
                  <a:pt x="1480" y="558"/>
                  <a:pt x="1480" y="557"/>
                  <a:pt x="1480" y="557"/>
                </a:cubicBezTo>
                <a:cubicBezTo>
                  <a:pt x="1480" y="557"/>
                  <a:pt x="1480" y="556"/>
                  <a:pt x="1479" y="556"/>
                </a:cubicBezTo>
                <a:cubicBezTo>
                  <a:pt x="1479" y="556"/>
                  <a:pt x="1479" y="556"/>
                  <a:pt x="1480" y="556"/>
                </a:cubicBezTo>
                <a:cubicBezTo>
                  <a:pt x="1480" y="556"/>
                  <a:pt x="1480" y="556"/>
                  <a:pt x="1481" y="556"/>
                </a:cubicBezTo>
                <a:cubicBezTo>
                  <a:pt x="1481" y="556"/>
                  <a:pt x="1481" y="556"/>
                  <a:pt x="1481" y="555"/>
                </a:cubicBezTo>
                <a:cubicBezTo>
                  <a:pt x="1482" y="555"/>
                  <a:pt x="1482" y="556"/>
                  <a:pt x="1482" y="556"/>
                </a:cubicBezTo>
                <a:cubicBezTo>
                  <a:pt x="1483" y="556"/>
                  <a:pt x="1483" y="556"/>
                  <a:pt x="1483" y="556"/>
                </a:cubicBezTo>
                <a:cubicBezTo>
                  <a:pt x="1483" y="556"/>
                  <a:pt x="1483" y="556"/>
                  <a:pt x="1483" y="556"/>
                </a:cubicBezTo>
                <a:cubicBezTo>
                  <a:pt x="1483" y="557"/>
                  <a:pt x="1483" y="557"/>
                  <a:pt x="1483" y="557"/>
                </a:cubicBezTo>
                <a:cubicBezTo>
                  <a:pt x="1483" y="557"/>
                  <a:pt x="1483" y="558"/>
                  <a:pt x="1483" y="558"/>
                </a:cubicBezTo>
                <a:cubicBezTo>
                  <a:pt x="1482" y="558"/>
                  <a:pt x="1482" y="558"/>
                  <a:pt x="1482" y="558"/>
                </a:cubicBezTo>
                <a:cubicBezTo>
                  <a:pt x="1482" y="558"/>
                  <a:pt x="1482" y="559"/>
                  <a:pt x="1481" y="559"/>
                </a:cubicBezTo>
                <a:cubicBezTo>
                  <a:pt x="1481" y="559"/>
                  <a:pt x="1482" y="559"/>
                  <a:pt x="1482" y="560"/>
                </a:cubicBezTo>
                <a:cubicBezTo>
                  <a:pt x="1482" y="560"/>
                  <a:pt x="1482" y="560"/>
                  <a:pt x="1482" y="560"/>
                </a:cubicBezTo>
                <a:cubicBezTo>
                  <a:pt x="1482" y="560"/>
                  <a:pt x="1482" y="560"/>
                  <a:pt x="1483" y="561"/>
                </a:cubicBezTo>
                <a:cubicBezTo>
                  <a:pt x="1483" y="561"/>
                  <a:pt x="1483" y="561"/>
                  <a:pt x="1483" y="562"/>
                </a:cubicBezTo>
                <a:cubicBezTo>
                  <a:pt x="1483" y="562"/>
                  <a:pt x="1483" y="562"/>
                  <a:pt x="1483" y="562"/>
                </a:cubicBezTo>
                <a:cubicBezTo>
                  <a:pt x="1483" y="562"/>
                  <a:pt x="1483" y="562"/>
                  <a:pt x="1483" y="562"/>
                </a:cubicBezTo>
                <a:cubicBezTo>
                  <a:pt x="1483" y="562"/>
                  <a:pt x="1483" y="563"/>
                  <a:pt x="1482" y="563"/>
                </a:cubicBezTo>
                <a:cubicBezTo>
                  <a:pt x="1482" y="564"/>
                  <a:pt x="1482" y="564"/>
                  <a:pt x="1482" y="564"/>
                </a:cubicBezTo>
                <a:cubicBezTo>
                  <a:pt x="1483" y="564"/>
                  <a:pt x="1483" y="564"/>
                  <a:pt x="1483" y="565"/>
                </a:cubicBezTo>
                <a:cubicBezTo>
                  <a:pt x="1483" y="565"/>
                  <a:pt x="1483" y="565"/>
                  <a:pt x="1484" y="565"/>
                </a:cubicBezTo>
                <a:cubicBezTo>
                  <a:pt x="1484" y="565"/>
                  <a:pt x="1484" y="565"/>
                  <a:pt x="1484" y="565"/>
                </a:cubicBezTo>
                <a:cubicBezTo>
                  <a:pt x="1485" y="565"/>
                  <a:pt x="1485" y="565"/>
                  <a:pt x="1485" y="565"/>
                </a:cubicBezTo>
                <a:cubicBezTo>
                  <a:pt x="1485" y="565"/>
                  <a:pt x="1485" y="565"/>
                  <a:pt x="1485" y="565"/>
                </a:cubicBezTo>
                <a:cubicBezTo>
                  <a:pt x="1485" y="565"/>
                  <a:pt x="1485" y="565"/>
                  <a:pt x="1485" y="565"/>
                </a:cubicBezTo>
                <a:cubicBezTo>
                  <a:pt x="1485" y="564"/>
                  <a:pt x="1486" y="564"/>
                  <a:pt x="1486" y="564"/>
                </a:cubicBezTo>
                <a:cubicBezTo>
                  <a:pt x="1486" y="564"/>
                  <a:pt x="1487" y="564"/>
                  <a:pt x="1487" y="564"/>
                </a:cubicBezTo>
                <a:cubicBezTo>
                  <a:pt x="1487" y="564"/>
                  <a:pt x="1488" y="564"/>
                  <a:pt x="1488" y="564"/>
                </a:cubicBezTo>
                <a:cubicBezTo>
                  <a:pt x="1489" y="565"/>
                  <a:pt x="1489" y="565"/>
                  <a:pt x="1490" y="565"/>
                </a:cubicBezTo>
                <a:cubicBezTo>
                  <a:pt x="1490" y="565"/>
                  <a:pt x="1490" y="565"/>
                  <a:pt x="1490" y="565"/>
                </a:cubicBezTo>
                <a:cubicBezTo>
                  <a:pt x="1490" y="565"/>
                  <a:pt x="1490" y="565"/>
                  <a:pt x="1491" y="565"/>
                </a:cubicBezTo>
                <a:cubicBezTo>
                  <a:pt x="1491" y="565"/>
                  <a:pt x="1491" y="565"/>
                  <a:pt x="1491" y="565"/>
                </a:cubicBezTo>
                <a:cubicBezTo>
                  <a:pt x="1491" y="565"/>
                  <a:pt x="1492" y="565"/>
                  <a:pt x="1492" y="565"/>
                </a:cubicBezTo>
                <a:cubicBezTo>
                  <a:pt x="1492" y="565"/>
                  <a:pt x="1492" y="565"/>
                  <a:pt x="1492" y="564"/>
                </a:cubicBezTo>
                <a:cubicBezTo>
                  <a:pt x="1491" y="564"/>
                  <a:pt x="1491" y="564"/>
                  <a:pt x="1491" y="564"/>
                </a:cubicBezTo>
                <a:cubicBezTo>
                  <a:pt x="1490" y="564"/>
                  <a:pt x="1490" y="564"/>
                  <a:pt x="1490" y="564"/>
                </a:cubicBezTo>
                <a:cubicBezTo>
                  <a:pt x="1490" y="564"/>
                  <a:pt x="1490" y="564"/>
                  <a:pt x="1490" y="564"/>
                </a:cubicBezTo>
                <a:cubicBezTo>
                  <a:pt x="1490" y="564"/>
                  <a:pt x="1489" y="564"/>
                  <a:pt x="1489" y="563"/>
                </a:cubicBezTo>
                <a:cubicBezTo>
                  <a:pt x="1489" y="563"/>
                  <a:pt x="1489" y="563"/>
                  <a:pt x="1489" y="563"/>
                </a:cubicBezTo>
                <a:cubicBezTo>
                  <a:pt x="1489" y="563"/>
                  <a:pt x="1489" y="563"/>
                  <a:pt x="1489" y="563"/>
                </a:cubicBezTo>
                <a:cubicBezTo>
                  <a:pt x="1489" y="563"/>
                  <a:pt x="1489" y="563"/>
                  <a:pt x="1489" y="562"/>
                </a:cubicBezTo>
                <a:cubicBezTo>
                  <a:pt x="1489" y="562"/>
                  <a:pt x="1489" y="562"/>
                  <a:pt x="1488" y="562"/>
                </a:cubicBezTo>
                <a:cubicBezTo>
                  <a:pt x="1488" y="562"/>
                  <a:pt x="1488" y="562"/>
                  <a:pt x="1488" y="562"/>
                </a:cubicBezTo>
                <a:cubicBezTo>
                  <a:pt x="1488" y="562"/>
                  <a:pt x="1488" y="562"/>
                  <a:pt x="1488" y="562"/>
                </a:cubicBezTo>
                <a:cubicBezTo>
                  <a:pt x="1488" y="562"/>
                  <a:pt x="1488" y="562"/>
                  <a:pt x="1487" y="561"/>
                </a:cubicBezTo>
                <a:cubicBezTo>
                  <a:pt x="1487" y="561"/>
                  <a:pt x="1487" y="561"/>
                  <a:pt x="1487" y="561"/>
                </a:cubicBezTo>
                <a:cubicBezTo>
                  <a:pt x="1488" y="561"/>
                  <a:pt x="1488" y="561"/>
                  <a:pt x="1488" y="561"/>
                </a:cubicBezTo>
                <a:cubicBezTo>
                  <a:pt x="1488" y="561"/>
                  <a:pt x="1488" y="561"/>
                  <a:pt x="1488" y="560"/>
                </a:cubicBezTo>
                <a:cubicBezTo>
                  <a:pt x="1488" y="561"/>
                  <a:pt x="1488" y="561"/>
                  <a:pt x="1489" y="561"/>
                </a:cubicBezTo>
                <a:cubicBezTo>
                  <a:pt x="1489" y="560"/>
                  <a:pt x="1489" y="560"/>
                  <a:pt x="1488" y="560"/>
                </a:cubicBezTo>
                <a:cubicBezTo>
                  <a:pt x="1489" y="560"/>
                  <a:pt x="1489" y="560"/>
                  <a:pt x="1489" y="560"/>
                </a:cubicBezTo>
                <a:cubicBezTo>
                  <a:pt x="1489" y="560"/>
                  <a:pt x="1489" y="560"/>
                  <a:pt x="1489" y="560"/>
                </a:cubicBezTo>
                <a:cubicBezTo>
                  <a:pt x="1489" y="560"/>
                  <a:pt x="1489" y="560"/>
                  <a:pt x="1489" y="559"/>
                </a:cubicBezTo>
                <a:cubicBezTo>
                  <a:pt x="1489" y="559"/>
                  <a:pt x="1489" y="559"/>
                  <a:pt x="1488" y="559"/>
                </a:cubicBezTo>
                <a:cubicBezTo>
                  <a:pt x="1488" y="559"/>
                  <a:pt x="1489" y="559"/>
                  <a:pt x="1489" y="559"/>
                </a:cubicBezTo>
                <a:cubicBezTo>
                  <a:pt x="1489" y="559"/>
                  <a:pt x="1489" y="559"/>
                  <a:pt x="1489" y="558"/>
                </a:cubicBezTo>
                <a:cubicBezTo>
                  <a:pt x="1489" y="558"/>
                  <a:pt x="1488" y="558"/>
                  <a:pt x="1488" y="558"/>
                </a:cubicBezTo>
                <a:cubicBezTo>
                  <a:pt x="1488" y="558"/>
                  <a:pt x="1488" y="558"/>
                  <a:pt x="1488" y="558"/>
                </a:cubicBezTo>
                <a:cubicBezTo>
                  <a:pt x="1488" y="557"/>
                  <a:pt x="1488" y="557"/>
                  <a:pt x="1488" y="557"/>
                </a:cubicBezTo>
                <a:cubicBezTo>
                  <a:pt x="1487" y="556"/>
                  <a:pt x="1487" y="556"/>
                  <a:pt x="1487" y="555"/>
                </a:cubicBezTo>
                <a:cubicBezTo>
                  <a:pt x="1487" y="555"/>
                  <a:pt x="1486" y="555"/>
                  <a:pt x="1486" y="555"/>
                </a:cubicBezTo>
                <a:cubicBezTo>
                  <a:pt x="1486" y="554"/>
                  <a:pt x="1486" y="554"/>
                  <a:pt x="1486" y="554"/>
                </a:cubicBezTo>
                <a:cubicBezTo>
                  <a:pt x="1486" y="554"/>
                  <a:pt x="1486" y="554"/>
                  <a:pt x="1486" y="554"/>
                </a:cubicBezTo>
                <a:cubicBezTo>
                  <a:pt x="1486" y="554"/>
                  <a:pt x="1486" y="554"/>
                  <a:pt x="1487" y="554"/>
                </a:cubicBezTo>
                <a:cubicBezTo>
                  <a:pt x="1487" y="554"/>
                  <a:pt x="1487" y="554"/>
                  <a:pt x="1487" y="554"/>
                </a:cubicBezTo>
                <a:cubicBezTo>
                  <a:pt x="1487" y="554"/>
                  <a:pt x="1487" y="554"/>
                  <a:pt x="1487" y="555"/>
                </a:cubicBezTo>
                <a:cubicBezTo>
                  <a:pt x="1488" y="554"/>
                  <a:pt x="1488" y="554"/>
                  <a:pt x="1488" y="554"/>
                </a:cubicBezTo>
                <a:cubicBezTo>
                  <a:pt x="1488" y="554"/>
                  <a:pt x="1489" y="554"/>
                  <a:pt x="1489" y="554"/>
                </a:cubicBezTo>
                <a:cubicBezTo>
                  <a:pt x="1489" y="554"/>
                  <a:pt x="1490" y="554"/>
                  <a:pt x="1491" y="554"/>
                </a:cubicBezTo>
                <a:cubicBezTo>
                  <a:pt x="1491" y="554"/>
                  <a:pt x="1492" y="554"/>
                  <a:pt x="1492" y="554"/>
                </a:cubicBezTo>
                <a:cubicBezTo>
                  <a:pt x="1493" y="554"/>
                  <a:pt x="1493" y="553"/>
                  <a:pt x="1493" y="553"/>
                </a:cubicBezTo>
                <a:cubicBezTo>
                  <a:pt x="1494" y="553"/>
                  <a:pt x="1494" y="553"/>
                  <a:pt x="1494" y="553"/>
                </a:cubicBezTo>
                <a:cubicBezTo>
                  <a:pt x="1494" y="553"/>
                  <a:pt x="1494" y="553"/>
                  <a:pt x="1494" y="553"/>
                </a:cubicBezTo>
                <a:cubicBezTo>
                  <a:pt x="1495" y="553"/>
                  <a:pt x="1495" y="553"/>
                  <a:pt x="1495" y="553"/>
                </a:cubicBezTo>
                <a:cubicBezTo>
                  <a:pt x="1496" y="553"/>
                  <a:pt x="1496" y="553"/>
                  <a:pt x="1496" y="554"/>
                </a:cubicBezTo>
                <a:cubicBezTo>
                  <a:pt x="1496" y="554"/>
                  <a:pt x="1497" y="554"/>
                  <a:pt x="1497" y="554"/>
                </a:cubicBezTo>
                <a:cubicBezTo>
                  <a:pt x="1497" y="554"/>
                  <a:pt x="1498" y="554"/>
                  <a:pt x="1498" y="553"/>
                </a:cubicBezTo>
                <a:cubicBezTo>
                  <a:pt x="1498" y="553"/>
                  <a:pt x="1498" y="553"/>
                  <a:pt x="1498" y="553"/>
                </a:cubicBezTo>
                <a:cubicBezTo>
                  <a:pt x="1498" y="553"/>
                  <a:pt x="1498" y="552"/>
                  <a:pt x="1497" y="552"/>
                </a:cubicBezTo>
                <a:cubicBezTo>
                  <a:pt x="1497" y="552"/>
                  <a:pt x="1496" y="552"/>
                  <a:pt x="1495" y="552"/>
                </a:cubicBezTo>
                <a:cubicBezTo>
                  <a:pt x="1495" y="552"/>
                  <a:pt x="1494" y="552"/>
                  <a:pt x="1494" y="552"/>
                </a:cubicBezTo>
                <a:cubicBezTo>
                  <a:pt x="1494" y="552"/>
                  <a:pt x="1493" y="551"/>
                  <a:pt x="1493" y="551"/>
                </a:cubicBezTo>
                <a:cubicBezTo>
                  <a:pt x="1493" y="551"/>
                  <a:pt x="1492" y="551"/>
                  <a:pt x="1492" y="551"/>
                </a:cubicBezTo>
                <a:cubicBezTo>
                  <a:pt x="1492" y="551"/>
                  <a:pt x="1491" y="551"/>
                  <a:pt x="1491" y="551"/>
                </a:cubicBezTo>
                <a:cubicBezTo>
                  <a:pt x="1491" y="551"/>
                  <a:pt x="1490" y="551"/>
                  <a:pt x="1490" y="551"/>
                </a:cubicBezTo>
                <a:cubicBezTo>
                  <a:pt x="1490" y="551"/>
                  <a:pt x="1490" y="551"/>
                  <a:pt x="1489" y="551"/>
                </a:cubicBezTo>
                <a:cubicBezTo>
                  <a:pt x="1489" y="551"/>
                  <a:pt x="1489" y="551"/>
                  <a:pt x="1489" y="550"/>
                </a:cubicBezTo>
                <a:cubicBezTo>
                  <a:pt x="1488" y="550"/>
                  <a:pt x="1488" y="550"/>
                  <a:pt x="1488" y="550"/>
                </a:cubicBezTo>
                <a:cubicBezTo>
                  <a:pt x="1488" y="550"/>
                  <a:pt x="1487" y="550"/>
                  <a:pt x="1487" y="550"/>
                </a:cubicBezTo>
                <a:cubicBezTo>
                  <a:pt x="1486" y="551"/>
                  <a:pt x="1486" y="551"/>
                  <a:pt x="1486" y="551"/>
                </a:cubicBezTo>
                <a:cubicBezTo>
                  <a:pt x="1485" y="551"/>
                  <a:pt x="1485" y="551"/>
                  <a:pt x="1485" y="551"/>
                </a:cubicBezTo>
                <a:cubicBezTo>
                  <a:pt x="1484" y="551"/>
                  <a:pt x="1484" y="551"/>
                  <a:pt x="1484" y="551"/>
                </a:cubicBezTo>
                <a:cubicBezTo>
                  <a:pt x="1484" y="551"/>
                  <a:pt x="1484" y="551"/>
                  <a:pt x="1484" y="551"/>
                </a:cubicBezTo>
                <a:cubicBezTo>
                  <a:pt x="1483" y="550"/>
                  <a:pt x="1483" y="550"/>
                  <a:pt x="1483" y="549"/>
                </a:cubicBezTo>
                <a:cubicBezTo>
                  <a:pt x="1483" y="549"/>
                  <a:pt x="1482" y="548"/>
                  <a:pt x="1482" y="548"/>
                </a:cubicBezTo>
                <a:cubicBezTo>
                  <a:pt x="1482" y="547"/>
                  <a:pt x="1482" y="547"/>
                  <a:pt x="1482" y="546"/>
                </a:cubicBezTo>
                <a:cubicBezTo>
                  <a:pt x="1482" y="546"/>
                  <a:pt x="1482" y="546"/>
                  <a:pt x="1482" y="545"/>
                </a:cubicBezTo>
                <a:cubicBezTo>
                  <a:pt x="1483" y="545"/>
                  <a:pt x="1483" y="544"/>
                  <a:pt x="1484" y="544"/>
                </a:cubicBezTo>
                <a:cubicBezTo>
                  <a:pt x="1484" y="544"/>
                  <a:pt x="1484" y="544"/>
                  <a:pt x="1485" y="544"/>
                </a:cubicBezTo>
                <a:cubicBezTo>
                  <a:pt x="1485" y="544"/>
                  <a:pt x="1485" y="544"/>
                  <a:pt x="1486" y="544"/>
                </a:cubicBezTo>
                <a:cubicBezTo>
                  <a:pt x="1486" y="544"/>
                  <a:pt x="1487" y="544"/>
                  <a:pt x="1487" y="545"/>
                </a:cubicBezTo>
                <a:cubicBezTo>
                  <a:pt x="1487" y="545"/>
                  <a:pt x="1488" y="545"/>
                  <a:pt x="1488" y="545"/>
                </a:cubicBezTo>
                <a:cubicBezTo>
                  <a:pt x="1489" y="545"/>
                  <a:pt x="1490" y="545"/>
                  <a:pt x="1490" y="545"/>
                </a:cubicBezTo>
                <a:cubicBezTo>
                  <a:pt x="1491" y="545"/>
                  <a:pt x="1491" y="546"/>
                  <a:pt x="1491" y="546"/>
                </a:cubicBezTo>
                <a:cubicBezTo>
                  <a:pt x="1491" y="546"/>
                  <a:pt x="1492" y="546"/>
                  <a:pt x="1492" y="546"/>
                </a:cubicBezTo>
                <a:cubicBezTo>
                  <a:pt x="1492" y="546"/>
                  <a:pt x="1492" y="547"/>
                  <a:pt x="1493" y="547"/>
                </a:cubicBezTo>
                <a:cubicBezTo>
                  <a:pt x="1493" y="547"/>
                  <a:pt x="1493" y="547"/>
                  <a:pt x="1493" y="547"/>
                </a:cubicBezTo>
                <a:cubicBezTo>
                  <a:pt x="1494" y="547"/>
                  <a:pt x="1494" y="547"/>
                  <a:pt x="1495" y="548"/>
                </a:cubicBezTo>
                <a:cubicBezTo>
                  <a:pt x="1495" y="548"/>
                  <a:pt x="1496" y="548"/>
                  <a:pt x="1496" y="548"/>
                </a:cubicBezTo>
                <a:cubicBezTo>
                  <a:pt x="1496" y="548"/>
                  <a:pt x="1496" y="548"/>
                  <a:pt x="1496" y="548"/>
                </a:cubicBezTo>
                <a:cubicBezTo>
                  <a:pt x="1497" y="548"/>
                  <a:pt x="1497" y="548"/>
                  <a:pt x="1498" y="548"/>
                </a:cubicBezTo>
                <a:cubicBezTo>
                  <a:pt x="1498" y="548"/>
                  <a:pt x="1498" y="548"/>
                  <a:pt x="1498" y="549"/>
                </a:cubicBezTo>
                <a:cubicBezTo>
                  <a:pt x="1498" y="549"/>
                  <a:pt x="1498" y="549"/>
                  <a:pt x="1498" y="549"/>
                </a:cubicBezTo>
                <a:cubicBezTo>
                  <a:pt x="1499" y="549"/>
                  <a:pt x="1499" y="549"/>
                  <a:pt x="1499" y="550"/>
                </a:cubicBezTo>
                <a:cubicBezTo>
                  <a:pt x="1500" y="550"/>
                  <a:pt x="1502" y="550"/>
                  <a:pt x="1503" y="550"/>
                </a:cubicBezTo>
                <a:cubicBezTo>
                  <a:pt x="1503" y="550"/>
                  <a:pt x="1504" y="550"/>
                  <a:pt x="1505" y="550"/>
                </a:cubicBezTo>
                <a:cubicBezTo>
                  <a:pt x="1505" y="550"/>
                  <a:pt x="1505" y="550"/>
                  <a:pt x="1505" y="550"/>
                </a:cubicBezTo>
                <a:cubicBezTo>
                  <a:pt x="1505" y="550"/>
                  <a:pt x="1506" y="550"/>
                  <a:pt x="1506" y="550"/>
                </a:cubicBezTo>
                <a:cubicBezTo>
                  <a:pt x="1506" y="550"/>
                  <a:pt x="1506" y="550"/>
                  <a:pt x="1506" y="550"/>
                </a:cubicBezTo>
                <a:cubicBezTo>
                  <a:pt x="1507" y="550"/>
                  <a:pt x="1507" y="550"/>
                  <a:pt x="1507" y="550"/>
                </a:cubicBezTo>
                <a:cubicBezTo>
                  <a:pt x="1507" y="549"/>
                  <a:pt x="1508" y="549"/>
                  <a:pt x="1508" y="549"/>
                </a:cubicBezTo>
                <a:cubicBezTo>
                  <a:pt x="1508" y="549"/>
                  <a:pt x="1508" y="549"/>
                  <a:pt x="1508" y="549"/>
                </a:cubicBezTo>
                <a:cubicBezTo>
                  <a:pt x="1509" y="549"/>
                  <a:pt x="1509" y="549"/>
                  <a:pt x="1509" y="549"/>
                </a:cubicBezTo>
                <a:cubicBezTo>
                  <a:pt x="1509" y="548"/>
                  <a:pt x="1509" y="548"/>
                  <a:pt x="1509" y="548"/>
                </a:cubicBezTo>
                <a:cubicBezTo>
                  <a:pt x="1509" y="548"/>
                  <a:pt x="1509" y="548"/>
                  <a:pt x="1509" y="548"/>
                </a:cubicBezTo>
                <a:cubicBezTo>
                  <a:pt x="1508" y="547"/>
                  <a:pt x="1508" y="547"/>
                  <a:pt x="1507" y="547"/>
                </a:cubicBezTo>
                <a:cubicBezTo>
                  <a:pt x="1507" y="547"/>
                  <a:pt x="1507" y="547"/>
                  <a:pt x="1506" y="547"/>
                </a:cubicBezTo>
                <a:cubicBezTo>
                  <a:pt x="1506" y="547"/>
                  <a:pt x="1506" y="547"/>
                  <a:pt x="1506" y="547"/>
                </a:cubicBezTo>
                <a:cubicBezTo>
                  <a:pt x="1506" y="547"/>
                  <a:pt x="1505" y="548"/>
                  <a:pt x="1505" y="548"/>
                </a:cubicBezTo>
                <a:cubicBezTo>
                  <a:pt x="1505" y="548"/>
                  <a:pt x="1505" y="548"/>
                  <a:pt x="1505" y="548"/>
                </a:cubicBezTo>
                <a:cubicBezTo>
                  <a:pt x="1505" y="548"/>
                  <a:pt x="1504" y="548"/>
                  <a:pt x="1504" y="548"/>
                </a:cubicBezTo>
                <a:cubicBezTo>
                  <a:pt x="1504" y="548"/>
                  <a:pt x="1503" y="548"/>
                  <a:pt x="1503" y="548"/>
                </a:cubicBezTo>
                <a:cubicBezTo>
                  <a:pt x="1503" y="548"/>
                  <a:pt x="1503" y="548"/>
                  <a:pt x="1502" y="548"/>
                </a:cubicBezTo>
                <a:cubicBezTo>
                  <a:pt x="1502" y="548"/>
                  <a:pt x="1502" y="548"/>
                  <a:pt x="1501" y="548"/>
                </a:cubicBezTo>
                <a:cubicBezTo>
                  <a:pt x="1501" y="548"/>
                  <a:pt x="1500" y="547"/>
                  <a:pt x="1499" y="547"/>
                </a:cubicBezTo>
                <a:cubicBezTo>
                  <a:pt x="1499" y="547"/>
                  <a:pt x="1498" y="546"/>
                  <a:pt x="1497" y="546"/>
                </a:cubicBezTo>
                <a:close/>
                <a:moveTo>
                  <a:pt x="1496" y="557"/>
                </a:moveTo>
                <a:cubicBezTo>
                  <a:pt x="1495" y="557"/>
                  <a:pt x="1495" y="557"/>
                  <a:pt x="1495" y="557"/>
                </a:cubicBezTo>
                <a:cubicBezTo>
                  <a:pt x="1495" y="557"/>
                  <a:pt x="1496" y="557"/>
                  <a:pt x="1496" y="557"/>
                </a:cubicBezTo>
                <a:cubicBezTo>
                  <a:pt x="1496" y="557"/>
                  <a:pt x="1496" y="557"/>
                  <a:pt x="1496" y="557"/>
                </a:cubicBezTo>
                <a:close/>
                <a:moveTo>
                  <a:pt x="1497" y="557"/>
                </a:moveTo>
                <a:cubicBezTo>
                  <a:pt x="1497" y="557"/>
                  <a:pt x="1497" y="556"/>
                  <a:pt x="1497" y="556"/>
                </a:cubicBezTo>
                <a:cubicBezTo>
                  <a:pt x="1497" y="556"/>
                  <a:pt x="1497" y="556"/>
                  <a:pt x="1496" y="556"/>
                </a:cubicBezTo>
                <a:cubicBezTo>
                  <a:pt x="1497" y="556"/>
                  <a:pt x="1497" y="557"/>
                  <a:pt x="1497" y="557"/>
                </a:cubicBezTo>
                <a:close/>
                <a:moveTo>
                  <a:pt x="1525" y="568"/>
                </a:moveTo>
                <a:cubicBezTo>
                  <a:pt x="1525" y="568"/>
                  <a:pt x="1525" y="568"/>
                  <a:pt x="1525" y="568"/>
                </a:cubicBezTo>
                <a:cubicBezTo>
                  <a:pt x="1525" y="568"/>
                  <a:pt x="1526" y="569"/>
                  <a:pt x="1526" y="569"/>
                </a:cubicBezTo>
                <a:cubicBezTo>
                  <a:pt x="1527" y="569"/>
                  <a:pt x="1527" y="569"/>
                  <a:pt x="1528" y="569"/>
                </a:cubicBezTo>
                <a:cubicBezTo>
                  <a:pt x="1528" y="569"/>
                  <a:pt x="1528" y="569"/>
                  <a:pt x="1527" y="569"/>
                </a:cubicBezTo>
                <a:cubicBezTo>
                  <a:pt x="1527" y="569"/>
                  <a:pt x="1528" y="569"/>
                  <a:pt x="1528" y="568"/>
                </a:cubicBezTo>
                <a:cubicBezTo>
                  <a:pt x="1527" y="568"/>
                  <a:pt x="1527" y="568"/>
                  <a:pt x="1527" y="568"/>
                </a:cubicBezTo>
                <a:cubicBezTo>
                  <a:pt x="1527" y="568"/>
                  <a:pt x="1526" y="568"/>
                  <a:pt x="1525" y="568"/>
                </a:cubicBezTo>
                <a:cubicBezTo>
                  <a:pt x="1525" y="568"/>
                  <a:pt x="1525" y="568"/>
                  <a:pt x="1525" y="568"/>
                </a:cubicBezTo>
                <a:close/>
                <a:moveTo>
                  <a:pt x="1517" y="559"/>
                </a:moveTo>
                <a:cubicBezTo>
                  <a:pt x="1516" y="559"/>
                  <a:pt x="1516" y="559"/>
                  <a:pt x="1516" y="559"/>
                </a:cubicBezTo>
                <a:cubicBezTo>
                  <a:pt x="1516" y="559"/>
                  <a:pt x="1516" y="559"/>
                  <a:pt x="1516" y="559"/>
                </a:cubicBezTo>
                <a:cubicBezTo>
                  <a:pt x="1516" y="559"/>
                  <a:pt x="1516" y="559"/>
                  <a:pt x="1516" y="559"/>
                </a:cubicBezTo>
                <a:cubicBezTo>
                  <a:pt x="1516" y="560"/>
                  <a:pt x="1516" y="560"/>
                  <a:pt x="1516" y="560"/>
                </a:cubicBezTo>
                <a:cubicBezTo>
                  <a:pt x="1516" y="560"/>
                  <a:pt x="1516" y="560"/>
                  <a:pt x="1517" y="560"/>
                </a:cubicBezTo>
                <a:cubicBezTo>
                  <a:pt x="1517" y="560"/>
                  <a:pt x="1517" y="561"/>
                  <a:pt x="1517" y="561"/>
                </a:cubicBezTo>
                <a:cubicBezTo>
                  <a:pt x="1517" y="561"/>
                  <a:pt x="1517" y="561"/>
                  <a:pt x="1518" y="561"/>
                </a:cubicBezTo>
                <a:cubicBezTo>
                  <a:pt x="1517" y="561"/>
                  <a:pt x="1517" y="560"/>
                  <a:pt x="1517" y="560"/>
                </a:cubicBezTo>
                <a:cubicBezTo>
                  <a:pt x="1517" y="560"/>
                  <a:pt x="1517" y="560"/>
                  <a:pt x="1517" y="560"/>
                </a:cubicBezTo>
                <a:cubicBezTo>
                  <a:pt x="1517" y="560"/>
                  <a:pt x="1517" y="560"/>
                  <a:pt x="1517" y="559"/>
                </a:cubicBezTo>
                <a:cubicBezTo>
                  <a:pt x="1517" y="559"/>
                  <a:pt x="1517" y="559"/>
                  <a:pt x="1517" y="559"/>
                </a:cubicBezTo>
                <a:close/>
                <a:moveTo>
                  <a:pt x="1484" y="567"/>
                </a:moveTo>
                <a:cubicBezTo>
                  <a:pt x="1484" y="567"/>
                  <a:pt x="1484" y="567"/>
                  <a:pt x="1484" y="566"/>
                </a:cubicBezTo>
                <a:cubicBezTo>
                  <a:pt x="1484" y="566"/>
                  <a:pt x="1484" y="566"/>
                  <a:pt x="1484" y="566"/>
                </a:cubicBezTo>
                <a:cubicBezTo>
                  <a:pt x="1484" y="566"/>
                  <a:pt x="1483" y="566"/>
                  <a:pt x="1483" y="566"/>
                </a:cubicBezTo>
                <a:cubicBezTo>
                  <a:pt x="1483" y="566"/>
                  <a:pt x="1483" y="566"/>
                  <a:pt x="1483" y="566"/>
                </a:cubicBezTo>
                <a:cubicBezTo>
                  <a:pt x="1483" y="566"/>
                  <a:pt x="1483" y="566"/>
                  <a:pt x="1483" y="566"/>
                </a:cubicBezTo>
                <a:cubicBezTo>
                  <a:pt x="1483" y="566"/>
                  <a:pt x="1483" y="567"/>
                  <a:pt x="1483" y="567"/>
                </a:cubicBezTo>
                <a:cubicBezTo>
                  <a:pt x="1483" y="567"/>
                  <a:pt x="1483" y="567"/>
                  <a:pt x="1483" y="567"/>
                </a:cubicBezTo>
                <a:cubicBezTo>
                  <a:pt x="1484" y="567"/>
                  <a:pt x="1484" y="567"/>
                  <a:pt x="1484" y="567"/>
                </a:cubicBezTo>
                <a:close/>
                <a:moveTo>
                  <a:pt x="1474" y="571"/>
                </a:moveTo>
                <a:cubicBezTo>
                  <a:pt x="1475" y="571"/>
                  <a:pt x="1475" y="571"/>
                  <a:pt x="1475" y="571"/>
                </a:cubicBezTo>
                <a:cubicBezTo>
                  <a:pt x="1475" y="571"/>
                  <a:pt x="1475" y="571"/>
                  <a:pt x="1475" y="571"/>
                </a:cubicBezTo>
                <a:cubicBezTo>
                  <a:pt x="1475" y="571"/>
                  <a:pt x="1475" y="571"/>
                  <a:pt x="1475" y="571"/>
                </a:cubicBezTo>
                <a:cubicBezTo>
                  <a:pt x="1475" y="571"/>
                  <a:pt x="1475" y="571"/>
                  <a:pt x="1474" y="571"/>
                </a:cubicBezTo>
                <a:close/>
                <a:moveTo>
                  <a:pt x="1492" y="582"/>
                </a:moveTo>
                <a:cubicBezTo>
                  <a:pt x="1492" y="581"/>
                  <a:pt x="1492" y="581"/>
                  <a:pt x="1492" y="581"/>
                </a:cubicBezTo>
                <a:cubicBezTo>
                  <a:pt x="1491" y="581"/>
                  <a:pt x="1491" y="581"/>
                  <a:pt x="1491" y="581"/>
                </a:cubicBezTo>
                <a:cubicBezTo>
                  <a:pt x="1491" y="581"/>
                  <a:pt x="1491" y="581"/>
                  <a:pt x="1491" y="582"/>
                </a:cubicBezTo>
                <a:cubicBezTo>
                  <a:pt x="1491" y="582"/>
                  <a:pt x="1491" y="582"/>
                  <a:pt x="1490" y="582"/>
                </a:cubicBezTo>
                <a:cubicBezTo>
                  <a:pt x="1490" y="582"/>
                  <a:pt x="1490" y="582"/>
                  <a:pt x="1490" y="582"/>
                </a:cubicBezTo>
                <a:cubicBezTo>
                  <a:pt x="1491" y="582"/>
                  <a:pt x="1491" y="582"/>
                  <a:pt x="1491" y="582"/>
                </a:cubicBezTo>
                <a:cubicBezTo>
                  <a:pt x="1492" y="582"/>
                  <a:pt x="1492" y="582"/>
                  <a:pt x="1493" y="583"/>
                </a:cubicBezTo>
                <a:cubicBezTo>
                  <a:pt x="1493" y="582"/>
                  <a:pt x="1493" y="582"/>
                  <a:pt x="1493" y="582"/>
                </a:cubicBezTo>
                <a:cubicBezTo>
                  <a:pt x="1493" y="582"/>
                  <a:pt x="1493" y="582"/>
                  <a:pt x="1493" y="582"/>
                </a:cubicBezTo>
                <a:cubicBezTo>
                  <a:pt x="1493" y="582"/>
                  <a:pt x="1492" y="582"/>
                  <a:pt x="1492" y="582"/>
                </a:cubicBezTo>
                <a:close/>
                <a:moveTo>
                  <a:pt x="1489" y="549"/>
                </a:moveTo>
                <a:cubicBezTo>
                  <a:pt x="1489" y="549"/>
                  <a:pt x="1489" y="549"/>
                  <a:pt x="1490" y="549"/>
                </a:cubicBezTo>
                <a:cubicBezTo>
                  <a:pt x="1490" y="549"/>
                  <a:pt x="1490" y="549"/>
                  <a:pt x="1490" y="550"/>
                </a:cubicBezTo>
                <a:cubicBezTo>
                  <a:pt x="1490" y="549"/>
                  <a:pt x="1490" y="549"/>
                  <a:pt x="1490" y="549"/>
                </a:cubicBezTo>
                <a:cubicBezTo>
                  <a:pt x="1490" y="549"/>
                  <a:pt x="1489" y="549"/>
                  <a:pt x="1489" y="549"/>
                </a:cubicBezTo>
                <a:close/>
                <a:moveTo>
                  <a:pt x="1525" y="550"/>
                </a:moveTo>
                <a:cubicBezTo>
                  <a:pt x="1525" y="550"/>
                  <a:pt x="1525" y="550"/>
                  <a:pt x="1525" y="550"/>
                </a:cubicBezTo>
                <a:cubicBezTo>
                  <a:pt x="1524" y="550"/>
                  <a:pt x="1524" y="550"/>
                  <a:pt x="1524" y="550"/>
                </a:cubicBezTo>
                <a:cubicBezTo>
                  <a:pt x="1524" y="551"/>
                  <a:pt x="1524" y="551"/>
                  <a:pt x="1524" y="552"/>
                </a:cubicBezTo>
                <a:cubicBezTo>
                  <a:pt x="1524" y="552"/>
                  <a:pt x="1524" y="551"/>
                  <a:pt x="1524" y="551"/>
                </a:cubicBezTo>
                <a:cubicBezTo>
                  <a:pt x="1525" y="552"/>
                  <a:pt x="1525" y="552"/>
                  <a:pt x="1525" y="552"/>
                </a:cubicBezTo>
                <a:cubicBezTo>
                  <a:pt x="1525" y="552"/>
                  <a:pt x="1526" y="552"/>
                  <a:pt x="1526" y="552"/>
                </a:cubicBezTo>
                <a:cubicBezTo>
                  <a:pt x="1526" y="551"/>
                  <a:pt x="1526" y="551"/>
                  <a:pt x="1526" y="551"/>
                </a:cubicBezTo>
                <a:cubicBezTo>
                  <a:pt x="1526" y="551"/>
                  <a:pt x="1525" y="551"/>
                  <a:pt x="1525" y="550"/>
                </a:cubicBezTo>
                <a:close/>
                <a:moveTo>
                  <a:pt x="1485" y="567"/>
                </a:moveTo>
                <a:cubicBezTo>
                  <a:pt x="1485" y="567"/>
                  <a:pt x="1485" y="567"/>
                  <a:pt x="1485" y="567"/>
                </a:cubicBezTo>
                <a:cubicBezTo>
                  <a:pt x="1486" y="568"/>
                  <a:pt x="1486" y="568"/>
                  <a:pt x="1486" y="568"/>
                </a:cubicBezTo>
                <a:cubicBezTo>
                  <a:pt x="1486" y="568"/>
                  <a:pt x="1486" y="568"/>
                  <a:pt x="1486" y="567"/>
                </a:cubicBezTo>
                <a:cubicBezTo>
                  <a:pt x="1487" y="567"/>
                  <a:pt x="1487" y="567"/>
                  <a:pt x="1487" y="567"/>
                </a:cubicBezTo>
                <a:cubicBezTo>
                  <a:pt x="1487" y="567"/>
                  <a:pt x="1487" y="567"/>
                  <a:pt x="1487" y="567"/>
                </a:cubicBezTo>
                <a:cubicBezTo>
                  <a:pt x="1487" y="567"/>
                  <a:pt x="1488" y="567"/>
                  <a:pt x="1488" y="567"/>
                </a:cubicBezTo>
                <a:cubicBezTo>
                  <a:pt x="1488" y="567"/>
                  <a:pt x="1488" y="566"/>
                  <a:pt x="1488" y="566"/>
                </a:cubicBezTo>
                <a:cubicBezTo>
                  <a:pt x="1488" y="566"/>
                  <a:pt x="1488" y="566"/>
                  <a:pt x="1488" y="566"/>
                </a:cubicBezTo>
                <a:cubicBezTo>
                  <a:pt x="1488" y="566"/>
                  <a:pt x="1487" y="566"/>
                  <a:pt x="1487" y="566"/>
                </a:cubicBezTo>
                <a:cubicBezTo>
                  <a:pt x="1487" y="566"/>
                  <a:pt x="1486" y="566"/>
                  <a:pt x="1486" y="566"/>
                </a:cubicBezTo>
                <a:cubicBezTo>
                  <a:pt x="1486" y="566"/>
                  <a:pt x="1486" y="566"/>
                  <a:pt x="1486" y="566"/>
                </a:cubicBezTo>
                <a:cubicBezTo>
                  <a:pt x="1486" y="567"/>
                  <a:pt x="1486" y="567"/>
                  <a:pt x="1485" y="567"/>
                </a:cubicBezTo>
                <a:cubicBezTo>
                  <a:pt x="1485" y="567"/>
                  <a:pt x="1485" y="567"/>
                  <a:pt x="1485" y="567"/>
                </a:cubicBezTo>
                <a:close/>
                <a:moveTo>
                  <a:pt x="1433" y="534"/>
                </a:moveTo>
                <a:cubicBezTo>
                  <a:pt x="1434" y="534"/>
                  <a:pt x="1434" y="534"/>
                  <a:pt x="1434" y="534"/>
                </a:cubicBezTo>
                <a:cubicBezTo>
                  <a:pt x="1434" y="533"/>
                  <a:pt x="1434" y="533"/>
                  <a:pt x="1434" y="533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3" y="533"/>
                  <a:pt x="1433" y="533"/>
                  <a:pt x="1433" y="533"/>
                </a:cubicBezTo>
                <a:cubicBezTo>
                  <a:pt x="1432" y="533"/>
                  <a:pt x="1432" y="533"/>
                  <a:pt x="1432" y="533"/>
                </a:cubicBezTo>
                <a:cubicBezTo>
                  <a:pt x="1432" y="534"/>
                  <a:pt x="1432" y="534"/>
                  <a:pt x="1432" y="534"/>
                </a:cubicBezTo>
                <a:cubicBezTo>
                  <a:pt x="1433" y="534"/>
                  <a:pt x="1433" y="534"/>
                  <a:pt x="1433" y="534"/>
                </a:cubicBezTo>
                <a:close/>
                <a:moveTo>
                  <a:pt x="1443" y="559"/>
                </a:moveTo>
                <a:cubicBezTo>
                  <a:pt x="1442" y="559"/>
                  <a:pt x="1441" y="559"/>
                  <a:pt x="1440" y="558"/>
                </a:cubicBezTo>
                <a:cubicBezTo>
                  <a:pt x="1440" y="558"/>
                  <a:pt x="1440" y="558"/>
                  <a:pt x="1440" y="558"/>
                </a:cubicBezTo>
                <a:cubicBezTo>
                  <a:pt x="1440" y="558"/>
                  <a:pt x="1439" y="558"/>
                  <a:pt x="1439" y="559"/>
                </a:cubicBezTo>
                <a:cubicBezTo>
                  <a:pt x="1439" y="559"/>
                  <a:pt x="1440" y="559"/>
                  <a:pt x="1440" y="560"/>
                </a:cubicBezTo>
                <a:cubicBezTo>
                  <a:pt x="1440" y="560"/>
                  <a:pt x="1440" y="560"/>
                  <a:pt x="1440" y="560"/>
                </a:cubicBezTo>
                <a:cubicBezTo>
                  <a:pt x="1441" y="560"/>
                  <a:pt x="1441" y="560"/>
                  <a:pt x="1441" y="560"/>
                </a:cubicBezTo>
                <a:cubicBezTo>
                  <a:pt x="1442" y="560"/>
                  <a:pt x="1442" y="560"/>
                  <a:pt x="1443" y="560"/>
                </a:cubicBezTo>
                <a:cubicBezTo>
                  <a:pt x="1443" y="560"/>
                  <a:pt x="1443" y="560"/>
                  <a:pt x="1444" y="560"/>
                </a:cubicBezTo>
                <a:cubicBezTo>
                  <a:pt x="1444" y="560"/>
                  <a:pt x="1444" y="561"/>
                  <a:pt x="1445" y="561"/>
                </a:cubicBezTo>
                <a:cubicBezTo>
                  <a:pt x="1445" y="561"/>
                  <a:pt x="1445" y="560"/>
                  <a:pt x="1445" y="560"/>
                </a:cubicBezTo>
                <a:cubicBezTo>
                  <a:pt x="1445" y="560"/>
                  <a:pt x="1445" y="560"/>
                  <a:pt x="1445" y="560"/>
                </a:cubicBezTo>
                <a:cubicBezTo>
                  <a:pt x="1444" y="560"/>
                  <a:pt x="1444" y="560"/>
                  <a:pt x="1444" y="560"/>
                </a:cubicBezTo>
                <a:cubicBezTo>
                  <a:pt x="1443" y="560"/>
                  <a:pt x="1443" y="559"/>
                  <a:pt x="1443" y="559"/>
                </a:cubicBezTo>
                <a:close/>
                <a:moveTo>
                  <a:pt x="1451" y="562"/>
                </a:moveTo>
                <a:cubicBezTo>
                  <a:pt x="1451" y="562"/>
                  <a:pt x="1452" y="562"/>
                  <a:pt x="1452" y="562"/>
                </a:cubicBezTo>
                <a:cubicBezTo>
                  <a:pt x="1452" y="562"/>
                  <a:pt x="1452" y="562"/>
                  <a:pt x="1452" y="562"/>
                </a:cubicBezTo>
                <a:cubicBezTo>
                  <a:pt x="1452" y="562"/>
                  <a:pt x="1452" y="562"/>
                  <a:pt x="1452" y="562"/>
                </a:cubicBezTo>
                <a:cubicBezTo>
                  <a:pt x="1452" y="562"/>
                  <a:pt x="1452" y="562"/>
                  <a:pt x="1451" y="562"/>
                </a:cubicBezTo>
                <a:cubicBezTo>
                  <a:pt x="1451" y="562"/>
                  <a:pt x="1451" y="562"/>
                  <a:pt x="1451" y="561"/>
                </a:cubicBezTo>
                <a:cubicBezTo>
                  <a:pt x="1450" y="562"/>
                  <a:pt x="1450" y="562"/>
                  <a:pt x="1450" y="562"/>
                </a:cubicBezTo>
                <a:cubicBezTo>
                  <a:pt x="1450" y="562"/>
                  <a:pt x="1450" y="562"/>
                  <a:pt x="1450" y="562"/>
                </a:cubicBezTo>
                <a:cubicBezTo>
                  <a:pt x="1450" y="562"/>
                  <a:pt x="1450" y="562"/>
                  <a:pt x="1451" y="562"/>
                </a:cubicBezTo>
                <a:cubicBezTo>
                  <a:pt x="1451" y="562"/>
                  <a:pt x="1451" y="562"/>
                  <a:pt x="1451" y="562"/>
                </a:cubicBezTo>
                <a:close/>
                <a:moveTo>
                  <a:pt x="1452" y="570"/>
                </a:moveTo>
                <a:cubicBezTo>
                  <a:pt x="1452" y="570"/>
                  <a:pt x="1453" y="570"/>
                  <a:pt x="1453" y="570"/>
                </a:cubicBezTo>
                <a:cubicBezTo>
                  <a:pt x="1453" y="571"/>
                  <a:pt x="1453" y="571"/>
                  <a:pt x="1453" y="571"/>
                </a:cubicBezTo>
                <a:cubicBezTo>
                  <a:pt x="1454" y="571"/>
                  <a:pt x="1454" y="570"/>
                  <a:pt x="1454" y="570"/>
                </a:cubicBezTo>
                <a:cubicBezTo>
                  <a:pt x="1454" y="570"/>
                  <a:pt x="1454" y="570"/>
                  <a:pt x="1454" y="570"/>
                </a:cubicBezTo>
                <a:cubicBezTo>
                  <a:pt x="1454" y="570"/>
                  <a:pt x="1455" y="569"/>
                  <a:pt x="1455" y="569"/>
                </a:cubicBezTo>
                <a:cubicBezTo>
                  <a:pt x="1454" y="569"/>
                  <a:pt x="1454" y="569"/>
                  <a:pt x="1453" y="568"/>
                </a:cubicBezTo>
                <a:cubicBezTo>
                  <a:pt x="1453" y="568"/>
                  <a:pt x="1453" y="568"/>
                  <a:pt x="1452" y="568"/>
                </a:cubicBezTo>
                <a:cubicBezTo>
                  <a:pt x="1452" y="569"/>
                  <a:pt x="1452" y="569"/>
                  <a:pt x="1452" y="569"/>
                </a:cubicBezTo>
                <a:cubicBezTo>
                  <a:pt x="1451" y="569"/>
                  <a:pt x="1451" y="569"/>
                  <a:pt x="1451" y="569"/>
                </a:cubicBezTo>
                <a:cubicBezTo>
                  <a:pt x="1451" y="569"/>
                  <a:pt x="1451" y="569"/>
                  <a:pt x="1450" y="569"/>
                </a:cubicBezTo>
                <a:cubicBezTo>
                  <a:pt x="1451" y="569"/>
                  <a:pt x="1451" y="569"/>
                  <a:pt x="1451" y="570"/>
                </a:cubicBezTo>
                <a:cubicBezTo>
                  <a:pt x="1451" y="570"/>
                  <a:pt x="1452" y="570"/>
                  <a:pt x="1452" y="570"/>
                </a:cubicBezTo>
                <a:close/>
                <a:moveTo>
                  <a:pt x="1433" y="530"/>
                </a:moveTo>
                <a:cubicBezTo>
                  <a:pt x="1433" y="530"/>
                  <a:pt x="1433" y="530"/>
                  <a:pt x="1433" y="530"/>
                </a:cubicBezTo>
                <a:cubicBezTo>
                  <a:pt x="1433" y="530"/>
                  <a:pt x="1432" y="530"/>
                  <a:pt x="1432" y="530"/>
                </a:cubicBezTo>
                <a:cubicBezTo>
                  <a:pt x="1432" y="530"/>
                  <a:pt x="1432" y="530"/>
                  <a:pt x="1432" y="530"/>
                </a:cubicBezTo>
                <a:cubicBezTo>
                  <a:pt x="1432" y="530"/>
                  <a:pt x="1432" y="530"/>
                  <a:pt x="1432" y="530"/>
                </a:cubicBezTo>
                <a:cubicBezTo>
                  <a:pt x="1432" y="530"/>
                  <a:pt x="1432" y="530"/>
                  <a:pt x="1433" y="530"/>
                </a:cubicBezTo>
                <a:cubicBezTo>
                  <a:pt x="1433" y="530"/>
                  <a:pt x="1433" y="530"/>
                  <a:pt x="1433" y="530"/>
                </a:cubicBezTo>
                <a:close/>
                <a:moveTo>
                  <a:pt x="1429" y="534"/>
                </a:moveTo>
                <a:cubicBezTo>
                  <a:pt x="1429" y="534"/>
                  <a:pt x="1429" y="534"/>
                  <a:pt x="1429" y="534"/>
                </a:cubicBezTo>
                <a:cubicBezTo>
                  <a:pt x="1429" y="534"/>
                  <a:pt x="1429" y="534"/>
                  <a:pt x="1429" y="534"/>
                </a:cubicBezTo>
                <a:cubicBezTo>
                  <a:pt x="1429" y="534"/>
                  <a:pt x="1429" y="534"/>
                  <a:pt x="1429" y="534"/>
                </a:cubicBezTo>
                <a:cubicBezTo>
                  <a:pt x="1429" y="534"/>
                  <a:pt x="1430" y="534"/>
                  <a:pt x="1430" y="534"/>
                </a:cubicBezTo>
                <a:cubicBezTo>
                  <a:pt x="1430" y="534"/>
                  <a:pt x="1430" y="534"/>
                  <a:pt x="1429" y="534"/>
                </a:cubicBezTo>
                <a:close/>
                <a:moveTo>
                  <a:pt x="1461" y="551"/>
                </a:moveTo>
                <a:cubicBezTo>
                  <a:pt x="1461" y="551"/>
                  <a:pt x="1461" y="551"/>
                  <a:pt x="1461" y="551"/>
                </a:cubicBezTo>
                <a:cubicBezTo>
                  <a:pt x="1460" y="551"/>
                  <a:pt x="1460" y="551"/>
                  <a:pt x="1460" y="551"/>
                </a:cubicBezTo>
                <a:cubicBezTo>
                  <a:pt x="1460" y="552"/>
                  <a:pt x="1460" y="552"/>
                  <a:pt x="1460" y="552"/>
                </a:cubicBezTo>
                <a:cubicBezTo>
                  <a:pt x="1460" y="552"/>
                  <a:pt x="1460" y="552"/>
                  <a:pt x="1460" y="552"/>
                </a:cubicBezTo>
                <a:cubicBezTo>
                  <a:pt x="1460" y="552"/>
                  <a:pt x="1461" y="552"/>
                  <a:pt x="1461" y="551"/>
                </a:cubicBezTo>
                <a:close/>
                <a:moveTo>
                  <a:pt x="1460" y="551"/>
                </a:moveTo>
                <a:cubicBezTo>
                  <a:pt x="1459" y="551"/>
                  <a:pt x="1459" y="551"/>
                  <a:pt x="1459" y="552"/>
                </a:cubicBezTo>
                <a:cubicBezTo>
                  <a:pt x="1459" y="552"/>
                  <a:pt x="1458" y="552"/>
                  <a:pt x="1458" y="553"/>
                </a:cubicBezTo>
                <a:cubicBezTo>
                  <a:pt x="1458" y="553"/>
                  <a:pt x="1458" y="553"/>
                  <a:pt x="1458" y="553"/>
                </a:cubicBezTo>
                <a:cubicBezTo>
                  <a:pt x="1459" y="553"/>
                  <a:pt x="1459" y="553"/>
                  <a:pt x="1459" y="553"/>
                </a:cubicBezTo>
                <a:cubicBezTo>
                  <a:pt x="1459" y="553"/>
                  <a:pt x="1460" y="552"/>
                  <a:pt x="1460" y="552"/>
                </a:cubicBezTo>
                <a:cubicBezTo>
                  <a:pt x="1460" y="552"/>
                  <a:pt x="1460" y="551"/>
                  <a:pt x="1460" y="551"/>
                </a:cubicBezTo>
                <a:cubicBezTo>
                  <a:pt x="1460" y="551"/>
                  <a:pt x="1460" y="551"/>
                  <a:pt x="1460" y="551"/>
                </a:cubicBezTo>
                <a:cubicBezTo>
                  <a:pt x="1460" y="551"/>
                  <a:pt x="1460" y="551"/>
                  <a:pt x="1460" y="551"/>
                </a:cubicBezTo>
                <a:close/>
                <a:moveTo>
                  <a:pt x="1553" y="574"/>
                </a:moveTo>
                <a:cubicBezTo>
                  <a:pt x="1553" y="574"/>
                  <a:pt x="1553" y="574"/>
                  <a:pt x="1553" y="575"/>
                </a:cubicBezTo>
                <a:cubicBezTo>
                  <a:pt x="1553" y="574"/>
                  <a:pt x="1553" y="574"/>
                  <a:pt x="1553" y="574"/>
                </a:cubicBezTo>
                <a:cubicBezTo>
                  <a:pt x="1553" y="574"/>
                  <a:pt x="1554" y="574"/>
                  <a:pt x="1554" y="574"/>
                </a:cubicBezTo>
                <a:cubicBezTo>
                  <a:pt x="1554" y="575"/>
                  <a:pt x="1554" y="575"/>
                  <a:pt x="1554" y="575"/>
                </a:cubicBezTo>
                <a:cubicBezTo>
                  <a:pt x="1554" y="576"/>
                  <a:pt x="1554" y="576"/>
                  <a:pt x="1554" y="576"/>
                </a:cubicBezTo>
                <a:cubicBezTo>
                  <a:pt x="1554" y="576"/>
                  <a:pt x="1554" y="576"/>
                  <a:pt x="1554" y="576"/>
                </a:cubicBezTo>
                <a:cubicBezTo>
                  <a:pt x="1555" y="576"/>
                  <a:pt x="1555" y="576"/>
                  <a:pt x="1555" y="576"/>
                </a:cubicBezTo>
                <a:cubicBezTo>
                  <a:pt x="1555" y="576"/>
                  <a:pt x="1555" y="577"/>
                  <a:pt x="1555" y="577"/>
                </a:cubicBezTo>
                <a:cubicBezTo>
                  <a:pt x="1555" y="577"/>
                  <a:pt x="1556" y="577"/>
                  <a:pt x="1556" y="577"/>
                </a:cubicBezTo>
                <a:cubicBezTo>
                  <a:pt x="1556" y="577"/>
                  <a:pt x="1556" y="577"/>
                  <a:pt x="1556" y="576"/>
                </a:cubicBezTo>
                <a:cubicBezTo>
                  <a:pt x="1556" y="576"/>
                  <a:pt x="1556" y="576"/>
                  <a:pt x="1555" y="576"/>
                </a:cubicBezTo>
                <a:cubicBezTo>
                  <a:pt x="1555" y="576"/>
                  <a:pt x="1555" y="575"/>
                  <a:pt x="1555" y="575"/>
                </a:cubicBezTo>
                <a:cubicBezTo>
                  <a:pt x="1555" y="575"/>
                  <a:pt x="1555" y="575"/>
                  <a:pt x="1555" y="574"/>
                </a:cubicBezTo>
                <a:cubicBezTo>
                  <a:pt x="1554" y="574"/>
                  <a:pt x="1554" y="574"/>
                  <a:pt x="1554" y="574"/>
                </a:cubicBezTo>
                <a:cubicBezTo>
                  <a:pt x="1553" y="574"/>
                  <a:pt x="1553" y="574"/>
                  <a:pt x="1553" y="573"/>
                </a:cubicBezTo>
                <a:cubicBezTo>
                  <a:pt x="1553" y="573"/>
                  <a:pt x="1553" y="574"/>
                  <a:pt x="1553" y="574"/>
                </a:cubicBezTo>
                <a:close/>
                <a:moveTo>
                  <a:pt x="1449" y="569"/>
                </a:moveTo>
                <a:cubicBezTo>
                  <a:pt x="1449" y="569"/>
                  <a:pt x="1449" y="569"/>
                  <a:pt x="1450" y="569"/>
                </a:cubicBezTo>
                <a:cubicBezTo>
                  <a:pt x="1450" y="569"/>
                  <a:pt x="1450" y="569"/>
                  <a:pt x="1449" y="568"/>
                </a:cubicBezTo>
                <a:cubicBezTo>
                  <a:pt x="1449" y="568"/>
                  <a:pt x="1449" y="569"/>
                  <a:pt x="1449" y="569"/>
                </a:cubicBezTo>
                <a:cubicBezTo>
                  <a:pt x="1449" y="569"/>
                  <a:pt x="1449" y="569"/>
                  <a:pt x="1449" y="569"/>
                </a:cubicBezTo>
                <a:close/>
                <a:moveTo>
                  <a:pt x="1453" y="564"/>
                </a:moveTo>
                <a:cubicBezTo>
                  <a:pt x="1453" y="564"/>
                  <a:pt x="1453" y="564"/>
                  <a:pt x="1453" y="564"/>
                </a:cubicBezTo>
                <a:cubicBezTo>
                  <a:pt x="1453" y="564"/>
                  <a:pt x="1453" y="564"/>
                  <a:pt x="1452" y="564"/>
                </a:cubicBezTo>
                <a:cubicBezTo>
                  <a:pt x="1452" y="564"/>
                  <a:pt x="1452" y="564"/>
                  <a:pt x="1452" y="564"/>
                </a:cubicBezTo>
                <a:cubicBezTo>
                  <a:pt x="1453" y="564"/>
                  <a:pt x="1453" y="564"/>
                  <a:pt x="1453" y="564"/>
                </a:cubicBezTo>
                <a:cubicBezTo>
                  <a:pt x="1453" y="564"/>
                  <a:pt x="1453" y="564"/>
                  <a:pt x="1453" y="564"/>
                </a:cubicBezTo>
                <a:close/>
                <a:moveTo>
                  <a:pt x="1445" y="524"/>
                </a:moveTo>
                <a:cubicBezTo>
                  <a:pt x="1445" y="524"/>
                  <a:pt x="1445" y="524"/>
                  <a:pt x="1444" y="525"/>
                </a:cubicBezTo>
                <a:cubicBezTo>
                  <a:pt x="1444" y="525"/>
                  <a:pt x="1444" y="525"/>
                  <a:pt x="1443" y="525"/>
                </a:cubicBezTo>
                <a:cubicBezTo>
                  <a:pt x="1443" y="525"/>
                  <a:pt x="1443" y="526"/>
                  <a:pt x="1443" y="526"/>
                </a:cubicBezTo>
                <a:cubicBezTo>
                  <a:pt x="1443" y="525"/>
                  <a:pt x="1442" y="525"/>
                  <a:pt x="1442" y="525"/>
                </a:cubicBezTo>
                <a:cubicBezTo>
                  <a:pt x="1441" y="525"/>
                  <a:pt x="1440" y="524"/>
                  <a:pt x="1440" y="524"/>
                </a:cubicBezTo>
                <a:cubicBezTo>
                  <a:pt x="1439" y="524"/>
                  <a:pt x="1439" y="524"/>
                  <a:pt x="1438" y="523"/>
                </a:cubicBezTo>
                <a:cubicBezTo>
                  <a:pt x="1438" y="523"/>
                  <a:pt x="1438" y="523"/>
                  <a:pt x="1438" y="523"/>
                </a:cubicBezTo>
                <a:cubicBezTo>
                  <a:pt x="1438" y="522"/>
                  <a:pt x="1438" y="522"/>
                  <a:pt x="1438" y="522"/>
                </a:cubicBezTo>
                <a:cubicBezTo>
                  <a:pt x="1437" y="522"/>
                  <a:pt x="1437" y="522"/>
                  <a:pt x="1437" y="522"/>
                </a:cubicBezTo>
                <a:cubicBezTo>
                  <a:pt x="1437" y="522"/>
                  <a:pt x="1437" y="522"/>
                  <a:pt x="1436" y="522"/>
                </a:cubicBezTo>
                <a:cubicBezTo>
                  <a:pt x="1436" y="522"/>
                  <a:pt x="1436" y="522"/>
                  <a:pt x="1436" y="522"/>
                </a:cubicBezTo>
                <a:cubicBezTo>
                  <a:pt x="1435" y="522"/>
                  <a:pt x="1435" y="523"/>
                  <a:pt x="1434" y="523"/>
                </a:cubicBezTo>
                <a:cubicBezTo>
                  <a:pt x="1434" y="523"/>
                  <a:pt x="1434" y="523"/>
                  <a:pt x="1433" y="524"/>
                </a:cubicBezTo>
                <a:cubicBezTo>
                  <a:pt x="1433" y="524"/>
                  <a:pt x="1433" y="524"/>
                  <a:pt x="1433" y="524"/>
                </a:cubicBezTo>
                <a:cubicBezTo>
                  <a:pt x="1433" y="524"/>
                  <a:pt x="1433" y="524"/>
                  <a:pt x="1433" y="525"/>
                </a:cubicBezTo>
                <a:cubicBezTo>
                  <a:pt x="1433" y="525"/>
                  <a:pt x="1433" y="525"/>
                  <a:pt x="1433" y="525"/>
                </a:cubicBezTo>
                <a:cubicBezTo>
                  <a:pt x="1433" y="525"/>
                  <a:pt x="1432" y="525"/>
                  <a:pt x="1432" y="525"/>
                </a:cubicBezTo>
                <a:cubicBezTo>
                  <a:pt x="1432" y="525"/>
                  <a:pt x="1432" y="526"/>
                  <a:pt x="1432" y="526"/>
                </a:cubicBezTo>
                <a:cubicBezTo>
                  <a:pt x="1432" y="527"/>
                  <a:pt x="1432" y="528"/>
                  <a:pt x="1433" y="528"/>
                </a:cubicBezTo>
                <a:cubicBezTo>
                  <a:pt x="1433" y="528"/>
                  <a:pt x="1433" y="529"/>
                  <a:pt x="1433" y="529"/>
                </a:cubicBezTo>
                <a:cubicBezTo>
                  <a:pt x="1433" y="529"/>
                  <a:pt x="1433" y="529"/>
                  <a:pt x="1432" y="528"/>
                </a:cubicBezTo>
                <a:cubicBezTo>
                  <a:pt x="1432" y="528"/>
                  <a:pt x="1432" y="529"/>
                  <a:pt x="1432" y="529"/>
                </a:cubicBezTo>
                <a:cubicBezTo>
                  <a:pt x="1432" y="529"/>
                  <a:pt x="1432" y="529"/>
                  <a:pt x="1432" y="530"/>
                </a:cubicBezTo>
                <a:cubicBezTo>
                  <a:pt x="1433" y="530"/>
                  <a:pt x="1433" y="530"/>
                  <a:pt x="1433" y="530"/>
                </a:cubicBezTo>
                <a:cubicBezTo>
                  <a:pt x="1434" y="530"/>
                  <a:pt x="1434" y="530"/>
                  <a:pt x="1434" y="530"/>
                </a:cubicBezTo>
                <a:cubicBezTo>
                  <a:pt x="1434" y="530"/>
                  <a:pt x="1435" y="530"/>
                  <a:pt x="1435" y="530"/>
                </a:cubicBezTo>
                <a:cubicBezTo>
                  <a:pt x="1436" y="530"/>
                  <a:pt x="1436" y="530"/>
                  <a:pt x="1437" y="530"/>
                </a:cubicBezTo>
                <a:cubicBezTo>
                  <a:pt x="1437" y="530"/>
                  <a:pt x="1437" y="531"/>
                  <a:pt x="1438" y="531"/>
                </a:cubicBezTo>
                <a:cubicBezTo>
                  <a:pt x="1437" y="531"/>
                  <a:pt x="1437" y="530"/>
                  <a:pt x="1437" y="530"/>
                </a:cubicBezTo>
                <a:cubicBezTo>
                  <a:pt x="1436" y="530"/>
                  <a:pt x="1436" y="531"/>
                  <a:pt x="1435" y="531"/>
                </a:cubicBezTo>
                <a:cubicBezTo>
                  <a:pt x="1435" y="531"/>
                  <a:pt x="1434" y="531"/>
                  <a:pt x="1434" y="530"/>
                </a:cubicBezTo>
                <a:cubicBezTo>
                  <a:pt x="1433" y="531"/>
                  <a:pt x="1433" y="531"/>
                  <a:pt x="1433" y="531"/>
                </a:cubicBezTo>
                <a:cubicBezTo>
                  <a:pt x="1433" y="531"/>
                  <a:pt x="1432" y="531"/>
                  <a:pt x="1432" y="531"/>
                </a:cubicBezTo>
                <a:cubicBezTo>
                  <a:pt x="1432" y="531"/>
                  <a:pt x="1432" y="531"/>
                  <a:pt x="1432" y="531"/>
                </a:cubicBezTo>
                <a:cubicBezTo>
                  <a:pt x="1432" y="531"/>
                  <a:pt x="1433" y="531"/>
                  <a:pt x="1433" y="531"/>
                </a:cubicBezTo>
                <a:cubicBezTo>
                  <a:pt x="1433" y="532"/>
                  <a:pt x="1434" y="532"/>
                  <a:pt x="1434" y="532"/>
                </a:cubicBezTo>
                <a:cubicBezTo>
                  <a:pt x="1434" y="533"/>
                  <a:pt x="1435" y="533"/>
                  <a:pt x="1435" y="534"/>
                </a:cubicBezTo>
                <a:cubicBezTo>
                  <a:pt x="1435" y="534"/>
                  <a:pt x="1435" y="534"/>
                  <a:pt x="1435" y="534"/>
                </a:cubicBezTo>
                <a:cubicBezTo>
                  <a:pt x="1435" y="535"/>
                  <a:pt x="1435" y="535"/>
                  <a:pt x="1435" y="535"/>
                </a:cubicBezTo>
                <a:cubicBezTo>
                  <a:pt x="1435" y="535"/>
                  <a:pt x="1434" y="535"/>
                  <a:pt x="1434" y="536"/>
                </a:cubicBezTo>
                <a:cubicBezTo>
                  <a:pt x="1434" y="536"/>
                  <a:pt x="1434" y="536"/>
                  <a:pt x="1434" y="536"/>
                </a:cubicBezTo>
                <a:cubicBezTo>
                  <a:pt x="1434" y="536"/>
                  <a:pt x="1434" y="536"/>
                  <a:pt x="1434" y="536"/>
                </a:cubicBezTo>
                <a:cubicBezTo>
                  <a:pt x="1434" y="537"/>
                  <a:pt x="1434" y="537"/>
                  <a:pt x="1434" y="537"/>
                </a:cubicBezTo>
                <a:cubicBezTo>
                  <a:pt x="1434" y="538"/>
                  <a:pt x="1434" y="538"/>
                  <a:pt x="1434" y="539"/>
                </a:cubicBezTo>
                <a:cubicBezTo>
                  <a:pt x="1434" y="539"/>
                  <a:pt x="1434" y="539"/>
                  <a:pt x="1434" y="539"/>
                </a:cubicBezTo>
                <a:cubicBezTo>
                  <a:pt x="1434" y="540"/>
                  <a:pt x="1434" y="540"/>
                  <a:pt x="1434" y="541"/>
                </a:cubicBezTo>
                <a:cubicBezTo>
                  <a:pt x="1434" y="541"/>
                  <a:pt x="1434" y="541"/>
                  <a:pt x="1434" y="541"/>
                </a:cubicBezTo>
                <a:cubicBezTo>
                  <a:pt x="1435" y="541"/>
                  <a:pt x="1435" y="541"/>
                  <a:pt x="1435" y="541"/>
                </a:cubicBezTo>
                <a:cubicBezTo>
                  <a:pt x="1435" y="541"/>
                  <a:pt x="1435" y="541"/>
                  <a:pt x="1435" y="541"/>
                </a:cubicBezTo>
                <a:cubicBezTo>
                  <a:pt x="1436" y="541"/>
                  <a:pt x="1436" y="541"/>
                  <a:pt x="1436" y="541"/>
                </a:cubicBezTo>
                <a:cubicBezTo>
                  <a:pt x="1437" y="542"/>
                  <a:pt x="1437" y="542"/>
                  <a:pt x="1437" y="542"/>
                </a:cubicBezTo>
                <a:cubicBezTo>
                  <a:pt x="1437" y="542"/>
                  <a:pt x="1438" y="542"/>
                  <a:pt x="1438" y="542"/>
                </a:cubicBezTo>
                <a:cubicBezTo>
                  <a:pt x="1439" y="542"/>
                  <a:pt x="1439" y="542"/>
                  <a:pt x="1439" y="542"/>
                </a:cubicBezTo>
                <a:cubicBezTo>
                  <a:pt x="1439" y="542"/>
                  <a:pt x="1439" y="542"/>
                  <a:pt x="1440" y="542"/>
                </a:cubicBezTo>
                <a:cubicBezTo>
                  <a:pt x="1440" y="542"/>
                  <a:pt x="1440" y="542"/>
                  <a:pt x="1440" y="542"/>
                </a:cubicBezTo>
                <a:cubicBezTo>
                  <a:pt x="1440" y="542"/>
                  <a:pt x="1441" y="542"/>
                  <a:pt x="1441" y="542"/>
                </a:cubicBezTo>
                <a:cubicBezTo>
                  <a:pt x="1441" y="542"/>
                  <a:pt x="1441" y="542"/>
                  <a:pt x="1441" y="541"/>
                </a:cubicBezTo>
                <a:cubicBezTo>
                  <a:pt x="1441" y="542"/>
                  <a:pt x="1441" y="542"/>
                  <a:pt x="1441" y="542"/>
                </a:cubicBezTo>
                <a:cubicBezTo>
                  <a:pt x="1441" y="542"/>
                  <a:pt x="1441" y="542"/>
                  <a:pt x="1441" y="543"/>
                </a:cubicBezTo>
                <a:cubicBezTo>
                  <a:pt x="1441" y="543"/>
                  <a:pt x="1441" y="543"/>
                  <a:pt x="1441" y="544"/>
                </a:cubicBezTo>
                <a:cubicBezTo>
                  <a:pt x="1441" y="544"/>
                  <a:pt x="1441" y="544"/>
                  <a:pt x="1441" y="545"/>
                </a:cubicBezTo>
                <a:cubicBezTo>
                  <a:pt x="1440" y="545"/>
                  <a:pt x="1440" y="545"/>
                  <a:pt x="1440" y="545"/>
                </a:cubicBezTo>
                <a:cubicBezTo>
                  <a:pt x="1440" y="545"/>
                  <a:pt x="1441" y="545"/>
                  <a:pt x="1441" y="546"/>
                </a:cubicBezTo>
                <a:cubicBezTo>
                  <a:pt x="1441" y="545"/>
                  <a:pt x="1442" y="545"/>
                  <a:pt x="1442" y="545"/>
                </a:cubicBezTo>
                <a:cubicBezTo>
                  <a:pt x="1442" y="545"/>
                  <a:pt x="1443" y="545"/>
                  <a:pt x="1443" y="545"/>
                </a:cubicBezTo>
                <a:cubicBezTo>
                  <a:pt x="1443" y="545"/>
                  <a:pt x="1443" y="545"/>
                  <a:pt x="1443" y="545"/>
                </a:cubicBezTo>
                <a:cubicBezTo>
                  <a:pt x="1443" y="545"/>
                  <a:pt x="1444" y="545"/>
                  <a:pt x="1444" y="546"/>
                </a:cubicBezTo>
                <a:cubicBezTo>
                  <a:pt x="1444" y="545"/>
                  <a:pt x="1444" y="545"/>
                  <a:pt x="1444" y="545"/>
                </a:cubicBezTo>
                <a:cubicBezTo>
                  <a:pt x="1445" y="545"/>
                  <a:pt x="1445" y="545"/>
                  <a:pt x="1445" y="545"/>
                </a:cubicBezTo>
                <a:cubicBezTo>
                  <a:pt x="1446" y="545"/>
                  <a:pt x="1446" y="545"/>
                  <a:pt x="1446" y="545"/>
                </a:cubicBezTo>
                <a:cubicBezTo>
                  <a:pt x="1446" y="545"/>
                  <a:pt x="1447" y="545"/>
                  <a:pt x="1447" y="545"/>
                </a:cubicBezTo>
                <a:cubicBezTo>
                  <a:pt x="1447" y="545"/>
                  <a:pt x="1447" y="546"/>
                  <a:pt x="1448" y="546"/>
                </a:cubicBezTo>
                <a:cubicBezTo>
                  <a:pt x="1448" y="546"/>
                  <a:pt x="1448" y="546"/>
                  <a:pt x="1448" y="546"/>
                </a:cubicBezTo>
                <a:cubicBezTo>
                  <a:pt x="1448" y="546"/>
                  <a:pt x="1448" y="546"/>
                  <a:pt x="1449" y="546"/>
                </a:cubicBezTo>
                <a:cubicBezTo>
                  <a:pt x="1448" y="547"/>
                  <a:pt x="1448" y="547"/>
                  <a:pt x="1448" y="547"/>
                </a:cubicBezTo>
                <a:cubicBezTo>
                  <a:pt x="1448" y="547"/>
                  <a:pt x="1448" y="547"/>
                  <a:pt x="1449" y="547"/>
                </a:cubicBezTo>
                <a:cubicBezTo>
                  <a:pt x="1449" y="548"/>
                  <a:pt x="1449" y="548"/>
                  <a:pt x="1449" y="548"/>
                </a:cubicBezTo>
                <a:cubicBezTo>
                  <a:pt x="1449" y="548"/>
                  <a:pt x="1449" y="547"/>
                  <a:pt x="1449" y="547"/>
                </a:cubicBezTo>
                <a:cubicBezTo>
                  <a:pt x="1449" y="547"/>
                  <a:pt x="1450" y="547"/>
                  <a:pt x="1450" y="547"/>
                </a:cubicBezTo>
                <a:cubicBezTo>
                  <a:pt x="1450" y="547"/>
                  <a:pt x="1450" y="547"/>
                  <a:pt x="1450" y="547"/>
                </a:cubicBezTo>
                <a:cubicBezTo>
                  <a:pt x="1450" y="548"/>
                  <a:pt x="1450" y="548"/>
                  <a:pt x="1451" y="548"/>
                </a:cubicBezTo>
                <a:cubicBezTo>
                  <a:pt x="1451" y="548"/>
                  <a:pt x="1451" y="548"/>
                  <a:pt x="1451" y="548"/>
                </a:cubicBezTo>
                <a:cubicBezTo>
                  <a:pt x="1451" y="548"/>
                  <a:pt x="1451" y="548"/>
                  <a:pt x="1451" y="549"/>
                </a:cubicBezTo>
                <a:cubicBezTo>
                  <a:pt x="1452" y="549"/>
                  <a:pt x="1452" y="548"/>
                  <a:pt x="1452" y="548"/>
                </a:cubicBezTo>
                <a:cubicBezTo>
                  <a:pt x="1452" y="549"/>
                  <a:pt x="1452" y="549"/>
                  <a:pt x="1452" y="549"/>
                </a:cubicBezTo>
                <a:cubicBezTo>
                  <a:pt x="1452" y="549"/>
                  <a:pt x="1452" y="549"/>
                  <a:pt x="1452" y="549"/>
                </a:cubicBezTo>
                <a:cubicBezTo>
                  <a:pt x="1452" y="550"/>
                  <a:pt x="1452" y="550"/>
                  <a:pt x="1452" y="550"/>
                </a:cubicBezTo>
                <a:cubicBezTo>
                  <a:pt x="1452" y="550"/>
                  <a:pt x="1452" y="551"/>
                  <a:pt x="1452" y="551"/>
                </a:cubicBezTo>
                <a:cubicBezTo>
                  <a:pt x="1452" y="551"/>
                  <a:pt x="1452" y="551"/>
                  <a:pt x="1453" y="551"/>
                </a:cubicBezTo>
                <a:cubicBezTo>
                  <a:pt x="1453" y="551"/>
                  <a:pt x="1454" y="551"/>
                  <a:pt x="1455" y="551"/>
                </a:cubicBezTo>
                <a:cubicBezTo>
                  <a:pt x="1455" y="551"/>
                  <a:pt x="1456" y="551"/>
                  <a:pt x="1456" y="551"/>
                </a:cubicBezTo>
                <a:cubicBezTo>
                  <a:pt x="1457" y="551"/>
                  <a:pt x="1457" y="551"/>
                  <a:pt x="1458" y="551"/>
                </a:cubicBezTo>
                <a:cubicBezTo>
                  <a:pt x="1459" y="551"/>
                  <a:pt x="1459" y="550"/>
                  <a:pt x="1460" y="550"/>
                </a:cubicBezTo>
                <a:cubicBezTo>
                  <a:pt x="1460" y="550"/>
                  <a:pt x="1460" y="550"/>
                  <a:pt x="1460" y="550"/>
                </a:cubicBezTo>
                <a:cubicBezTo>
                  <a:pt x="1460" y="549"/>
                  <a:pt x="1460" y="549"/>
                  <a:pt x="1460" y="549"/>
                </a:cubicBezTo>
                <a:cubicBezTo>
                  <a:pt x="1460" y="549"/>
                  <a:pt x="1460" y="549"/>
                  <a:pt x="1460" y="549"/>
                </a:cubicBezTo>
                <a:cubicBezTo>
                  <a:pt x="1461" y="549"/>
                  <a:pt x="1461" y="549"/>
                  <a:pt x="1461" y="549"/>
                </a:cubicBezTo>
                <a:cubicBezTo>
                  <a:pt x="1461" y="549"/>
                  <a:pt x="1462" y="549"/>
                  <a:pt x="1462" y="548"/>
                </a:cubicBezTo>
                <a:cubicBezTo>
                  <a:pt x="1462" y="548"/>
                  <a:pt x="1462" y="548"/>
                  <a:pt x="1462" y="548"/>
                </a:cubicBezTo>
                <a:cubicBezTo>
                  <a:pt x="1462" y="548"/>
                  <a:pt x="1462" y="548"/>
                  <a:pt x="1461" y="548"/>
                </a:cubicBezTo>
                <a:cubicBezTo>
                  <a:pt x="1462" y="548"/>
                  <a:pt x="1462" y="548"/>
                  <a:pt x="1462" y="547"/>
                </a:cubicBezTo>
                <a:cubicBezTo>
                  <a:pt x="1462" y="548"/>
                  <a:pt x="1462" y="548"/>
                  <a:pt x="1462" y="548"/>
                </a:cubicBezTo>
                <a:cubicBezTo>
                  <a:pt x="1462" y="548"/>
                  <a:pt x="1462" y="548"/>
                  <a:pt x="1462" y="548"/>
                </a:cubicBezTo>
                <a:cubicBezTo>
                  <a:pt x="1463" y="548"/>
                  <a:pt x="1463" y="548"/>
                  <a:pt x="1463" y="548"/>
                </a:cubicBezTo>
                <a:cubicBezTo>
                  <a:pt x="1463" y="547"/>
                  <a:pt x="1463" y="547"/>
                  <a:pt x="1463" y="547"/>
                </a:cubicBezTo>
                <a:cubicBezTo>
                  <a:pt x="1463" y="547"/>
                  <a:pt x="1463" y="547"/>
                  <a:pt x="1462" y="547"/>
                </a:cubicBezTo>
                <a:cubicBezTo>
                  <a:pt x="1462" y="547"/>
                  <a:pt x="1462" y="547"/>
                  <a:pt x="1462" y="547"/>
                </a:cubicBezTo>
                <a:cubicBezTo>
                  <a:pt x="1462" y="547"/>
                  <a:pt x="1463" y="547"/>
                  <a:pt x="1463" y="547"/>
                </a:cubicBezTo>
                <a:cubicBezTo>
                  <a:pt x="1463" y="546"/>
                  <a:pt x="1463" y="546"/>
                  <a:pt x="1463" y="546"/>
                </a:cubicBezTo>
                <a:cubicBezTo>
                  <a:pt x="1463" y="546"/>
                  <a:pt x="1463" y="546"/>
                  <a:pt x="1463" y="546"/>
                </a:cubicBezTo>
                <a:cubicBezTo>
                  <a:pt x="1463" y="546"/>
                  <a:pt x="1462" y="546"/>
                  <a:pt x="1462" y="545"/>
                </a:cubicBezTo>
                <a:cubicBezTo>
                  <a:pt x="1462" y="545"/>
                  <a:pt x="1462" y="545"/>
                  <a:pt x="1462" y="545"/>
                </a:cubicBezTo>
                <a:cubicBezTo>
                  <a:pt x="1462" y="545"/>
                  <a:pt x="1462" y="545"/>
                  <a:pt x="1462" y="545"/>
                </a:cubicBezTo>
                <a:cubicBezTo>
                  <a:pt x="1463" y="545"/>
                  <a:pt x="1463" y="545"/>
                  <a:pt x="1463" y="545"/>
                </a:cubicBezTo>
                <a:cubicBezTo>
                  <a:pt x="1463" y="545"/>
                  <a:pt x="1464" y="545"/>
                  <a:pt x="1464" y="545"/>
                </a:cubicBezTo>
                <a:cubicBezTo>
                  <a:pt x="1464" y="545"/>
                  <a:pt x="1464" y="545"/>
                  <a:pt x="1464" y="545"/>
                </a:cubicBezTo>
                <a:cubicBezTo>
                  <a:pt x="1465" y="544"/>
                  <a:pt x="1465" y="544"/>
                  <a:pt x="1465" y="544"/>
                </a:cubicBezTo>
                <a:cubicBezTo>
                  <a:pt x="1465" y="544"/>
                  <a:pt x="1465" y="544"/>
                  <a:pt x="1466" y="543"/>
                </a:cubicBezTo>
                <a:cubicBezTo>
                  <a:pt x="1466" y="543"/>
                  <a:pt x="1466" y="543"/>
                  <a:pt x="1465" y="543"/>
                </a:cubicBezTo>
                <a:cubicBezTo>
                  <a:pt x="1466" y="543"/>
                  <a:pt x="1466" y="543"/>
                  <a:pt x="1466" y="543"/>
                </a:cubicBezTo>
                <a:cubicBezTo>
                  <a:pt x="1466" y="544"/>
                  <a:pt x="1466" y="544"/>
                  <a:pt x="1466" y="544"/>
                </a:cubicBezTo>
                <a:cubicBezTo>
                  <a:pt x="1466" y="544"/>
                  <a:pt x="1467" y="544"/>
                  <a:pt x="1467" y="544"/>
                </a:cubicBezTo>
                <a:cubicBezTo>
                  <a:pt x="1467" y="544"/>
                  <a:pt x="1468" y="543"/>
                  <a:pt x="1468" y="543"/>
                </a:cubicBezTo>
                <a:cubicBezTo>
                  <a:pt x="1468" y="543"/>
                  <a:pt x="1468" y="543"/>
                  <a:pt x="1468" y="542"/>
                </a:cubicBezTo>
                <a:cubicBezTo>
                  <a:pt x="1468" y="542"/>
                  <a:pt x="1469" y="542"/>
                  <a:pt x="1469" y="542"/>
                </a:cubicBezTo>
                <a:cubicBezTo>
                  <a:pt x="1469" y="541"/>
                  <a:pt x="1470" y="541"/>
                  <a:pt x="1470" y="541"/>
                </a:cubicBezTo>
                <a:cubicBezTo>
                  <a:pt x="1470" y="541"/>
                  <a:pt x="1470" y="541"/>
                  <a:pt x="1471" y="540"/>
                </a:cubicBezTo>
                <a:cubicBezTo>
                  <a:pt x="1471" y="540"/>
                  <a:pt x="1471" y="540"/>
                  <a:pt x="1471" y="539"/>
                </a:cubicBezTo>
                <a:cubicBezTo>
                  <a:pt x="1471" y="539"/>
                  <a:pt x="1472" y="539"/>
                  <a:pt x="1472" y="539"/>
                </a:cubicBezTo>
                <a:cubicBezTo>
                  <a:pt x="1472" y="539"/>
                  <a:pt x="1472" y="539"/>
                  <a:pt x="1472" y="538"/>
                </a:cubicBezTo>
                <a:cubicBezTo>
                  <a:pt x="1472" y="538"/>
                  <a:pt x="1473" y="538"/>
                  <a:pt x="1473" y="538"/>
                </a:cubicBezTo>
                <a:cubicBezTo>
                  <a:pt x="1473" y="538"/>
                  <a:pt x="1473" y="538"/>
                  <a:pt x="1473" y="539"/>
                </a:cubicBezTo>
                <a:cubicBezTo>
                  <a:pt x="1474" y="539"/>
                  <a:pt x="1474" y="538"/>
                  <a:pt x="1474" y="538"/>
                </a:cubicBezTo>
                <a:cubicBezTo>
                  <a:pt x="1474" y="538"/>
                  <a:pt x="1474" y="538"/>
                  <a:pt x="1474" y="537"/>
                </a:cubicBezTo>
                <a:cubicBezTo>
                  <a:pt x="1474" y="538"/>
                  <a:pt x="1475" y="538"/>
                  <a:pt x="1475" y="539"/>
                </a:cubicBezTo>
                <a:cubicBezTo>
                  <a:pt x="1475" y="539"/>
                  <a:pt x="1476" y="539"/>
                  <a:pt x="1476" y="539"/>
                </a:cubicBezTo>
                <a:cubicBezTo>
                  <a:pt x="1476" y="539"/>
                  <a:pt x="1477" y="539"/>
                  <a:pt x="1477" y="539"/>
                </a:cubicBezTo>
                <a:cubicBezTo>
                  <a:pt x="1477" y="539"/>
                  <a:pt x="1477" y="540"/>
                  <a:pt x="1477" y="540"/>
                </a:cubicBezTo>
                <a:cubicBezTo>
                  <a:pt x="1478" y="540"/>
                  <a:pt x="1478" y="540"/>
                  <a:pt x="1478" y="540"/>
                </a:cubicBezTo>
                <a:cubicBezTo>
                  <a:pt x="1478" y="539"/>
                  <a:pt x="1478" y="539"/>
                  <a:pt x="1479" y="539"/>
                </a:cubicBezTo>
                <a:cubicBezTo>
                  <a:pt x="1478" y="539"/>
                  <a:pt x="1478" y="539"/>
                  <a:pt x="1478" y="539"/>
                </a:cubicBezTo>
                <a:cubicBezTo>
                  <a:pt x="1478" y="539"/>
                  <a:pt x="1478" y="538"/>
                  <a:pt x="1478" y="538"/>
                </a:cubicBezTo>
                <a:cubicBezTo>
                  <a:pt x="1478" y="538"/>
                  <a:pt x="1477" y="538"/>
                  <a:pt x="1477" y="537"/>
                </a:cubicBezTo>
                <a:cubicBezTo>
                  <a:pt x="1477" y="537"/>
                  <a:pt x="1477" y="537"/>
                  <a:pt x="1477" y="537"/>
                </a:cubicBezTo>
                <a:cubicBezTo>
                  <a:pt x="1476" y="536"/>
                  <a:pt x="1476" y="536"/>
                  <a:pt x="1475" y="535"/>
                </a:cubicBezTo>
                <a:cubicBezTo>
                  <a:pt x="1475" y="535"/>
                  <a:pt x="1475" y="535"/>
                  <a:pt x="1474" y="534"/>
                </a:cubicBezTo>
                <a:cubicBezTo>
                  <a:pt x="1474" y="534"/>
                  <a:pt x="1474" y="534"/>
                  <a:pt x="1474" y="534"/>
                </a:cubicBezTo>
                <a:cubicBezTo>
                  <a:pt x="1474" y="534"/>
                  <a:pt x="1474" y="534"/>
                  <a:pt x="1474" y="533"/>
                </a:cubicBezTo>
                <a:cubicBezTo>
                  <a:pt x="1474" y="533"/>
                  <a:pt x="1474" y="533"/>
                  <a:pt x="1475" y="533"/>
                </a:cubicBezTo>
                <a:cubicBezTo>
                  <a:pt x="1475" y="533"/>
                  <a:pt x="1475" y="533"/>
                  <a:pt x="1476" y="533"/>
                </a:cubicBezTo>
                <a:cubicBezTo>
                  <a:pt x="1476" y="533"/>
                  <a:pt x="1476" y="533"/>
                  <a:pt x="1476" y="533"/>
                </a:cubicBezTo>
                <a:cubicBezTo>
                  <a:pt x="1476" y="533"/>
                  <a:pt x="1476" y="532"/>
                  <a:pt x="1476" y="532"/>
                </a:cubicBezTo>
                <a:cubicBezTo>
                  <a:pt x="1476" y="531"/>
                  <a:pt x="1475" y="531"/>
                  <a:pt x="1475" y="530"/>
                </a:cubicBezTo>
                <a:cubicBezTo>
                  <a:pt x="1475" y="530"/>
                  <a:pt x="1475" y="530"/>
                  <a:pt x="1475" y="529"/>
                </a:cubicBezTo>
                <a:cubicBezTo>
                  <a:pt x="1475" y="529"/>
                  <a:pt x="1474" y="529"/>
                  <a:pt x="1474" y="529"/>
                </a:cubicBezTo>
                <a:cubicBezTo>
                  <a:pt x="1474" y="529"/>
                  <a:pt x="1475" y="528"/>
                  <a:pt x="1475" y="528"/>
                </a:cubicBezTo>
                <a:cubicBezTo>
                  <a:pt x="1475" y="528"/>
                  <a:pt x="1475" y="528"/>
                  <a:pt x="1475" y="528"/>
                </a:cubicBezTo>
                <a:cubicBezTo>
                  <a:pt x="1475" y="528"/>
                  <a:pt x="1475" y="528"/>
                  <a:pt x="1475" y="528"/>
                </a:cubicBezTo>
                <a:cubicBezTo>
                  <a:pt x="1475" y="528"/>
                  <a:pt x="1475" y="528"/>
                  <a:pt x="1475" y="528"/>
                </a:cubicBezTo>
                <a:cubicBezTo>
                  <a:pt x="1475" y="527"/>
                  <a:pt x="1475" y="527"/>
                  <a:pt x="1474" y="527"/>
                </a:cubicBezTo>
                <a:cubicBezTo>
                  <a:pt x="1475" y="527"/>
                  <a:pt x="1475" y="527"/>
                  <a:pt x="1475" y="527"/>
                </a:cubicBezTo>
                <a:cubicBezTo>
                  <a:pt x="1475" y="527"/>
                  <a:pt x="1476" y="527"/>
                  <a:pt x="1476" y="527"/>
                </a:cubicBezTo>
                <a:cubicBezTo>
                  <a:pt x="1476" y="527"/>
                  <a:pt x="1477" y="527"/>
                  <a:pt x="1477" y="527"/>
                </a:cubicBezTo>
                <a:cubicBezTo>
                  <a:pt x="1477" y="527"/>
                  <a:pt x="1477" y="527"/>
                  <a:pt x="1476" y="526"/>
                </a:cubicBezTo>
                <a:cubicBezTo>
                  <a:pt x="1476" y="526"/>
                  <a:pt x="1476" y="526"/>
                  <a:pt x="1476" y="526"/>
                </a:cubicBezTo>
                <a:cubicBezTo>
                  <a:pt x="1476" y="525"/>
                  <a:pt x="1476" y="525"/>
                  <a:pt x="1476" y="525"/>
                </a:cubicBezTo>
                <a:cubicBezTo>
                  <a:pt x="1476" y="525"/>
                  <a:pt x="1476" y="525"/>
                  <a:pt x="1476" y="525"/>
                </a:cubicBezTo>
                <a:cubicBezTo>
                  <a:pt x="1476" y="525"/>
                  <a:pt x="1476" y="525"/>
                  <a:pt x="1477" y="525"/>
                </a:cubicBezTo>
                <a:cubicBezTo>
                  <a:pt x="1477" y="525"/>
                  <a:pt x="1477" y="525"/>
                  <a:pt x="1477" y="525"/>
                </a:cubicBezTo>
                <a:cubicBezTo>
                  <a:pt x="1477" y="525"/>
                  <a:pt x="1477" y="525"/>
                  <a:pt x="1477" y="525"/>
                </a:cubicBezTo>
                <a:cubicBezTo>
                  <a:pt x="1477" y="525"/>
                  <a:pt x="1477" y="525"/>
                  <a:pt x="1478" y="526"/>
                </a:cubicBezTo>
                <a:cubicBezTo>
                  <a:pt x="1478" y="526"/>
                  <a:pt x="1478" y="526"/>
                  <a:pt x="1478" y="526"/>
                </a:cubicBezTo>
                <a:cubicBezTo>
                  <a:pt x="1479" y="526"/>
                  <a:pt x="1479" y="526"/>
                  <a:pt x="1480" y="526"/>
                </a:cubicBezTo>
                <a:cubicBezTo>
                  <a:pt x="1480" y="526"/>
                  <a:pt x="1480" y="526"/>
                  <a:pt x="1481" y="526"/>
                </a:cubicBezTo>
                <a:cubicBezTo>
                  <a:pt x="1481" y="526"/>
                  <a:pt x="1481" y="526"/>
                  <a:pt x="1481" y="526"/>
                </a:cubicBezTo>
                <a:cubicBezTo>
                  <a:pt x="1481" y="525"/>
                  <a:pt x="1480" y="525"/>
                  <a:pt x="1480" y="525"/>
                </a:cubicBezTo>
                <a:cubicBezTo>
                  <a:pt x="1480" y="524"/>
                  <a:pt x="1480" y="524"/>
                  <a:pt x="1480" y="524"/>
                </a:cubicBezTo>
                <a:cubicBezTo>
                  <a:pt x="1481" y="524"/>
                  <a:pt x="1481" y="524"/>
                  <a:pt x="1481" y="524"/>
                </a:cubicBezTo>
                <a:cubicBezTo>
                  <a:pt x="1482" y="524"/>
                  <a:pt x="1482" y="524"/>
                  <a:pt x="1483" y="524"/>
                </a:cubicBezTo>
                <a:cubicBezTo>
                  <a:pt x="1483" y="524"/>
                  <a:pt x="1484" y="524"/>
                  <a:pt x="1485" y="525"/>
                </a:cubicBezTo>
                <a:cubicBezTo>
                  <a:pt x="1485" y="525"/>
                  <a:pt x="1485" y="524"/>
                  <a:pt x="1486" y="524"/>
                </a:cubicBezTo>
                <a:cubicBezTo>
                  <a:pt x="1486" y="524"/>
                  <a:pt x="1486" y="524"/>
                  <a:pt x="1486" y="524"/>
                </a:cubicBezTo>
                <a:cubicBezTo>
                  <a:pt x="1486" y="524"/>
                  <a:pt x="1485" y="524"/>
                  <a:pt x="1485" y="523"/>
                </a:cubicBezTo>
                <a:cubicBezTo>
                  <a:pt x="1485" y="523"/>
                  <a:pt x="1484" y="523"/>
                  <a:pt x="1484" y="523"/>
                </a:cubicBezTo>
                <a:cubicBezTo>
                  <a:pt x="1484" y="523"/>
                  <a:pt x="1484" y="522"/>
                  <a:pt x="1483" y="522"/>
                </a:cubicBezTo>
                <a:cubicBezTo>
                  <a:pt x="1483" y="522"/>
                  <a:pt x="1483" y="522"/>
                  <a:pt x="1483" y="522"/>
                </a:cubicBezTo>
                <a:cubicBezTo>
                  <a:pt x="1482" y="521"/>
                  <a:pt x="1482" y="521"/>
                  <a:pt x="1482" y="521"/>
                </a:cubicBezTo>
                <a:cubicBezTo>
                  <a:pt x="1481" y="521"/>
                  <a:pt x="1481" y="521"/>
                  <a:pt x="1481" y="520"/>
                </a:cubicBezTo>
                <a:cubicBezTo>
                  <a:pt x="1481" y="521"/>
                  <a:pt x="1480" y="521"/>
                  <a:pt x="1480" y="521"/>
                </a:cubicBezTo>
                <a:cubicBezTo>
                  <a:pt x="1480" y="521"/>
                  <a:pt x="1480" y="520"/>
                  <a:pt x="1480" y="520"/>
                </a:cubicBezTo>
                <a:cubicBezTo>
                  <a:pt x="1480" y="520"/>
                  <a:pt x="1481" y="520"/>
                  <a:pt x="1481" y="520"/>
                </a:cubicBezTo>
                <a:cubicBezTo>
                  <a:pt x="1481" y="520"/>
                  <a:pt x="1481" y="520"/>
                  <a:pt x="1481" y="519"/>
                </a:cubicBezTo>
                <a:cubicBezTo>
                  <a:pt x="1481" y="519"/>
                  <a:pt x="1480" y="519"/>
                  <a:pt x="1480" y="519"/>
                </a:cubicBezTo>
                <a:cubicBezTo>
                  <a:pt x="1480" y="519"/>
                  <a:pt x="1480" y="520"/>
                  <a:pt x="1479" y="520"/>
                </a:cubicBezTo>
                <a:cubicBezTo>
                  <a:pt x="1479" y="520"/>
                  <a:pt x="1479" y="519"/>
                  <a:pt x="1479" y="519"/>
                </a:cubicBezTo>
                <a:cubicBezTo>
                  <a:pt x="1479" y="519"/>
                  <a:pt x="1479" y="519"/>
                  <a:pt x="1479" y="519"/>
                </a:cubicBezTo>
                <a:cubicBezTo>
                  <a:pt x="1479" y="519"/>
                  <a:pt x="1479" y="518"/>
                  <a:pt x="1479" y="518"/>
                </a:cubicBezTo>
                <a:cubicBezTo>
                  <a:pt x="1480" y="518"/>
                  <a:pt x="1480" y="518"/>
                  <a:pt x="1480" y="518"/>
                </a:cubicBezTo>
                <a:cubicBezTo>
                  <a:pt x="1480" y="518"/>
                  <a:pt x="1480" y="518"/>
                  <a:pt x="1480" y="518"/>
                </a:cubicBezTo>
                <a:cubicBezTo>
                  <a:pt x="1480" y="517"/>
                  <a:pt x="1480" y="517"/>
                  <a:pt x="1479" y="517"/>
                </a:cubicBezTo>
                <a:cubicBezTo>
                  <a:pt x="1479" y="517"/>
                  <a:pt x="1479" y="517"/>
                  <a:pt x="1479" y="517"/>
                </a:cubicBezTo>
                <a:cubicBezTo>
                  <a:pt x="1479" y="516"/>
                  <a:pt x="1478" y="516"/>
                  <a:pt x="1478" y="516"/>
                </a:cubicBezTo>
                <a:cubicBezTo>
                  <a:pt x="1478" y="515"/>
                  <a:pt x="1478" y="515"/>
                  <a:pt x="1478" y="515"/>
                </a:cubicBezTo>
                <a:cubicBezTo>
                  <a:pt x="1478" y="515"/>
                  <a:pt x="1478" y="514"/>
                  <a:pt x="1478" y="514"/>
                </a:cubicBezTo>
                <a:cubicBezTo>
                  <a:pt x="1478" y="514"/>
                  <a:pt x="1477" y="514"/>
                  <a:pt x="1477" y="514"/>
                </a:cubicBezTo>
                <a:cubicBezTo>
                  <a:pt x="1477" y="514"/>
                  <a:pt x="1477" y="515"/>
                  <a:pt x="1477" y="515"/>
                </a:cubicBezTo>
                <a:cubicBezTo>
                  <a:pt x="1477" y="515"/>
                  <a:pt x="1476" y="515"/>
                  <a:pt x="1476" y="515"/>
                </a:cubicBezTo>
                <a:cubicBezTo>
                  <a:pt x="1476" y="515"/>
                  <a:pt x="1476" y="515"/>
                  <a:pt x="1476" y="515"/>
                </a:cubicBezTo>
                <a:cubicBezTo>
                  <a:pt x="1476" y="515"/>
                  <a:pt x="1476" y="515"/>
                  <a:pt x="1476" y="514"/>
                </a:cubicBezTo>
                <a:cubicBezTo>
                  <a:pt x="1476" y="514"/>
                  <a:pt x="1476" y="514"/>
                  <a:pt x="1476" y="514"/>
                </a:cubicBezTo>
                <a:cubicBezTo>
                  <a:pt x="1476" y="514"/>
                  <a:pt x="1476" y="514"/>
                  <a:pt x="1476" y="514"/>
                </a:cubicBezTo>
                <a:cubicBezTo>
                  <a:pt x="1475" y="514"/>
                  <a:pt x="1475" y="514"/>
                  <a:pt x="1474" y="515"/>
                </a:cubicBezTo>
                <a:cubicBezTo>
                  <a:pt x="1474" y="515"/>
                  <a:pt x="1474" y="515"/>
                  <a:pt x="1474" y="515"/>
                </a:cubicBezTo>
                <a:cubicBezTo>
                  <a:pt x="1473" y="515"/>
                  <a:pt x="1473" y="516"/>
                  <a:pt x="1472" y="516"/>
                </a:cubicBezTo>
                <a:cubicBezTo>
                  <a:pt x="1472" y="516"/>
                  <a:pt x="1472" y="517"/>
                  <a:pt x="1472" y="517"/>
                </a:cubicBezTo>
                <a:cubicBezTo>
                  <a:pt x="1471" y="517"/>
                  <a:pt x="1470" y="518"/>
                  <a:pt x="1469" y="518"/>
                </a:cubicBezTo>
                <a:cubicBezTo>
                  <a:pt x="1469" y="518"/>
                  <a:pt x="1469" y="518"/>
                  <a:pt x="1469" y="518"/>
                </a:cubicBezTo>
                <a:cubicBezTo>
                  <a:pt x="1468" y="518"/>
                  <a:pt x="1468" y="517"/>
                  <a:pt x="1467" y="517"/>
                </a:cubicBezTo>
                <a:cubicBezTo>
                  <a:pt x="1467" y="518"/>
                  <a:pt x="1467" y="518"/>
                  <a:pt x="1466" y="518"/>
                </a:cubicBezTo>
                <a:cubicBezTo>
                  <a:pt x="1467" y="518"/>
                  <a:pt x="1467" y="518"/>
                  <a:pt x="1467" y="518"/>
                </a:cubicBezTo>
                <a:cubicBezTo>
                  <a:pt x="1467" y="518"/>
                  <a:pt x="1467" y="518"/>
                  <a:pt x="1466" y="518"/>
                </a:cubicBezTo>
                <a:cubicBezTo>
                  <a:pt x="1467" y="518"/>
                  <a:pt x="1467" y="518"/>
                  <a:pt x="1467" y="518"/>
                </a:cubicBezTo>
                <a:cubicBezTo>
                  <a:pt x="1467" y="518"/>
                  <a:pt x="1468" y="519"/>
                  <a:pt x="1468" y="519"/>
                </a:cubicBezTo>
                <a:cubicBezTo>
                  <a:pt x="1468" y="519"/>
                  <a:pt x="1468" y="519"/>
                  <a:pt x="1467" y="519"/>
                </a:cubicBezTo>
                <a:cubicBezTo>
                  <a:pt x="1467" y="519"/>
                  <a:pt x="1467" y="519"/>
                  <a:pt x="1467" y="519"/>
                </a:cubicBezTo>
                <a:cubicBezTo>
                  <a:pt x="1466" y="519"/>
                  <a:pt x="1466" y="519"/>
                  <a:pt x="1466" y="519"/>
                </a:cubicBezTo>
                <a:cubicBezTo>
                  <a:pt x="1466" y="519"/>
                  <a:pt x="1466" y="519"/>
                  <a:pt x="1466" y="519"/>
                </a:cubicBezTo>
                <a:cubicBezTo>
                  <a:pt x="1466" y="519"/>
                  <a:pt x="1466" y="519"/>
                  <a:pt x="1466" y="519"/>
                </a:cubicBezTo>
                <a:cubicBezTo>
                  <a:pt x="1466" y="519"/>
                  <a:pt x="1465" y="519"/>
                  <a:pt x="1465" y="519"/>
                </a:cubicBezTo>
                <a:cubicBezTo>
                  <a:pt x="1465" y="519"/>
                  <a:pt x="1465" y="519"/>
                  <a:pt x="1466" y="519"/>
                </a:cubicBezTo>
                <a:cubicBezTo>
                  <a:pt x="1466" y="519"/>
                  <a:pt x="1466" y="519"/>
                  <a:pt x="1466" y="519"/>
                </a:cubicBezTo>
                <a:cubicBezTo>
                  <a:pt x="1466" y="519"/>
                  <a:pt x="1466" y="518"/>
                  <a:pt x="1466" y="518"/>
                </a:cubicBezTo>
                <a:cubicBezTo>
                  <a:pt x="1465" y="518"/>
                  <a:pt x="1465" y="518"/>
                  <a:pt x="1465" y="518"/>
                </a:cubicBezTo>
                <a:cubicBezTo>
                  <a:pt x="1464" y="518"/>
                  <a:pt x="1464" y="518"/>
                  <a:pt x="1463" y="518"/>
                </a:cubicBezTo>
                <a:cubicBezTo>
                  <a:pt x="1463" y="518"/>
                  <a:pt x="1462" y="518"/>
                  <a:pt x="1462" y="518"/>
                </a:cubicBezTo>
                <a:cubicBezTo>
                  <a:pt x="1462" y="518"/>
                  <a:pt x="1461" y="518"/>
                  <a:pt x="1461" y="518"/>
                </a:cubicBezTo>
                <a:cubicBezTo>
                  <a:pt x="1461" y="518"/>
                  <a:pt x="1461" y="518"/>
                  <a:pt x="1460" y="519"/>
                </a:cubicBezTo>
                <a:cubicBezTo>
                  <a:pt x="1460" y="519"/>
                  <a:pt x="1460" y="519"/>
                  <a:pt x="1460" y="519"/>
                </a:cubicBezTo>
                <a:cubicBezTo>
                  <a:pt x="1460" y="520"/>
                  <a:pt x="1459" y="520"/>
                  <a:pt x="1459" y="520"/>
                </a:cubicBezTo>
                <a:cubicBezTo>
                  <a:pt x="1458" y="520"/>
                  <a:pt x="1458" y="520"/>
                  <a:pt x="1458" y="520"/>
                </a:cubicBezTo>
                <a:cubicBezTo>
                  <a:pt x="1457" y="520"/>
                  <a:pt x="1457" y="521"/>
                  <a:pt x="1456" y="521"/>
                </a:cubicBezTo>
                <a:cubicBezTo>
                  <a:pt x="1456" y="521"/>
                  <a:pt x="1456" y="521"/>
                  <a:pt x="1456" y="521"/>
                </a:cubicBezTo>
                <a:cubicBezTo>
                  <a:pt x="1455" y="522"/>
                  <a:pt x="1455" y="522"/>
                  <a:pt x="1454" y="522"/>
                </a:cubicBezTo>
                <a:cubicBezTo>
                  <a:pt x="1454" y="522"/>
                  <a:pt x="1453" y="522"/>
                  <a:pt x="1453" y="522"/>
                </a:cubicBezTo>
                <a:cubicBezTo>
                  <a:pt x="1451" y="522"/>
                  <a:pt x="1450" y="522"/>
                  <a:pt x="1449" y="522"/>
                </a:cubicBezTo>
                <a:cubicBezTo>
                  <a:pt x="1449" y="522"/>
                  <a:pt x="1448" y="522"/>
                  <a:pt x="1448" y="522"/>
                </a:cubicBezTo>
                <a:cubicBezTo>
                  <a:pt x="1448" y="522"/>
                  <a:pt x="1448" y="523"/>
                  <a:pt x="1448" y="523"/>
                </a:cubicBezTo>
                <a:cubicBezTo>
                  <a:pt x="1448" y="523"/>
                  <a:pt x="1448" y="523"/>
                  <a:pt x="1448" y="523"/>
                </a:cubicBezTo>
                <a:cubicBezTo>
                  <a:pt x="1448" y="523"/>
                  <a:pt x="1448" y="523"/>
                  <a:pt x="1448" y="523"/>
                </a:cubicBezTo>
                <a:cubicBezTo>
                  <a:pt x="1448" y="523"/>
                  <a:pt x="1447" y="523"/>
                  <a:pt x="1447" y="523"/>
                </a:cubicBezTo>
                <a:cubicBezTo>
                  <a:pt x="1447" y="523"/>
                  <a:pt x="1446" y="523"/>
                  <a:pt x="1446" y="523"/>
                </a:cubicBezTo>
                <a:cubicBezTo>
                  <a:pt x="1446" y="523"/>
                  <a:pt x="1446" y="523"/>
                  <a:pt x="1445" y="523"/>
                </a:cubicBezTo>
                <a:cubicBezTo>
                  <a:pt x="1445" y="523"/>
                  <a:pt x="1445" y="524"/>
                  <a:pt x="1445" y="524"/>
                </a:cubicBezTo>
                <a:close/>
                <a:moveTo>
                  <a:pt x="1451" y="568"/>
                </a:moveTo>
                <a:cubicBezTo>
                  <a:pt x="1450" y="567"/>
                  <a:pt x="1450" y="567"/>
                  <a:pt x="1450" y="566"/>
                </a:cubicBezTo>
                <a:cubicBezTo>
                  <a:pt x="1450" y="566"/>
                  <a:pt x="1449" y="566"/>
                  <a:pt x="1449" y="566"/>
                </a:cubicBezTo>
                <a:cubicBezTo>
                  <a:pt x="1448" y="566"/>
                  <a:pt x="1448" y="566"/>
                  <a:pt x="1447" y="566"/>
                </a:cubicBezTo>
                <a:cubicBezTo>
                  <a:pt x="1447" y="565"/>
                  <a:pt x="1447" y="565"/>
                  <a:pt x="1446" y="565"/>
                </a:cubicBezTo>
                <a:cubicBezTo>
                  <a:pt x="1446" y="565"/>
                  <a:pt x="1446" y="565"/>
                  <a:pt x="1445" y="565"/>
                </a:cubicBezTo>
                <a:cubicBezTo>
                  <a:pt x="1445" y="565"/>
                  <a:pt x="1445" y="565"/>
                  <a:pt x="1445" y="566"/>
                </a:cubicBezTo>
                <a:cubicBezTo>
                  <a:pt x="1445" y="566"/>
                  <a:pt x="1445" y="566"/>
                  <a:pt x="1445" y="566"/>
                </a:cubicBezTo>
                <a:cubicBezTo>
                  <a:pt x="1446" y="566"/>
                  <a:pt x="1446" y="567"/>
                  <a:pt x="1447" y="567"/>
                </a:cubicBezTo>
                <a:cubicBezTo>
                  <a:pt x="1447" y="567"/>
                  <a:pt x="1447" y="567"/>
                  <a:pt x="1447" y="568"/>
                </a:cubicBezTo>
                <a:cubicBezTo>
                  <a:pt x="1448" y="568"/>
                  <a:pt x="1448" y="568"/>
                  <a:pt x="1448" y="568"/>
                </a:cubicBezTo>
                <a:cubicBezTo>
                  <a:pt x="1448" y="568"/>
                  <a:pt x="1448" y="568"/>
                  <a:pt x="1448" y="568"/>
                </a:cubicBezTo>
                <a:cubicBezTo>
                  <a:pt x="1448" y="568"/>
                  <a:pt x="1449" y="568"/>
                  <a:pt x="1449" y="568"/>
                </a:cubicBezTo>
                <a:cubicBezTo>
                  <a:pt x="1449" y="568"/>
                  <a:pt x="1449" y="568"/>
                  <a:pt x="1449" y="568"/>
                </a:cubicBezTo>
                <a:cubicBezTo>
                  <a:pt x="1450" y="568"/>
                  <a:pt x="1450" y="568"/>
                  <a:pt x="1450" y="568"/>
                </a:cubicBezTo>
                <a:cubicBezTo>
                  <a:pt x="1450" y="568"/>
                  <a:pt x="1450" y="568"/>
                  <a:pt x="1451" y="568"/>
                </a:cubicBezTo>
                <a:close/>
                <a:moveTo>
                  <a:pt x="1432" y="532"/>
                </a:moveTo>
                <a:cubicBezTo>
                  <a:pt x="1432" y="532"/>
                  <a:pt x="1433" y="532"/>
                  <a:pt x="1433" y="532"/>
                </a:cubicBezTo>
                <a:cubicBezTo>
                  <a:pt x="1433" y="532"/>
                  <a:pt x="1433" y="533"/>
                  <a:pt x="1434" y="533"/>
                </a:cubicBezTo>
                <a:cubicBezTo>
                  <a:pt x="1434" y="533"/>
                  <a:pt x="1434" y="533"/>
                  <a:pt x="1434" y="532"/>
                </a:cubicBezTo>
                <a:cubicBezTo>
                  <a:pt x="1434" y="532"/>
                  <a:pt x="1434" y="532"/>
                  <a:pt x="1434" y="532"/>
                </a:cubicBezTo>
                <a:cubicBezTo>
                  <a:pt x="1433" y="532"/>
                  <a:pt x="1433" y="532"/>
                  <a:pt x="1433" y="532"/>
                </a:cubicBezTo>
                <a:cubicBezTo>
                  <a:pt x="1433" y="532"/>
                  <a:pt x="1432" y="531"/>
                  <a:pt x="1432" y="531"/>
                </a:cubicBezTo>
                <a:cubicBezTo>
                  <a:pt x="1432" y="531"/>
                  <a:pt x="1432" y="531"/>
                  <a:pt x="1432" y="531"/>
                </a:cubicBezTo>
                <a:cubicBezTo>
                  <a:pt x="1432" y="532"/>
                  <a:pt x="1432" y="532"/>
                  <a:pt x="1432" y="532"/>
                </a:cubicBezTo>
                <a:close/>
                <a:moveTo>
                  <a:pt x="1551" y="576"/>
                </a:moveTo>
                <a:cubicBezTo>
                  <a:pt x="1550" y="576"/>
                  <a:pt x="1550" y="576"/>
                  <a:pt x="1549" y="576"/>
                </a:cubicBezTo>
                <a:cubicBezTo>
                  <a:pt x="1550" y="576"/>
                  <a:pt x="1550" y="576"/>
                  <a:pt x="1550" y="576"/>
                </a:cubicBezTo>
                <a:cubicBezTo>
                  <a:pt x="1550" y="576"/>
                  <a:pt x="1550" y="576"/>
                  <a:pt x="1551" y="576"/>
                </a:cubicBezTo>
                <a:close/>
                <a:moveTo>
                  <a:pt x="1522" y="590"/>
                </a:moveTo>
                <a:cubicBezTo>
                  <a:pt x="1522" y="590"/>
                  <a:pt x="1522" y="590"/>
                  <a:pt x="1523" y="590"/>
                </a:cubicBezTo>
                <a:cubicBezTo>
                  <a:pt x="1522" y="589"/>
                  <a:pt x="1522" y="589"/>
                  <a:pt x="1521" y="589"/>
                </a:cubicBezTo>
                <a:cubicBezTo>
                  <a:pt x="1521" y="589"/>
                  <a:pt x="1522" y="589"/>
                  <a:pt x="1522" y="590"/>
                </a:cubicBezTo>
                <a:cubicBezTo>
                  <a:pt x="1522" y="590"/>
                  <a:pt x="1522" y="590"/>
                  <a:pt x="1522" y="590"/>
                </a:cubicBezTo>
                <a:close/>
                <a:moveTo>
                  <a:pt x="1532" y="568"/>
                </a:moveTo>
                <a:cubicBezTo>
                  <a:pt x="1532" y="568"/>
                  <a:pt x="1532" y="567"/>
                  <a:pt x="1532" y="567"/>
                </a:cubicBezTo>
                <a:cubicBezTo>
                  <a:pt x="1532" y="567"/>
                  <a:pt x="1532" y="567"/>
                  <a:pt x="1532" y="566"/>
                </a:cubicBezTo>
                <a:cubicBezTo>
                  <a:pt x="1531" y="566"/>
                  <a:pt x="1531" y="567"/>
                  <a:pt x="1531" y="567"/>
                </a:cubicBezTo>
                <a:cubicBezTo>
                  <a:pt x="1531" y="567"/>
                  <a:pt x="1530" y="567"/>
                  <a:pt x="1530" y="568"/>
                </a:cubicBezTo>
                <a:cubicBezTo>
                  <a:pt x="1531" y="568"/>
                  <a:pt x="1531" y="568"/>
                  <a:pt x="1531" y="568"/>
                </a:cubicBezTo>
                <a:cubicBezTo>
                  <a:pt x="1531" y="568"/>
                  <a:pt x="1532" y="568"/>
                  <a:pt x="1532" y="568"/>
                </a:cubicBezTo>
                <a:close/>
                <a:moveTo>
                  <a:pt x="1549" y="573"/>
                </a:moveTo>
                <a:cubicBezTo>
                  <a:pt x="1549" y="574"/>
                  <a:pt x="1549" y="574"/>
                  <a:pt x="1549" y="574"/>
                </a:cubicBezTo>
                <a:cubicBezTo>
                  <a:pt x="1550" y="574"/>
                  <a:pt x="1550" y="574"/>
                  <a:pt x="1550" y="574"/>
                </a:cubicBezTo>
                <a:cubicBezTo>
                  <a:pt x="1550" y="574"/>
                  <a:pt x="1550" y="574"/>
                  <a:pt x="1550" y="573"/>
                </a:cubicBezTo>
                <a:cubicBezTo>
                  <a:pt x="1549" y="573"/>
                  <a:pt x="1549" y="573"/>
                  <a:pt x="1549" y="573"/>
                </a:cubicBezTo>
                <a:close/>
                <a:moveTo>
                  <a:pt x="1520" y="592"/>
                </a:moveTo>
                <a:cubicBezTo>
                  <a:pt x="1520" y="592"/>
                  <a:pt x="1520" y="592"/>
                  <a:pt x="1521" y="592"/>
                </a:cubicBezTo>
                <a:cubicBezTo>
                  <a:pt x="1521" y="592"/>
                  <a:pt x="1521" y="592"/>
                  <a:pt x="1521" y="592"/>
                </a:cubicBezTo>
                <a:cubicBezTo>
                  <a:pt x="1521" y="592"/>
                  <a:pt x="1521" y="592"/>
                  <a:pt x="1522" y="592"/>
                </a:cubicBezTo>
                <a:cubicBezTo>
                  <a:pt x="1521" y="592"/>
                  <a:pt x="1521" y="592"/>
                  <a:pt x="1521" y="592"/>
                </a:cubicBezTo>
                <a:cubicBezTo>
                  <a:pt x="1521" y="592"/>
                  <a:pt x="1520" y="592"/>
                  <a:pt x="1520" y="592"/>
                </a:cubicBezTo>
                <a:cubicBezTo>
                  <a:pt x="1520" y="592"/>
                  <a:pt x="1520" y="592"/>
                  <a:pt x="1520" y="592"/>
                </a:cubicBezTo>
                <a:close/>
                <a:moveTo>
                  <a:pt x="1531" y="564"/>
                </a:moveTo>
                <a:cubicBezTo>
                  <a:pt x="1532" y="564"/>
                  <a:pt x="1532" y="564"/>
                  <a:pt x="1532" y="564"/>
                </a:cubicBezTo>
                <a:cubicBezTo>
                  <a:pt x="1532" y="565"/>
                  <a:pt x="1533" y="565"/>
                  <a:pt x="1533" y="565"/>
                </a:cubicBezTo>
                <a:cubicBezTo>
                  <a:pt x="1533" y="565"/>
                  <a:pt x="1533" y="564"/>
                  <a:pt x="1533" y="564"/>
                </a:cubicBezTo>
                <a:cubicBezTo>
                  <a:pt x="1533" y="564"/>
                  <a:pt x="1532" y="564"/>
                  <a:pt x="1532" y="564"/>
                </a:cubicBezTo>
                <a:cubicBezTo>
                  <a:pt x="1532" y="564"/>
                  <a:pt x="1532" y="564"/>
                  <a:pt x="1532" y="564"/>
                </a:cubicBezTo>
                <a:cubicBezTo>
                  <a:pt x="1532" y="564"/>
                  <a:pt x="1532" y="564"/>
                  <a:pt x="1533" y="564"/>
                </a:cubicBezTo>
                <a:cubicBezTo>
                  <a:pt x="1533" y="564"/>
                  <a:pt x="1533" y="564"/>
                  <a:pt x="1534" y="565"/>
                </a:cubicBezTo>
                <a:cubicBezTo>
                  <a:pt x="1534" y="565"/>
                  <a:pt x="1534" y="565"/>
                  <a:pt x="1534" y="565"/>
                </a:cubicBezTo>
                <a:cubicBezTo>
                  <a:pt x="1534" y="565"/>
                  <a:pt x="1535" y="565"/>
                  <a:pt x="1535" y="565"/>
                </a:cubicBezTo>
                <a:cubicBezTo>
                  <a:pt x="1535" y="565"/>
                  <a:pt x="1535" y="565"/>
                  <a:pt x="1535" y="565"/>
                </a:cubicBezTo>
                <a:cubicBezTo>
                  <a:pt x="1535" y="564"/>
                  <a:pt x="1534" y="564"/>
                  <a:pt x="1534" y="564"/>
                </a:cubicBezTo>
                <a:cubicBezTo>
                  <a:pt x="1534" y="564"/>
                  <a:pt x="1533" y="563"/>
                  <a:pt x="1533" y="563"/>
                </a:cubicBezTo>
                <a:cubicBezTo>
                  <a:pt x="1532" y="563"/>
                  <a:pt x="1532" y="563"/>
                  <a:pt x="1532" y="563"/>
                </a:cubicBezTo>
                <a:cubicBezTo>
                  <a:pt x="1531" y="563"/>
                  <a:pt x="1531" y="563"/>
                  <a:pt x="1531" y="563"/>
                </a:cubicBezTo>
                <a:cubicBezTo>
                  <a:pt x="1531" y="563"/>
                  <a:pt x="1531" y="563"/>
                  <a:pt x="1530" y="563"/>
                </a:cubicBezTo>
                <a:cubicBezTo>
                  <a:pt x="1531" y="563"/>
                  <a:pt x="1531" y="563"/>
                  <a:pt x="1531" y="563"/>
                </a:cubicBezTo>
                <a:cubicBezTo>
                  <a:pt x="1530" y="563"/>
                  <a:pt x="1530" y="563"/>
                  <a:pt x="1530" y="563"/>
                </a:cubicBezTo>
                <a:cubicBezTo>
                  <a:pt x="1530" y="563"/>
                  <a:pt x="1531" y="564"/>
                  <a:pt x="1531" y="564"/>
                </a:cubicBezTo>
                <a:close/>
                <a:moveTo>
                  <a:pt x="1526" y="561"/>
                </a:moveTo>
                <a:cubicBezTo>
                  <a:pt x="1526" y="561"/>
                  <a:pt x="1526" y="561"/>
                  <a:pt x="1527" y="562"/>
                </a:cubicBezTo>
                <a:cubicBezTo>
                  <a:pt x="1527" y="561"/>
                  <a:pt x="1527" y="561"/>
                  <a:pt x="1527" y="561"/>
                </a:cubicBezTo>
                <a:cubicBezTo>
                  <a:pt x="1526" y="561"/>
                  <a:pt x="1526" y="560"/>
                  <a:pt x="1525" y="560"/>
                </a:cubicBezTo>
                <a:cubicBezTo>
                  <a:pt x="1525" y="560"/>
                  <a:pt x="1525" y="560"/>
                  <a:pt x="1526" y="561"/>
                </a:cubicBezTo>
                <a:close/>
                <a:moveTo>
                  <a:pt x="1524" y="556"/>
                </a:moveTo>
                <a:cubicBezTo>
                  <a:pt x="1525" y="555"/>
                  <a:pt x="1525" y="555"/>
                  <a:pt x="1526" y="555"/>
                </a:cubicBezTo>
                <a:cubicBezTo>
                  <a:pt x="1526" y="555"/>
                  <a:pt x="1526" y="554"/>
                  <a:pt x="1526" y="554"/>
                </a:cubicBezTo>
                <a:cubicBezTo>
                  <a:pt x="1526" y="554"/>
                  <a:pt x="1525" y="554"/>
                  <a:pt x="1525" y="554"/>
                </a:cubicBezTo>
                <a:cubicBezTo>
                  <a:pt x="1525" y="554"/>
                  <a:pt x="1524" y="553"/>
                  <a:pt x="1524" y="553"/>
                </a:cubicBezTo>
                <a:cubicBezTo>
                  <a:pt x="1523" y="553"/>
                  <a:pt x="1523" y="553"/>
                  <a:pt x="1522" y="553"/>
                </a:cubicBezTo>
                <a:cubicBezTo>
                  <a:pt x="1522" y="554"/>
                  <a:pt x="1522" y="554"/>
                  <a:pt x="1522" y="554"/>
                </a:cubicBezTo>
                <a:cubicBezTo>
                  <a:pt x="1522" y="554"/>
                  <a:pt x="1522" y="554"/>
                  <a:pt x="1522" y="554"/>
                </a:cubicBezTo>
                <a:cubicBezTo>
                  <a:pt x="1522" y="554"/>
                  <a:pt x="1522" y="554"/>
                  <a:pt x="1522" y="554"/>
                </a:cubicBezTo>
                <a:cubicBezTo>
                  <a:pt x="1521" y="554"/>
                  <a:pt x="1521" y="554"/>
                  <a:pt x="1521" y="554"/>
                </a:cubicBezTo>
                <a:cubicBezTo>
                  <a:pt x="1521" y="554"/>
                  <a:pt x="1521" y="554"/>
                  <a:pt x="1520" y="555"/>
                </a:cubicBezTo>
                <a:cubicBezTo>
                  <a:pt x="1520" y="555"/>
                  <a:pt x="1520" y="555"/>
                  <a:pt x="1520" y="555"/>
                </a:cubicBezTo>
                <a:cubicBezTo>
                  <a:pt x="1520" y="554"/>
                  <a:pt x="1520" y="554"/>
                  <a:pt x="1520" y="554"/>
                </a:cubicBezTo>
                <a:cubicBezTo>
                  <a:pt x="1520" y="554"/>
                  <a:pt x="1520" y="554"/>
                  <a:pt x="1520" y="554"/>
                </a:cubicBezTo>
                <a:cubicBezTo>
                  <a:pt x="1521" y="554"/>
                  <a:pt x="1521" y="554"/>
                  <a:pt x="1521" y="554"/>
                </a:cubicBezTo>
                <a:cubicBezTo>
                  <a:pt x="1521" y="554"/>
                  <a:pt x="1522" y="553"/>
                  <a:pt x="1522" y="553"/>
                </a:cubicBezTo>
                <a:cubicBezTo>
                  <a:pt x="1522" y="553"/>
                  <a:pt x="1522" y="552"/>
                  <a:pt x="1522" y="552"/>
                </a:cubicBezTo>
                <a:cubicBezTo>
                  <a:pt x="1522" y="552"/>
                  <a:pt x="1522" y="552"/>
                  <a:pt x="1522" y="551"/>
                </a:cubicBezTo>
                <a:cubicBezTo>
                  <a:pt x="1522" y="551"/>
                  <a:pt x="1522" y="551"/>
                  <a:pt x="1522" y="551"/>
                </a:cubicBezTo>
                <a:cubicBezTo>
                  <a:pt x="1522" y="551"/>
                  <a:pt x="1522" y="551"/>
                  <a:pt x="1523" y="551"/>
                </a:cubicBezTo>
                <a:cubicBezTo>
                  <a:pt x="1523" y="551"/>
                  <a:pt x="1523" y="550"/>
                  <a:pt x="1523" y="550"/>
                </a:cubicBezTo>
                <a:cubicBezTo>
                  <a:pt x="1523" y="550"/>
                  <a:pt x="1523" y="550"/>
                  <a:pt x="1522" y="550"/>
                </a:cubicBezTo>
                <a:cubicBezTo>
                  <a:pt x="1522" y="550"/>
                  <a:pt x="1521" y="550"/>
                  <a:pt x="1521" y="551"/>
                </a:cubicBezTo>
                <a:cubicBezTo>
                  <a:pt x="1520" y="551"/>
                  <a:pt x="1520" y="551"/>
                  <a:pt x="1520" y="551"/>
                </a:cubicBezTo>
                <a:cubicBezTo>
                  <a:pt x="1520" y="552"/>
                  <a:pt x="1520" y="552"/>
                  <a:pt x="1520" y="552"/>
                </a:cubicBezTo>
                <a:cubicBezTo>
                  <a:pt x="1519" y="552"/>
                  <a:pt x="1519" y="552"/>
                  <a:pt x="1519" y="553"/>
                </a:cubicBezTo>
                <a:cubicBezTo>
                  <a:pt x="1519" y="553"/>
                  <a:pt x="1519" y="553"/>
                  <a:pt x="1518" y="553"/>
                </a:cubicBezTo>
                <a:cubicBezTo>
                  <a:pt x="1518" y="553"/>
                  <a:pt x="1518" y="554"/>
                  <a:pt x="1519" y="554"/>
                </a:cubicBezTo>
                <a:cubicBezTo>
                  <a:pt x="1519" y="554"/>
                  <a:pt x="1519" y="555"/>
                  <a:pt x="1519" y="555"/>
                </a:cubicBezTo>
                <a:cubicBezTo>
                  <a:pt x="1519" y="555"/>
                  <a:pt x="1518" y="555"/>
                  <a:pt x="1518" y="555"/>
                </a:cubicBezTo>
                <a:cubicBezTo>
                  <a:pt x="1518" y="555"/>
                  <a:pt x="1518" y="556"/>
                  <a:pt x="1518" y="556"/>
                </a:cubicBezTo>
                <a:cubicBezTo>
                  <a:pt x="1518" y="556"/>
                  <a:pt x="1518" y="556"/>
                  <a:pt x="1518" y="557"/>
                </a:cubicBezTo>
                <a:cubicBezTo>
                  <a:pt x="1518" y="557"/>
                  <a:pt x="1518" y="557"/>
                  <a:pt x="1518" y="557"/>
                </a:cubicBezTo>
                <a:cubicBezTo>
                  <a:pt x="1518" y="557"/>
                  <a:pt x="1518" y="557"/>
                  <a:pt x="1518" y="557"/>
                </a:cubicBezTo>
                <a:cubicBezTo>
                  <a:pt x="1518" y="558"/>
                  <a:pt x="1518" y="558"/>
                  <a:pt x="1518" y="558"/>
                </a:cubicBezTo>
                <a:cubicBezTo>
                  <a:pt x="1518" y="558"/>
                  <a:pt x="1518" y="559"/>
                  <a:pt x="1518" y="559"/>
                </a:cubicBezTo>
                <a:cubicBezTo>
                  <a:pt x="1518" y="559"/>
                  <a:pt x="1518" y="560"/>
                  <a:pt x="1519" y="560"/>
                </a:cubicBezTo>
                <a:cubicBezTo>
                  <a:pt x="1519" y="560"/>
                  <a:pt x="1519" y="561"/>
                  <a:pt x="1519" y="561"/>
                </a:cubicBezTo>
                <a:cubicBezTo>
                  <a:pt x="1519" y="561"/>
                  <a:pt x="1519" y="562"/>
                  <a:pt x="1520" y="562"/>
                </a:cubicBezTo>
                <a:cubicBezTo>
                  <a:pt x="1520" y="562"/>
                  <a:pt x="1520" y="562"/>
                  <a:pt x="1520" y="562"/>
                </a:cubicBezTo>
                <a:cubicBezTo>
                  <a:pt x="1520" y="562"/>
                  <a:pt x="1520" y="562"/>
                  <a:pt x="1520" y="562"/>
                </a:cubicBezTo>
                <a:cubicBezTo>
                  <a:pt x="1520" y="562"/>
                  <a:pt x="1520" y="562"/>
                  <a:pt x="1520" y="562"/>
                </a:cubicBezTo>
                <a:cubicBezTo>
                  <a:pt x="1520" y="562"/>
                  <a:pt x="1520" y="562"/>
                  <a:pt x="1520" y="562"/>
                </a:cubicBezTo>
                <a:cubicBezTo>
                  <a:pt x="1520" y="561"/>
                  <a:pt x="1519" y="561"/>
                  <a:pt x="1519" y="560"/>
                </a:cubicBezTo>
                <a:cubicBezTo>
                  <a:pt x="1519" y="560"/>
                  <a:pt x="1519" y="560"/>
                  <a:pt x="1519" y="559"/>
                </a:cubicBezTo>
                <a:cubicBezTo>
                  <a:pt x="1519" y="559"/>
                  <a:pt x="1519" y="558"/>
                  <a:pt x="1519" y="558"/>
                </a:cubicBezTo>
                <a:cubicBezTo>
                  <a:pt x="1519" y="557"/>
                  <a:pt x="1519" y="557"/>
                  <a:pt x="1519" y="557"/>
                </a:cubicBezTo>
                <a:cubicBezTo>
                  <a:pt x="1520" y="557"/>
                  <a:pt x="1520" y="557"/>
                  <a:pt x="1520" y="557"/>
                </a:cubicBezTo>
                <a:cubicBezTo>
                  <a:pt x="1520" y="557"/>
                  <a:pt x="1521" y="557"/>
                  <a:pt x="1521" y="557"/>
                </a:cubicBezTo>
                <a:cubicBezTo>
                  <a:pt x="1522" y="557"/>
                  <a:pt x="1522" y="558"/>
                  <a:pt x="1522" y="558"/>
                </a:cubicBezTo>
                <a:cubicBezTo>
                  <a:pt x="1522" y="558"/>
                  <a:pt x="1523" y="558"/>
                  <a:pt x="1523" y="558"/>
                </a:cubicBezTo>
                <a:cubicBezTo>
                  <a:pt x="1523" y="558"/>
                  <a:pt x="1523" y="559"/>
                  <a:pt x="1524" y="559"/>
                </a:cubicBezTo>
                <a:cubicBezTo>
                  <a:pt x="1524" y="559"/>
                  <a:pt x="1523" y="558"/>
                  <a:pt x="1523" y="558"/>
                </a:cubicBezTo>
                <a:cubicBezTo>
                  <a:pt x="1523" y="558"/>
                  <a:pt x="1523" y="558"/>
                  <a:pt x="1523" y="558"/>
                </a:cubicBezTo>
                <a:cubicBezTo>
                  <a:pt x="1523" y="557"/>
                  <a:pt x="1523" y="557"/>
                  <a:pt x="1522" y="557"/>
                </a:cubicBezTo>
                <a:cubicBezTo>
                  <a:pt x="1522" y="557"/>
                  <a:pt x="1522" y="556"/>
                  <a:pt x="1522" y="556"/>
                </a:cubicBezTo>
                <a:cubicBezTo>
                  <a:pt x="1522" y="556"/>
                  <a:pt x="1522" y="556"/>
                  <a:pt x="1522" y="556"/>
                </a:cubicBezTo>
                <a:cubicBezTo>
                  <a:pt x="1522" y="556"/>
                  <a:pt x="1522" y="556"/>
                  <a:pt x="1523" y="555"/>
                </a:cubicBezTo>
                <a:cubicBezTo>
                  <a:pt x="1523" y="556"/>
                  <a:pt x="1524" y="556"/>
                  <a:pt x="1524" y="556"/>
                </a:cubicBezTo>
                <a:close/>
                <a:moveTo>
                  <a:pt x="1551" y="577"/>
                </a:moveTo>
                <a:cubicBezTo>
                  <a:pt x="1552" y="578"/>
                  <a:pt x="1552" y="578"/>
                  <a:pt x="1553" y="578"/>
                </a:cubicBezTo>
                <a:cubicBezTo>
                  <a:pt x="1553" y="579"/>
                  <a:pt x="1554" y="579"/>
                  <a:pt x="1555" y="579"/>
                </a:cubicBezTo>
                <a:cubicBezTo>
                  <a:pt x="1555" y="580"/>
                  <a:pt x="1556" y="580"/>
                  <a:pt x="1557" y="580"/>
                </a:cubicBezTo>
                <a:cubicBezTo>
                  <a:pt x="1557" y="580"/>
                  <a:pt x="1557" y="580"/>
                  <a:pt x="1557" y="580"/>
                </a:cubicBezTo>
                <a:cubicBezTo>
                  <a:pt x="1557" y="580"/>
                  <a:pt x="1556" y="579"/>
                  <a:pt x="1556" y="579"/>
                </a:cubicBezTo>
                <a:cubicBezTo>
                  <a:pt x="1556" y="579"/>
                  <a:pt x="1555" y="579"/>
                  <a:pt x="1555" y="579"/>
                </a:cubicBezTo>
                <a:cubicBezTo>
                  <a:pt x="1555" y="579"/>
                  <a:pt x="1554" y="578"/>
                  <a:pt x="1554" y="578"/>
                </a:cubicBezTo>
                <a:cubicBezTo>
                  <a:pt x="1553" y="578"/>
                  <a:pt x="1553" y="578"/>
                  <a:pt x="1553" y="578"/>
                </a:cubicBezTo>
                <a:cubicBezTo>
                  <a:pt x="1552" y="578"/>
                  <a:pt x="1552" y="577"/>
                  <a:pt x="1551" y="577"/>
                </a:cubicBezTo>
                <a:cubicBezTo>
                  <a:pt x="1551" y="577"/>
                  <a:pt x="1551" y="577"/>
                  <a:pt x="1551" y="577"/>
                </a:cubicBezTo>
                <a:close/>
                <a:moveTo>
                  <a:pt x="1531" y="566"/>
                </a:moveTo>
                <a:cubicBezTo>
                  <a:pt x="1531" y="566"/>
                  <a:pt x="1532" y="566"/>
                  <a:pt x="1532" y="566"/>
                </a:cubicBezTo>
                <a:cubicBezTo>
                  <a:pt x="1532" y="566"/>
                  <a:pt x="1532" y="566"/>
                  <a:pt x="1532" y="566"/>
                </a:cubicBezTo>
                <a:cubicBezTo>
                  <a:pt x="1532" y="566"/>
                  <a:pt x="1532" y="566"/>
                  <a:pt x="1531" y="566"/>
                </a:cubicBezTo>
                <a:close/>
                <a:moveTo>
                  <a:pt x="1530" y="566"/>
                </a:moveTo>
                <a:cubicBezTo>
                  <a:pt x="1530" y="566"/>
                  <a:pt x="1530" y="565"/>
                  <a:pt x="1530" y="565"/>
                </a:cubicBezTo>
                <a:cubicBezTo>
                  <a:pt x="1530" y="566"/>
                  <a:pt x="1530" y="566"/>
                  <a:pt x="1530" y="566"/>
                </a:cubicBezTo>
                <a:cubicBezTo>
                  <a:pt x="1531" y="566"/>
                  <a:pt x="1531" y="566"/>
                  <a:pt x="1531" y="566"/>
                </a:cubicBezTo>
                <a:cubicBezTo>
                  <a:pt x="1531" y="566"/>
                  <a:pt x="1531" y="566"/>
                  <a:pt x="1530" y="566"/>
                </a:cubicBezTo>
                <a:close/>
                <a:moveTo>
                  <a:pt x="1532" y="586"/>
                </a:moveTo>
                <a:cubicBezTo>
                  <a:pt x="1532" y="586"/>
                  <a:pt x="1532" y="586"/>
                  <a:pt x="1532" y="586"/>
                </a:cubicBezTo>
                <a:cubicBezTo>
                  <a:pt x="1532" y="586"/>
                  <a:pt x="1532" y="587"/>
                  <a:pt x="1532" y="587"/>
                </a:cubicBezTo>
                <a:cubicBezTo>
                  <a:pt x="1532" y="587"/>
                  <a:pt x="1532" y="587"/>
                  <a:pt x="1532" y="587"/>
                </a:cubicBezTo>
                <a:cubicBezTo>
                  <a:pt x="1532" y="587"/>
                  <a:pt x="1532" y="587"/>
                  <a:pt x="1533" y="586"/>
                </a:cubicBezTo>
                <a:cubicBezTo>
                  <a:pt x="1532" y="586"/>
                  <a:pt x="1532" y="586"/>
                  <a:pt x="1532" y="586"/>
                </a:cubicBezTo>
                <a:close/>
                <a:moveTo>
                  <a:pt x="1541" y="589"/>
                </a:moveTo>
                <a:cubicBezTo>
                  <a:pt x="1541" y="589"/>
                  <a:pt x="1541" y="589"/>
                  <a:pt x="1541" y="589"/>
                </a:cubicBezTo>
                <a:cubicBezTo>
                  <a:pt x="1541" y="589"/>
                  <a:pt x="1541" y="589"/>
                  <a:pt x="1541" y="589"/>
                </a:cubicBezTo>
                <a:cubicBezTo>
                  <a:pt x="1541" y="589"/>
                  <a:pt x="1541" y="589"/>
                  <a:pt x="1541" y="589"/>
                </a:cubicBezTo>
                <a:cubicBezTo>
                  <a:pt x="1541" y="589"/>
                  <a:pt x="1541" y="589"/>
                  <a:pt x="1541" y="589"/>
                </a:cubicBezTo>
                <a:close/>
                <a:moveTo>
                  <a:pt x="1535" y="586"/>
                </a:moveTo>
                <a:cubicBezTo>
                  <a:pt x="1535" y="586"/>
                  <a:pt x="1534" y="586"/>
                  <a:pt x="1534" y="586"/>
                </a:cubicBezTo>
                <a:cubicBezTo>
                  <a:pt x="1534" y="586"/>
                  <a:pt x="1533" y="587"/>
                  <a:pt x="1533" y="587"/>
                </a:cubicBezTo>
                <a:cubicBezTo>
                  <a:pt x="1533" y="587"/>
                  <a:pt x="1533" y="587"/>
                  <a:pt x="1532" y="587"/>
                </a:cubicBezTo>
                <a:cubicBezTo>
                  <a:pt x="1533" y="587"/>
                  <a:pt x="1533" y="587"/>
                  <a:pt x="1533" y="587"/>
                </a:cubicBezTo>
                <a:cubicBezTo>
                  <a:pt x="1533" y="587"/>
                  <a:pt x="1534" y="587"/>
                  <a:pt x="1534" y="586"/>
                </a:cubicBezTo>
                <a:cubicBezTo>
                  <a:pt x="1534" y="586"/>
                  <a:pt x="1535" y="586"/>
                  <a:pt x="1535" y="586"/>
                </a:cubicBezTo>
                <a:close/>
                <a:moveTo>
                  <a:pt x="1539" y="592"/>
                </a:moveTo>
                <a:cubicBezTo>
                  <a:pt x="1539" y="592"/>
                  <a:pt x="1539" y="592"/>
                  <a:pt x="1539" y="592"/>
                </a:cubicBezTo>
                <a:cubicBezTo>
                  <a:pt x="1539" y="592"/>
                  <a:pt x="1539" y="592"/>
                  <a:pt x="1539" y="592"/>
                </a:cubicBezTo>
                <a:cubicBezTo>
                  <a:pt x="1539" y="592"/>
                  <a:pt x="1539" y="592"/>
                  <a:pt x="1539" y="593"/>
                </a:cubicBezTo>
                <a:cubicBezTo>
                  <a:pt x="1539" y="593"/>
                  <a:pt x="1540" y="593"/>
                  <a:pt x="1540" y="593"/>
                </a:cubicBezTo>
                <a:cubicBezTo>
                  <a:pt x="1540" y="593"/>
                  <a:pt x="1540" y="592"/>
                  <a:pt x="1540" y="592"/>
                </a:cubicBezTo>
                <a:cubicBezTo>
                  <a:pt x="1540" y="592"/>
                  <a:pt x="1539" y="592"/>
                  <a:pt x="1539" y="592"/>
                </a:cubicBezTo>
                <a:close/>
                <a:moveTo>
                  <a:pt x="1540" y="594"/>
                </a:moveTo>
                <a:cubicBezTo>
                  <a:pt x="1540" y="593"/>
                  <a:pt x="1540" y="593"/>
                  <a:pt x="1540" y="593"/>
                </a:cubicBezTo>
                <a:cubicBezTo>
                  <a:pt x="1540" y="593"/>
                  <a:pt x="1540" y="593"/>
                  <a:pt x="1539" y="593"/>
                </a:cubicBezTo>
                <a:cubicBezTo>
                  <a:pt x="1540" y="593"/>
                  <a:pt x="1540" y="594"/>
                  <a:pt x="1540" y="594"/>
                </a:cubicBezTo>
                <a:cubicBezTo>
                  <a:pt x="1540" y="594"/>
                  <a:pt x="1540" y="594"/>
                  <a:pt x="1540" y="594"/>
                </a:cubicBezTo>
                <a:close/>
                <a:moveTo>
                  <a:pt x="1539" y="591"/>
                </a:moveTo>
                <a:cubicBezTo>
                  <a:pt x="1539" y="591"/>
                  <a:pt x="1539" y="591"/>
                  <a:pt x="1540" y="592"/>
                </a:cubicBezTo>
                <a:cubicBezTo>
                  <a:pt x="1540" y="592"/>
                  <a:pt x="1540" y="592"/>
                  <a:pt x="1540" y="592"/>
                </a:cubicBezTo>
                <a:cubicBezTo>
                  <a:pt x="1540" y="592"/>
                  <a:pt x="1540" y="592"/>
                  <a:pt x="1541" y="592"/>
                </a:cubicBezTo>
                <a:cubicBezTo>
                  <a:pt x="1541" y="592"/>
                  <a:pt x="1541" y="591"/>
                  <a:pt x="1541" y="591"/>
                </a:cubicBezTo>
                <a:cubicBezTo>
                  <a:pt x="1541" y="591"/>
                  <a:pt x="1541" y="591"/>
                  <a:pt x="1541" y="591"/>
                </a:cubicBezTo>
                <a:cubicBezTo>
                  <a:pt x="1541" y="591"/>
                  <a:pt x="1541" y="591"/>
                  <a:pt x="1541" y="591"/>
                </a:cubicBezTo>
                <a:cubicBezTo>
                  <a:pt x="1541" y="591"/>
                  <a:pt x="1541" y="591"/>
                  <a:pt x="1541" y="591"/>
                </a:cubicBezTo>
                <a:cubicBezTo>
                  <a:pt x="1541" y="591"/>
                  <a:pt x="1541" y="591"/>
                  <a:pt x="1540" y="590"/>
                </a:cubicBezTo>
                <a:cubicBezTo>
                  <a:pt x="1540" y="590"/>
                  <a:pt x="1540" y="590"/>
                  <a:pt x="1540" y="590"/>
                </a:cubicBezTo>
                <a:cubicBezTo>
                  <a:pt x="1539" y="590"/>
                  <a:pt x="1539" y="591"/>
                  <a:pt x="1539" y="591"/>
                </a:cubicBezTo>
                <a:cubicBezTo>
                  <a:pt x="1539" y="591"/>
                  <a:pt x="1539" y="591"/>
                  <a:pt x="1539" y="591"/>
                </a:cubicBezTo>
                <a:close/>
                <a:moveTo>
                  <a:pt x="1539" y="589"/>
                </a:moveTo>
                <a:cubicBezTo>
                  <a:pt x="1539" y="589"/>
                  <a:pt x="1539" y="589"/>
                  <a:pt x="1539" y="589"/>
                </a:cubicBezTo>
                <a:cubicBezTo>
                  <a:pt x="1539" y="589"/>
                  <a:pt x="1539" y="589"/>
                  <a:pt x="1539" y="589"/>
                </a:cubicBezTo>
                <a:cubicBezTo>
                  <a:pt x="1539" y="589"/>
                  <a:pt x="1539" y="589"/>
                  <a:pt x="1539" y="589"/>
                </a:cubicBezTo>
                <a:cubicBezTo>
                  <a:pt x="1539" y="589"/>
                  <a:pt x="1539" y="589"/>
                  <a:pt x="1539" y="589"/>
                </a:cubicBezTo>
                <a:close/>
                <a:moveTo>
                  <a:pt x="1540" y="589"/>
                </a:moveTo>
                <a:cubicBezTo>
                  <a:pt x="1540" y="589"/>
                  <a:pt x="1540" y="589"/>
                  <a:pt x="1540" y="589"/>
                </a:cubicBezTo>
                <a:cubicBezTo>
                  <a:pt x="1539" y="589"/>
                  <a:pt x="1539" y="589"/>
                  <a:pt x="1539" y="589"/>
                </a:cubicBezTo>
                <a:cubicBezTo>
                  <a:pt x="1539" y="589"/>
                  <a:pt x="1539" y="589"/>
                  <a:pt x="1540" y="589"/>
                </a:cubicBezTo>
                <a:cubicBezTo>
                  <a:pt x="1540" y="589"/>
                  <a:pt x="1540" y="589"/>
                  <a:pt x="1540" y="589"/>
                </a:cubicBezTo>
                <a:cubicBezTo>
                  <a:pt x="1540" y="589"/>
                  <a:pt x="1540" y="590"/>
                  <a:pt x="1540" y="590"/>
                </a:cubicBezTo>
                <a:cubicBezTo>
                  <a:pt x="1540" y="590"/>
                  <a:pt x="1539" y="590"/>
                  <a:pt x="1539" y="590"/>
                </a:cubicBezTo>
                <a:cubicBezTo>
                  <a:pt x="1539" y="590"/>
                  <a:pt x="1539" y="590"/>
                  <a:pt x="1539" y="590"/>
                </a:cubicBezTo>
                <a:cubicBezTo>
                  <a:pt x="1539" y="590"/>
                  <a:pt x="1539" y="590"/>
                  <a:pt x="1540" y="590"/>
                </a:cubicBezTo>
                <a:cubicBezTo>
                  <a:pt x="1540" y="590"/>
                  <a:pt x="1540" y="590"/>
                  <a:pt x="1540" y="590"/>
                </a:cubicBezTo>
                <a:cubicBezTo>
                  <a:pt x="1540" y="590"/>
                  <a:pt x="1541" y="590"/>
                  <a:pt x="1541" y="590"/>
                </a:cubicBezTo>
                <a:cubicBezTo>
                  <a:pt x="1541" y="590"/>
                  <a:pt x="1541" y="590"/>
                  <a:pt x="1541" y="590"/>
                </a:cubicBezTo>
                <a:cubicBezTo>
                  <a:pt x="1541" y="590"/>
                  <a:pt x="1541" y="590"/>
                  <a:pt x="1541" y="589"/>
                </a:cubicBezTo>
                <a:cubicBezTo>
                  <a:pt x="1541" y="589"/>
                  <a:pt x="1541" y="589"/>
                  <a:pt x="1541" y="589"/>
                </a:cubicBezTo>
                <a:cubicBezTo>
                  <a:pt x="1541" y="589"/>
                  <a:pt x="1541" y="589"/>
                  <a:pt x="1541" y="589"/>
                </a:cubicBezTo>
                <a:cubicBezTo>
                  <a:pt x="1540" y="589"/>
                  <a:pt x="1540" y="589"/>
                  <a:pt x="1540" y="589"/>
                </a:cubicBezTo>
                <a:close/>
                <a:moveTo>
                  <a:pt x="1509" y="562"/>
                </a:moveTo>
                <a:cubicBezTo>
                  <a:pt x="1509" y="562"/>
                  <a:pt x="1508" y="561"/>
                  <a:pt x="1508" y="561"/>
                </a:cubicBezTo>
                <a:cubicBezTo>
                  <a:pt x="1508" y="561"/>
                  <a:pt x="1507" y="561"/>
                  <a:pt x="1506" y="560"/>
                </a:cubicBezTo>
                <a:cubicBezTo>
                  <a:pt x="1506" y="560"/>
                  <a:pt x="1506" y="560"/>
                  <a:pt x="1506" y="560"/>
                </a:cubicBezTo>
                <a:cubicBezTo>
                  <a:pt x="1506" y="560"/>
                  <a:pt x="1505" y="560"/>
                  <a:pt x="1505" y="560"/>
                </a:cubicBezTo>
                <a:cubicBezTo>
                  <a:pt x="1505" y="560"/>
                  <a:pt x="1505" y="560"/>
                  <a:pt x="1505" y="560"/>
                </a:cubicBezTo>
                <a:cubicBezTo>
                  <a:pt x="1505" y="560"/>
                  <a:pt x="1505" y="560"/>
                  <a:pt x="1505" y="560"/>
                </a:cubicBezTo>
                <a:cubicBezTo>
                  <a:pt x="1505" y="560"/>
                  <a:pt x="1505" y="560"/>
                  <a:pt x="1505" y="561"/>
                </a:cubicBezTo>
                <a:cubicBezTo>
                  <a:pt x="1505" y="561"/>
                  <a:pt x="1505" y="561"/>
                  <a:pt x="1506" y="561"/>
                </a:cubicBezTo>
                <a:cubicBezTo>
                  <a:pt x="1506" y="561"/>
                  <a:pt x="1507" y="561"/>
                  <a:pt x="1508" y="561"/>
                </a:cubicBezTo>
                <a:cubicBezTo>
                  <a:pt x="1508" y="562"/>
                  <a:pt x="1509" y="562"/>
                  <a:pt x="1509" y="562"/>
                </a:cubicBezTo>
                <a:close/>
                <a:moveTo>
                  <a:pt x="1495" y="583"/>
                </a:moveTo>
                <a:cubicBezTo>
                  <a:pt x="1495" y="583"/>
                  <a:pt x="1496" y="583"/>
                  <a:pt x="1496" y="583"/>
                </a:cubicBezTo>
                <a:cubicBezTo>
                  <a:pt x="1496" y="583"/>
                  <a:pt x="1496" y="583"/>
                  <a:pt x="1496" y="583"/>
                </a:cubicBezTo>
                <a:cubicBezTo>
                  <a:pt x="1495" y="583"/>
                  <a:pt x="1495" y="583"/>
                  <a:pt x="1495" y="583"/>
                </a:cubicBezTo>
                <a:cubicBezTo>
                  <a:pt x="1495" y="583"/>
                  <a:pt x="1495" y="583"/>
                  <a:pt x="1495" y="583"/>
                </a:cubicBezTo>
                <a:close/>
                <a:moveTo>
                  <a:pt x="1506" y="562"/>
                </a:moveTo>
                <a:cubicBezTo>
                  <a:pt x="1506" y="562"/>
                  <a:pt x="1506" y="562"/>
                  <a:pt x="1506" y="562"/>
                </a:cubicBezTo>
                <a:cubicBezTo>
                  <a:pt x="1506" y="563"/>
                  <a:pt x="1506" y="563"/>
                  <a:pt x="1506" y="563"/>
                </a:cubicBezTo>
                <a:cubicBezTo>
                  <a:pt x="1507" y="563"/>
                  <a:pt x="1507" y="563"/>
                  <a:pt x="1507" y="564"/>
                </a:cubicBezTo>
                <a:cubicBezTo>
                  <a:pt x="1507" y="563"/>
                  <a:pt x="1507" y="563"/>
                  <a:pt x="1507" y="563"/>
                </a:cubicBezTo>
                <a:cubicBezTo>
                  <a:pt x="1507" y="563"/>
                  <a:pt x="1507" y="563"/>
                  <a:pt x="1507" y="562"/>
                </a:cubicBezTo>
                <a:cubicBezTo>
                  <a:pt x="1507" y="562"/>
                  <a:pt x="1507" y="562"/>
                  <a:pt x="1507" y="562"/>
                </a:cubicBezTo>
                <a:cubicBezTo>
                  <a:pt x="1507" y="562"/>
                  <a:pt x="1507" y="562"/>
                  <a:pt x="1506" y="562"/>
                </a:cubicBezTo>
                <a:close/>
                <a:moveTo>
                  <a:pt x="1538" y="590"/>
                </a:moveTo>
                <a:cubicBezTo>
                  <a:pt x="1538" y="590"/>
                  <a:pt x="1538" y="590"/>
                  <a:pt x="1538" y="590"/>
                </a:cubicBezTo>
                <a:cubicBezTo>
                  <a:pt x="1538" y="591"/>
                  <a:pt x="1538" y="591"/>
                  <a:pt x="1538" y="591"/>
                </a:cubicBezTo>
                <a:cubicBezTo>
                  <a:pt x="1538" y="591"/>
                  <a:pt x="1539" y="591"/>
                  <a:pt x="1539" y="592"/>
                </a:cubicBezTo>
                <a:cubicBezTo>
                  <a:pt x="1539" y="592"/>
                  <a:pt x="1539" y="592"/>
                  <a:pt x="1539" y="592"/>
                </a:cubicBezTo>
                <a:cubicBezTo>
                  <a:pt x="1539" y="591"/>
                  <a:pt x="1539" y="591"/>
                  <a:pt x="1539" y="591"/>
                </a:cubicBezTo>
                <a:cubicBezTo>
                  <a:pt x="1539" y="591"/>
                  <a:pt x="1539" y="590"/>
                  <a:pt x="1539" y="590"/>
                </a:cubicBezTo>
                <a:cubicBezTo>
                  <a:pt x="1538" y="590"/>
                  <a:pt x="1538" y="590"/>
                  <a:pt x="1538" y="590"/>
                </a:cubicBezTo>
                <a:close/>
                <a:moveTo>
                  <a:pt x="1504" y="560"/>
                </a:moveTo>
                <a:cubicBezTo>
                  <a:pt x="1504" y="559"/>
                  <a:pt x="1504" y="559"/>
                  <a:pt x="1504" y="559"/>
                </a:cubicBezTo>
                <a:cubicBezTo>
                  <a:pt x="1504" y="559"/>
                  <a:pt x="1503" y="559"/>
                  <a:pt x="1503" y="559"/>
                </a:cubicBezTo>
                <a:cubicBezTo>
                  <a:pt x="1503" y="559"/>
                  <a:pt x="1503" y="559"/>
                  <a:pt x="1503" y="559"/>
                </a:cubicBezTo>
                <a:cubicBezTo>
                  <a:pt x="1502" y="559"/>
                  <a:pt x="1502" y="559"/>
                  <a:pt x="1502" y="558"/>
                </a:cubicBezTo>
                <a:cubicBezTo>
                  <a:pt x="1502" y="558"/>
                  <a:pt x="1501" y="558"/>
                  <a:pt x="1501" y="558"/>
                </a:cubicBezTo>
                <a:cubicBezTo>
                  <a:pt x="1501" y="558"/>
                  <a:pt x="1501" y="558"/>
                  <a:pt x="1501" y="558"/>
                </a:cubicBezTo>
                <a:cubicBezTo>
                  <a:pt x="1501" y="558"/>
                  <a:pt x="1500" y="558"/>
                  <a:pt x="1500" y="558"/>
                </a:cubicBezTo>
                <a:cubicBezTo>
                  <a:pt x="1500" y="558"/>
                  <a:pt x="1500" y="559"/>
                  <a:pt x="1500" y="559"/>
                </a:cubicBezTo>
                <a:cubicBezTo>
                  <a:pt x="1500" y="559"/>
                  <a:pt x="1500" y="559"/>
                  <a:pt x="1500" y="559"/>
                </a:cubicBezTo>
                <a:cubicBezTo>
                  <a:pt x="1500" y="559"/>
                  <a:pt x="1501" y="559"/>
                  <a:pt x="1501" y="560"/>
                </a:cubicBezTo>
                <a:cubicBezTo>
                  <a:pt x="1501" y="560"/>
                  <a:pt x="1502" y="560"/>
                  <a:pt x="1502" y="560"/>
                </a:cubicBezTo>
                <a:cubicBezTo>
                  <a:pt x="1502" y="560"/>
                  <a:pt x="1502" y="560"/>
                  <a:pt x="1503" y="560"/>
                </a:cubicBezTo>
                <a:cubicBezTo>
                  <a:pt x="1503" y="560"/>
                  <a:pt x="1503" y="560"/>
                  <a:pt x="1504" y="560"/>
                </a:cubicBezTo>
                <a:cubicBezTo>
                  <a:pt x="1504" y="560"/>
                  <a:pt x="1504" y="560"/>
                  <a:pt x="1504" y="560"/>
                </a:cubicBezTo>
                <a:cubicBezTo>
                  <a:pt x="1504" y="560"/>
                  <a:pt x="1504" y="560"/>
                  <a:pt x="1504" y="560"/>
                </a:cubicBezTo>
                <a:close/>
                <a:moveTo>
                  <a:pt x="1539" y="593"/>
                </a:moveTo>
                <a:cubicBezTo>
                  <a:pt x="1539" y="593"/>
                  <a:pt x="1539" y="593"/>
                  <a:pt x="1539" y="592"/>
                </a:cubicBezTo>
                <a:cubicBezTo>
                  <a:pt x="1539" y="592"/>
                  <a:pt x="1538" y="592"/>
                  <a:pt x="1538" y="592"/>
                </a:cubicBezTo>
                <a:cubicBezTo>
                  <a:pt x="1538" y="592"/>
                  <a:pt x="1538" y="591"/>
                  <a:pt x="1538" y="591"/>
                </a:cubicBezTo>
                <a:cubicBezTo>
                  <a:pt x="1538" y="591"/>
                  <a:pt x="1538" y="591"/>
                  <a:pt x="1538" y="591"/>
                </a:cubicBezTo>
                <a:cubicBezTo>
                  <a:pt x="1538" y="591"/>
                  <a:pt x="1538" y="591"/>
                  <a:pt x="1538" y="591"/>
                </a:cubicBezTo>
                <a:cubicBezTo>
                  <a:pt x="1537" y="591"/>
                  <a:pt x="1537" y="591"/>
                  <a:pt x="1537" y="592"/>
                </a:cubicBezTo>
                <a:cubicBezTo>
                  <a:pt x="1537" y="592"/>
                  <a:pt x="1537" y="592"/>
                  <a:pt x="1538" y="592"/>
                </a:cubicBezTo>
                <a:cubicBezTo>
                  <a:pt x="1538" y="592"/>
                  <a:pt x="1538" y="592"/>
                  <a:pt x="1538" y="593"/>
                </a:cubicBezTo>
                <a:cubicBezTo>
                  <a:pt x="1538" y="592"/>
                  <a:pt x="1537" y="592"/>
                  <a:pt x="1537" y="592"/>
                </a:cubicBezTo>
                <a:cubicBezTo>
                  <a:pt x="1537" y="592"/>
                  <a:pt x="1537" y="592"/>
                  <a:pt x="1537" y="592"/>
                </a:cubicBezTo>
                <a:cubicBezTo>
                  <a:pt x="1537" y="592"/>
                  <a:pt x="1537" y="592"/>
                  <a:pt x="1537" y="593"/>
                </a:cubicBezTo>
                <a:cubicBezTo>
                  <a:pt x="1537" y="593"/>
                  <a:pt x="1537" y="593"/>
                  <a:pt x="1537" y="593"/>
                </a:cubicBezTo>
                <a:cubicBezTo>
                  <a:pt x="1537" y="593"/>
                  <a:pt x="1537" y="593"/>
                  <a:pt x="1537" y="593"/>
                </a:cubicBezTo>
                <a:cubicBezTo>
                  <a:pt x="1538" y="593"/>
                  <a:pt x="1538" y="593"/>
                  <a:pt x="1539" y="593"/>
                </a:cubicBezTo>
                <a:cubicBezTo>
                  <a:pt x="1539" y="593"/>
                  <a:pt x="1539" y="593"/>
                  <a:pt x="1539" y="593"/>
                </a:cubicBezTo>
                <a:close/>
                <a:moveTo>
                  <a:pt x="1525" y="591"/>
                </a:moveTo>
                <a:cubicBezTo>
                  <a:pt x="1525" y="591"/>
                  <a:pt x="1525" y="590"/>
                  <a:pt x="1525" y="590"/>
                </a:cubicBezTo>
                <a:cubicBezTo>
                  <a:pt x="1525" y="590"/>
                  <a:pt x="1525" y="590"/>
                  <a:pt x="1525" y="590"/>
                </a:cubicBezTo>
                <a:cubicBezTo>
                  <a:pt x="1525" y="590"/>
                  <a:pt x="1525" y="590"/>
                  <a:pt x="1525" y="590"/>
                </a:cubicBezTo>
                <a:cubicBezTo>
                  <a:pt x="1525" y="590"/>
                  <a:pt x="1525" y="590"/>
                  <a:pt x="1525" y="589"/>
                </a:cubicBezTo>
                <a:cubicBezTo>
                  <a:pt x="1525" y="589"/>
                  <a:pt x="1524" y="589"/>
                  <a:pt x="1524" y="590"/>
                </a:cubicBezTo>
                <a:cubicBezTo>
                  <a:pt x="1524" y="590"/>
                  <a:pt x="1524" y="590"/>
                  <a:pt x="1524" y="590"/>
                </a:cubicBezTo>
                <a:cubicBezTo>
                  <a:pt x="1524" y="590"/>
                  <a:pt x="1523" y="590"/>
                  <a:pt x="1523" y="590"/>
                </a:cubicBezTo>
                <a:cubicBezTo>
                  <a:pt x="1523" y="590"/>
                  <a:pt x="1522" y="590"/>
                  <a:pt x="1522" y="590"/>
                </a:cubicBezTo>
                <a:cubicBezTo>
                  <a:pt x="1522" y="591"/>
                  <a:pt x="1522" y="591"/>
                  <a:pt x="1522" y="591"/>
                </a:cubicBezTo>
                <a:cubicBezTo>
                  <a:pt x="1522" y="591"/>
                  <a:pt x="1522" y="591"/>
                  <a:pt x="1522" y="591"/>
                </a:cubicBezTo>
                <a:cubicBezTo>
                  <a:pt x="1522" y="591"/>
                  <a:pt x="1522" y="591"/>
                  <a:pt x="1522" y="591"/>
                </a:cubicBezTo>
                <a:cubicBezTo>
                  <a:pt x="1522" y="592"/>
                  <a:pt x="1522" y="592"/>
                  <a:pt x="1522" y="592"/>
                </a:cubicBezTo>
                <a:cubicBezTo>
                  <a:pt x="1522" y="592"/>
                  <a:pt x="1523" y="592"/>
                  <a:pt x="1523" y="592"/>
                </a:cubicBezTo>
                <a:cubicBezTo>
                  <a:pt x="1523" y="592"/>
                  <a:pt x="1524" y="592"/>
                  <a:pt x="1524" y="592"/>
                </a:cubicBezTo>
                <a:cubicBezTo>
                  <a:pt x="1524" y="591"/>
                  <a:pt x="1525" y="591"/>
                  <a:pt x="1525" y="591"/>
                </a:cubicBezTo>
                <a:close/>
                <a:moveTo>
                  <a:pt x="1555" y="606"/>
                </a:moveTo>
                <a:cubicBezTo>
                  <a:pt x="1555" y="606"/>
                  <a:pt x="1554" y="606"/>
                  <a:pt x="1554" y="606"/>
                </a:cubicBezTo>
                <a:cubicBezTo>
                  <a:pt x="1554" y="606"/>
                  <a:pt x="1554" y="606"/>
                  <a:pt x="1555" y="606"/>
                </a:cubicBezTo>
                <a:cubicBezTo>
                  <a:pt x="1555" y="606"/>
                  <a:pt x="1555" y="607"/>
                  <a:pt x="1555" y="607"/>
                </a:cubicBezTo>
                <a:cubicBezTo>
                  <a:pt x="1555" y="607"/>
                  <a:pt x="1556" y="607"/>
                  <a:pt x="1556" y="607"/>
                </a:cubicBezTo>
                <a:cubicBezTo>
                  <a:pt x="1556" y="606"/>
                  <a:pt x="1556" y="606"/>
                  <a:pt x="1556" y="606"/>
                </a:cubicBezTo>
                <a:cubicBezTo>
                  <a:pt x="1556" y="606"/>
                  <a:pt x="1555" y="606"/>
                  <a:pt x="1555" y="606"/>
                </a:cubicBezTo>
                <a:cubicBezTo>
                  <a:pt x="1555" y="606"/>
                  <a:pt x="1555" y="606"/>
                  <a:pt x="1555" y="606"/>
                </a:cubicBezTo>
                <a:close/>
                <a:moveTo>
                  <a:pt x="1486" y="588"/>
                </a:moveTo>
                <a:cubicBezTo>
                  <a:pt x="1486" y="588"/>
                  <a:pt x="1486" y="588"/>
                  <a:pt x="1487" y="588"/>
                </a:cubicBezTo>
                <a:cubicBezTo>
                  <a:pt x="1487" y="588"/>
                  <a:pt x="1487" y="588"/>
                  <a:pt x="1487" y="588"/>
                </a:cubicBezTo>
                <a:cubicBezTo>
                  <a:pt x="1488" y="588"/>
                  <a:pt x="1488" y="588"/>
                  <a:pt x="1488" y="588"/>
                </a:cubicBezTo>
                <a:cubicBezTo>
                  <a:pt x="1489" y="588"/>
                  <a:pt x="1489" y="588"/>
                  <a:pt x="1489" y="587"/>
                </a:cubicBezTo>
                <a:cubicBezTo>
                  <a:pt x="1490" y="587"/>
                  <a:pt x="1491" y="587"/>
                  <a:pt x="1491" y="587"/>
                </a:cubicBezTo>
                <a:cubicBezTo>
                  <a:pt x="1491" y="587"/>
                  <a:pt x="1492" y="587"/>
                  <a:pt x="1492" y="587"/>
                </a:cubicBezTo>
                <a:cubicBezTo>
                  <a:pt x="1492" y="587"/>
                  <a:pt x="1492" y="587"/>
                  <a:pt x="1492" y="587"/>
                </a:cubicBezTo>
                <a:cubicBezTo>
                  <a:pt x="1492" y="587"/>
                  <a:pt x="1492" y="587"/>
                  <a:pt x="1492" y="587"/>
                </a:cubicBezTo>
                <a:cubicBezTo>
                  <a:pt x="1493" y="587"/>
                  <a:pt x="1493" y="587"/>
                  <a:pt x="1494" y="587"/>
                </a:cubicBezTo>
                <a:cubicBezTo>
                  <a:pt x="1494" y="587"/>
                  <a:pt x="1494" y="587"/>
                  <a:pt x="1494" y="587"/>
                </a:cubicBezTo>
                <a:cubicBezTo>
                  <a:pt x="1495" y="587"/>
                  <a:pt x="1495" y="587"/>
                  <a:pt x="1495" y="587"/>
                </a:cubicBezTo>
                <a:cubicBezTo>
                  <a:pt x="1496" y="587"/>
                  <a:pt x="1496" y="587"/>
                  <a:pt x="1497" y="587"/>
                </a:cubicBezTo>
                <a:cubicBezTo>
                  <a:pt x="1498" y="587"/>
                  <a:pt x="1498" y="587"/>
                  <a:pt x="1499" y="587"/>
                </a:cubicBezTo>
                <a:cubicBezTo>
                  <a:pt x="1499" y="587"/>
                  <a:pt x="1500" y="587"/>
                  <a:pt x="1500" y="587"/>
                </a:cubicBezTo>
                <a:cubicBezTo>
                  <a:pt x="1500" y="587"/>
                  <a:pt x="1500" y="587"/>
                  <a:pt x="1500" y="587"/>
                </a:cubicBezTo>
                <a:cubicBezTo>
                  <a:pt x="1501" y="587"/>
                  <a:pt x="1501" y="587"/>
                  <a:pt x="1501" y="587"/>
                </a:cubicBezTo>
                <a:cubicBezTo>
                  <a:pt x="1501" y="587"/>
                  <a:pt x="1502" y="587"/>
                  <a:pt x="1502" y="587"/>
                </a:cubicBezTo>
                <a:cubicBezTo>
                  <a:pt x="1502" y="587"/>
                  <a:pt x="1502" y="587"/>
                  <a:pt x="1502" y="587"/>
                </a:cubicBezTo>
                <a:cubicBezTo>
                  <a:pt x="1502" y="587"/>
                  <a:pt x="1502" y="587"/>
                  <a:pt x="1502" y="586"/>
                </a:cubicBezTo>
                <a:cubicBezTo>
                  <a:pt x="1501" y="586"/>
                  <a:pt x="1501" y="586"/>
                  <a:pt x="1500" y="586"/>
                </a:cubicBezTo>
                <a:cubicBezTo>
                  <a:pt x="1500" y="586"/>
                  <a:pt x="1499" y="586"/>
                  <a:pt x="1499" y="586"/>
                </a:cubicBezTo>
                <a:cubicBezTo>
                  <a:pt x="1499" y="586"/>
                  <a:pt x="1498" y="586"/>
                  <a:pt x="1498" y="585"/>
                </a:cubicBezTo>
                <a:cubicBezTo>
                  <a:pt x="1498" y="585"/>
                  <a:pt x="1497" y="585"/>
                  <a:pt x="1497" y="585"/>
                </a:cubicBezTo>
                <a:cubicBezTo>
                  <a:pt x="1497" y="585"/>
                  <a:pt x="1496" y="585"/>
                  <a:pt x="1496" y="585"/>
                </a:cubicBezTo>
                <a:cubicBezTo>
                  <a:pt x="1495" y="585"/>
                  <a:pt x="1495" y="584"/>
                  <a:pt x="1494" y="584"/>
                </a:cubicBezTo>
                <a:cubicBezTo>
                  <a:pt x="1493" y="584"/>
                  <a:pt x="1493" y="584"/>
                  <a:pt x="1492" y="585"/>
                </a:cubicBezTo>
                <a:cubicBezTo>
                  <a:pt x="1492" y="585"/>
                  <a:pt x="1491" y="585"/>
                  <a:pt x="1491" y="585"/>
                </a:cubicBezTo>
                <a:cubicBezTo>
                  <a:pt x="1491" y="585"/>
                  <a:pt x="1491" y="585"/>
                  <a:pt x="1490" y="585"/>
                </a:cubicBezTo>
                <a:cubicBezTo>
                  <a:pt x="1490" y="584"/>
                  <a:pt x="1490" y="584"/>
                  <a:pt x="1490" y="584"/>
                </a:cubicBezTo>
                <a:cubicBezTo>
                  <a:pt x="1489" y="584"/>
                  <a:pt x="1489" y="584"/>
                  <a:pt x="1489" y="584"/>
                </a:cubicBezTo>
                <a:cubicBezTo>
                  <a:pt x="1489" y="584"/>
                  <a:pt x="1488" y="584"/>
                  <a:pt x="1488" y="584"/>
                </a:cubicBezTo>
                <a:cubicBezTo>
                  <a:pt x="1487" y="584"/>
                  <a:pt x="1487" y="584"/>
                  <a:pt x="1487" y="584"/>
                </a:cubicBezTo>
                <a:cubicBezTo>
                  <a:pt x="1487" y="584"/>
                  <a:pt x="1487" y="584"/>
                  <a:pt x="1487" y="584"/>
                </a:cubicBezTo>
                <a:cubicBezTo>
                  <a:pt x="1486" y="584"/>
                  <a:pt x="1486" y="584"/>
                  <a:pt x="1486" y="584"/>
                </a:cubicBezTo>
                <a:cubicBezTo>
                  <a:pt x="1485" y="585"/>
                  <a:pt x="1485" y="585"/>
                  <a:pt x="1485" y="585"/>
                </a:cubicBezTo>
                <a:cubicBezTo>
                  <a:pt x="1484" y="585"/>
                  <a:pt x="1484" y="586"/>
                  <a:pt x="1484" y="586"/>
                </a:cubicBezTo>
                <a:cubicBezTo>
                  <a:pt x="1484" y="586"/>
                  <a:pt x="1483" y="586"/>
                  <a:pt x="1483" y="586"/>
                </a:cubicBezTo>
                <a:cubicBezTo>
                  <a:pt x="1483" y="586"/>
                  <a:pt x="1484" y="586"/>
                  <a:pt x="1484" y="586"/>
                </a:cubicBezTo>
                <a:cubicBezTo>
                  <a:pt x="1484" y="587"/>
                  <a:pt x="1484" y="587"/>
                  <a:pt x="1484" y="587"/>
                </a:cubicBezTo>
                <a:cubicBezTo>
                  <a:pt x="1484" y="587"/>
                  <a:pt x="1483" y="587"/>
                  <a:pt x="1483" y="587"/>
                </a:cubicBezTo>
                <a:cubicBezTo>
                  <a:pt x="1483" y="587"/>
                  <a:pt x="1483" y="586"/>
                  <a:pt x="1483" y="586"/>
                </a:cubicBezTo>
                <a:cubicBezTo>
                  <a:pt x="1483" y="587"/>
                  <a:pt x="1483" y="587"/>
                  <a:pt x="1482" y="587"/>
                </a:cubicBezTo>
                <a:cubicBezTo>
                  <a:pt x="1482" y="587"/>
                  <a:pt x="1483" y="587"/>
                  <a:pt x="1483" y="587"/>
                </a:cubicBezTo>
                <a:cubicBezTo>
                  <a:pt x="1483" y="588"/>
                  <a:pt x="1484" y="588"/>
                  <a:pt x="1484" y="588"/>
                </a:cubicBezTo>
                <a:cubicBezTo>
                  <a:pt x="1485" y="588"/>
                  <a:pt x="1485" y="588"/>
                  <a:pt x="1486" y="588"/>
                </a:cubicBezTo>
                <a:close/>
                <a:moveTo>
                  <a:pt x="1511" y="589"/>
                </a:moveTo>
                <a:cubicBezTo>
                  <a:pt x="1511" y="589"/>
                  <a:pt x="1511" y="589"/>
                  <a:pt x="1511" y="589"/>
                </a:cubicBezTo>
                <a:cubicBezTo>
                  <a:pt x="1511" y="589"/>
                  <a:pt x="1510" y="589"/>
                  <a:pt x="1510" y="588"/>
                </a:cubicBezTo>
                <a:cubicBezTo>
                  <a:pt x="1510" y="589"/>
                  <a:pt x="1510" y="589"/>
                  <a:pt x="1511" y="589"/>
                </a:cubicBezTo>
                <a:cubicBezTo>
                  <a:pt x="1511" y="589"/>
                  <a:pt x="1511" y="589"/>
                  <a:pt x="1511" y="589"/>
                </a:cubicBezTo>
                <a:close/>
                <a:moveTo>
                  <a:pt x="1526" y="577"/>
                </a:moveTo>
                <a:cubicBezTo>
                  <a:pt x="1527" y="576"/>
                  <a:pt x="1527" y="576"/>
                  <a:pt x="1527" y="576"/>
                </a:cubicBezTo>
                <a:cubicBezTo>
                  <a:pt x="1527" y="576"/>
                  <a:pt x="1527" y="575"/>
                  <a:pt x="1527" y="575"/>
                </a:cubicBezTo>
                <a:cubicBezTo>
                  <a:pt x="1527" y="574"/>
                  <a:pt x="1526" y="573"/>
                  <a:pt x="1525" y="573"/>
                </a:cubicBezTo>
                <a:cubicBezTo>
                  <a:pt x="1525" y="572"/>
                  <a:pt x="1524" y="572"/>
                  <a:pt x="1524" y="572"/>
                </a:cubicBezTo>
                <a:cubicBezTo>
                  <a:pt x="1523" y="571"/>
                  <a:pt x="1523" y="571"/>
                  <a:pt x="1523" y="571"/>
                </a:cubicBezTo>
                <a:cubicBezTo>
                  <a:pt x="1523" y="571"/>
                  <a:pt x="1522" y="571"/>
                  <a:pt x="1522" y="570"/>
                </a:cubicBezTo>
                <a:cubicBezTo>
                  <a:pt x="1522" y="571"/>
                  <a:pt x="1521" y="571"/>
                  <a:pt x="1521" y="571"/>
                </a:cubicBezTo>
                <a:cubicBezTo>
                  <a:pt x="1521" y="571"/>
                  <a:pt x="1520" y="570"/>
                  <a:pt x="1520" y="570"/>
                </a:cubicBezTo>
                <a:cubicBezTo>
                  <a:pt x="1520" y="570"/>
                  <a:pt x="1520" y="570"/>
                  <a:pt x="1519" y="570"/>
                </a:cubicBezTo>
                <a:cubicBezTo>
                  <a:pt x="1519" y="570"/>
                  <a:pt x="1518" y="569"/>
                  <a:pt x="1518" y="569"/>
                </a:cubicBezTo>
                <a:cubicBezTo>
                  <a:pt x="1517" y="569"/>
                  <a:pt x="1517" y="569"/>
                  <a:pt x="1516" y="569"/>
                </a:cubicBezTo>
                <a:cubicBezTo>
                  <a:pt x="1516" y="569"/>
                  <a:pt x="1516" y="569"/>
                  <a:pt x="1516" y="569"/>
                </a:cubicBezTo>
                <a:cubicBezTo>
                  <a:pt x="1516" y="569"/>
                  <a:pt x="1515" y="569"/>
                  <a:pt x="1515" y="569"/>
                </a:cubicBezTo>
                <a:cubicBezTo>
                  <a:pt x="1515" y="569"/>
                  <a:pt x="1515" y="569"/>
                  <a:pt x="1515" y="569"/>
                </a:cubicBezTo>
                <a:cubicBezTo>
                  <a:pt x="1514" y="569"/>
                  <a:pt x="1514" y="569"/>
                  <a:pt x="1514" y="570"/>
                </a:cubicBezTo>
                <a:cubicBezTo>
                  <a:pt x="1514" y="570"/>
                  <a:pt x="1514" y="570"/>
                  <a:pt x="1514" y="570"/>
                </a:cubicBezTo>
                <a:cubicBezTo>
                  <a:pt x="1514" y="570"/>
                  <a:pt x="1514" y="570"/>
                  <a:pt x="1515" y="570"/>
                </a:cubicBezTo>
                <a:cubicBezTo>
                  <a:pt x="1515" y="570"/>
                  <a:pt x="1515" y="570"/>
                  <a:pt x="1516" y="570"/>
                </a:cubicBezTo>
                <a:cubicBezTo>
                  <a:pt x="1516" y="570"/>
                  <a:pt x="1516" y="570"/>
                  <a:pt x="1516" y="571"/>
                </a:cubicBezTo>
                <a:cubicBezTo>
                  <a:pt x="1516" y="571"/>
                  <a:pt x="1516" y="571"/>
                  <a:pt x="1516" y="571"/>
                </a:cubicBezTo>
                <a:cubicBezTo>
                  <a:pt x="1517" y="571"/>
                  <a:pt x="1517" y="571"/>
                  <a:pt x="1517" y="571"/>
                </a:cubicBezTo>
                <a:cubicBezTo>
                  <a:pt x="1518" y="571"/>
                  <a:pt x="1518" y="571"/>
                  <a:pt x="1518" y="571"/>
                </a:cubicBezTo>
                <a:cubicBezTo>
                  <a:pt x="1519" y="571"/>
                  <a:pt x="1519" y="571"/>
                  <a:pt x="1519" y="571"/>
                </a:cubicBezTo>
                <a:cubicBezTo>
                  <a:pt x="1519" y="572"/>
                  <a:pt x="1519" y="572"/>
                  <a:pt x="1519" y="572"/>
                </a:cubicBezTo>
                <a:cubicBezTo>
                  <a:pt x="1520" y="572"/>
                  <a:pt x="1520" y="573"/>
                  <a:pt x="1521" y="573"/>
                </a:cubicBezTo>
                <a:cubicBezTo>
                  <a:pt x="1521" y="573"/>
                  <a:pt x="1522" y="573"/>
                  <a:pt x="1522" y="573"/>
                </a:cubicBezTo>
                <a:cubicBezTo>
                  <a:pt x="1522" y="573"/>
                  <a:pt x="1522" y="573"/>
                  <a:pt x="1523" y="573"/>
                </a:cubicBezTo>
                <a:cubicBezTo>
                  <a:pt x="1523" y="574"/>
                  <a:pt x="1524" y="574"/>
                  <a:pt x="1524" y="575"/>
                </a:cubicBezTo>
                <a:cubicBezTo>
                  <a:pt x="1524" y="575"/>
                  <a:pt x="1525" y="575"/>
                  <a:pt x="1525" y="575"/>
                </a:cubicBezTo>
                <a:cubicBezTo>
                  <a:pt x="1525" y="575"/>
                  <a:pt x="1525" y="576"/>
                  <a:pt x="1525" y="576"/>
                </a:cubicBezTo>
                <a:cubicBezTo>
                  <a:pt x="1526" y="576"/>
                  <a:pt x="1526" y="576"/>
                  <a:pt x="1526" y="577"/>
                </a:cubicBezTo>
                <a:close/>
                <a:moveTo>
                  <a:pt x="1474" y="585"/>
                </a:moveTo>
                <a:cubicBezTo>
                  <a:pt x="1474" y="585"/>
                  <a:pt x="1474" y="585"/>
                  <a:pt x="1475" y="586"/>
                </a:cubicBezTo>
                <a:cubicBezTo>
                  <a:pt x="1475" y="586"/>
                  <a:pt x="1475" y="586"/>
                  <a:pt x="1475" y="586"/>
                </a:cubicBezTo>
                <a:cubicBezTo>
                  <a:pt x="1475" y="585"/>
                  <a:pt x="1475" y="585"/>
                  <a:pt x="1475" y="585"/>
                </a:cubicBezTo>
                <a:cubicBezTo>
                  <a:pt x="1475" y="585"/>
                  <a:pt x="1475" y="585"/>
                  <a:pt x="1475" y="585"/>
                </a:cubicBezTo>
                <a:cubicBezTo>
                  <a:pt x="1475" y="585"/>
                  <a:pt x="1475" y="585"/>
                  <a:pt x="1475" y="585"/>
                </a:cubicBezTo>
                <a:cubicBezTo>
                  <a:pt x="1474" y="585"/>
                  <a:pt x="1474" y="585"/>
                  <a:pt x="1474" y="585"/>
                </a:cubicBezTo>
                <a:close/>
                <a:moveTo>
                  <a:pt x="1480" y="579"/>
                </a:moveTo>
                <a:cubicBezTo>
                  <a:pt x="1480" y="579"/>
                  <a:pt x="1480" y="580"/>
                  <a:pt x="1480" y="580"/>
                </a:cubicBezTo>
                <a:cubicBezTo>
                  <a:pt x="1481" y="580"/>
                  <a:pt x="1481" y="580"/>
                  <a:pt x="1481" y="580"/>
                </a:cubicBezTo>
                <a:cubicBezTo>
                  <a:pt x="1481" y="580"/>
                  <a:pt x="1482" y="580"/>
                  <a:pt x="1482" y="580"/>
                </a:cubicBezTo>
                <a:cubicBezTo>
                  <a:pt x="1482" y="580"/>
                  <a:pt x="1482" y="580"/>
                  <a:pt x="1483" y="579"/>
                </a:cubicBezTo>
                <a:cubicBezTo>
                  <a:pt x="1483" y="579"/>
                  <a:pt x="1483" y="579"/>
                  <a:pt x="1483" y="579"/>
                </a:cubicBezTo>
                <a:cubicBezTo>
                  <a:pt x="1484" y="579"/>
                  <a:pt x="1484" y="579"/>
                  <a:pt x="1484" y="579"/>
                </a:cubicBezTo>
                <a:cubicBezTo>
                  <a:pt x="1484" y="579"/>
                  <a:pt x="1484" y="579"/>
                  <a:pt x="1484" y="578"/>
                </a:cubicBezTo>
                <a:cubicBezTo>
                  <a:pt x="1484" y="578"/>
                  <a:pt x="1484" y="578"/>
                  <a:pt x="1483" y="578"/>
                </a:cubicBezTo>
                <a:cubicBezTo>
                  <a:pt x="1483" y="578"/>
                  <a:pt x="1483" y="578"/>
                  <a:pt x="1482" y="578"/>
                </a:cubicBezTo>
                <a:cubicBezTo>
                  <a:pt x="1483" y="578"/>
                  <a:pt x="1483" y="578"/>
                  <a:pt x="1483" y="578"/>
                </a:cubicBezTo>
                <a:cubicBezTo>
                  <a:pt x="1483" y="578"/>
                  <a:pt x="1482" y="578"/>
                  <a:pt x="1482" y="578"/>
                </a:cubicBezTo>
                <a:cubicBezTo>
                  <a:pt x="1482" y="578"/>
                  <a:pt x="1481" y="578"/>
                  <a:pt x="1481" y="578"/>
                </a:cubicBezTo>
                <a:cubicBezTo>
                  <a:pt x="1481" y="578"/>
                  <a:pt x="1481" y="579"/>
                  <a:pt x="1480" y="579"/>
                </a:cubicBezTo>
                <a:cubicBezTo>
                  <a:pt x="1480" y="579"/>
                  <a:pt x="1480" y="578"/>
                  <a:pt x="1479" y="578"/>
                </a:cubicBezTo>
                <a:cubicBezTo>
                  <a:pt x="1479" y="578"/>
                  <a:pt x="1479" y="578"/>
                  <a:pt x="1479" y="578"/>
                </a:cubicBezTo>
                <a:cubicBezTo>
                  <a:pt x="1479" y="578"/>
                  <a:pt x="1478" y="577"/>
                  <a:pt x="1478" y="577"/>
                </a:cubicBezTo>
                <a:cubicBezTo>
                  <a:pt x="1477" y="577"/>
                  <a:pt x="1477" y="577"/>
                  <a:pt x="1477" y="577"/>
                </a:cubicBezTo>
                <a:cubicBezTo>
                  <a:pt x="1476" y="577"/>
                  <a:pt x="1476" y="577"/>
                  <a:pt x="1476" y="576"/>
                </a:cubicBezTo>
                <a:cubicBezTo>
                  <a:pt x="1475" y="576"/>
                  <a:pt x="1475" y="576"/>
                  <a:pt x="1475" y="576"/>
                </a:cubicBezTo>
                <a:cubicBezTo>
                  <a:pt x="1474" y="576"/>
                  <a:pt x="1474" y="576"/>
                  <a:pt x="1474" y="576"/>
                </a:cubicBezTo>
                <a:cubicBezTo>
                  <a:pt x="1474" y="575"/>
                  <a:pt x="1473" y="575"/>
                  <a:pt x="1473" y="575"/>
                </a:cubicBezTo>
                <a:cubicBezTo>
                  <a:pt x="1472" y="575"/>
                  <a:pt x="1471" y="574"/>
                  <a:pt x="1471" y="574"/>
                </a:cubicBezTo>
                <a:cubicBezTo>
                  <a:pt x="1470" y="574"/>
                  <a:pt x="1470" y="574"/>
                  <a:pt x="1469" y="574"/>
                </a:cubicBezTo>
                <a:cubicBezTo>
                  <a:pt x="1469" y="574"/>
                  <a:pt x="1469" y="575"/>
                  <a:pt x="1469" y="575"/>
                </a:cubicBezTo>
                <a:cubicBezTo>
                  <a:pt x="1469" y="575"/>
                  <a:pt x="1469" y="575"/>
                  <a:pt x="1469" y="576"/>
                </a:cubicBezTo>
                <a:cubicBezTo>
                  <a:pt x="1469" y="576"/>
                  <a:pt x="1469" y="576"/>
                  <a:pt x="1469" y="576"/>
                </a:cubicBezTo>
                <a:cubicBezTo>
                  <a:pt x="1469" y="576"/>
                  <a:pt x="1470" y="576"/>
                  <a:pt x="1470" y="576"/>
                </a:cubicBezTo>
                <a:cubicBezTo>
                  <a:pt x="1470" y="576"/>
                  <a:pt x="1470" y="576"/>
                  <a:pt x="1471" y="577"/>
                </a:cubicBezTo>
                <a:cubicBezTo>
                  <a:pt x="1471" y="577"/>
                  <a:pt x="1471" y="577"/>
                  <a:pt x="1471" y="577"/>
                </a:cubicBezTo>
                <a:cubicBezTo>
                  <a:pt x="1471" y="577"/>
                  <a:pt x="1472" y="577"/>
                  <a:pt x="1472" y="577"/>
                </a:cubicBezTo>
                <a:cubicBezTo>
                  <a:pt x="1472" y="577"/>
                  <a:pt x="1472" y="577"/>
                  <a:pt x="1472" y="578"/>
                </a:cubicBezTo>
                <a:cubicBezTo>
                  <a:pt x="1473" y="578"/>
                  <a:pt x="1473" y="578"/>
                  <a:pt x="1473" y="578"/>
                </a:cubicBezTo>
                <a:cubicBezTo>
                  <a:pt x="1473" y="578"/>
                  <a:pt x="1473" y="578"/>
                  <a:pt x="1474" y="578"/>
                </a:cubicBezTo>
                <a:cubicBezTo>
                  <a:pt x="1474" y="578"/>
                  <a:pt x="1474" y="578"/>
                  <a:pt x="1474" y="578"/>
                </a:cubicBezTo>
                <a:cubicBezTo>
                  <a:pt x="1474" y="578"/>
                  <a:pt x="1474" y="578"/>
                  <a:pt x="1475" y="578"/>
                </a:cubicBezTo>
                <a:cubicBezTo>
                  <a:pt x="1475" y="578"/>
                  <a:pt x="1475" y="578"/>
                  <a:pt x="1476" y="578"/>
                </a:cubicBezTo>
                <a:cubicBezTo>
                  <a:pt x="1476" y="578"/>
                  <a:pt x="1477" y="579"/>
                  <a:pt x="1477" y="579"/>
                </a:cubicBezTo>
                <a:cubicBezTo>
                  <a:pt x="1477" y="579"/>
                  <a:pt x="1478" y="579"/>
                  <a:pt x="1478" y="579"/>
                </a:cubicBezTo>
                <a:cubicBezTo>
                  <a:pt x="1479" y="579"/>
                  <a:pt x="1479" y="579"/>
                  <a:pt x="1480" y="579"/>
                </a:cubicBezTo>
                <a:close/>
                <a:moveTo>
                  <a:pt x="1517" y="572"/>
                </a:moveTo>
                <a:cubicBezTo>
                  <a:pt x="1517" y="572"/>
                  <a:pt x="1517" y="572"/>
                  <a:pt x="1517" y="572"/>
                </a:cubicBezTo>
                <a:cubicBezTo>
                  <a:pt x="1517" y="572"/>
                  <a:pt x="1517" y="572"/>
                  <a:pt x="1517" y="572"/>
                </a:cubicBezTo>
                <a:cubicBezTo>
                  <a:pt x="1517" y="572"/>
                  <a:pt x="1517" y="572"/>
                  <a:pt x="1517" y="572"/>
                </a:cubicBezTo>
                <a:cubicBezTo>
                  <a:pt x="1517" y="572"/>
                  <a:pt x="1517" y="572"/>
                  <a:pt x="1517" y="572"/>
                </a:cubicBezTo>
                <a:close/>
                <a:moveTo>
                  <a:pt x="1527" y="589"/>
                </a:moveTo>
                <a:cubicBezTo>
                  <a:pt x="1527" y="589"/>
                  <a:pt x="1527" y="589"/>
                  <a:pt x="1527" y="590"/>
                </a:cubicBezTo>
                <a:cubicBezTo>
                  <a:pt x="1527" y="590"/>
                  <a:pt x="1527" y="590"/>
                  <a:pt x="1527" y="590"/>
                </a:cubicBezTo>
                <a:cubicBezTo>
                  <a:pt x="1527" y="589"/>
                  <a:pt x="1527" y="589"/>
                  <a:pt x="1527" y="589"/>
                </a:cubicBezTo>
                <a:close/>
                <a:moveTo>
                  <a:pt x="1526" y="590"/>
                </a:moveTo>
                <a:cubicBezTo>
                  <a:pt x="1526" y="590"/>
                  <a:pt x="1526" y="590"/>
                  <a:pt x="1526" y="590"/>
                </a:cubicBezTo>
                <a:cubicBezTo>
                  <a:pt x="1526" y="590"/>
                  <a:pt x="1526" y="590"/>
                  <a:pt x="1527" y="590"/>
                </a:cubicBezTo>
                <a:cubicBezTo>
                  <a:pt x="1527" y="590"/>
                  <a:pt x="1527" y="590"/>
                  <a:pt x="1526" y="590"/>
                </a:cubicBezTo>
                <a:close/>
                <a:moveTo>
                  <a:pt x="1455" y="572"/>
                </a:moveTo>
                <a:cubicBezTo>
                  <a:pt x="1456" y="572"/>
                  <a:pt x="1456" y="572"/>
                  <a:pt x="1456" y="572"/>
                </a:cubicBezTo>
                <a:cubicBezTo>
                  <a:pt x="1457" y="573"/>
                  <a:pt x="1457" y="573"/>
                  <a:pt x="1457" y="573"/>
                </a:cubicBezTo>
                <a:cubicBezTo>
                  <a:pt x="1457" y="573"/>
                  <a:pt x="1458" y="573"/>
                  <a:pt x="1458" y="573"/>
                </a:cubicBezTo>
                <a:cubicBezTo>
                  <a:pt x="1458" y="573"/>
                  <a:pt x="1458" y="573"/>
                  <a:pt x="1459" y="573"/>
                </a:cubicBezTo>
                <a:cubicBezTo>
                  <a:pt x="1459" y="573"/>
                  <a:pt x="1459" y="573"/>
                  <a:pt x="1459" y="573"/>
                </a:cubicBezTo>
                <a:cubicBezTo>
                  <a:pt x="1460" y="573"/>
                  <a:pt x="1460" y="573"/>
                  <a:pt x="1460" y="573"/>
                </a:cubicBezTo>
                <a:cubicBezTo>
                  <a:pt x="1461" y="573"/>
                  <a:pt x="1461" y="573"/>
                  <a:pt x="1461" y="574"/>
                </a:cubicBezTo>
                <a:cubicBezTo>
                  <a:pt x="1462" y="574"/>
                  <a:pt x="1462" y="573"/>
                  <a:pt x="1462" y="573"/>
                </a:cubicBezTo>
                <a:cubicBezTo>
                  <a:pt x="1462" y="574"/>
                  <a:pt x="1463" y="574"/>
                  <a:pt x="1463" y="574"/>
                </a:cubicBezTo>
                <a:cubicBezTo>
                  <a:pt x="1463" y="574"/>
                  <a:pt x="1463" y="574"/>
                  <a:pt x="1463" y="574"/>
                </a:cubicBezTo>
                <a:cubicBezTo>
                  <a:pt x="1464" y="574"/>
                  <a:pt x="1464" y="574"/>
                  <a:pt x="1465" y="575"/>
                </a:cubicBezTo>
                <a:cubicBezTo>
                  <a:pt x="1465" y="574"/>
                  <a:pt x="1464" y="574"/>
                  <a:pt x="1464" y="574"/>
                </a:cubicBezTo>
                <a:cubicBezTo>
                  <a:pt x="1465" y="574"/>
                  <a:pt x="1465" y="574"/>
                  <a:pt x="1465" y="574"/>
                </a:cubicBezTo>
                <a:cubicBezTo>
                  <a:pt x="1466" y="574"/>
                  <a:pt x="1466" y="574"/>
                  <a:pt x="1466" y="574"/>
                </a:cubicBezTo>
                <a:cubicBezTo>
                  <a:pt x="1466" y="574"/>
                  <a:pt x="1465" y="574"/>
                  <a:pt x="1465" y="574"/>
                </a:cubicBezTo>
                <a:cubicBezTo>
                  <a:pt x="1465" y="574"/>
                  <a:pt x="1465" y="573"/>
                  <a:pt x="1465" y="573"/>
                </a:cubicBezTo>
                <a:cubicBezTo>
                  <a:pt x="1465" y="573"/>
                  <a:pt x="1466" y="573"/>
                  <a:pt x="1466" y="573"/>
                </a:cubicBezTo>
                <a:cubicBezTo>
                  <a:pt x="1465" y="573"/>
                  <a:pt x="1465" y="572"/>
                  <a:pt x="1465" y="572"/>
                </a:cubicBezTo>
                <a:cubicBezTo>
                  <a:pt x="1465" y="572"/>
                  <a:pt x="1465" y="573"/>
                  <a:pt x="1465" y="573"/>
                </a:cubicBezTo>
                <a:cubicBezTo>
                  <a:pt x="1464" y="573"/>
                  <a:pt x="1464" y="573"/>
                  <a:pt x="1464" y="573"/>
                </a:cubicBezTo>
                <a:cubicBezTo>
                  <a:pt x="1464" y="573"/>
                  <a:pt x="1464" y="572"/>
                  <a:pt x="1464" y="572"/>
                </a:cubicBezTo>
                <a:cubicBezTo>
                  <a:pt x="1464" y="572"/>
                  <a:pt x="1464" y="572"/>
                  <a:pt x="1464" y="571"/>
                </a:cubicBezTo>
                <a:cubicBezTo>
                  <a:pt x="1463" y="571"/>
                  <a:pt x="1463" y="571"/>
                  <a:pt x="1463" y="571"/>
                </a:cubicBezTo>
                <a:cubicBezTo>
                  <a:pt x="1462" y="571"/>
                  <a:pt x="1462" y="571"/>
                  <a:pt x="1462" y="571"/>
                </a:cubicBezTo>
                <a:cubicBezTo>
                  <a:pt x="1462" y="570"/>
                  <a:pt x="1461" y="570"/>
                  <a:pt x="1461" y="570"/>
                </a:cubicBezTo>
                <a:cubicBezTo>
                  <a:pt x="1461" y="570"/>
                  <a:pt x="1460" y="570"/>
                  <a:pt x="1460" y="570"/>
                </a:cubicBezTo>
                <a:cubicBezTo>
                  <a:pt x="1460" y="570"/>
                  <a:pt x="1460" y="571"/>
                  <a:pt x="1460" y="571"/>
                </a:cubicBezTo>
                <a:cubicBezTo>
                  <a:pt x="1460" y="571"/>
                  <a:pt x="1461" y="571"/>
                  <a:pt x="1461" y="572"/>
                </a:cubicBezTo>
                <a:cubicBezTo>
                  <a:pt x="1462" y="572"/>
                  <a:pt x="1462" y="572"/>
                  <a:pt x="1462" y="573"/>
                </a:cubicBezTo>
                <a:cubicBezTo>
                  <a:pt x="1461" y="573"/>
                  <a:pt x="1461" y="572"/>
                  <a:pt x="1461" y="572"/>
                </a:cubicBezTo>
                <a:cubicBezTo>
                  <a:pt x="1460" y="572"/>
                  <a:pt x="1460" y="572"/>
                  <a:pt x="1460" y="572"/>
                </a:cubicBezTo>
                <a:cubicBezTo>
                  <a:pt x="1460" y="572"/>
                  <a:pt x="1459" y="572"/>
                  <a:pt x="1459" y="571"/>
                </a:cubicBezTo>
                <a:cubicBezTo>
                  <a:pt x="1459" y="571"/>
                  <a:pt x="1459" y="571"/>
                  <a:pt x="1459" y="571"/>
                </a:cubicBezTo>
                <a:cubicBezTo>
                  <a:pt x="1459" y="571"/>
                  <a:pt x="1459" y="571"/>
                  <a:pt x="1458" y="570"/>
                </a:cubicBezTo>
                <a:cubicBezTo>
                  <a:pt x="1458" y="570"/>
                  <a:pt x="1458" y="570"/>
                  <a:pt x="1458" y="570"/>
                </a:cubicBezTo>
                <a:cubicBezTo>
                  <a:pt x="1457" y="570"/>
                  <a:pt x="1457" y="570"/>
                  <a:pt x="1457" y="570"/>
                </a:cubicBezTo>
                <a:cubicBezTo>
                  <a:pt x="1456" y="570"/>
                  <a:pt x="1456" y="570"/>
                  <a:pt x="1455" y="570"/>
                </a:cubicBezTo>
                <a:cubicBezTo>
                  <a:pt x="1455" y="570"/>
                  <a:pt x="1455" y="570"/>
                  <a:pt x="1455" y="570"/>
                </a:cubicBezTo>
                <a:cubicBezTo>
                  <a:pt x="1454" y="570"/>
                  <a:pt x="1454" y="570"/>
                  <a:pt x="1454" y="571"/>
                </a:cubicBezTo>
                <a:cubicBezTo>
                  <a:pt x="1454" y="571"/>
                  <a:pt x="1454" y="571"/>
                  <a:pt x="1455" y="571"/>
                </a:cubicBezTo>
                <a:cubicBezTo>
                  <a:pt x="1454" y="571"/>
                  <a:pt x="1454" y="571"/>
                  <a:pt x="1454" y="571"/>
                </a:cubicBezTo>
                <a:cubicBezTo>
                  <a:pt x="1454" y="571"/>
                  <a:pt x="1454" y="572"/>
                  <a:pt x="1454" y="572"/>
                </a:cubicBezTo>
                <a:cubicBezTo>
                  <a:pt x="1455" y="572"/>
                  <a:pt x="1455" y="572"/>
                  <a:pt x="1455" y="572"/>
                </a:cubicBezTo>
                <a:close/>
                <a:moveTo>
                  <a:pt x="1511" y="584"/>
                </a:moveTo>
                <a:cubicBezTo>
                  <a:pt x="1511" y="584"/>
                  <a:pt x="1511" y="585"/>
                  <a:pt x="1511" y="585"/>
                </a:cubicBezTo>
                <a:cubicBezTo>
                  <a:pt x="1511" y="585"/>
                  <a:pt x="1512" y="584"/>
                  <a:pt x="1512" y="584"/>
                </a:cubicBezTo>
                <a:cubicBezTo>
                  <a:pt x="1512" y="584"/>
                  <a:pt x="1511" y="584"/>
                  <a:pt x="1511" y="584"/>
                </a:cubicBezTo>
                <a:cubicBezTo>
                  <a:pt x="1511" y="584"/>
                  <a:pt x="1511" y="584"/>
                  <a:pt x="1511" y="584"/>
                </a:cubicBezTo>
                <a:cubicBezTo>
                  <a:pt x="1511" y="584"/>
                  <a:pt x="1511" y="584"/>
                  <a:pt x="1511" y="584"/>
                </a:cubicBezTo>
                <a:close/>
                <a:moveTo>
                  <a:pt x="1516" y="571"/>
                </a:moveTo>
                <a:cubicBezTo>
                  <a:pt x="1516" y="572"/>
                  <a:pt x="1516" y="572"/>
                  <a:pt x="1516" y="572"/>
                </a:cubicBezTo>
                <a:cubicBezTo>
                  <a:pt x="1516" y="572"/>
                  <a:pt x="1516" y="572"/>
                  <a:pt x="1516" y="572"/>
                </a:cubicBezTo>
                <a:cubicBezTo>
                  <a:pt x="1516" y="572"/>
                  <a:pt x="1516" y="572"/>
                  <a:pt x="1516" y="572"/>
                </a:cubicBezTo>
                <a:cubicBezTo>
                  <a:pt x="1516" y="572"/>
                  <a:pt x="1516" y="571"/>
                  <a:pt x="1516" y="571"/>
                </a:cubicBezTo>
                <a:close/>
                <a:moveTo>
                  <a:pt x="1506" y="586"/>
                </a:moveTo>
                <a:cubicBezTo>
                  <a:pt x="1506" y="586"/>
                  <a:pt x="1506" y="587"/>
                  <a:pt x="1506" y="587"/>
                </a:cubicBezTo>
                <a:cubicBezTo>
                  <a:pt x="1506" y="587"/>
                  <a:pt x="1506" y="587"/>
                  <a:pt x="1507" y="587"/>
                </a:cubicBezTo>
                <a:cubicBezTo>
                  <a:pt x="1507" y="587"/>
                  <a:pt x="1507" y="587"/>
                  <a:pt x="1508" y="587"/>
                </a:cubicBezTo>
                <a:cubicBezTo>
                  <a:pt x="1508" y="587"/>
                  <a:pt x="1508" y="587"/>
                  <a:pt x="1508" y="587"/>
                </a:cubicBezTo>
                <a:cubicBezTo>
                  <a:pt x="1508" y="587"/>
                  <a:pt x="1507" y="587"/>
                  <a:pt x="1507" y="587"/>
                </a:cubicBezTo>
                <a:cubicBezTo>
                  <a:pt x="1507" y="587"/>
                  <a:pt x="1506" y="587"/>
                  <a:pt x="1506" y="586"/>
                </a:cubicBezTo>
                <a:close/>
                <a:moveTo>
                  <a:pt x="1393" y="537"/>
                </a:moveTo>
                <a:cubicBezTo>
                  <a:pt x="1394" y="538"/>
                  <a:pt x="1394" y="538"/>
                  <a:pt x="1394" y="538"/>
                </a:cubicBezTo>
                <a:cubicBezTo>
                  <a:pt x="1394" y="538"/>
                  <a:pt x="1394" y="538"/>
                  <a:pt x="1394" y="538"/>
                </a:cubicBezTo>
                <a:cubicBezTo>
                  <a:pt x="1394" y="538"/>
                  <a:pt x="1394" y="538"/>
                  <a:pt x="1394" y="537"/>
                </a:cubicBezTo>
                <a:cubicBezTo>
                  <a:pt x="1394" y="537"/>
                  <a:pt x="1394" y="537"/>
                  <a:pt x="1393" y="537"/>
                </a:cubicBezTo>
                <a:close/>
                <a:moveTo>
                  <a:pt x="1379" y="507"/>
                </a:moveTo>
                <a:cubicBezTo>
                  <a:pt x="1379" y="507"/>
                  <a:pt x="1379" y="506"/>
                  <a:pt x="1379" y="506"/>
                </a:cubicBezTo>
                <a:cubicBezTo>
                  <a:pt x="1379" y="506"/>
                  <a:pt x="1378" y="506"/>
                  <a:pt x="1378" y="507"/>
                </a:cubicBezTo>
                <a:cubicBezTo>
                  <a:pt x="1378" y="506"/>
                  <a:pt x="1378" y="506"/>
                  <a:pt x="1377" y="506"/>
                </a:cubicBezTo>
                <a:cubicBezTo>
                  <a:pt x="1378" y="507"/>
                  <a:pt x="1378" y="507"/>
                  <a:pt x="1378" y="507"/>
                </a:cubicBezTo>
                <a:cubicBezTo>
                  <a:pt x="1378" y="508"/>
                  <a:pt x="1378" y="508"/>
                  <a:pt x="1378" y="508"/>
                </a:cubicBezTo>
                <a:cubicBezTo>
                  <a:pt x="1378" y="508"/>
                  <a:pt x="1379" y="509"/>
                  <a:pt x="1379" y="509"/>
                </a:cubicBezTo>
                <a:cubicBezTo>
                  <a:pt x="1379" y="509"/>
                  <a:pt x="1379" y="510"/>
                  <a:pt x="1379" y="510"/>
                </a:cubicBezTo>
                <a:cubicBezTo>
                  <a:pt x="1379" y="510"/>
                  <a:pt x="1380" y="510"/>
                  <a:pt x="1380" y="510"/>
                </a:cubicBezTo>
                <a:cubicBezTo>
                  <a:pt x="1380" y="510"/>
                  <a:pt x="1380" y="510"/>
                  <a:pt x="1380" y="509"/>
                </a:cubicBezTo>
                <a:cubicBezTo>
                  <a:pt x="1380" y="509"/>
                  <a:pt x="1380" y="509"/>
                  <a:pt x="1381" y="509"/>
                </a:cubicBezTo>
                <a:cubicBezTo>
                  <a:pt x="1380" y="508"/>
                  <a:pt x="1380" y="508"/>
                  <a:pt x="1380" y="508"/>
                </a:cubicBezTo>
                <a:cubicBezTo>
                  <a:pt x="1380" y="507"/>
                  <a:pt x="1379" y="507"/>
                  <a:pt x="1379" y="507"/>
                </a:cubicBezTo>
                <a:close/>
                <a:moveTo>
                  <a:pt x="1385" y="522"/>
                </a:moveTo>
                <a:cubicBezTo>
                  <a:pt x="1385" y="523"/>
                  <a:pt x="1385" y="523"/>
                  <a:pt x="1385" y="523"/>
                </a:cubicBezTo>
                <a:cubicBezTo>
                  <a:pt x="1385" y="523"/>
                  <a:pt x="1386" y="524"/>
                  <a:pt x="1386" y="524"/>
                </a:cubicBezTo>
                <a:cubicBezTo>
                  <a:pt x="1386" y="523"/>
                  <a:pt x="1386" y="523"/>
                  <a:pt x="1385" y="522"/>
                </a:cubicBezTo>
                <a:cubicBezTo>
                  <a:pt x="1385" y="522"/>
                  <a:pt x="1385" y="522"/>
                  <a:pt x="1385" y="522"/>
                </a:cubicBezTo>
                <a:close/>
                <a:moveTo>
                  <a:pt x="1387" y="526"/>
                </a:moveTo>
                <a:cubicBezTo>
                  <a:pt x="1387" y="527"/>
                  <a:pt x="1388" y="528"/>
                  <a:pt x="1388" y="528"/>
                </a:cubicBezTo>
                <a:cubicBezTo>
                  <a:pt x="1388" y="528"/>
                  <a:pt x="1388" y="528"/>
                  <a:pt x="1388" y="527"/>
                </a:cubicBezTo>
                <a:cubicBezTo>
                  <a:pt x="1388" y="527"/>
                  <a:pt x="1388" y="527"/>
                  <a:pt x="1388" y="527"/>
                </a:cubicBezTo>
                <a:cubicBezTo>
                  <a:pt x="1388" y="527"/>
                  <a:pt x="1388" y="526"/>
                  <a:pt x="1387" y="526"/>
                </a:cubicBezTo>
                <a:cubicBezTo>
                  <a:pt x="1387" y="526"/>
                  <a:pt x="1387" y="526"/>
                  <a:pt x="1387" y="526"/>
                </a:cubicBezTo>
                <a:close/>
                <a:moveTo>
                  <a:pt x="1382" y="517"/>
                </a:moveTo>
                <a:cubicBezTo>
                  <a:pt x="1382" y="517"/>
                  <a:pt x="1382" y="517"/>
                  <a:pt x="1381" y="518"/>
                </a:cubicBezTo>
                <a:cubicBezTo>
                  <a:pt x="1381" y="518"/>
                  <a:pt x="1381" y="518"/>
                  <a:pt x="1381" y="518"/>
                </a:cubicBezTo>
                <a:cubicBezTo>
                  <a:pt x="1381" y="518"/>
                  <a:pt x="1382" y="518"/>
                  <a:pt x="1382" y="519"/>
                </a:cubicBezTo>
                <a:cubicBezTo>
                  <a:pt x="1382" y="519"/>
                  <a:pt x="1382" y="520"/>
                  <a:pt x="1383" y="520"/>
                </a:cubicBezTo>
                <a:cubicBezTo>
                  <a:pt x="1383" y="521"/>
                  <a:pt x="1383" y="521"/>
                  <a:pt x="1384" y="521"/>
                </a:cubicBezTo>
                <a:cubicBezTo>
                  <a:pt x="1384" y="521"/>
                  <a:pt x="1384" y="520"/>
                  <a:pt x="1384" y="520"/>
                </a:cubicBezTo>
                <a:cubicBezTo>
                  <a:pt x="1384" y="519"/>
                  <a:pt x="1384" y="518"/>
                  <a:pt x="1383" y="518"/>
                </a:cubicBezTo>
                <a:cubicBezTo>
                  <a:pt x="1383" y="518"/>
                  <a:pt x="1383" y="517"/>
                  <a:pt x="1382" y="517"/>
                </a:cubicBezTo>
                <a:close/>
                <a:moveTo>
                  <a:pt x="1379" y="504"/>
                </a:moveTo>
                <a:cubicBezTo>
                  <a:pt x="1379" y="504"/>
                  <a:pt x="1378" y="504"/>
                  <a:pt x="1378" y="504"/>
                </a:cubicBezTo>
                <a:cubicBezTo>
                  <a:pt x="1378" y="504"/>
                  <a:pt x="1379" y="504"/>
                  <a:pt x="1379" y="504"/>
                </a:cubicBezTo>
                <a:cubicBezTo>
                  <a:pt x="1379" y="504"/>
                  <a:pt x="1379" y="504"/>
                  <a:pt x="1379" y="504"/>
                </a:cubicBezTo>
                <a:close/>
                <a:moveTo>
                  <a:pt x="1383" y="513"/>
                </a:moveTo>
                <a:cubicBezTo>
                  <a:pt x="1383" y="513"/>
                  <a:pt x="1383" y="513"/>
                  <a:pt x="1384" y="513"/>
                </a:cubicBezTo>
                <a:cubicBezTo>
                  <a:pt x="1384" y="513"/>
                  <a:pt x="1384" y="514"/>
                  <a:pt x="1384" y="514"/>
                </a:cubicBezTo>
                <a:cubicBezTo>
                  <a:pt x="1384" y="513"/>
                  <a:pt x="1384" y="513"/>
                  <a:pt x="1384" y="513"/>
                </a:cubicBezTo>
                <a:cubicBezTo>
                  <a:pt x="1384" y="513"/>
                  <a:pt x="1384" y="513"/>
                  <a:pt x="1383" y="513"/>
                </a:cubicBezTo>
                <a:cubicBezTo>
                  <a:pt x="1383" y="513"/>
                  <a:pt x="1383" y="513"/>
                  <a:pt x="1383" y="513"/>
                </a:cubicBezTo>
                <a:close/>
                <a:moveTo>
                  <a:pt x="1382" y="516"/>
                </a:moveTo>
                <a:cubicBezTo>
                  <a:pt x="1382" y="516"/>
                  <a:pt x="1382" y="515"/>
                  <a:pt x="1382" y="515"/>
                </a:cubicBezTo>
                <a:cubicBezTo>
                  <a:pt x="1382" y="515"/>
                  <a:pt x="1382" y="515"/>
                  <a:pt x="1381" y="515"/>
                </a:cubicBezTo>
                <a:cubicBezTo>
                  <a:pt x="1381" y="515"/>
                  <a:pt x="1381" y="515"/>
                  <a:pt x="1381" y="515"/>
                </a:cubicBezTo>
                <a:cubicBezTo>
                  <a:pt x="1381" y="516"/>
                  <a:pt x="1381" y="516"/>
                  <a:pt x="1381" y="516"/>
                </a:cubicBezTo>
                <a:cubicBezTo>
                  <a:pt x="1381" y="516"/>
                  <a:pt x="1382" y="516"/>
                  <a:pt x="1382" y="516"/>
                </a:cubicBezTo>
                <a:close/>
                <a:moveTo>
                  <a:pt x="1386" y="525"/>
                </a:moveTo>
                <a:cubicBezTo>
                  <a:pt x="1386" y="525"/>
                  <a:pt x="1386" y="525"/>
                  <a:pt x="1386" y="526"/>
                </a:cubicBezTo>
                <a:cubicBezTo>
                  <a:pt x="1387" y="526"/>
                  <a:pt x="1387" y="526"/>
                  <a:pt x="1387" y="525"/>
                </a:cubicBezTo>
                <a:cubicBezTo>
                  <a:pt x="1387" y="525"/>
                  <a:pt x="1387" y="525"/>
                  <a:pt x="1386" y="525"/>
                </a:cubicBezTo>
                <a:close/>
                <a:moveTo>
                  <a:pt x="1516" y="584"/>
                </a:moveTo>
                <a:cubicBezTo>
                  <a:pt x="1516" y="584"/>
                  <a:pt x="1516" y="584"/>
                  <a:pt x="1516" y="584"/>
                </a:cubicBezTo>
                <a:cubicBezTo>
                  <a:pt x="1516" y="584"/>
                  <a:pt x="1516" y="584"/>
                  <a:pt x="1516" y="584"/>
                </a:cubicBezTo>
                <a:cubicBezTo>
                  <a:pt x="1516" y="584"/>
                  <a:pt x="1516" y="584"/>
                  <a:pt x="1516" y="584"/>
                </a:cubicBezTo>
                <a:close/>
                <a:moveTo>
                  <a:pt x="1396" y="534"/>
                </a:moveTo>
                <a:cubicBezTo>
                  <a:pt x="1397" y="534"/>
                  <a:pt x="1397" y="535"/>
                  <a:pt x="1397" y="535"/>
                </a:cubicBezTo>
                <a:cubicBezTo>
                  <a:pt x="1398" y="536"/>
                  <a:pt x="1398" y="536"/>
                  <a:pt x="1399" y="537"/>
                </a:cubicBezTo>
                <a:cubicBezTo>
                  <a:pt x="1399" y="537"/>
                  <a:pt x="1399" y="537"/>
                  <a:pt x="1399" y="538"/>
                </a:cubicBezTo>
                <a:cubicBezTo>
                  <a:pt x="1400" y="538"/>
                  <a:pt x="1400" y="538"/>
                  <a:pt x="1400" y="538"/>
                </a:cubicBezTo>
                <a:cubicBezTo>
                  <a:pt x="1401" y="539"/>
                  <a:pt x="1402" y="540"/>
                  <a:pt x="1403" y="541"/>
                </a:cubicBezTo>
                <a:cubicBezTo>
                  <a:pt x="1403" y="541"/>
                  <a:pt x="1403" y="541"/>
                  <a:pt x="1403" y="542"/>
                </a:cubicBezTo>
                <a:cubicBezTo>
                  <a:pt x="1403" y="542"/>
                  <a:pt x="1403" y="542"/>
                  <a:pt x="1403" y="542"/>
                </a:cubicBezTo>
                <a:cubicBezTo>
                  <a:pt x="1403" y="542"/>
                  <a:pt x="1403" y="543"/>
                  <a:pt x="1403" y="543"/>
                </a:cubicBezTo>
                <a:cubicBezTo>
                  <a:pt x="1404" y="543"/>
                  <a:pt x="1404" y="543"/>
                  <a:pt x="1404" y="543"/>
                </a:cubicBezTo>
                <a:cubicBezTo>
                  <a:pt x="1404" y="543"/>
                  <a:pt x="1404" y="542"/>
                  <a:pt x="1404" y="542"/>
                </a:cubicBezTo>
                <a:cubicBezTo>
                  <a:pt x="1404" y="542"/>
                  <a:pt x="1404" y="542"/>
                  <a:pt x="1404" y="542"/>
                </a:cubicBezTo>
                <a:cubicBezTo>
                  <a:pt x="1404" y="542"/>
                  <a:pt x="1404" y="541"/>
                  <a:pt x="1404" y="541"/>
                </a:cubicBezTo>
                <a:cubicBezTo>
                  <a:pt x="1404" y="541"/>
                  <a:pt x="1405" y="542"/>
                  <a:pt x="1405" y="542"/>
                </a:cubicBezTo>
                <a:cubicBezTo>
                  <a:pt x="1405" y="542"/>
                  <a:pt x="1406" y="543"/>
                  <a:pt x="1406" y="543"/>
                </a:cubicBezTo>
                <a:cubicBezTo>
                  <a:pt x="1406" y="543"/>
                  <a:pt x="1407" y="543"/>
                  <a:pt x="1407" y="543"/>
                </a:cubicBezTo>
                <a:cubicBezTo>
                  <a:pt x="1407" y="543"/>
                  <a:pt x="1407" y="543"/>
                  <a:pt x="1407" y="542"/>
                </a:cubicBezTo>
                <a:cubicBezTo>
                  <a:pt x="1407" y="542"/>
                  <a:pt x="1407" y="542"/>
                  <a:pt x="1408" y="542"/>
                </a:cubicBezTo>
                <a:cubicBezTo>
                  <a:pt x="1408" y="542"/>
                  <a:pt x="1408" y="542"/>
                  <a:pt x="1408" y="542"/>
                </a:cubicBezTo>
                <a:cubicBezTo>
                  <a:pt x="1408" y="543"/>
                  <a:pt x="1409" y="543"/>
                  <a:pt x="1409" y="544"/>
                </a:cubicBezTo>
                <a:cubicBezTo>
                  <a:pt x="1409" y="544"/>
                  <a:pt x="1409" y="544"/>
                  <a:pt x="1409" y="544"/>
                </a:cubicBezTo>
                <a:cubicBezTo>
                  <a:pt x="1410" y="544"/>
                  <a:pt x="1410" y="544"/>
                  <a:pt x="1410" y="544"/>
                </a:cubicBezTo>
                <a:cubicBezTo>
                  <a:pt x="1410" y="543"/>
                  <a:pt x="1410" y="543"/>
                  <a:pt x="1410" y="542"/>
                </a:cubicBezTo>
                <a:cubicBezTo>
                  <a:pt x="1411" y="542"/>
                  <a:pt x="1411" y="541"/>
                  <a:pt x="1412" y="540"/>
                </a:cubicBezTo>
                <a:cubicBezTo>
                  <a:pt x="1412" y="540"/>
                  <a:pt x="1411" y="539"/>
                  <a:pt x="1411" y="539"/>
                </a:cubicBezTo>
                <a:cubicBezTo>
                  <a:pt x="1412" y="539"/>
                  <a:pt x="1412" y="538"/>
                  <a:pt x="1413" y="538"/>
                </a:cubicBezTo>
                <a:cubicBezTo>
                  <a:pt x="1413" y="538"/>
                  <a:pt x="1413" y="537"/>
                  <a:pt x="1412" y="537"/>
                </a:cubicBezTo>
                <a:cubicBezTo>
                  <a:pt x="1413" y="537"/>
                  <a:pt x="1413" y="536"/>
                  <a:pt x="1413" y="536"/>
                </a:cubicBezTo>
                <a:cubicBezTo>
                  <a:pt x="1413" y="536"/>
                  <a:pt x="1414" y="536"/>
                  <a:pt x="1414" y="536"/>
                </a:cubicBezTo>
                <a:cubicBezTo>
                  <a:pt x="1414" y="536"/>
                  <a:pt x="1414" y="536"/>
                  <a:pt x="1414" y="536"/>
                </a:cubicBezTo>
                <a:cubicBezTo>
                  <a:pt x="1414" y="535"/>
                  <a:pt x="1414" y="535"/>
                  <a:pt x="1414" y="535"/>
                </a:cubicBezTo>
                <a:cubicBezTo>
                  <a:pt x="1414" y="535"/>
                  <a:pt x="1414" y="535"/>
                  <a:pt x="1414" y="534"/>
                </a:cubicBezTo>
                <a:cubicBezTo>
                  <a:pt x="1414" y="534"/>
                  <a:pt x="1413" y="534"/>
                  <a:pt x="1413" y="534"/>
                </a:cubicBezTo>
                <a:cubicBezTo>
                  <a:pt x="1413" y="533"/>
                  <a:pt x="1413" y="533"/>
                  <a:pt x="1413" y="533"/>
                </a:cubicBezTo>
                <a:cubicBezTo>
                  <a:pt x="1413" y="533"/>
                  <a:pt x="1413" y="532"/>
                  <a:pt x="1413" y="532"/>
                </a:cubicBezTo>
                <a:cubicBezTo>
                  <a:pt x="1413" y="532"/>
                  <a:pt x="1412" y="532"/>
                  <a:pt x="1412" y="532"/>
                </a:cubicBezTo>
                <a:cubicBezTo>
                  <a:pt x="1412" y="531"/>
                  <a:pt x="1412" y="531"/>
                  <a:pt x="1412" y="531"/>
                </a:cubicBezTo>
                <a:cubicBezTo>
                  <a:pt x="1411" y="531"/>
                  <a:pt x="1411" y="531"/>
                  <a:pt x="1410" y="531"/>
                </a:cubicBezTo>
                <a:cubicBezTo>
                  <a:pt x="1410" y="531"/>
                  <a:pt x="1410" y="531"/>
                  <a:pt x="1409" y="530"/>
                </a:cubicBezTo>
                <a:cubicBezTo>
                  <a:pt x="1409" y="530"/>
                  <a:pt x="1410" y="530"/>
                  <a:pt x="1410" y="529"/>
                </a:cubicBezTo>
                <a:cubicBezTo>
                  <a:pt x="1409" y="529"/>
                  <a:pt x="1409" y="529"/>
                  <a:pt x="1409" y="528"/>
                </a:cubicBezTo>
                <a:cubicBezTo>
                  <a:pt x="1409" y="529"/>
                  <a:pt x="1409" y="529"/>
                  <a:pt x="1408" y="529"/>
                </a:cubicBezTo>
                <a:cubicBezTo>
                  <a:pt x="1409" y="528"/>
                  <a:pt x="1409" y="528"/>
                  <a:pt x="1409" y="528"/>
                </a:cubicBezTo>
                <a:cubicBezTo>
                  <a:pt x="1409" y="528"/>
                  <a:pt x="1409" y="527"/>
                  <a:pt x="1409" y="527"/>
                </a:cubicBezTo>
                <a:cubicBezTo>
                  <a:pt x="1409" y="527"/>
                  <a:pt x="1409" y="526"/>
                  <a:pt x="1409" y="525"/>
                </a:cubicBezTo>
                <a:cubicBezTo>
                  <a:pt x="1409" y="525"/>
                  <a:pt x="1409" y="525"/>
                  <a:pt x="1408" y="525"/>
                </a:cubicBezTo>
                <a:cubicBezTo>
                  <a:pt x="1408" y="525"/>
                  <a:pt x="1408" y="525"/>
                  <a:pt x="1408" y="525"/>
                </a:cubicBezTo>
                <a:cubicBezTo>
                  <a:pt x="1407" y="525"/>
                  <a:pt x="1407" y="525"/>
                  <a:pt x="1406" y="524"/>
                </a:cubicBezTo>
                <a:cubicBezTo>
                  <a:pt x="1406" y="524"/>
                  <a:pt x="1405" y="523"/>
                  <a:pt x="1405" y="523"/>
                </a:cubicBezTo>
                <a:cubicBezTo>
                  <a:pt x="1405" y="523"/>
                  <a:pt x="1405" y="523"/>
                  <a:pt x="1405" y="522"/>
                </a:cubicBezTo>
                <a:cubicBezTo>
                  <a:pt x="1405" y="522"/>
                  <a:pt x="1406" y="522"/>
                  <a:pt x="1406" y="522"/>
                </a:cubicBezTo>
                <a:cubicBezTo>
                  <a:pt x="1406" y="522"/>
                  <a:pt x="1407" y="522"/>
                  <a:pt x="1407" y="522"/>
                </a:cubicBezTo>
                <a:cubicBezTo>
                  <a:pt x="1407" y="522"/>
                  <a:pt x="1407" y="522"/>
                  <a:pt x="1407" y="522"/>
                </a:cubicBezTo>
                <a:cubicBezTo>
                  <a:pt x="1406" y="522"/>
                  <a:pt x="1406" y="522"/>
                  <a:pt x="1406" y="522"/>
                </a:cubicBezTo>
                <a:cubicBezTo>
                  <a:pt x="1405" y="522"/>
                  <a:pt x="1405" y="521"/>
                  <a:pt x="1405" y="521"/>
                </a:cubicBezTo>
                <a:cubicBezTo>
                  <a:pt x="1405" y="521"/>
                  <a:pt x="1404" y="521"/>
                  <a:pt x="1404" y="521"/>
                </a:cubicBezTo>
                <a:cubicBezTo>
                  <a:pt x="1404" y="521"/>
                  <a:pt x="1405" y="521"/>
                  <a:pt x="1405" y="521"/>
                </a:cubicBezTo>
                <a:cubicBezTo>
                  <a:pt x="1405" y="521"/>
                  <a:pt x="1406" y="521"/>
                  <a:pt x="1406" y="521"/>
                </a:cubicBezTo>
                <a:cubicBezTo>
                  <a:pt x="1407" y="521"/>
                  <a:pt x="1407" y="521"/>
                  <a:pt x="1408" y="521"/>
                </a:cubicBezTo>
                <a:cubicBezTo>
                  <a:pt x="1408" y="521"/>
                  <a:pt x="1408" y="520"/>
                  <a:pt x="1408" y="520"/>
                </a:cubicBezTo>
                <a:cubicBezTo>
                  <a:pt x="1407" y="520"/>
                  <a:pt x="1407" y="519"/>
                  <a:pt x="1406" y="518"/>
                </a:cubicBezTo>
                <a:cubicBezTo>
                  <a:pt x="1406" y="518"/>
                  <a:pt x="1406" y="518"/>
                  <a:pt x="1406" y="518"/>
                </a:cubicBezTo>
                <a:cubicBezTo>
                  <a:pt x="1405" y="518"/>
                  <a:pt x="1405" y="518"/>
                  <a:pt x="1404" y="518"/>
                </a:cubicBezTo>
                <a:cubicBezTo>
                  <a:pt x="1404" y="518"/>
                  <a:pt x="1404" y="519"/>
                  <a:pt x="1403" y="519"/>
                </a:cubicBezTo>
                <a:cubicBezTo>
                  <a:pt x="1403" y="518"/>
                  <a:pt x="1402" y="518"/>
                  <a:pt x="1402" y="518"/>
                </a:cubicBezTo>
                <a:cubicBezTo>
                  <a:pt x="1402" y="518"/>
                  <a:pt x="1403" y="518"/>
                  <a:pt x="1403" y="518"/>
                </a:cubicBezTo>
                <a:cubicBezTo>
                  <a:pt x="1403" y="518"/>
                  <a:pt x="1403" y="518"/>
                  <a:pt x="1403" y="518"/>
                </a:cubicBezTo>
                <a:cubicBezTo>
                  <a:pt x="1403" y="518"/>
                  <a:pt x="1404" y="518"/>
                  <a:pt x="1404" y="518"/>
                </a:cubicBezTo>
                <a:cubicBezTo>
                  <a:pt x="1404" y="518"/>
                  <a:pt x="1404" y="518"/>
                  <a:pt x="1404" y="518"/>
                </a:cubicBezTo>
                <a:cubicBezTo>
                  <a:pt x="1404" y="518"/>
                  <a:pt x="1404" y="518"/>
                  <a:pt x="1404" y="517"/>
                </a:cubicBezTo>
                <a:cubicBezTo>
                  <a:pt x="1404" y="517"/>
                  <a:pt x="1404" y="517"/>
                  <a:pt x="1403" y="517"/>
                </a:cubicBezTo>
                <a:cubicBezTo>
                  <a:pt x="1403" y="517"/>
                  <a:pt x="1402" y="516"/>
                  <a:pt x="1402" y="516"/>
                </a:cubicBezTo>
                <a:cubicBezTo>
                  <a:pt x="1401" y="516"/>
                  <a:pt x="1401" y="516"/>
                  <a:pt x="1401" y="515"/>
                </a:cubicBezTo>
                <a:cubicBezTo>
                  <a:pt x="1401" y="515"/>
                  <a:pt x="1401" y="515"/>
                  <a:pt x="1401" y="515"/>
                </a:cubicBezTo>
                <a:cubicBezTo>
                  <a:pt x="1401" y="514"/>
                  <a:pt x="1401" y="514"/>
                  <a:pt x="1401" y="514"/>
                </a:cubicBezTo>
                <a:cubicBezTo>
                  <a:pt x="1401" y="513"/>
                  <a:pt x="1400" y="512"/>
                  <a:pt x="1400" y="512"/>
                </a:cubicBezTo>
                <a:cubicBezTo>
                  <a:pt x="1399" y="512"/>
                  <a:pt x="1399" y="512"/>
                  <a:pt x="1399" y="511"/>
                </a:cubicBezTo>
                <a:cubicBezTo>
                  <a:pt x="1399" y="511"/>
                  <a:pt x="1399" y="511"/>
                  <a:pt x="1398" y="511"/>
                </a:cubicBezTo>
                <a:cubicBezTo>
                  <a:pt x="1398" y="511"/>
                  <a:pt x="1398" y="511"/>
                  <a:pt x="1398" y="511"/>
                </a:cubicBezTo>
                <a:cubicBezTo>
                  <a:pt x="1398" y="510"/>
                  <a:pt x="1398" y="510"/>
                  <a:pt x="1398" y="509"/>
                </a:cubicBezTo>
                <a:cubicBezTo>
                  <a:pt x="1398" y="509"/>
                  <a:pt x="1397" y="508"/>
                  <a:pt x="1397" y="508"/>
                </a:cubicBezTo>
                <a:cubicBezTo>
                  <a:pt x="1396" y="508"/>
                  <a:pt x="1396" y="507"/>
                  <a:pt x="1395" y="507"/>
                </a:cubicBezTo>
                <a:cubicBezTo>
                  <a:pt x="1395" y="507"/>
                  <a:pt x="1395" y="506"/>
                  <a:pt x="1394" y="506"/>
                </a:cubicBezTo>
                <a:cubicBezTo>
                  <a:pt x="1394" y="506"/>
                  <a:pt x="1394" y="506"/>
                  <a:pt x="1394" y="507"/>
                </a:cubicBezTo>
                <a:cubicBezTo>
                  <a:pt x="1394" y="506"/>
                  <a:pt x="1394" y="506"/>
                  <a:pt x="1393" y="506"/>
                </a:cubicBezTo>
                <a:cubicBezTo>
                  <a:pt x="1393" y="506"/>
                  <a:pt x="1393" y="505"/>
                  <a:pt x="1393" y="505"/>
                </a:cubicBezTo>
                <a:cubicBezTo>
                  <a:pt x="1393" y="505"/>
                  <a:pt x="1393" y="505"/>
                  <a:pt x="1393" y="505"/>
                </a:cubicBezTo>
                <a:cubicBezTo>
                  <a:pt x="1393" y="505"/>
                  <a:pt x="1392" y="505"/>
                  <a:pt x="1392" y="505"/>
                </a:cubicBezTo>
                <a:cubicBezTo>
                  <a:pt x="1392" y="504"/>
                  <a:pt x="1392" y="504"/>
                  <a:pt x="1393" y="504"/>
                </a:cubicBezTo>
                <a:cubicBezTo>
                  <a:pt x="1392" y="503"/>
                  <a:pt x="1392" y="503"/>
                  <a:pt x="1392" y="503"/>
                </a:cubicBezTo>
                <a:cubicBezTo>
                  <a:pt x="1392" y="502"/>
                  <a:pt x="1391" y="502"/>
                  <a:pt x="1391" y="502"/>
                </a:cubicBezTo>
                <a:cubicBezTo>
                  <a:pt x="1391" y="502"/>
                  <a:pt x="1391" y="502"/>
                  <a:pt x="1391" y="502"/>
                </a:cubicBezTo>
                <a:cubicBezTo>
                  <a:pt x="1390" y="501"/>
                  <a:pt x="1389" y="500"/>
                  <a:pt x="1388" y="499"/>
                </a:cubicBezTo>
                <a:cubicBezTo>
                  <a:pt x="1388" y="499"/>
                  <a:pt x="1388" y="499"/>
                  <a:pt x="1388" y="499"/>
                </a:cubicBezTo>
                <a:cubicBezTo>
                  <a:pt x="1387" y="499"/>
                  <a:pt x="1387" y="498"/>
                  <a:pt x="1387" y="498"/>
                </a:cubicBezTo>
                <a:cubicBezTo>
                  <a:pt x="1386" y="498"/>
                  <a:pt x="1386" y="498"/>
                  <a:pt x="1386" y="497"/>
                </a:cubicBezTo>
                <a:cubicBezTo>
                  <a:pt x="1386" y="497"/>
                  <a:pt x="1386" y="497"/>
                  <a:pt x="1385" y="497"/>
                </a:cubicBezTo>
                <a:cubicBezTo>
                  <a:pt x="1385" y="496"/>
                  <a:pt x="1386" y="496"/>
                  <a:pt x="1386" y="496"/>
                </a:cubicBezTo>
                <a:cubicBezTo>
                  <a:pt x="1385" y="495"/>
                  <a:pt x="1385" y="495"/>
                  <a:pt x="1385" y="495"/>
                </a:cubicBezTo>
                <a:cubicBezTo>
                  <a:pt x="1385" y="495"/>
                  <a:pt x="1385" y="494"/>
                  <a:pt x="1384" y="494"/>
                </a:cubicBezTo>
                <a:cubicBezTo>
                  <a:pt x="1384" y="494"/>
                  <a:pt x="1384" y="494"/>
                  <a:pt x="1384" y="494"/>
                </a:cubicBezTo>
                <a:cubicBezTo>
                  <a:pt x="1384" y="493"/>
                  <a:pt x="1384" y="493"/>
                  <a:pt x="1384" y="493"/>
                </a:cubicBezTo>
                <a:cubicBezTo>
                  <a:pt x="1383" y="492"/>
                  <a:pt x="1383" y="492"/>
                  <a:pt x="1383" y="492"/>
                </a:cubicBezTo>
                <a:cubicBezTo>
                  <a:pt x="1382" y="492"/>
                  <a:pt x="1382" y="492"/>
                  <a:pt x="1382" y="492"/>
                </a:cubicBezTo>
                <a:cubicBezTo>
                  <a:pt x="1381" y="492"/>
                  <a:pt x="1381" y="492"/>
                  <a:pt x="1381" y="492"/>
                </a:cubicBezTo>
                <a:cubicBezTo>
                  <a:pt x="1381" y="492"/>
                  <a:pt x="1381" y="491"/>
                  <a:pt x="1380" y="491"/>
                </a:cubicBezTo>
                <a:cubicBezTo>
                  <a:pt x="1380" y="491"/>
                  <a:pt x="1380" y="491"/>
                  <a:pt x="1379" y="491"/>
                </a:cubicBezTo>
                <a:cubicBezTo>
                  <a:pt x="1379" y="491"/>
                  <a:pt x="1378" y="491"/>
                  <a:pt x="1378" y="491"/>
                </a:cubicBezTo>
                <a:cubicBezTo>
                  <a:pt x="1378" y="491"/>
                  <a:pt x="1377" y="491"/>
                  <a:pt x="1377" y="490"/>
                </a:cubicBezTo>
                <a:cubicBezTo>
                  <a:pt x="1377" y="490"/>
                  <a:pt x="1376" y="489"/>
                  <a:pt x="1375" y="489"/>
                </a:cubicBezTo>
                <a:cubicBezTo>
                  <a:pt x="1375" y="488"/>
                  <a:pt x="1374" y="488"/>
                  <a:pt x="1373" y="488"/>
                </a:cubicBezTo>
                <a:cubicBezTo>
                  <a:pt x="1373" y="488"/>
                  <a:pt x="1373" y="488"/>
                  <a:pt x="1373" y="488"/>
                </a:cubicBezTo>
                <a:cubicBezTo>
                  <a:pt x="1373" y="488"/>
                  <a:pt x="1372" y="488"/>
                  <a:pt x="1372" y="488"/>
                </a:cubicBezTo>
                <a:cubicBezTo>
                  <a:pt x="1372" y="489"/>
                  <a:pt x="1372" y="489"/>
                  <a:pt x="1372" y="489"/>
                </a:cubicBezTo>
                <a:cubicBezTo>
                  <a:pt x="1373" y="490"/>
                  <a:pt x="1373" y="491"/>
                  <a:pt x="1373" y="492"/>
                </a:cubicBezTo>
                <a:cubicBezTo>
                  <a:pt x="1373" y="492"/>
                  <a:pt x="1373" y="492"/>
                  <a:pt x="1374" y="492"/>
                </a:cubicBezTo>
                <a:cubicBezTo>
                  <a:pt x="1374" y="493"/>
                  <a:pt x="1375" y="494"/>
                  <a:pt x="1375" y="494"/>
                </a:cubicBezTo>
                <a:cubicBezTo>
                  <a:pt x="1375" y="494"/>
                  <a:pt x="1376" y="495"/>
                  <a:pt x="1376" y="495"/>
                </a:cubicBezTo>
                <a:cubicBezTo>
                  <a:pt x="1376" y="495"/>
                  <a:pt x="1376" y="496"/>
                  <a:pt x="1377" y="496"/>
                </a:cubicBezTo>
                <a:cubicBezTo>
                  <a:pt x="1377" y="496"/>
                  <a:pt x="1377" y="496"/>
                  <a:pt x="1377" y="496"/>
                </a:cubicBezTo>
                <a:cubicBezTo>
                  <a:pt x="1378" y="496"/>
                  <a:pt x="1378" y="496"/>
                  <a:pt x="1378" y="496"/>
                </a:cubicBezTo>
                <a:cubicBezTo>
                  <a:pt x="1378" y="497"/>
                  <a:pt x="1379" y="497"/>
                  <a:pt x="1379" y="498"/>
                </a:cubicBezTo>
                <a:cubicBezTo>
                  <a:pt x="1380" y="499"/>
                  <a:pt x="1380" y="500"/>
                  <a:pt x="1380" y="500"/>
                </a:cubicBezTo>
                <a:cubicBezTo>
                  <a:pt x="1381" y="501"/>
                  <a:pt x="1381" y="501"/>
                  <a:pt x="1382" y="502"/>
                </a:cubicBezTo>
                <a:cubicBezTo>
                  <a:pt x="1382" y="502"/>
                  <a:pt x="1382" y="502"/>
                  <a:pt x="1382" y="502"/>
                </a:cubicBezTo>
                <a:cubicBezTo>
                  <a:pt x="1382" y="502"/>
                  <a:pt x="1382" y="503"/>
                  <a:pt x="1382" y="503"/>
                </a:cubicBezTo>
                <a:cubicBezTo>
                  <a:pt x="1382" y="503"/>
                  <a:pt x="1382" y="503"/>
                  <a:pt x="1382" y="503"/>
                </a:cubicBezTo>
                <a:cubicBezTo>
                  <a:pt x="1382" y="504"/>
                  <a:pt x="1382" y="504"/>
                  <a:pt x="1382" y="504"/>
                </a:cubicBezTo>
                <a:cubicBezTo>
                  <a:pt x="1382" y="505"/>
                  <a:pt x="1382" y="505"/>
                  <a:pt x="1383" y="505"/>
                </a:cubicBezTo>
                <a:cubicBezTo>
                  <a:pt x="1383" y="505"/>
                  <a:pt x="1383" y="505"/>
                  <a:pt x="1384" y="505"/>
                </a:cubicBezTo>
                <a:cubicBezTo>
                  <a:pt x="1384" y="506"/>
                  <a:pt x="1384" y="506"/>
                  <a:pt x="1385" y="507"/>
                </a:cubicBezTo>
                <a:cubicBezTo>
                  <a:pt x="1385" y="507"/>
                  <a:pt x="1385" y="507"/>
                  <a:pt x="1385" y="507"/>
                </a:cubicBezTo>
                <a:cubicBezTo>
                  <a:pt x="1385" y="507"/>
                  <a:pt x="1385" y="507"/>
                  <a:pt x="1386" y="507"/>
                </a:cubicBezTo>
                <a:cubicBezTo>
                  <a:pt x="1386" y="507"/>
                  <a:pt x="1386" y="508"/>
                  <a:pt x="1386" y="508"/>
                </a:cubicBezTo>
                <a:cubicBezTo>
                  <a:pt x="1386" y="508"/>
                  <a:pt x="1385" y="508"/>
                  <a:pt x="1385" y="508"/>
                </a:cubicBezTo>
                <a:cubicBezTo>
                  <a:pt x="1385" y="508"/>
                  <a:pt x="1386" y="509"/>
                  <a:pt x="1386" y="509"/>
                </a:cubicBezTo>
                <a:cubicBezTo>
                  <a:pt x="1386" y="509"/>
                  <a:pt x="1386" y="510"/>
                  <a:pt x="1386" y="510"/>
                </a:cubicBezTo>
                <a:cubicBezTo>
                  <a:pt x="1386" y="510"/>
                  <a:pt x="1386" y="510"/>
                  <a:pt x="1386" y="510"/>
                </a:cubicBezTo>
                <a:cubicBezTo>
                  <a:pt x="1386" y="511"/>
                  <a:pt x="1386" y="512"/>
                  <a:pt x="1386" y="512"/>
                </a:cubicBezTo>
                <a:cubicBezTo>
                  <a:pt x="1386" y="513"/>
                  <a:pt x="1386" y="513"/>
                  <a:pt x="1386" y="513"/>
                </a:cubicBezTo>
                <a:cubicBezTo>
                  <a:pt x="1387" y="514"/>
                  <a:pt x="1387" y="514"/>
                  <a:pt x="1387" y="514"/>
                </a:cubicBezTo>
                <a:cubicBezTo>
                  <a:pt x="1388" y="514"/>
                  <a:pt x="1388" y="515"/>
                  <a:pt x="1389" y="515"/>
                </a:cubicBezTo>
                <a:cubicBezTo>
                  <a:pt x="1388" y="515"/>
                  <a:pt x="1388" y="516"/>
                  <a:pt x="1388" y="516"/>
                </a:cubicBezTo>
                <a:cubicBezTo>
                  <a:pt x="1389" y="516"/>
                  <a:pt x="1389" y="517"/>
                  <a:pt x="1389" y="518"/>
                </a:cubicBezTo>
                <a:cubicBezTo>
                  <a:pt x="1389" y="518"/>
                  <a:pt x="1390" y="518"/>
                  <a:pt x="1390" y="519"/>
                </a:cubicBezTo>
                <a:cubicBezTo>
                  <a:pt x="1390" y="519"/>
                  <a:pt x="1390" y="520"/>
                  <a:pt x="1390" y="520"/>
                </a:cubicBezTo>
                <a:cubicBezTo>
                  <a:pt x="1390" y="521"/>
                  <a:pt x="1390" y="522"/>
                  <a:pt x="1391" y="523"/>
                </a:cubicBezTo>
                <a:cubicBezTo>
                  <a:pt x="1390" y="524"/>
                  <a:pt x="1390" y="524"/>
                  <a:pt x="1390" y="524"/>
                </a:cubicBezTo>
                <a:cubicBezTo>
                  <a:pt x="1390" y="525"/>
                  <a:pt x="1390" y="525"/>
                  <a:pt x="1390" y="525"/>
                </a:cubicBezTo>
                <a:cubicBezTo>
                  <a:pt x="1391" y="526"/>
                  <a:pt x="1391" y="526"/>
                  <a:pt x="1392" y="527"/>
                </a:cubicBezTo>
                <a:cubicBezTo>
                  <a:pt x="1392" y="527"/>
                  <a:pt x="1393" y="528"/>
                  <a:pt x="1393" y="529"/>
                </a:cubicBezTo>
                <a:cubicBezTo>
                  <a:pt x="1393" y="529"/>
                  <a:pt x="1393" y="529"/>
                  <a:pt x="1393" y="530"/>
                </a:cubicBezTo>
                <a:cubicBezTo>
                  <a:pt x="1394" y="530"/>
                  <a:pt x="1394" y="530"/>
                  <a:pt x="1394" y="530"/>
                </a:cubicBezTo>
                <a:cubicBezTo>
                  <a:pt x="1394" y="531"/>
                  <a:pt x="1395" y="531"/>
                  <a:pt x="1395" y="531"/>
                </a:cubicBezTo>
                <a:cubicBezTo>
                  <a:pt x="1395" y="531"/>
                  <a:pt x="1395" y="532"/>
                  <a:pt x="1396" y="532"/>
                </a:cubicBezTo>
                <a:cubicBezTo>
                  <a:pt x="1396" y="532"/>
                  <a:pt x="1396" y="533"/>
                  <a:pt x="1395" y="533"/>
                </a:cubicBezTo>
                <a:cubicBezTo>
                  <a:pt x="1396" y="533"/>
                  <a:pt x="1396" y="533"/>
                  <a:pt x="1396" y="534"/>
                </a:cubicBezTo>
                <a:close/>
                <a:moveTo>
                  <a:pt x="1519" y="584"/>
                </a:moveTo>
                <a:cubicBezTo>
                  <a:pt x="1519" y="584"/>
                  <a:pt x="1519" y="584"/>
                  <a:pt x="1520" y="584"/>
                </a:cubicBezTo>
                <a:cubicBezTo>
                  <a:pt x="1519" y="584"/>
                  <a:pt x="1519" y="584"/>
                  <a:pt x="1519" y="583"/>
                </a:cubicBezTo>
                <a:cubicBezTo>
                  <a:pt x="1519" y="584"/>
                  <a:pt x="1519" y="584"/>
                  <a:pt x="1519" y="584"/>
                </a:cubicBezTo>
                <a:close/>
                <a:moveTo>
                  <a:pt x="1515" y="588"/>
                </a:moveTo>
                <a:cubicBezTo>
                  <a:pt x="1515" y="588"/>
                  <a:pt x="1515" y="589"/>
                  <a:pt x="1515" y="589"/>
                </a:cubicBezTo>
                <a:cubicBezTo>
                  <a:pt x="1515" y="589"/>
                  <a:pt x="1515" y="589"/>
                  <a:pt x="1515" y="589"/>
                </a:cubicBezTo>
                <a:cubicBezTo>
                  <a:pt x="1515" y="589"/>
                  <a:pt x="1516" y="589"/>
                  <a:pt x="1516" y="589"/>
                </a:cubicBezTo>
                <a:cubicBezTo>
                  <a:pt x="1516" y="589"/>
                  <a:pt x="1516" y="589"/>
                  <a:pt x="1516" y="589"/>
                </a:cubicBezTo>
                <a:cubicBezTo>
                  <a:pt x="1516" y="589"/>
                  <a:pt x="1515" y="588"/>
                  <a:pt x="1515" y="588"/>
                </a:cubicBezTo>
                <a:cubicBezTo>
                  <a:pt x="1515" y="588"/>
                  <a:pt x="1515" y="588"/>
                  <a:pt x="1515" y="588"/>
                </a:cubicBezTo>
                <a:close/>
                <a:moveTo>
                  <a:pt x="1406" y="546"/>
                </a:moveTo>
                <a:cubicBezTo>
                  <a:pt x="1406" y="546"/>
                  <a:pt x="1406" y="546"/>
                  <a:pt x="1406" y="546"/>
                </a:cubicBezTo>
                <a:cubicBezTo>
                  <a:pt x="1406" y="546"/>
                  <a:pt x="1406" y="546"/>
                  <a:pt x="1406" y="547"/>
                </a:cubicBezTo>
                <a:cubicBezTo>
                  <a:pt x="1406" y="547"/>
                  <a:pt x="1406" y="547"/>
                  <a:pt x="1406" y="547"/>
                </a:cubicBezTo>
                <a:cubicBezTo>
                  <a:pt x="1406" y="546"/>
                  <a:pt x="1406" y="546"/>
                  <a:pt x="1406" y="546"/>
                </a:cubicBezTo>
                <a:close/>
                <a:moveTo>
                  <a:pt x="1515" y="590"/>
                </a:moveTo>
                <a:cubicBezTo>
                  <a:pt x="1515" y="590"/>
                  <a:pt x="1516" y="590"/>
                  <a:pt x="1516" y="590"/>
                </a:cubicBezTo>
                <a:cubicBezTo>
                  <a:pt x="1515" y="590"/>
                  <a:pt x="1515" y="590"/>
                  <a:pt x="1515" y="590"/>
                </a:cubicBezTo>
                <a:cubicBezTo>
                  <a:pt x="1515" y="590"/>
                  <a:pt x="1515" y="590"/>
                  <a:pt x="1515" y="590"/>
                </a:cubicBezTo>
                <a:close/>
                <a:moveTo>
                  <a:pt x="1425" y="553"/>
                </a:moveTo>
                <a:cubicBezTo>
                  <a:pt x="1424" y="553"/>
                  <a:pt x="1423" y="553"/>
                  <a:pt x="1422" y="552"/>
                </a:cubicBezTo>
                <a:cubicBezTo>
                  <a:pt x="1422" y="552"/>
                  <a:pt x="1421" y="552"/>
                  <a:pt x="1421" y="551"/>
                </a:cubicBezTo>
                <a:cubicBezTo>
                  <a:pt x="1421" y="551"/>
                  <a:pt x="1421" y="551"/>
                  <a:pt x="1421" y="551"/>
                </a:cubicBezTo>
                <a:cubicBezTo>
                  <a:pt x="1421" y="551"/>
                  <a:pt x="1421" y="551"/>
                  <a:pt x="1421" y="550"/>
                </a:cubicBezTo>
                <a:cubicBezTo>
                  <a:pt x="1421" y="550"/>
                  <a:pt x="1421" y="550"/>
                  <a:pt x="1421" y="549"/>
                </a:cubicBezTo>
                <a:cubicBezTo>
                  <a:pt x="1420" y="549"/>
                  <a:pt x="1420" y="549"/>
                  <a:pt x="1419" y="549"/>
                </a:cubicBezTo>
                <a:cubicBezTo>
                  <a:pt x="1418" y="548"/>
                  <a:pt x="1418" y="548"/>
                  <a:pt x="1417" y="548"/>
                </a:cubicBezTo>
                <a:cubicBezTo>
                  <a:pt x="1417" y="548"/>
                  <a:pt x="1417" y="547"/>
                  <a:pt x="1417" y="547"/>
                </a:cubicBezTo>
                <a:cubicBezTo>
                  <a:pt x="1416" y="547"/>
                  <a:pt x="1416" y="547"/>
                  <a:pt x="1415" y="547"/>
                </a:cubicBezTo>
                <a:cubicBezTo>
                  <a:pt x="1415" y="547"/>
                  <a:pt x="1415" y="547"/>
                  <a:pt x="1415" y="547"/>
                </a:cubicBezTo>
                <a:cubicBezTo>
                  <a:pt x="1415" y="547"/>
                  <a:pt x="1414" y="547"/>
                  <a:pt x="1414" y="547"/>
                </a:cubicBezTo>
                <a:cubicBezTo>
                  <a:pt x="1414" y="547"/>
                  <a:pt x="1414" y="546"/>
                  <a:pt x="1414" y="546"/>
                </a:cubicBezTo>
                <a:cubicBezTo>
                  <a:pt x="1413" y="546"/>
                  <a:pt x="1413" y="546"/>
                  <a:pt x="1412" y="546"/>
                </a:cubicBezTo>
                <a:cubicBezTo>
                  <a:pt x="1412" y="546"/>
                  <a:pt x="1412" y="545"/>
                  <a:pt x="1411" y="545"/>
                </a:cubicBezTo>
                <a:cubicBezTo>
                  <a:pt x="1411" y="545"/>
                  <a:pt x="1411" y="545"/>
                  <a:pt x="1411" y="545"/>
                </a:cubicBezTo>
                <a:cubicBezTo>
                  <a:pt x="1411" y="545"/>
                  <a:pt x="1410" y="545"/>
                  <a:pt x="1410" y="545"/>
                </a:cubicBezTo>
                <a:cubicBezTo>
                  <a:pt x="1410" y="546"/>
                  <a:pt x="1410" y="546"/>
                  <a:pt x="1410" y="546"/>
                </a:cubicBezTo>
                <a:cubicBezTo>
                  <a:pt x="1409" y="546"/>
                  <a:pt x="1409" y="547"/>
                  <a:pt x="1409" y="547"/>
                </a:cubicBezTo>
                <a:cubicBezTo>
                  <a:pt x="1409" y="547"/>
                  <a:pt x="1408" y="547"/>
                  <a:pt x="1408" y="547"/>
                </a:cubicBezTo>
                <a:cubicBezTo>
                  <a:pt x="1408" y="547"/>
                  <a:pt x="1408" y="547"/>
                  <a:pt x="1408" y="547"/>
                </a:cubicBezTo>
                <a:cubicBezTo>
                  <a:pt x="1407" y="547"/>
                  <a:pt x="1407" y="547"/>
                  <a:pt x="1407" y="547"/>
                </a:cubicBezTo>
                <a:cubicBezTo>
                  <a:pt x="1407" y="547"/>
                  <a:pt x="1407" y="547"/>
                  <a:pt x="1407" y="547"/>
                </a:cubicBezTo>
                <a:cubicBezTo>
                  <a:pt x="1406" y="547"/>
                  <a:pt x="1406" y="547"/>
                  <a:pt x="1406" y="547"/>
                </a:cubicBezTo>
                <a:cubicBezTo>
                  <a:pt x="1406" y="547"/>
                  <a:pt x="1406" y="547"/>
                  <a:pt x="1406" y="547"/>
                </a:cubicBezTo>
                <a:cubicBezTo>
                  <a:pt x="1406" y="547"/>
                  <a:pt x="1406" y="548"/>
                  <a:pt x="1407" y="548"/>
                </a:cubicBezTo>
                <a:cubicBezTo>
                  <a:pt x="1407" y="548"/>
                  <a:pt x="1408" y="548"/>
                  <a:pt x="1408" y="548"/>
                </a:cubicBezTo>
                <a:cubicBezTo>
                  <a:pt x="1409" y="548"/>
                  <a:pt x="1409" y="548"/>
                  <a:pt x="1410" y="548"/>
                </a:cubicBezTo>
                <a:cubicBezTo>
                  <a:pt x="1410" y="548"/>
                  <a:pt x="1410" y="549"/>
                  <a:pt x="1410" y="549"/>
                </a:cubicBezTo>
                <a:cubicBezTo>
                  <a:pt x="1410" y="549"/>
                  <a:pt x="1410" y="549"/>
                  <a:pt x="1410" y="549"/>
                </a:cubicBezTo>
                <a:cubicBezTo>
                  <a:pt x="1410" y="549"/>
                  <a:pt x="1411" y="549"/>
                  <a:pt x="1411" y="549"/>
                </a:cubicBezTo>
                <a:cubicBezTo>
                  <a:pt x="1411" y="549"/>
                  <a:pt x="1411" y="550"/>
                  <a:pt x="1412" y="550"/>
                </a:cubicBezTo>
                <a:cubicBezTo>
                  <a:pt x="1411" y="550"/>
                  <a:pt x="1411" y="550"/>
                  <a:pt x="1411" y="550"/>
                </a:cubicBezTo>
                <a:cubicBezTo>
                  <a:pt x="1411" y="550"/>
                  <a:pt x="1410" y="550"/>
                  <a:pt x="1410" y="550"/>
                </a:cubicBezTo>
                <a:cubicBezTo>
                  <a:pt x="1410" y="551"/>
                  <a:pt x="1410" y="551"/>
                  <a:pt x="1410" y="551"/>
                </a:cubicBezTo>
                <a:cubicBezTo>
                  <a:pt x="1411" y="551"/>
                  <a:pt x="1411" y="551"/>
                  <a:pt x="1412" y="551"/>
                </a:cubicBezTo>
                <a:cubicBezTo>
                  <a:pt x="1412" y="552"/>
                  <a:pt x="1412" y="552"/>
                  <a:pt x="1413" y="552"/>
                </a:cubicBezTo>
                <a:cubicBezTo>
                  <a:pt x="1413" y="552"/>
                  <a:pt x="1413" y="552"/>
                  <a:pt x="1414" y="552"/>
                </a:cubicBezTo>
                <a:cubicBezTo>
                  <a:pt x="1414" y="552"/>
                  <a:pt x="1414" y="552"/>
                  <a:pt x="1414" y="552"/>
                </a:cubicBezTo>
                <a:cubicBezTo>
                  <a:pt x="1415" y="553"/>
                  <a:pt x="1415" y="553"/>
                  <a:pt x="1415" y="553"/>
                </a:cubicBezTo>
                <a:cubicBezTo>
                  <a:pt x="1416" y="553"/>
                  <a:pt x="1416" y="554"/>
                  <a:pt x="1417" y="554"/>
                </a:cubicBezTo>
                <a:cubicBezTo>
                  <a:pt x="1417" y="554"/>
                  <a:pt x="1418" y="555"/>
                  <a:pt x="1418" y="555"/>
                </a:cubicBezTo>
                <a:cubicBezTo>
                  <a:pt x="1419" y="555"/>
                  <a:pt x="1419" y="555"/>
                  <a:pt x="1420" y="555"/>
                </a:cubicBezTo>
                <a:cubicBezTo>
                  <a:pt x="1420" y="555"/>
                  <a:pt x="1420" y="555"/>
                  <a:pt x="1420" y="555"/>
                </a:cubicBezTo>
                <a:cubicBezTo>
                  <a:pt x="1420" y="555"/>
                  <a:pt x="1421" y="555"/>
                  <a:pt x="1421" y="556"/>
                </a:cubicBezTo>
                <a:cubicBezTo>
                  <a:pt x="1421" y="556"/>
                  <a:pt x="1421" y="556"/>
                  <a:pt x="1421" y="556"/>
                </a:cubicBezTo>
                <a:cubicBezTo>
                  <a:pt x="1422" y="556"/>
                  <a:pt x="1422" y="556"/>
                  <a:pt x="1422" y="556"/>
                </a:cubicBezTo>
                <a:cubicBezTo>
                  <a:pt x="1422" y="556"/>
                  <a:pt x="1423" y="556"/>
                  <a:pt x="1423" y="556"/>
                </a:cubicBezTo>
                <a:cubicBezTo>
                  <a:pt x="1423" y="556"/>
                  <a:pt x="1423" y="557"/>
                  <a:pt x="1424" y="557"/>
                </a:cubicBezTo>
                <a:cubicBezTo>
                  <a:pt x="1424" y="557"/>
                  <a:pt x="1425" y="557"/>
                  <a:pt x="1425" y="557"/>
                </a:cubicBezTo>
                <a:cubicBezTo>
                  <a:pt x="1426" y="558"/>
                  <a:pt x="1426" y="558"/>
                  <a:pt x="1427" y="559"/>
                </a:cubicBezTo>
                <a:cubicBezTo>
                  <a:pt x="1428" y="559"/>
                  <a:pt x="1428" y="560"/>
                  <a:pt x="1429" y="560"/>
                </a:cubicBezTo>
                <a:cubicBezTo>
                  <a:pt x="1430" y="560"/>
                  <a:pt x="1430" y="560"/>
                  <a:pt x="1430" y="560"/>
                </a:cubicBezTo>
                <a:cubicBezTo>
                  <a:pt x="1431" y="561"/>
                  <a:pt x="1431" y="561"/>
                  <a:pt x="1432" y="561"/>
                </a:cubicBezTo>
                <a:cubicBezTo>
                  <a:pt x="1432" y="561"/>
                  <a:pt x="1432" y="562"/>
                  <a:pt x="1433" y="562"/>
                </a:cubicBezTo>
                <a:cubicBezTo>
                  <a:pt x="1433" y="562"/>
                  <a:pt x="1434" y="562"/>
                  <a:pt x="1434" y="562"/>
                </a:cubicBezTo>
                <a:cubicBezTo>
                  <a:pt x="1434" y="562"/>
                  <a:pt x="1435" y="562"/>
                  <a:pt x="1435" y="562"/>
                </a:cubicBezTo>
                <a:cubicBezTo>
                  <a:pt x="1436" y="563"/>
                  <a:pt x="1436" y="563"/>
                  <a:pt x="1436" y="563"/>
                </a:cubicBezTo>
                <a:cubicBezTo>
                  <a:pt x="1437" y="563"/>
                  <a:pt x="1437" y="563"/>
                  <a:pt x="1438" y="563"/>
                </a:cubicBezTo>
                <a:cubicBezTo>
                  <a:pt x="1438" y="563"/>
                  <a:pt x="1439" y="563"/>
                  <a:pt x="1439" y="563"/>
                </a:cubicBezTo>
                <a:cubicBezTo>
                  <a:pt x="1439" y="563"/>
                  <a:pt x="1440" y="564"/>
                  <a:pt x="1440" y="564"/>
                </a:cubicBezTo>
                <a:cubicBezTo>
                  <a:pt x="1440" y="564"/>
                  <a:pt x="1440" y="564"/>
                  <a:pt x="1440" y="565"/>
                </a:cubicBezTo>
                <a:cubicBezTo>
                  <a:pt x="1441" y="565"/>
                  <a:pt x="1441" y="565"/>
                  <a:pt x="1441" y="565"/>
                </a:cubicBezTo>
                <a:cubicBezTo>
                  <a:pt x="1442" y="565"/>
                  <a:pt x="1442" y="566"/>
                  <a:pt x="1442" y="566"/>
                </a:cubicBezTo>
                <a:cubicBezTo>
                  <a:pt x="1443" y="566"/>
                  <a:pt x="1443" y="566"/>
                  <a:pt x="1443" y="566"/>
                </a:cubicBezTo>
                <a:cubicBezTo>
                  <a:pt x="1443" y="567"/>
                  <a:pt x="1444" y="567"/>
                  <a:pt x="1444" y="567"/>
                </a:cubicBezTo>
                <a:cubicBezTo>
                  <a:pt x="1444" y="567"/>
                  <a:pt x="1444" y="567"/>
                  <a:pt x="1444" y="567"/>
                </a:cubicBezTo>
                <a:cubicBezTo>
                  <a:pt x="1444" y="567"/>
                  <a:pt x="1444" y="567"/>
                  <a:pt x="1444" y="566"/>
                </a:cubicBezTo>
                <a:cubicBezTo>
                  <a:pt x="1444" y="566"/>
                  <a:pt x="1444" y="566"/>
                  <a:pt x="1444" y="566"/>
                </a:cubicBezTo>
                <a:cubicBezTo>
                  <a:pt x="1444" y="566"/>
                  <a:pt x="1444" y="566"/>
                  <a:pt x="1445" y="565"/>
                </a:cubicBezTo>
                <a:cubicBezTo>
                  <a:pt x="1445" y="565"/>
                  <a:pt x="1445" y="564"/>
                  <a:pt x="1445" y="564"/>
                </a:cubicBezTo>
                <a:cubicBezTo>
                  <a:pt x="1445" y="564"/>
                  <a:pt x="1445" y="564"/>
                  <a:pt x="1445" y="563"/>
                </a:cubicBezTo>
                <a:cubicBezTo>
                  <a:pt x="1445" y="563"/>
                  <a:pt x="1445" y="563"/>
                  <a:pt x="1444" y="563"/>
                </a:cubicBezTo>
                <a:cubicBezTo>
                  <a:pt x="1444" y="563"/>
                  <a:pt x="1444" y="563"/>
                  <a:pt x="1444" y="563"/>
                </a:cubicBezTo>
                <a:cubicBezTo>
                  <a:pt x="1444" y="563"/>
                  <a:pt x="1444" y="563"/>
                  <a:pt x="1443" y="563"/>
                </a:cubicBezTo>
                <a:cubicBezTo>
                  <a:pt x="1443" y="563"/>
                  <a:pt x="1443" y="563"/>
                  <a:pt x="1443" y="563"/>
                </a:cubicBezTo>
                <a:cubicBezTo>
                  <a:pt x="1442" y="563"/>
                  <a:pt x="1442" y="562"/>
                  <a:pt x="1442" y="562"/>
                </a:cubicBezTo>
                <a:cubicBezTo>
                  <a:pt x="1442" y="562"/>
                  <a:pt x="1442" y="562"/>
                  <a:pt x="1441" y="562"/>
                </a:cubicBezTo>
                <a:cubicBezTo>
                  <a:pt x="1441" y="562"/>
                  <a:pt x="1441" y="562"/>
                  <a:pt x="1440" y="562"/>
                </a:cubicBezTo>
                <a:cubicBezTo>
                  <a:pt x="1440" y="562"/>
                  <a:pt x="1440" y="561"/>
                  <a:pt x="1439" y="561"/>
                </a:cubicBezTo>
                <a:cubicBezTo>
                  <a:pt x="1439" y="561"/>
                  <a:pt x="1439" y="561"/>
                  <a:pt x="1439" y="560"/>
                </a:cubicBezTo>
                <a:cubicBezTo>
                  <a:pt x="1439" y="560"/>
                  <a:pt x="1439" y="560"/>
                  <a:pt x="1439" y="560"/>
                </a:cubicBezTo>
                <a:cubicBezTo>
                  <a:pt x="1439" y="559"/>
                  <a:pt x="1439" y="559"/>
                  <a:pt x="1439" y="559"/>
                </a:cubicBezTo>
                <a:cubicBezTo>
                  <a:pt x="1439" y="558"/>
                  <a:pt x="1439" y="558"/>
                  <a:pt x="1439" y="558"/>
                </a:cubicBezTo>
                <a:cubicBezTo>
                  <a:pt x="1438" y="558"/>
                  <a:pt x="1438" y="557"/>
                  <a:pt x="1438" y="557"/>
                </a:cubicBezTo>
                <a:cubicBezTo>
                  <a:pt x="1437" y="557"/>
                  <a:pt x="1437" y="557"/>
                  <a:pt x="1437" y="557"/>
                </a:cubicBezTo>
                <a:cubicBezTo>
                  <a:pt x="1437" y="557"/>
                  <a:pt x="1437" y="557"/>
                  <a:pt x="1436" y="557"/>
                </a:cubicBezTo>
                <a:cubicBezTo>
                  <a:pt x="1436" y="556"/>
                  <a:pt x="1436" y="556"/>
                  <a:pt x="1436" y="556"/>
                </a:cubicBezTo>
                <a:cubicBezTo>
                  <a:pt x="1435" y="556"/>
                  <a:pt x="1435" y="556"/>
                  <a:pt x="1435" y="555"/>
                </a:cubicBezTo>
                <a:cubicBezTo>
                  <a:pt x="1435" y="555"/>
                  <a:pt x="1435" y="555"/>
                  <a:pt x="1434" y="555"/>
                </a:cubicBezTo>
                <a:cubicBezTo>
                  <a:pt x="1434" y="555"/>
                  <a:pt x="1434" y="555"/>
                  <a:pt x="1434" y="555"/>
                </a:cubicBezTo>
                <a:cubicBezTo>
                  <a:pt x="1433" y="555"/>
                  <a:pt x="1433" y="555"/>
                  <a:pt x="1433" y="555"/>
                </a:cubicBezTo>
                <a:cubicBezTo>
                  <a:pt x="1433" y="554"/>
                  <a:pt x="1432" y="554"/>
                  <a:pt x="1432" y="553"/>
                </a:cubicBezTo>
                <a:cubicBezTo>
                  <a:pt x="1432" y="553"/>
                  <a:pt x="1431" y="553"/>
                  <a:pt x="1431" y="553"/>
                </a:cubicBezTo>
                <a:cubicBezTo>
                  <a:pt x="1431" y="553"/>
                  <a:pt x="1431" y="554"/>
                  <a:pt x="1430" y="554"/>
                </a:cubicBezTo>
                <a:cubicBezTo>
                  <a:pt x="1430" y="554"/>
                  <a:pt x="1430" y="555"/>
                  <a:pt x="1430" y="555"/>
                </a:cubicBezTo>
                <a:cubicBezTo>
                  <a:pt x="1429" y="555"/>
                  <a:pt x="1428" y="554"/>
                  <a:pt x="1427" y="554"/>
                </a:cubicBezTo>
                <a:cubicBezTo>
                  <a:pt x="1427" y="554"/>
                  <a:pt x="1426" y="554"/>
                  <a:pt x="1425" y="553"/>
                </a:cubicBezTo>
                <a:close/>
                <a:moveTo>
                  <a:pt x="1411" y="517"/>
                </a:moveTo>
                <a:cubicBezTo>
                  <a:pt x="1411" y="518"/>
                  <a:pt x="1412" y="518"/>
                  <a:pt x="1412" y="518"/>
                </a:cubicBezTo>
                <a:cubicBezTo>
                  <a:pt x="1412" y="518"/>
                  <a:pt x="1412" y="519"/>
                  <a:pt x="1412" y="519"/>
                </a:cubicBezTo>
                <a:cubicBezTo>
                  <a:pt x="1412" y="519"/>
                  <a:pt x="1412" y="519"/>
                  <a:pt x="1413" y="519"/>
                </a:cubicBezTo>
                <a:cubicBezTo>
                  <a:pt x="1413" y="519"/>
                  <a:pt x="1413" y="518"/>
                  <a:pt x="1413" y="518"/>
                </a:cubicBezTo>
                <a:cubicBezTo>
                  <a:pt x="1413" y="518"/>
                  <a:pt x="1413" y="518"/>
                  <a:pt x="1413" y="517"/>
                </a:cubicBezTo>
                <a:cubicBezTo>
                  <a:pt x="1413" y="517"/>
                  <a:pt x="1413" y="517"/>
                  <a:pt x="1413" y="517"/>
                </a:cubicBezTo>
                <a:cubicBezTo>
                  <a:pt x="1413" y="517"/>
                  <a:pt x="1413" y="517"/>
                  <a:pt x="1413" y="517"/>
                </a:cubicBezTo>
                <a:cubicBezTo>
                  <a:pt x="1413" y="517"/>
                  <a:pt x="1413" y="517"/>
                  <a:pt x="1412" y="517"/>
                </a:cubicBezTo>
                <a:cubicBezTo>
                  <a:pt x="1412" y="517"/>
                  <a:pt x="1412" y="517"/>
                  <a:pt x="1412" y="517"/>
                </a:cubicBezTo>
                <a:cubicBezTo>
                  <a:pt x="1411" y="517"/>
                  <a:pt x="1411" y="517"/>
                  <a:pt x="1411" y="517"/>
                </a:cubicBezTo>
                <a:close/>
                <a:moveTo>
                  <a:pt x="1411" y="523"/>
                </a:moveTo>
                <a:cubicBezTo>
                  <a:pt x="1411" y="523"/>
                  <a:pt x="1411" y="523"/>
                  <a:pt x="1412" y="523"/>
                </a:cubicBezTo>
                <a:cubicBezTo>
                  <a:pt x="1412" y="523"/>
                  <a:pt x="1412" y="524"/>
                  <a:pt x="1413" y="524"/>
                </a:cubicBezTo>
                <a:cubicBezTo>
                  <a:pt x="1413" y="524"/>
                  <a:pt x="1413" y="524"/>
                  <a:pt x="1413" y="524"/>
                </a:cubicBezTo>
                <a:cubicBezTo>
                  <a:pt x="1413" y="523"/>
                  <a:pt x="1412" y="523"/>
                  <a:pt x="1412" y="522"/>
                </a:cubicBezTo>
                <a:cubicBezTo>
                  <a:pt x="1412" y="522"/>
                  <a:pt x="1411" y="522"/>
                  <a:pt x="1411" y="522"/>
                </a:cubicBezTo>
                <a:cubicBezTo>
                  <a:pt x="1411" y="522"/>
                  <a:pt x="1411" y="522"/>
                  <a:pt x="1410" y="522"/>
                </a:cubicBezTo>
                <a:cubicBezTo>
                  <a:pt x="1411" y="523"/>
                  <a:pt x="1411" y="523"/>
                  <a:pt x="1411" y="523"/>
                </a:cubicBezTo>
                <a:close/>
                <a:moveTo>
                  <a:pt x="1409" y="517"/>
                </a:moveTo>
                <a:cubicBezTo>
                  <a:pt x="1409" y="517"/>
                  <a:pt x="1410" y="517"/>
                  <a:pt x="1410" y="517"/>
                </a:cubicBezTo>
                <a:cubicBezTo>
                  <a:pt x="1410" y="517"/>
                  <a:pt x="1410" y="517"/>
                  <a:pt x="1411" y="517"/>
                </a:cubicBezTo>
                <a:cubicBezTo>
                  <a:pt x="1411" y="517"/>
                  <a:pt x="1411" y="516"/>
                  <a:pt x="1411" y="516"/>
                </a:cubicBezTo>
                <a:cubicBezTo>
                  <a:pt x="1410" y="516"/>
                  <a:pt x="1410" y="517"/>
                  <a:pt x="1409" y="517"/>
                </a:cubicBezTo>
                <a:close/>
                <a:moveTo>
                  <a:pt x="1410" y="523"/>
                </a:moveTo>
                <a:cubicBezTo>
                  <a:pt x="1410" y="523"/>
                  <a:pt x="1410" y="523"/>
                  <a:pt x="1409" y="524"/>
                </a:cubicBezTo>
                <a:cubicBezTo>
                  <a:pt x="1410" y="524"/>
                  <a:pt x="1410" y="524"/>
                  <a:pt x="1410" y="524"/>
                </a:cubicBezTo>
                <a:cubicBezTo>
                  <a:pt x="1410" y="524"/>
                  <a:pt x="1411" y="524"/>
                  <a:pt x="1411" y="524"/>
                </a:cubicBezTo>
                <a:cubicBezTo>
                  <a:pt x="1411" y="524"/>
                  <a:pt x="1411" y="524"/>
                  <a:pt x="1411" y="523"/>
                </a:cubicBezTo>
                <a:cubicBezTo>
                  <a:pt x="1410" y="523"/>
                  <a:pt x="1410" y="523"/>
                  <a:pt x="1410" y="523"/>
                </a:cubicBezTo>
                <a:close/>
                <a:moveTo>
                  <a:pt x="1515" y="571"/>
                </a:moveTo>
                <a:cubicBezTo>
                  <a:pt x="1514" y="571"/>
                  <a:pt x="1514" y="571"/>
                  <a:pt x="1513" y="571"/>
                </a:cubicBezTo>
                <a:cubicBezTo>
                  <a:pt x="1514" y="571"/>
                  <a:pt x="1514" y="571"/>
                  <a:pt x="1514" y="572"/>
                </a:cubicBezTo>
                <a:cubicBezTo>
                  <a:pt x="1514" y="572"/>
                  <a:pt x="1514" y="571"/>
                  <a:pt x="1515" y="571"/>
                </a:cubicBezTo>
                <a:cubicBezTo>
                  <a:pt x="1515" y="572"/>
                  <a:pt x="1515" y="572"/>
                  <a:pt x="1515" y="572"/>
                </a:cubicBezTo>
                <a:cubicBezTo>
                  <a:pt x="1515" y="572"/>
                  <a:pt x="1515" y="572"/>
                  <a:pt x="1515" y="571"/>
                </a:cubicBezTo>
                <a:cubicBezTo>
                  <a:pt x="1515" y="571"/>
                  <a:pt x="1515" y="571"/>
                  <a:pt x="1515" y="571"/>
                </a:cubicBezTo>
                <a:cubicBezTo>
                  <a:pt x="1515" y="571"/>
                  <a:pt x="1515" y="571"/>
                  <a:pt x="1515" y="571"/>
                </a:cubicBezTo>
                <a:close/>
                <a:moveTo>
                  <a:pt x="1400" y="511"/>
                </a:moveTo>
                <a:cubicBezTo>
                  <a:pt x="1400" y="510"/>
                  <a:pt x="1400" y="510"/>
                  <a:pt x="1400" y="510"/>
                </a:cubicBezTo>
                <a:cubicBezTo>
                  <a:pt x="1400" y="510"/>
                  <a:pt x="1399" y="510"/>
                  <a:pt x="1399" y="510"/>
                </a:cubicBezTo>
                <a:cubicBezTo>
                  <a:pt x="1399" y="510"/>
                  <a:pt x="1399" y="510"/>
                  <a:pt x="1398" y="510"/>
                </a:cubicBezTo>
                <a:cubicBezTo>
                  <a:pt x="1398" y="510"/>
                  <a:pt x="1398" y="511"/>
                  <a:pt x="1399" y="511"/>
                </a:cubicBezTo>
                <a:cubicBezTo>
                  <a:pt x="1399" y="511"/>
                  <a:pt x="1399" y="511"/>
                  <a:pt x="1399" y="511"/>
                </a:cubicBezTo>
                <a:cubicBezTo>
                  <a:pt x="1400" y="511"/>
                  <a:pt x="1400" y="511"/>
                  <a:pt x="1400" y="511"/>
                </a:cubicBezTo>
                <a:close/>
                <a:moveTo>
                  <a:pt x="1422" y="513"/>
                </a:moveTo>
                <a:cubicBezTo>
                  <a:pt x="1422" y="513"/>
                  <a:pt x="1423" y="513"/>
                  <a:pt x="1423" y="513"/>
                </a:cubicBezTo>
                <a:cubicBezTo>
                  <a:pt x="1423" y="513"/>
                  <a:pt x="1422" y="513"/>
                  <a:pt x="1422" y="513"/>
                </a:cubicBezTo>
                <a:cubicBezTo>
                  <a:pt x="1422" y="513"/>
                  <a:pt x="1422" y="513"/>
                  <a:pt x="1422" y="513"/>
                </a:cubicBezTo>
                <a:close/>
                <a:moveTo>
                  <a:pt x="1402" y="513"/>
                </a:moveTo>
                <a:cubicBezTo>
                  <a:pt x="1401" y="513"/>
                  <a:pt x="1401" y="513"/>
                  <a:pt x="1401" y="513"/>
                </a:cubicBezTo>
                <a:cubicBezTo>
                  <a:pt x="1401" y="513"/>
                  <a:pt x="1402" y="514"/>
                  <a:pt x="1402" y="514"/>
                </a:cubicBezTo>
                <a:cubicBezTo>
                  <a:pt x="1402" y="514"/>
                  <a:pt x="1402" y="515"/>
                  <a:pt x="1402" y="515"/>
                </a:cubicBezTo>
                <a:cubicBezTo>
                  <a:pt x="1402" y="514"/>
                  <a:pt x="1403" y="514"/>
                  <a:pt x="1403" y="514"/>
                </a:cubicBezTo>
                <a:cubicBezTo>
                  <a:pt x="1403" y="514"/>
                  <a:pt x="1403" y="514"/>
                  <a:pt x="1403" y="513"/>
                </a:cubicBezTo>
                <a:cubicBezTo>
                  <a:pt x="1402" y="513"/>
                  <a:pt x="1402" y="513"/>
                  <a:pt x="1402" y="513"/>
                </a:cubicBezTo>
                <a:close/>
                <a:moveTo>
                  <a:pt x="1373" y="499"/>
                </a:moveTo>
                <a:cubicBezTo>
                  <a:pt x="1372" y="499"/>
                  <a:pt x="1372" y="499"/>
                  <a:pt x="1372" y="499"/>
                </a:cubicBezTo>
                <a:cubicBezTo>
                  <a:pt x="1372" y="499"/>
                  <a:pt x="1372" y="499"/>
                  <a:pt x="1372" y="499"/>
                </a:cubicBezTo>
                <a:cubicBezTo>
                  <a:pt x="1372" y="500"/>
                  <a:pt x="1372" y="500"/>
                  <a:pt x="1372" y="500"/>
                </a:cubicBezTo>
                <a:cubicBezTo>
                  <a:pt x="1373" y="500"/>
                  <a:pt x="1373" y="500"/>
                  <a:pt x="1374" y="500"/>
                </a:cubicBezTo>
                <a:cubicBezTo>
                  <a:pt x="1373" y="500"/>
                  <a:pt x="1373" y="500"/>
                  <a:pt x="1373" y="499"/>
                </a:cubicBezTo>
                <a:cubicBezTo>
                  <a:pt x="1373" y="499"/>
                  <a:pt x="1373" y="499"/>
                  <a:pt x="1373" y="499"/>
                </a:cubicBezTo>
                <a:close/>
                <a:moveTo>
                  <a:pt x="1404" y="516"/>
                </a:moveTo>
                <a:cubicBezTo>
                  <a:pt x="1404" y="517"/>
                  <a:pt x="1405" y="517"/>
                  <a:pt x="1405" y="517"/>
                </a:cubicBezTo>
                <a:cubicBezTo>
                  <a:pt x="1405" y="517"/>
                  <a:pt x="1405" y="517"/>
                  <a:pt x="1405" y="517"/>
                </a:cubicBezTo>
                <a:cubicBezTo>
                  <a:pt x="1405" y="517"/>
                  <a:pt x="1405" y="516"/>
                  <a:pt x="1405" y="516"/>
                </a:cubicBezTo>
                <a:cubicBezTo>
                  <a:pt x="1405" y="516"/>
                  <a:pt x="1405" y="515"/>
                  <a:pt x="1404" y="515"/>
                </a:cubicBezTo>
                <a:cubicBezTo>
                  <a:pt x="1404" y="515"/>
                  <a:pt x="1404" y="515"/>
                  <a:pt x="1403" y="514"/>
                </a:cubicBezTo>
                <a:cubicBezTo>
                  <a:pt x="1403" y="515"/>
                  <a:pt x="1403" y="515"/>
                  <a:pt x="1402" y="515"/>
                </a:cubicBezTo>
                <a:cubicBezTo>
                  <a:pt x="1402" y="515"/>
                  <a:pt x="1402" y="516"/>
                  <a:pt x="1402" y="516"/>
                </a:cubicBezTo>
                <a:cubicBezTo>
                  <a:pt x="1403" y="516"/>
                  <a:pt x="1403" y="516"/>
                  <a:pt x="1404" y="516"/>
                </a:cubicBezTo>
                <a:close/>
                <a:moveTo>
                  <a:pt x="1432" y="511"/>
                </a:moveTo>
                <a:cubicBezTo>
                  <a:pt x="1432" y="511"/>
                  <a:pt x="1432" y="511"/>
                  <a:pt x="1432" y="511"/>
                </a:cubicBezTo>
                <a:cubicBezTo>
                  <a:pt x="1432" y="511"/>
                  <a:pt x="1432" y="512"/>
                  <a:pt x="1432" y="512"/>
                </a:cubicBezTo>
                <a:cubicBezTo>
                  <a:pt x="1432" y="512"/>
                  <a:pt x="1433" y="512"/>
                  <a:pt x="1433" y="512"/>
                </a:cubicBezTo>
                <a:cubicBezTo>
                  <a:pt x="1433" y="512"/>
                  <a:pt x="1433" y="512"/>
                  <a:pt x="1432" y="512"/>
                </a:cubicBezTo>
                <a:cubicBezTo>
                  <a:pt x="1433" y="513"/>
                  <a:pt x="1433" y="513"/>
                  <a:pt x="1433" y="513"/>
                </a:cubicBezTo>
                <a:cubicBezTo>
                  <a:pt x="1433" y="512"/>
                  <a:pt x="1434" y="512"/>
                  <a:pt x="1434" y="512"/>
                </a:cubicBezTo>
                <a:cubicBezTo>
                  <a:pt x="1434" y="511"/>
                  <a:pt x="1433" y="511"/>
                  <a:pt x="1433" y="510"/>
                </a:cubicBezTo>
                <a:cubicBezTo>
                  <a:pt x="1433" y="510"/>
                  <a:pt x="1433" y="510"/>
                  <a:pt x="1432" y="511"/>
                </a:cubicBezTo>
                <a:close/>
                <a:moveTo>
                  <a:pt x="1421" y="536"/>
                </a:moveTo>
                <a:cubicBezTo>
                  <a:pt x="1420" y="536"/>
                  <a:pt x="1420" y="536"/>
                  <a:pt x="1420" y="536"/>
                </a:cubicBezTo>
                <a:cubicBezTo>
                  <a:pt x="1420" y="536"/>
                  <a:pt x="1421" y="536"/>
                  <a:pt x="1421" y="536"/>
                </a:cubicBezTo>
                <a:cubicBezTo>
                  <a:pt x="1421" y="536"/>
                  <a:pt x="1421" y="536"/>
                  <a:pt x="1421" y="536"/>
                </a:cubicBezTo>
                <a:cubicBezTo>
                  <a:pt x="1421" y="536"/>
                  <a:pt x="1421" y="536"/>
                  <a:pt x="1422" y="536"/>
                </a:cubicBezTo>
                <a:cubicBezTo>
                  <a:pt x="1422" y="537"/>
                  <a:pt x="1421" y="537"/>
                  <a:pt x="1421" y="537"/>
                </a:cubicBezTo>
                <a:cubicBezTo>
                  <a:pt x="1421" y="537"/>
                  <a:pt x="1422" y="538"/>
                  <a:pt x="1422" y="538"/>
                </a:cubicBezTo>
                <a:cubicBezTo>
                  <a:pt x="1422" y="538"/>
                  <a:pt x="1423" y="538"/>
                  <a:pt x="1423" y="537"/>
                </a:cubicBezTo>
                <a:cubicBezTo>
                  <a:pt x="1423" y="538"/>
                  <a:pt x="1423" y="538"/>
                  <a:pt x="1423" y="538"/>
                </a:cubicBezTo>
                <a:cubicBezTo>
                  <a:pt x="1423" y="538"/>
                  <a:pt x="1424" y="538"/>
                  <a:pt x="1424" y="538"/>
                </a:cubicBezTo>
                <a:cubicBezTo>
                  <a:pt x="1424" y="538"/>
                  <a:pt x="1424" y="538"/>
                  <a:pt x="1424" y="538"/>
                </a:cubicBezTo>
                <a:cubicBezTo>
                  <a:pt x="1425" y="538"/>
                  <a:pt x="1425" y="538"/>
                  <a:pt x="1425" y="538"/>
                </a:cubicBezTo>
                <a:cubicBezTo>
                  <a:pt x="1425" y="538"/>
                  <a:pt x="1425" y="537"/>
                  <a:pt x="1425" y="537"/>
                </a:cubicBezTo>
                <a:cubicBezTo>
                  <a:pt x="1424" y="537"/>
                  <a:pt x="1424" y="536"/>
                  <a:pt x="1424" y="536"/>
                </a:cubicBezTo>
                <a:cubicBezTo>
                  <a:pt x="1423" y="536"/>
                  <a:pt x="1423" y="535"/>
                  <a:pt x="1422" y="535"/>
                </a:cubicBezTo>
                <a:cubicBezTo>
                  <a:pt x="1422" y="535"/>
                  <a:pt x="1422" y="535"/>
                  <a:pt x="1422" y="535"/>
                </a:cubicBezTo>
                <a:cubicBezTo>
                  <a:pt x="1422" y="535"/>
                  <a:pt x="1422" y="536"/>
                  <a:pt x="1422" y="536"/>
                </a:cubicBezTo>
                <a:cubicBezTo>
                  <a:pt x="1422" y="536"/>
                  <a:pt x="1422" y="536"/>
                  <a:pt x="1422" y="536"/>
                </a:cubicBezTo>
                <a:cubicBezTo>
                  <a:pt x="1421" y="536"/>
                  <a:pt x="1421" y="536"/>
                  <a:pt x="1421" y="536"/>
                </a:cubicBezTo>
                <a:close/>
                <a:moveTo>
                  <a:pt x="1418" y="536"/>
                </a:moveTo>
                <a:cubicBezTo>
                  <a:pt x="1418" y="536"/>
                  <a:pt x="1418" y="536"/>
                  <a:pt x="1419" y="536"/>
                </a:cubicBezTo>
                <a:cubicBezTo>
                  <a:pt x="1418" y="536"/>
                  <a:pt x="1418" y="536"/>
                  <a:pt x="1418" y="535"/>
                </a:cubicBezTo>
                <a:cubicBezTo>
                  <a:pt x="1418" y="536"/>
                  <a:pt x="1418" y="536"/>
                  <a:pt x="1418" y="536"/>
                </a:cubicBezTo>
                <a:close/>
                <a:moveTo>
                  <a:pt x="1420" y="511"/>
                </a:moveTo>
                <a:cubicBezTo>
                  <a:pt x="1420" y="512"/>
                  <a:pt x="1419" y="512"/>
                  <a:pt x="1419" y="512"/>
                </a:cubicBezTo>
                <a:cubicBezTo>
                  <a:pt x="1420" y="512"/>
                  <a:pt x="1420" y="512"/>
                  <a:pt x="1420" y="512"/>
                </a:cubicBezTo>
                <a:cubicBezTo>
                  <a:pt x="1420" y="512"/>
                  <a:pt x="1421" y="512"/>
                  <a:pt x="1421" y="512"/>
                </a:cubicBezTo>
                <a:cubicBezTo>
                  <a:pt x="1421" y="512"/>
                  <a:pt x="1420" y="512"/>
                  <a:pt x="1420" y="511"/>
                </a:cubicBezTo>
                <a:cubicBezTo>
                  <a:pt x="1420" y="511"/>
                  <a:pt x="1420" y="511"/>
                  <a:pt x="1420" y="511"/>
                </a:cubicBezTo>
                <a:close/>
                <a:moveTo>
                  <a:pt x="1413" y="529"/>
                </a:moveTo>
                <a:cubicBezTo>
                  <a:pt x="1413" y="529"/>
                  <a:pt x="1413" y="529"/>
                  <a:pt x="1413" y="529"/>
                </a:cubicBezTo>
                <a:cubicBezTo>
                  <a:pt x="1413" y="529"/>
                  <a:pt x="1413" y="529"/>
                  <a:pt x="1413" y="530"/>
                </a:cubicBezTo>
                <a:cubicBezTo>
                  <a:pt x="1412" y="530"/>
                  <a:pt x="1412" y="530"/>
                  <a:pt x="1412" y="530"/>
                </a:cubicBezTo>
                <a:cubicBezTo>
                  <a:pt x="1412" y="530"/>
                  <a:pt x="1412" y="530"/>
                  <a:pt x="1412" y="530"/>
                </a:cubicBezTo>
                <a:cubicBezTo>
                  <a:pt x="1413" y="531"/>
                  <a:pt x="1413" y="531"/>
                  <a:pt x="1414" y="531"/>
                </a:cubicBezTo>
                <a:cubicBezTo>
                  <a:pt x="1414" y="531"/>
                  <a:pt x="1414" y="531"/>
                  <a:pt x="1414" y="532"/>
                </a:cubicBezTo>
                <a:cubicBezTo>
                  <a:pt x="1414" y="532"/>
                  <a:pt x="1414" y="532"/>
                  <a:pt x="1414" y="532"/>
                </a:cubicBezTo>
                <a:cubicBezTo>
                  <a:pt x="1414" y="532"/>
                  <a:pt x="1414" y="533"/>
                  <a:pt x="1414" y="533"/>
                </a:cubicBezTo>
                <a:cubicBezTo>
                  <a:pt x="1414" y="533"/>
                  <a:pt x="1414" y="533"/>
                  <a:pt x="1414" y="534"/>
                </a:cubicBezTo>
                <a:cubicBezTo>
                  <a:pt x="1415" y="534"/>
                  <a:pt x="1415" y="534"/>
                  <a:pt x="1415" y="535"/>
                </a:cubicBezTo>
                <a:cubicBezTo>
                  <a:pt x="1416" y="535"/>
                  <a:pt x="1416" y="535"/>
                  <a:pt x="1416" y="535"/>
                </a:cubicBezTo>
                <a:cubicBezTo>
                  <a:pt x="1416" y="535"/>
                  <a:pt x="1416" y="535"/>
                  <a:pt x="1416" y="536"/>
                </a:cubicBezTo>
                <a:cubicBezTo>
                  <a:pt x="1416" y="536"/>
                  <a:pt x="1417" y="536"/>
                  <a:pt x="1417" y="536"/>
                </a:cubicBezTo>
                <a:cubicBezTo>
                  <a:pt x="1417" y="536"/>
                  <a:pt x="1417" y="536"/>
                  <a:pt x="1417" y="536"/>
                </a:cubicBezTo>
                <a:cubicBezTo>
                  <a:pt x="1417" y="535"/>
                  <a:pt x="1417" y="535"/>
                  <a:pt x="1417" y="535"/>
                </a:cubicBezTo>
                <a:cubicBezTo>
                  <a:pt x="1417" y="535"/>
                  <a:pt x="1418" y="534"/>
                  <a:pt x="1418" y="534"/>
                </a:cubicBezTo>
                <a:cubicBezTo>
                  <a:pt x="1417" y="534"/>
                  <a:pt x="1417" y="534"/>
                  <a:pt x="1417" y="533"/>
                </a:cubicBezTo>
                <a:cubicBezTo>
                  <a:pt x="1416" y="533"/>
                  <a:pt x="1416" y="533"/>
                  <a:pt x="1416" y="532"/>
                </a:cubicBezTo>
                <a:cubicBezTo>
                  <a:pt x="1416" y="532"/>
                  <a:pt x="1416" y="531"/>
                  <a:pt x="1416" y="530"/>
                </a:cubicBezTo>
                <a:cubicBezTo>
                  <a:pt x="1416" y="530"/>
                  <a:pt x="1416" y="530"/>
                  <a:pt x="1416" y="530"/>
                </a:cubicBezTo>
                <a:cubicBezTo>
                  <a:pt x="1416" y="530"/>
                  <a:pt x="1416" y="530"/>
                  <a:pt x="1416" y="529"/>
                </a:cubicBezTo>
                <a:cubicBezTo>
                  <a:pt x="1416" y="529"/>
                  <a:pt x="1415" y="529"/>
                  <a:pt x="1415" y="529"/>
                </a:cubicBezTo>
                <a:cubicBezTo>
                  <a:pt x="1415" y="529"/>
                  <a:pt x="1415" y="529"/>
                  <a:pt x="1415" y="529"/>
                </a:cubicBezTo>
                <a:cubicBezTo>
                  <a:pt x="1415" y="529"/>
                  <a:pt x="1414" y="529"/>
                  <a:pt x="1414" y="530"/>
                </a:cubicBezTo>
                <a:cubicBezTo>
                  <a:pt x="1415" y="530"/>
                  <a:pt x="1415" y="530"/>
                  <a:pt x="1415" y="530"/>
                </a:cubicBezTo>
                <a:cubicBezTo>
                  <a:pt x="1414" y="530"/>
                  <a:pt x="1414" y="530"/>
                  <a:pt x="1414" y="530"/>
                </a:cubicBezTo>
                <a:cubicBezTo>
                  <a:pt x="1414" y="529"/>
                  <a:pt x="1414" y="529"/>
                  <a:pt x="1413" y="529"/>
                </a:cubicBezTo>
                <a:close/>
                <a:moveTo>
                  <a:pt x="1423" y="512"/>
                </a:moveTo>
                <a:cubicBezTo>
                  <a:pt x="1423" y="512"/>
                  <a:pt x="1423" y="512"/>
                  <a:pt x="1423" y="512"/>
                </a:cubicBezTo>
                <a:cubicBezTo>
                  <a:pt x="1423" y="512"/>
                  <a:pt x="1423" y="512"/>
                  <a:pt x="1422" y="512"/>
                </a:cubicBezTo>
                <a:cubicBezTo>
                  <a:pt x="1423" y="512"/>
                  <a:pt x="1423" y="512"/>
                  <a:pt x="1423" y="512"/>
                </a:cubicBezTo>
                <a:close/>
                <a:moveTo>
                  <a:pt x="1423" y="511"/>
                </a:moveTo>
                <a:cubicBezTo>
                  <a:pt x="1423" y="511"/>
                  <a:pt x="1423" y="511"/>
                  <a:pt x="1423" y="511"/>
                </a:cubicBezTo>
                <a:cubicBezTo>
                  <a:pt x="1423" y="511"/>
                  <a:pt x="1423" y="511"/>
                  <a:pt x="1423" y="511"/>
                </a:cubicBezTo>
                <a:cubicBezTo>
                  <a:pt x="1423" y="511"/>
                  <a:pt x="1423" y="511"/>
                  <a:pt x="1423" y="511"/>
                </a:cubicBezTo>
                <a:close/>
                <a:moveTo>
                  <a:pt x="1465" y="578"/>
                </a:moveTo>
                <a:cubicBezTo>
                  <a:pt x="1465" y="578"/>
                  <a:pt x="1466" y="579"/>
                  <a:pt x="1466" y="579"/>
                </a:cubicBezTo>
                <a:cubicBezTo>
                  <a:pt x="1466" y="579"/>
                  <a:pt x="1466" y="579"/>
                  <a:pt x="1466" y="580"/>
                </a:cubicBezTo>
                <a:cubicBezTo>
                  <a:pt x="1467" y="580"/>
                  <a:pt x="1467" y="580"/>
                  <a:pt x="1467" y="580"/>
                </a:cubicBezTo>
                <a:cubicBezTo>
                  <a:pt x="1467" y="580"/>
                  <a:pt x="1467" y="581"/>
                  <a:pt x="1468" y="581"/>
                </a:cubicBezTo>
                <a:cubicBezTo>
                  <a:pt x="1468" y="581"/>
                  <a:pt x="1468" y="581"/>
                  <a:pt x="1468" y="582"/>
                </a:cubicBezTo>
                <a:cubicBezTo>
                  <a:pt x="1469" y="582"/>
                  <a:pt x="1469" y="582"/>
                  <a:pt x="1470" y="582"/>
                </a:cubicBezTo>
                <a:cubicBezTo>
                  <a:pt x="1470" y="582"/>
                  <a:pt x="1471" y="582"/>
                  <a:pt x="1471" y="582"/>
                </a:cubicBezTo>
                <a:cubicBezTo>
                  <a:pt x="1471" y="582"/>
                  <a:pt x="1471" y="582"/>
                  <a:pt x="1471" y="582"/>
                </a:cubicBezTo>
                <a:cubicBezTo>
                  <a:pt x="1471" y="581"/>
                  <a:pt x="1471" y="581"/>
                  <a:pt x="1471" y="581"/>
                </a:cubicBezTo>
                <a:cubicBezTo>
                  <a:pt x="1470" y="580"/>
                  <a:pt x="1470" y="580"/>
                  <a:pt x="1470" y="580"/>
                </a:cubicBezTo>
                <a:cubicBezTo>
                  <a:pt x="1470" y="579"/>
                  <a:pt x="1470" y="579"/>
                  <a:pt x="1469" y="579"/>
                </a:cubicBezTo>
                <a:cubicBezTo>
                  <a:pt x="1469" y="579"/>
                  <a:pt x="1469" y="579"/>
                  <a:pt x="1469" y="579"/>
                </a:cubicBezTo>
                <a:cubicBezTo>
                  <a:pt x="1469" y="578"/>
                  <a:pt x="1469" y="578"/>
                  <a:pt x="1468" y="578"/>
                </a:cubicBezTo>
                <a:cubicBezTo>
                  <a:pt x="1468" y="578"/>
                  <a:pt x="1468" y="578"/>
                  <a:pt x="1467" y="578"/>
                </a:cubicBezTo>
                <a:cubicBezTo>
                  <a:pt x="1467" y="578"/>
                  <a:pt x="1467" y="578"/>
                  <a:pt x="1467" y="578"/>
                </a:cubicBezTo>
                <a:cubicBezTo>
                  <a:pt x="1466" y="577"/>
                  <a:pt x="1466" y="577"/>
                  <a:pt x="1466" y="576"/>
                </a:cubicBezTo>
                <a:cubicBezTo>
                  <a:pt x="1465" y="576"/>
                  <a:pt x="1464" y="576"/>
                  <a:pt x="1463" y="577"/>
                </a:cubicBezTo>
                <a:cubicBezTo>
                  <a:pt x="1463" y="577"/>
                  <a:pt x="1463" y="577"/>
                  <a:pt x="1463" y="577"/>
                </a:cubicBezTo>
                <a:cubicBezTo>
                  <a:pt x="1463" y="577"/>
                  <a:pt x="1464" y="577"/>
                  <a:pt x="1464" y="578"/>
                </a:cubicBezTo>
                <a:cubicBezTo>
                  <a:pt x="1464" y="578"/>
                  <a:pt x="1464" y="578"/>
                  <a:pt x="1465" y="578"/>
                </a:cubicBezTo>
                <a:close/>
                <a:moveTo>
                  <a:pt x="1490" y="565"/>
                </a:moveTo>
                <a:cubicBezTo>
                  <a:pt x="1490" y="565"/>
                  <a:pt x="1490" y="565"/>
                  <a:pt x="1490" y="566"/>
                </a:cubicBezTo>
                <a:cubicBezTo>
                  <a:pt x="1489" y="566"/>
                  <a:pt x="1489" y="566"/>
                  <a:pt x="1489" y="567"/>
                </a:cubicBezTo>
                <a:cubicBezTo>
                  <a:pt x="1489" y="567"/>
                  <a:pt x="1488" y="567"/>
                  <a:pt x="1488" y="568"/>
                </a:cubicBezTo>
                <a:cubicBezTo>
                  <a:pt x="1488" y="568"/>
                  <a:pt x="1487" y="568"/>
                  <a:pt x="1487" y="568"/>
                </a:cubicBezTo>
                <a:cubicBezTo>
                  <a:pt x="1487" y="568"/>
                  <a:pt x="1487" y="569"/>
                  <a:pt x="1487" y="569"/>
                </a:cubicBezTo>
                <a:cubicBezTo>
                  <a:pt x="1487" y="569"/>
                  <a:pt x="1487" y="569"/>
                  <a:pt x="1487" y="569"/>
                </a:cubicBezTo>
                <a:cubicBezTo>
                  <a:pt x="1487" y="569"/>
                  <a:pt x="1488" y="569"/>
                  <a:pt x="1488" y="569"/>
                </a:cubicBezTo>
                <a:cubicBezTo>
                  <a:pt x="1488" y="569"/>
                  <a:pt x="1488" y="569"/>
                  <a:pt x="1489" y="569"/>
                </a:cubicBezTo>
                <a:cubicBezTo>
                  <a:pt x="1489" y="569"/>
                  <a:pt x="1489" y="569"/>
                  <a:pt x="1489" y="569"/>
                </a:cubicBezTo>
                <a:cubicBezTo>
                  <a:pt x="1489" y="569"/>
                  <a:pt x="1490" y="569"/>
                  <a:pt x="1490" y="569"/>
                </a:cubicBezTo>
                <a:cubicBezTo>
                  <a:pt x="1490" y="568"/>
                  <a:pt x="1490" y="568"/>
                  <a:pt x="1490" y="568"/>
                </a:cubicBezTo>
                <a:cubicBezTo>
                  <a:pt x="1489" y="568"/>
                  <a:pt x="1489" y="568"/>
                  <a:pt x="1489" y="568"/>
                </a:cubicBezTo>
                <a:cubicBezTo>
                  <a:pt x="1489" y="568"/>
                  <a:pt x="1489" y="567"/>
                  <a:pt x="1489" y="567"/>
                </a:cubicBezTo>
                <a:cubicBezTo>
                  <a:pt x="1489" y="567"/>
                  <a:pt x="1489" y="567"/>
                  <a:pt x="1489" y="567"/>
                </a:cubicBezTo>
                <a:cubicBezTo>
                  <a:pt x="1490" y="567"/>
                  <a:pt x="1490" y="567"/>
                  <a:pt x="1490" y="567"/>
                </a:cubicBezTo>
                <a:cubicBezTo>
                  <a:pt x="1490" y="567"/>
                  <a:pt x="1490" y="567"/>
                  <a:pt x="1490" y="567"/>
                </a:cubicBezTo>
                <a:cubicBezTo>
                  <a:pt x="1490" y="567"/>
                  <a:pt x="1490" y="567"/>
                  <a:pt x="1490" y="567"/>
                </a:cubicBezTo>
                <a:cubicBezTo>
                  <a:pt x="1490" y="567"/>
                  <a:pt x="1491" y="567"/>
                  <a:pt x="1491" y="567"/>
                </a:cubicBezTo>
                <a:cubicBezTo>
                  <a:pt x="1491" y="567"/>
                  <a:pt x="1490" y="566"/>
                  <a:pt x="1490" y="566"/>
                </a:cubicBezTo>
                <a:cubicBezTo>
                  <a:pt x="1491" y="566"/>
                  <a:pt x="1491" y="566"/>
                  <a:pt x="1491" y="566"/>
                </a:cubicBezTo>
                <a:cubicBezTo>
                  <a:pt x="1490" y="566"/>
                  <a:pt x="1490" y="565"/>
                  <a:pt x="1490" y="565"/>
                </a:cubicBezTo>
                <a:close/>
                <a:moveTo>
                  <a:pt x="1503" y="585"/>
                </a:moveTo>
                <a:cubicBezTo>
                  <a:pt x="1503" y="585"/>
                  <a:pt x="1503" y="585"/>
                  <a:pt x="1503" y="586"/>
                </a:cubicBezTo>
                <a:cubicBezTo>
                  <a:pt x="1503" y="586"/>
                  <a:pt x="1503" y="586"/>
                  <a:pt x="1504" y="586"/>
                </a:cubicBezTo>
                <a:cubicBezTo>
                  <a:pt x="1503" y="585"/>
                  <a:pt x="1503" y="585"/>
                  <a:pt x="1503" y="585"/>
                </a:cubicBezTo>
                <a:cubicBezTo>
                  <a:pt x="1503" y="585"/>
                  <a:pt x="1503" y="585"/>
                  <a:pt x="1503" y="585"/>
                </a:cubicBezTo>
                <a:close/>
                <a:moveTo>
                  <a:pt x="1484" y="579"/>
                </a:moveTo>
                <a:cubicBezTo>
                  <a:pt x="1484" y="579"/>
                  <a:pt x="1485" y="580"/>
                  <a:pt x="1485" y="580"/>
                </a:cubicBezTo>
                <a:cubicBezTo>
                  <a:pt x="1485" y="580"/>
                  <a:pt x="1485" y="580"/>
                  <a:pt x="1485" y="580"/>
                </a:cubicBezTo>
                <a:cubicBezTo>
                  <a:pt x="1485" y="579"/>
                  <a:pt x="1485" y="579"/>
                  <a:pt x="1485" y="579"/>
                </a:cubicBezTo>
                <a:cubicBezTo>
                  <a:pt x="1485" y="579"/>
                  <a:pt x="1485" y="579"/>
                  <a:pt x="1484" y="579"/>
                </a:cubicBezTo>
                <a:close/>
                <a:moveTo>
                  <a:pt x="1481" y="588"/>
                </a:moveTo>
                <a:cubicBezTo>
                  <a:pt x="1481" y="588"/>
                  <a:pt x="1482" y="588"/>
                  <a:pt x="1482" y="588"/>
                </a:cubicBezTo>
                <a:cubicBezTo>
                  <a:pt x="1482" y="588"/>
                  <a:pt x="1482" y="587"/>
                  <a:pt x="1482" y="587"/>
                </a:cubicBezTo>
                <a:cubicBezTo>
                  <a:pt x="1481" y="587"/>
                  <a:pt x="1481" y="587"/>
                  <a:pt x="1481" y="587"/>
                </a:cubicBezTo>
                <a:cubicBezTo>
                  <a:pt x="1481" y="587"/>
                  <a:pt x="1481" y="587"/>
                  <a:pt x="1481" y="587"/>
                </a:cubicBezTo>
                <a:cubicBezTo>
                  <a:pt x="1480" y="587"/>
                  <a:pt x="1480" y="587"/>
                  <a:pt x="1479" y="588"/>
                </a:cubicBezTo>
                <a:cubicBezTo>
                  <a:pt x="1479" y="588"/>
                  <a:pt x="1479" y="588"/>
                  <a:pt x="1478" y="588"/>
                </a:cubicBezTo>
                <a:cubicBezTo>
                  <a:pt x="1479" y="588"/>
                  <a:pt x="1479" y="588"/>
                  <a:pt x="1479" y="588"/>
                </a:cubicBezTo>
                <a:cubicBezTo>
                  <a:pt x="1480" y="588"/>
                  <a:pt x="1480" y="588"/>
                  <a:pt x="1481" y="588"/>
                </a:cubicBezTo>
                <a:close/>
                <a:moveTo>
                  <a:pt x="1482" y="586"/>
                </a:moveTo>
                <a:cubicBezTo>
                  <a:pt x="1482" y="586"/>
                  <a:pt x="1482" y="586"/>
                  <a:pt x="1482" y="586"/>
                </a:cubicBezTo>
                <a:cubicBezTo>
                  <a:pt x="1482" y="586"/>
                  <a:pt x="1482" y="586"/>
                  <a:pt x="1481" y="586"/>
                </a:cubicBezTo>
                <a:cubicBezTo>
                  <a:pt x="1481" y="587"/>
                  <a:pt x="1482" y="587"/>
                  <a:pt x="1482" y="587"/>
                </a:cubicBezTo>
                <a:cubicBezTo>
                  <a:pt x="1482" y="587"/>
                  <a:pt x="1482" y="586"/>
                  <a:pt x="1482" y="586"/>
                </a:cubicBezTo>
                <a:close/>
                <a:moveTo>
                  <a:pt x="1483" y="580"/>
                </a:moveTo>
                <a:cubicBezTo>
                  <a:pt x="1483" y="580"/>
                  <a:pt x="1483" y="580"/>
                  <a:pt x="1483" y="580"/>
                </a:cubicBezTo>
                <a:cubicBezTo>
                  <a:pt x="1484" y="580"/>
                  <a:pt x="1484" y="580"/>
                  <a:pt x="1484" y="580"/>
                </a:cubicBezTo>
                <a:cubicBezTo>
                  <a:pt x="1484" y="580"/>
                  <a:pt x="1484" y="580"/>
                  <a:pt x="1483" y="580"/>
                </a:cubicBezTo>
                <a:cubicBezTo>
                  <a:pt x="1483" y="580"/>
                  <a:pt x="1483" y="580"/>
                  <a:pt x="1483" y="580"/>
                </a:cubicBezTo>
                <a:close/>
                <a:moveTo>
                  <a:pt x="1505" y="583"/>
                </a:moveTo>
                <a:cubicBezTo>
                  <a:pt x="1505" y="583"/>
                  <a:pt x="1505" y="583"/>
                  <a:pt x="1504" y="583"/>
                </a:cubicBezTo>
                <a:cubicBezTo>
                  <a:pt x="1504" y="583"/>
                  <a:pt x="1504" y="583"/>
                  <a:pt x="1504" y="584"/>
                </a:cubicBezTo>
                <a:cubicBezTo>
                  <a:pt x="1505" y="583"/>
                  <a:pt x="1505" y="583"/>
                  <a:pt x="1505" y="583"/>
                </a:cubicBezTo>
                <a:cubicBezTo>
                  <a:pt x="1505" y="583"/>
                  <a:pt x="1505" y="583"/>
                  <a:pt x="1505" y="583"/>
                </a:cubicBezTo>
                <a:close/>
                <a:moveTo>
                  <a:pt x="1475" y="529"/>
                </a:moveTo>
                <a:cubicBezTo>
                  <a:pt x="1475" y="529"/>
                  <a:pt x="1476" y="529"/>
                  <a:pt x="1476" y="529"/>
                </a:cubicBezTo>
                <a:cubicBezTo>
                  <a:pt x="1476" y="529"/>
                  <a:pt x="1476" y="528"/>
                  <a:pt x="1476" y="528"/>
                </a:cubicBezTo>
                <a:cubicBezTo>
                  <a:pt x="1476" y="528"/>
                  <a:pt x="1476" y="528"/>
                  <a:pt x="1476" y="528"/>
                </a:cubicBezTo>
                <a:cubicBezTo>
                  <a:pt x="1475" y="528"/>
                  <a:pt x="1475" y="528"/>
                  <a:pt x="1475" y="529"/>
                </a:cubicBezTo>
                <a:close/>
                <a:moveTo>
                  <a:pt x="1515" y="560"/>
                </a:moveTo>
                <a:cubicBezTo>
                  <a:pt x="1515" y="560"/>
                  <a:pt x="1515" y="560"/>
                  <a:pt x="1515" y="559"/>
                </a:cubicBezTo>
                <a:cubicBezTo>
                  <a:pt x="1515" y="559"/>
                  <a:pt x="1515" y="559"/>
                  <a:pt x="1515" y="559"/>
                </a:cubicBezTo>
                <a:cubicBezTo>
                  <a:pt x="1515" y="559"/>
                  <a:pt x="1514" y="559"/>
                  <a:pt x="1514" y="560"/>
                </a:cubicBezTo>
                <a:cubicBezTo>
                  <a:pt x="1514" y="560"/>
                  <a:pt x="1515" y="560"/>
                  <a:pt x="1515" y="560"/>
                </a:cubicBezTo>
                <a:close/>
                <a:moveTo>
                  <a:pt x="1516" y="564"/>
                </a:moveTo>
                <a:cubicBezTo>
                  <a:pt x="1516" y="564"/>
                  <a:pt x="1516" y="564"/>
                  <a:pt x="1517" y="564"/>
                </a:cubicBezTo>
                <a:cubicBezTo>
                  <a:pt x="1517" y="564"/>
                  <a:pt x="1517" y="564"/>
                  <a:pt x="1517" y="564"/>
                </a:cubicBezTo>
                <a:cubicBezTo>
                  <a:pt x="1517" y="564"/>
                  <a:pt x="1518" y="564"/>
                  <a:pt x="1518" y="564"/>
                </a:cubicBezTo>
                <a:cubicBezTo>
                  <a:pt x="1517" y="564"/>
                  <a:pt x="1517" y="563"/>
                  <a:pt x="1517" y="563"/>
                </a:cubicBezTo>
                <a:cubicBezTo>
                  <a:pt x="1517" y="563"/>
                  <a:pt x="1516" y="563"/>
                  <a:pt x="1516" y="562"/>
                </a:cubicBezTo>
                <a:cubicBezTo>
                  <a:pt x="1515" y="563"/>
                  <a:pt x="1515" y="563"/>
                  <a:pt x="1514" y="563"/>
                </a:cubicBezTo>
                <a:cubicBezTo>
                  <a:pt x="1514" y="563"/>
                  <a:pt x="1515" y="563"/>
                  <a:pt x="1515" y="563"/>
                </a:cubicBezTo>
                <a:cubicBezTo>
                  <a:pt x="1515" y="563"/>
                  <a:pt x="1515" y="564"/>
                  <a:pt x="1515" y="564"/>
                </a:cubicBezTo>
                <a:cubicBezTo>
                  <a:pt x="1516" y="564"/>
                  <a:pt x="1516" y="564"/>
                  <a:pt x="1516" y="564"/>
                </a:cubicBezTo>
                <a:close/>
                <a:moveTo>
                  <a:pt x="1514" y="569"/>
                </a:moveTo>
                <a:cubicBezTo>
                  <a:pt x="1514" y="569"/>
                  <a:pt x="1514" y="569"/>
                  <a:pt x="1514" y="569"/>
                </a:cubicBezTo>
                <a:cubicBezTo>
                  <a:pt x="1514" y="569"/>
                  <a:pt x="1513" y="569"/>
                  <a:pt x="1513" y="569"/>
                </a:cubicBezTo>
                <a:cubicBezTo>
                  <a:pt x="1513" y="569"/>
                  <a:pt x="1514" y="569"/>
                  <a:pt x="1514" y="569"/>
                </a:cubicBezTo>
                <a:close/>
                <a:moveTo>
                  <a:pt x="1514" y="568"/>
                </a:moveTo>
                <a:cubicBezTo>
                  <a:pt x="1515" y="568"/>
                  <a:pt x="1515" y="569"/>
                  <a:pt x="1515" y="569"/>
                </a:cubicBezTo>
                <a:cubicBezTo>
                  <a:pt x="1515" y="569"/>
                  <a:pt x="1515" y="568"/>
                  <a:pt x="1515" y="568"/>
                </a:cubicBezTo>
                <a:cubicBezTo>
                  <a:pt x="1515" y="568"/>
                  <a:pt x="1515" y="568"/>
                  <a:pt x="1514" y="568"/>
                </a:cubicBezTo>
                <a:cubicBezTo>
                  <a:pt x="1514" y="568"/>
                  <a:pt x="1514" y="568"/>
                  <a:pt x="1514" y="568"/>
                </a:cubicBezTo>
                <a:close/>
                <a:moveTo>
                  <a:pt x="1505" y="586"/>
                </a:moveTo>
                <a:cubicBezTo>
                  <a:pt x="1505" y="586"/>
                  <a:pt x="1505" y="586"/>
                  <a:pt x="1504" y="586"/>
                </a:cubicBezTo>
                <a:cubicBezTo>
                  <a:pt x="1505" y="586"/>
                  <a:pt x="1505" y="586"/>
                  <a:pt x="1505" y="587"/>
                </a:cubicBezTo>
                <a:cubicBezTo>
                  <a:pt x="1505" y="587"/>
                  <a:pt x="1505" y="586"/>
                  <a:pt x="1505" y="586"/>
                </a:cubicBezTo>
                <a:close/>
                <a:moveTo>
                  <a:pt x="1448" y="523"/>
                </a:moveTo>
                <a:cubicBezTo>
                  <a:pt x="1448" y="522"/>
                  <a:pt x="1448" y="522"/>
                  <a:pt x="1448" y="522"/>
                </a:cubicBezTo>
                <a:cubicBezTo>
                  <a:pt x="1448" y="522"/>
                  <a:pt x="1448" y="522"/>
                  <a:pt x="1447" y="522"/>
                </a:cubicBezTo>
                <a:cubicBezTo>
                  <a:pt x="1447" y="522"/>
                  <a:pt x="1447" y="522"/>
                  <a:pt x="1447" y="522"/>
                </a:cubicBezTo>
                <a:cubicBezTo>
                  <a:pt x="1447" y="522"/>
                  <a:pt x="1447" y="522"/>
                  <a:pt x="1447" y="522"/>
                </a:cubicBezTo>
                <a:cubicBezTo>
                  <a:pt x="1447" y="522"/>
                  <a:pt x="1447" y="522"/>
                  <a:pt x="1447" y="522"/>
                </a:cubicBezTo>
                <a:cubicBezTo>
                  <a:pt x="1447" y="522"/>
                  <a:pt x="1447" y="523"/>
                  <a:pt x="1447" y="523"/>
                </a:cubicBezTo>
                <a:cubicBezTo>
                  <a:pt x="1448" y="523"/>
                  <a:pt x="1448" y="523"/>
                  <a:pt x="1448" y="523"/>
                </a:cubicBezTo>
                <a:close/>
                <a:moveTo>
                  <a:pt x="1478" y="514"/>
                </a:moveTo>
                <a:cubicBezTo>
                  <a:pt x="1478" y="514"/>
                  <a:pt x="1479" y="514"/>
                  <a:pt x="1479" y="514"/>
                </a:cubicBezTo>
                <a:cubicBezTo>
                  <a:pt x="1479" y="514"/>
                  <a:pt x="1479" y="513"/>
                  <a:pt x="1479" y="513"/>
                </a:cubicBezTo>
                <a:cubicBezTo>
                  <a:pt x="1479" y="513"/>
                  <a:pt x="1479" y="513"/>
                  <a:pt x="1479" y="513"/>
                </a:cubicBezTo>
                <a:cubicBezTo>
                  <a:pt x="1479" y="513"/>
                  <a:pt x="1478" y="513"/>
                  <a:pt x="1478" y="513"/>
                </a:cubicBezTo>
                <a:cubicBezTo>
                  <a:pt x="1478" y="513"/>
                  <a:pt x="1478" y="514"/>
                  <a:pt x="1478" y="514"/>
                </a:cubicBezTo>
                <a:close/>
                <a:moveTo>
                  <a:pt x="1478" y="513"/>
                </a:moveTo>
                <a:cubicBezTo>
                  <a:pt x="1477" y="513"/>
                  <a:pt x="1477" y="513"/>
                  <a:pt x="1476" y="513"/>
                </a:cubicBezTo>
                <a:cubicBezTo>
                  <a:pt x="1476" y="513"/>
                  <a:pt x="1477" y="513"/>
                  <a:pt x="1477" y="513"/>
                </a:cubicBezTo>
                <a:cubicBezTo>
                  <a:pt x="1477" y="513"/>
                  <a:pt x="1477" y="513"/>
                  <a:pt x="1478" y="513"/>
                </a:cubicBezTo>
                <a:cubicBezTo>
                  <a:pt x="1478" y="513"/>
                  <a:pt x="1478" y="513"/>
                  <a:pt x="1478" y="513"/>
                </a:cubicBezTo>
                <a:close/>
                <a:moveTo>
                  <a:pt x="1446" y="522"/>
                </a:moveTo>
                <a:cubicBezTo>
                  <a:pt x="1446" y="522"/>
                  <a:pt x="1447" y="522"/>
                  <a:pt x="1447" y="522"/>
                </a:cubicBezTo>
                <a:cubicBezTo>
                  <a:pt x="1447" y="522"/>
                  <a:pt x="1447" y="522"/>
                  <a:pt x="1447" y="522"/>
                </a:cubicBezTo>
                <a:cubicBezTo>
                  <a:pt x="1447" y="522"/>
                  <a:pt x="1447" y="522"/>
                  <a:pt x="1447" y="522"/>
                </a:cubicBezTo>
                <a:cubicBezTo>
                  <a:pt x="1447" y="522"/>
                  <a:pt x="1447" y="522"/>
                  <a:pt x="1446" y="522"/>
                </a:cubicBezTo>
                <a:cubicBezTo>
                  <a:pt x="1446" y="522"/>
                  <a:pt x="1446" y="522"/>
                  <a:pt x="1446" y="522"/>
                </a:cubicBezTo>
                <a:close/>
                <a:moveTo>
                  <a:pt x="1446" y="522"/>
                </a:moveTo>
                <a:cubicBezTo>
                  <a:pt x="1446" y="523"/>
                  <a:pt x="1446" y="523"/>
                  <a:pt x="1447" y="523"/>
                </a:cubicBezTo>
                <a:cubicBezTo>
                  <a:pt x="1447" y="523"/>
                  <a:pt x="1447" y="523"/>
                  <a:pt x="1447" y="523"/>
                </a:cubicBezTo>
                <a:cubicBezTo>
                  <a:pt x="1447" y="523"/>
                  <a:pt x="1447" y="522"/>
                  <a:pt x="1447" y="522"/>
                </a:cubicBezTo>
                <a:cubicBezTo>
                  <a:pt x="1447" y="522"/>
                  <a:pt x="1447" y="522"/>
                  <a:pt x="1446" y="522"/>
                </a:cubicBezTo>
                <a:close/>
                <a:moveTo>
                  <a:pt x="1396" y="495"/>
                </a:moveTo>
                <a:cubicBezTo>
                  <a:pt x="1396" y="495"/>
                  <a:pt x="1396" y="495"/>
                  <a:pt x="1396" y="494"/>
                </a:cubicBezTo>
                <a:cubicBezTo>
                  <a:pt x="1396" y="494"/>
                  <a:pt x="1396" y="494"/>
                  <a:pt x="1396" y="494"/>
                </a:cubicBezTo>
                <a:cubicBezTo>
                  <a:pt x="1396" y="494"/>
                  <a:pt x="1396" y="495"/>
                  <a:pt x="1396" y="495"/>
                </a:cubicBezTo>
                <a:cubicBezTo>
                  <a:pt x="1396" y="495"/>
                  <a:pt x="1396" y="495"/>
                  <a:pt x="1396" y="496"/>
                </a:cubicBezTo>
                <a:cubicBezTo>
                  <a:pt x="1396" y="496"/>
                  <a:pt x="1396" y="496"/>
                  <a:pt x="1396" y="496"/>
                </a:cubicBezTo>
                <a:cubicBezTo>
                  <a:pt x="1396" y="495"/>
                  <a:pt x="1396" y="495"/>
                  <a:pt x="1396" y="495"/>
                </a:cubicBezTo>
                <a:close/>
                <a:moveTo>
                  <a:pt x="1446" y="522"/>
                </a:moveTo>
                <a:cubicBezTo>
                  <a:pt x="1446" y="523"/>
                  <a:pt x="1446" y="523"/>
                  <a:pt x="1445" y="523"/>
                </a:cubicBezTo>
                <a:cubicBezTo>
                  <a:pt x="1446" y="523"/>
                  <a:pt x="1446" y="523"/>
                  <a:pt x="1446" y="523"/>
                </a:cubicBezTo>
                <a:cubicBezTo>
                  <a:pt x="1446" y="523"/>
                  <a:pt x="1446" y="523"/>
                  <a:pt x="1446" y="522"/>
                </a:cubicBezTo>
                <a:close/>
                <a:moveTo>
                  <a:pt x="1419" y="481"/>
                </a:moveTo>
                <a:cubicBezTo>
                  <a:pt x="1419" y="481"/>
                  <a:pt x="1419" y="481"/>
                  <a:pt x="1418" y="481"/>
                </a:cubicBezTo>
                <a:cubicBezTo>
                  <a:pt x="1419" y="482"/>
                  <a:pt x="1419" y="482"/>
                  <a:pt x="1419" y="482"/>
                </a:cubicBezTo>
                <a:cubicBezTo>
                  <a:pt x="1419" y="482"/>
                  <a:pt x="1419" y="482"/>
                  <a:pt x="1418" y="482"/>
                </a:cubicBezTo>
                <a:cubicBezTo>
                  <a:pt x="1419" y="483"/>
                  <a:pt x="1419" y="483"/>
                  <a:pt x="1419" y="483"/>
                </a:cubicBezTo>
                <a:cubicBezTo>
                  <a:pt x="1419" y="483"/>
                  <a:pt x="1419" y="483"/>
                  <a:pt x="1419" y="483"/>
                </a:cubicBezTo>
                <a:cubicBezTo>
                  <a:pt x="1419" y="483"/>
                  <a:pt x="1420" y="482"/>
                  <a:pt x="1420" y="482"/>
                </a:cubicBezTo>
                <a:cubicBezTo>
                  <a:pt x="1420" y="482"/>
                  <a:pt x="1420" y="482"/>
                  <a:pt x="1420" y="482"/>
                </a:cubicBezTo>
                <a:cubicBezTo>
                  <a:pt x="1420" y="482"/>
                  <a:pt x="1419" y="482"/>
                  <a:pt x="1419" y="481"/>
                </a:cubicBezTo>
                <a:close/>
                <a:moveTo>
                  <a:pt x="1400" y="479"/>
                </a:moveTo>
                <a:cubicBezTo>
                  <a:pt x="1400" y="479"/>
                  <a:pt x="1400" y="479"/>
                  <a:pt x="1399" y="479"/>
                </a:cubicBezTo>
                <a:cubicBezTo>
                  <a:pt x="1399" y="479"/>
                  <a:pt x="1399" y="479"/>
                  <a:pt x="1399" y="479"/>
                </a:cubicBezTo>
                <a:cubicBezTo>
                  <a:pt x="1399" y="479"/>
                  <a:pt x="1399" y="479"/>
                  <a:pt x="1399" y="480"/>
                </a:cubicBezTo>
                <a:cubicBezTo>
                  <a:pt x="1399" y="480"/>
                  <a:pt x="1399" y="480"/>
                  <a:pt x="1399" y="480"/>
                </a:cubicBezTo>
                <a:cubicBezTo>
                  <a:pt x="1399" y="480"/>
                  <a:pt x="1399" y="480"/>
                  <a:pt x="1400" y="479"/>
                </a:cubicBezTo>
                <a:close/>
                <a:moveTo>
                  <a:pt x="1399" y="478"/>
                </a:moveTo>
                <a:cubicBezTo>
                  <a:pt x="1399" y="478"/>
                  <a:pt x="1399" y="478"/>
                  <a:pt x="1399" y="478"/>
                </a:cubicBezTo>
                <a:cubicBezTo>
                  <a:pt x="1399" y="478"/>
                  <a:pt x="1399" y="478"/>
                  <a:pt x="1399" y="478"/>
                </a:cubicBezTo>
                <a:cubicBezTo>
                  <a:pt x="1399" y="478"/>
                  <a:pt x="1399" y="478"/>
                  <a:pt x="1399" y="478"/>
                </a:cubicBezTo>
                <a:close/>
                <a:moveTo>
                  <a:pt x="1395" y="490"/>
                </a:moveTo>
                <a:cubicBezTo>
                  <a:pt x="1395" y="490"/>
                  <a:pt x="1395" y="489"/>
                  <a:pt x="1395" y="489"/>
                </a:cubicBezTo>
                <a:cubicBezTo>
                  <a:pt x="1395" y="489"/>
                  <a:pt x="1394" y="489"/>
                  <a:pt x="1394" y="489"/>
                </a:cubicBezTo>
                <a:cubicBezTo>
                  <a:pt x="1394" y="490"/>
                  <a:pt x="1394" y="490"/>
                  <a:pt x="1395" y="490"/>
                </a:cubicBezTo>
                <a:cubicBezTo>
                  <a:pt x="1395" y="490"/>
                  <a:pt x="1395" y="490"/>
                  <a:pt x="1395" y="490"/>
                </a:cubicBezTo>
                <a:cubicBezTo>
                  <a:pt x="1395" y="490"/>
                  <a:pt x="1395" y="490"/>
                  <a:pt x="1395" y="490"/>
                </a:cubicBezTo>
                <a:close/>
                <a:moveTo>
                  <a:pt x="1393" y="485"/>
                </a:moveTo>
                <a:cubicBezTo>
                  <a:pt x="1393" y="485"/>
                  <a:pt x="1392" y="485"/>
                  <a:pt x="1392" y="485"/>
                </a:cubicBezTo>
                <a:cubicBezTo>
                  <a:pt x="1392" y="485"/>
                  <a:pt x="1392" y="486"/>
                  <a:pt x="1392" y="486"/>
                </a:cubicBezTo>
                <a:cubicBezTo>
                  <a:pt x="1392" y="486"/>
                  <a:pt x="1393" y="486"/>
                  <a:pt x="1393" y="486"/>
                </a:cubicBezTo>
                <a:cubicBezTo>
                  <a:pt x="1393" y="485"/>
                  <a:pt x="1393" y="485"/>
                  <a:pt x="1393" y="485"/>
                </a:cubicBezTo>
                <a:close/>
                <a:moveTo>
                  <a:pt x="1412" y="472"/>
                </a:moveTo>
                <a:cubicBezTo>
                  <a:pt x="1412" y="472"/>
                  <a:pt x="1412" y="472"/>
                  <a:pt x="1412" y="473"/>
                </a:cubicBezTo>
                <a:cubicBezTo>
                  <a:pt x="1412" y="473"/>
                  <a:pt x="1412" y="473"/>
                  <a:pt x="1412" y="473"/>
                </a:cubicBezTo>
                <a:cubicBezTo>
                  <a:pt x="1412" y="473"/>
                  <a:pt x="1412" y="473"/>
                  <a:pt x="1413" y="473"/>
                </a:cubicBezTo>
                <a:cubicBezTo>
                  <a:pt x="1412" y="473"/>
                  <a:pt x="1412" y="472"/>
                  <a:pt x="1412" y="472"/>
                </a:cubicBezTo>
                <a:close/>
                <a:moveTo>
                  <a:pt x="1390" y="483"/>
                </a:moveTo>
                <a:cubicBezTo>
                  <a:pt x="1390" y="483"/>
                  <a:pt x="1390" y="483"/>
                  <a:pt x="1390" y="483"/>
                </a:cubicBezTo>
                <a:cubicBezTo>
                  <a:pt x="1390" y="483"/>
                  <a:pt x="1390" y="482"/>
                  <a:pt x="1390" y="482"/>
                </a:cubicBezTo>
                <a:cubicBezTo>
                  <a:pt x="1389" y="482"/>
                  <a:pt x="1389" y="483"/>
                  <a:pt x="1389" y="483"/>
                </a:cubicBezTo>
                <a:cubicBezTo>
                  <a:pt x="1389" y="483"/>
                  <a:pt x="1389" y="483"/>
                  <a:pt x="1389" y="483"/>
                </a:cubicBezTo>
                <a:cubicBezTo>
                  <a:pt x="1389" y="483"/>
                  <a:pt x="1389" y="484"/>
                  <a:pt x="1389" y="484"/>
                </a:cubicBezTo>
                <a:cubicBezTo>
                  <a:pt x="1389" y="484"/>
                  <a:pt x="1390" y="484"/>
                  <a:pt x="1390" y="483"/>
                </a:cubicBezTo>
                <a:close/>
                <a:moveTo>
                  <a:pt x="1809" y="250"/>
                </a:moveTo>
                <a:cubicBezTo>
                  <a:pt x="1809" y="250"/>
                  <a:pt x="1808" y="250"/>
                  <a:pt x="1808" y="250"/>
                </a:cubicBezTo>
                <a:cubicBezTo>
                  <a:pt x="1808" y="250"/>
                  <a:pt x="1809" y="251"/>
                  <a:pt x="1809" y="251"/>
                </a:cubicBezTo>
                <a:cubicBezTo>
                  <a:pt x="1809" y="251"/>
                  <a:pt x="1810" y="251"/>
                  <a:pt x="1810" y="251"/>
                </a:cubicBezTo>
                <a:cubicBezTo>
                  <a:pt x="1810" y="252"/>
                  <a:pt x="1810" y="252"/>
                  <a:pt x="1810" y="253"/>
                </a:cubicBezTo>
                <a:cubicBezTo>
                  <a:pt x="1810" y="253"/>
                  <a:pt x="1810" y="253"/>
                  <a:pt x="1810" y="253"/>
                </a:cubicBezTo>
                <a:cubicBezTo>
                  <a:pt x="1809" y="253"/>
                  <a:pt x="1809" y="253"/>
                  <a:pt x="1808" y="253"/>
                </a:cubicBezTo>
                <a:cubicBezTo>
                  <a:pt x="1808" y="252"/>
                  <a:pt x="1808" y="252"/>
                  <a:pt x="1807" y="251"/>
                </a:cubicBezTo>
                <a:cubicBezTo>
                  <a:pt x="1807" y="251"/>
                  <a:pt x="1807" y="251"/>
                  <a:pt x="1807" y="251"/>
                </a:cubicBezTo>
                <a:cubicBezTo>
                  <a:pt x="1807" y="251"/>
                  <a:pt x="1807" y="252"/>
                  <a:pt x="1807" y="252"/>
                </a:cubicBezTo>
                <a:cubicBezTo>
                  <a:pt x="1807" y="252"/>
                  <a:pt x="1806" y="252"/>
                  <a:pt x="1806" y="252"/>
                </a:cubicBezTo>
                <a:cubicBezTo>
                  <a:pt x="1806" y="252"/>
                  <a:pt x="1806" y="252"/>
                  <a:pt x="1805" y="252"/>
                </a:cubicBezTo>
                <a:cubicBezTo>
                  <a:pt x="1805" y="252"/>
                  <a:pt x="1805" y="252"/>
                  <a:pt x="1805" y="252"/>
                </a:cubicBezTo>
                <a:cubicBezTo>
                  <a:pt x="1805" y="252"/>
                  <a:pt x="1805" y="251"/>
                  <a:pt x="1804" y="251"/>
                </a:cubicBezTo>
                <a:cubicBezTo>
                  <a:pt x="1804" y="251"/>
                  <a:pt x="1804" y="251"/>
                  <a:pt x="1804" y="251"/>
                </a:cubicBezTo>
                <a:cubicBezTo>
                  <a:pt x="1803" y="250"/>
                  <a:pt x="1802" y="250"/>
                  <a:pt x="1801" y="249"/>
                </a:cubicBezTo>
                <a:cubicBezTo>
                  <a:pt x="1801" y="249"/>
                  <a:pt x="1801" y="249"/>
                  <a:pt x="1800" y="249"/>
                </a:cubicBezTo>
                <a:cubicBezTo>
                  <a:pt x="1800" y="249"/>
                  <a:pt x="1799" y="249"/>
                  <a:pt x="1799" y="249"/>
                </a:cubicBezTo>
                <a:cubicBezTo>
                  <a:pt x="1799" y="249"/>
                  <a:pt x="1799" y="249"/>
                  <a:pt x="1800" y="248"/>
                </a:cubicBezTo>
                <a:cubicBezTo>
                  <a:pt x="1800" y="248"/>
                  <a:pt x="1799" y="248"/>
                  <a:pt x="1799" y="248"/>
                </a:cubicBezTo>
                <a:cubicBezTo>
                  <a:pt x="1799" y="248"/>
                  <a:pt x="1799" y="247"/>
                  <a:pt x="1799" y="247"/>
                </a:cubicBezTo>
                <a:cubicBezTo>
                  <a:pt x="1799" y="248"/>
                  <a:pt x="1798" y="248"/>
                  <a:pt x="1798" y="248"/>
                </a:cubicBezTo>
                <a:cubicBezTo>
                  <a:pt x="1798" y="248"/>
                  <a:pt x="1798" y="248"/>
                  <a:pt x="1798" y="248"/>
                </a:cubicBezTo>
                <a:cubicBezTo>
                  <a:pt x="1798" y="248"/>
                  <a:pt x="1798" y="248"/>
                  <a:pt x="1797" y="248"/>
                </a:cubicBezTo>
                <a:cubicBezTo>
                  <a:pt x="1797" y="248"/>
                  <a:pt x="1798" y="249"/>
                  <a:pt x="1798" y="249"/>
                </a:cubicBezTo>
                <a:cubicBezTo>
                  <a:pt x="1797" y="249"/>
                  <a:pt x="1797" y="249"/>
                  <a:pt x="1796" y="249"/>
                </a:cubicBezTo>
                <a:cubicBezTo>
                  <a:pt x="1796" y="249"/>
                  <a:pt x="1796" y="249"/>
                  <a:pt x="1796" y="249"/>
                </a:cubicBezTo>
                <a:cubicBezTo>
                  <a:pt x="1796" y="249"/>
                  <a:pt x="1796" y="249"/>
                  <a:pt x="1796" y="249"/>
                </a:cubicBezTo>
                <a:cubicBezTo>
                  <a:pt x="1796" y="248"/>
                  <a:pt x="1796" y="248"/>
                  <a:pt x="1796" y="248"/>
                </a:cubicBezTo>
                <a:cubicBezTo>
                  <a:pt x="1795" y="248"/>
                  <a:pt x="1794" y="248"/>
                  <a:pt x="1793" y="248"/>
                </a:cubicBezTo>
                <a:cubicBezTo>
                  <a:pt x="1793" y="247"/>
                  <a:pt x="1793" y="247"/>
                  <a:pt x="1793" y="247"/>
                </a:cubicBezTo>
                <a:cubicBezTo>
                  <a:pt x="1793" y="247"/>
                  <a:pt x="1793" y="247"/>
                  <a:pt x="1793" y="247"/>
                </a:cubicBezTo>
                <a:cubicBezTo>
                  <a:pt x="1793" y="246"/>
                  <a:pt x="1793" y="246"/>
                  <a:pt x="1793" y="246"/>
                </a:cubicBezTo>
                <a:cubicBezTo>
                  <a:pt x="1793" y="246"/>
                  <a:pt x="1793" y="245"/>
                  <a:pt x="1793" y="245"/>
                </a:cubicBezTo>
                <a:cubicBezTo>
                  <a:pt x="1792" y="244"/>
                  <a:pt x="1791" y="244"/>
                  <a:pt x="1791" y="243"/>
                </a:cubicBezTo>
                <a:cubicBezTo>
                  <a:pt x="1791" y="243"/>
                  <a:pt x="1791" y="243"/>
                  <a:pt x="1790" y="242"/>
                </a:cubicBezTo>
                <a:cubicBezTo>
                  <a:pt x="1791" y="242"/>
                  <a:pt x="1791" y="242"/>
                  <a:pt x="1791" y="242"/>
                </a:cubicBezTo>
                <a:cubicBezTo>
                  <a:pt x="1790" y="242"/>
                  <a:pt x="1790" y="242"/>
                  <a:pt x="1789" y="241"/>
                </a:cubicBezTo>
                <a:cubicBezTo>
                  <a:pt x="1789" y="241"/>
                  <a:pt x="1789" y="241"/>
                  <a:pt x="1789" y="242"/>
                </a:cubicBezTo>
                <a:cubicBezTo>
                  <a:pt x="1788" y="241"/>
                  <a:pt x="1787" y="241"/>
                  <a:pt x="1786" y="241"/>
                </a:cubicBezTo>
                <a:cubicBezTo>
                  <a:pt x="1786" y="241"/>
                  <a:pt x="1786" y="241"/>
                  <a:pt x="1785" y="241"/>
                </a:cubicBezTo>
                <a:cubicBezTo>
                  <a:pt x="1785" y="241"/>
                  <a:pt x="1785" y="241"/>
                  <a:pt x="1785" y="241"/>
                </a:cubicBezTo>
                <a:cubicBezTo>
                  <a:pt x="1785" y="241"/>
                  <a:pt x="1785" y="240"/>
                  <a:pt x="1785" y="240"/>
                </a:cubicBezTo>
                <a:cubicBezTo>
                  <a:pt x="1785" y="240"/>
                  <a:pt x="1785" y="239"/>
                  <a:pt x="1785" y="239"/>
                </a:cubicBezTo>
                <a:cubicBezTo>
                  <a:pt x="1785" y="239"/>
                  <a:pt x="1785" y="240"/>
                  <a:pt x="1785" y="240"/>
                </a:cubicBezTo>
                <a:cubicBezTo>
                  <a:pt x="1784" y="240"/>
                  <a:pt x="1784" y="241"/>
                  <a:pt x="1784" y="241"/>
                </a:cubicBezTo>
                <a:cubicBezTo>
                  <a:pt x="1784" y="242"/>
                  <a:pt x="1784" y="242"/>
                  <a:pt x="1784" y="242"/>
                </a:cubicBezTo>
                <a:cubicBezTo>
                  <a:pt x="1784" y="242"/>
                  <a:pt x="1783" y="243"/>
                  <a:pt x="1783" y="243"/>
                </a:cubicBezTo>
                <a:cubicBezTo>
                  <a:pt x="1782" y="243"/>
                  <a:pt x="1781" y="243"/>
                  <a:pt x="1780" y="244"/>
                </a:cubicBezTo>
                <a:cubicBezTo>
                  <a:pt x="1780" y="243"/>
                  <a:pt x="1779" y="243"/>
                  <a:pt x="1779" y="243"/>
                </a:cubicBezTo>
                <a:cubicBezTo>
                  <a:pt x="1779" y="243"/>
                  <a:pt x="1779" y="242"/>
                  <a:pt x="1780" y="242"/>
                </a:cubicBezTo>
                <a:cubicBezTo>
                  <a:pt x="1779" y="242"/>
                  <a:pt x="1779" y="241"/>
                  <a:pt x="1779" y="241"/>
                </a:cubicBezTo>
                <a:cubicBezTo>
                  <a:pt x="1778" y="241"/>
                  <a:pt x="1778" y="241"/>
                  <a:pt x="1777" y="241"/>
                </a:cubicBezTo>
                <a:cubicBezTo>
                  <a:pt x="1777" y="240"/>
                  <a:pt x="1776" y="239"/>
                  <a:pt x="1775" y="238"/>
                </a:cubicBezTo>
                <a:cubicBezTo>
                  <a:pt x="1775" y="238"/>
                  <a:pt x="1775" y="238"/>
                  <a:pt x="1776" y="238"/>
                </a:cubicBezTo>
                <a:cubicBezTo>
                  <a:pt x="1776" y="237"/>
                  <a:pt x="1776" y="237"/>
                  <a:pt x="1776" y="236"/>
                </a:cubicBezTo>
                <a:cubicBezTo>
                  <a:pt x="1776" y="236"/>
                  <a:pt x="1775" y="236"/>
                  <a:pt x="1775" y="236"/>
                </a:cubicBezTo>
                <a:cubicBezTo>
                  <a:pt x="1775" y="235"/>
                  <a:pt x="1775" y="235"/>
                  <a:pt x="1775" y="235"/>
                </a:cubicBezTo>
                <a:cubicBezTo>
                  <a:pt x="1775" y="235"/>
                  <a:pt x="1775" y="234"/>
                  <a:pt x="1774" y="234"/>
                </a:cubicBezTo>
                <a:cubicBezTo>
                  <a:pt x="1774" y="234"/>
                  <a:pt x="1774" y="234"/>
                  <a:pt x="1774" y="234"/>
                </a:cubicBezTo>
                <a:cubicBezTo>
                  <a:pt x="1774" y="235"/>
                  <a:pt x="1774" y="235"/>
                  <a:pt x="1774" y="235"/>
                </a:cubicBezTo>
                <a:cubicBezTo>
                  <a:pt x="1774" y="235"/>
                  <a:pt x="1774" y="235"/>
                  <a:pt x="1773" y="235"/>
                </a:cubicBezTo>
                <a:cubicBezTo>
                  <a:pt x="1774" y="236"/>
                  <a:pt x="1774" y="236"/>
                  <a:pt x="1774" y="236"/>
                </a:cubicBezTo>
                <a:cubicBezTo>
                  <a:pt x="1774" y="236"/>
                  <a:pt x="1774" y="236"/>
                  <a:pt x="1773" y="237"/>
                </a:cubicBezTo>
                <a:cubicBezTo>
                  <a:pt x="1773" y="236"/>
                  <a:pt x="1772" y="236"/>
                  <a:pt x="1772" y="235"/>
                </a:cubicBezTo>
                <a:cubicBezTo>
                  <a:pt x="1772" y="235"/>
                  <a:pt x="1771" y="234"/>
                  <a:pt x="1771" y="234"/>
                </a:cubicBezTo>
                <a:cubicBezTo>
                  <a:pt x="1771" y="234"/>
                  <a:pt x="1771" y="234"/>
                  <a:pt x="1771" y="234"/>
                </a:cubicBezTo>
                <a:cubicBezTo>
                  <a:pt x="1771" y="234"/>
                  <a:pt x="1771" y="235"/>
                  <a:pt x="1771" y="235"/>
                </a:cubicBezTo>
                <a:cubicBezTo>
                  <a:pt x="1771" y="235"/>
                  <a:pt x="1770" y="235"/>
                  <a:pt x="1770" y="235"/>
                </a:cubicBezTo>
                <a:cubicBezTo>
                  <a:pt x="1770" y="235"/>
                  <a:pt x="1770" y="235"/>
                  <a:pt x="1771" y="235"/>
                </a:cubicBezTo>
                <a:cubicBezTo>
                  <a:pt x="1771" y="236"/>
                  <a:pt x="1771" y="236"/>
                  <a:pt x="1772" y="236"/>
                </a:cubicBezTo>
                <a:cubicBezTo>
                  <a:pt x="1772" y="236"/>
                  <a:pt x="1772" y="237"/>
                  <a:pt x="1772" y="237"/>
                </a:cubicBezTo>
                <a:cubicBezTo>
                  <a:pt x="1772" y="237"/>
                  <a:pt x="1772" y="237"/>
                  <a:pt x="1772" y="237"/>
                </a:cubicBezTo>
                <a:cubicBezTo>
                  <a:pt x="1771" y="237"/>
                  <a:pt x="1770" y="237"/>
                  <a:pt x="1770" y="237"/>
                </a:cubicBezTo>
                <a:cubicBezTo>
                  <a:pt x="1770" y="237"/>
                  <a:pt x="1770" y="237"/>
                  <a:pt x="1770" y="237"/>
                </a:cubicBezTo>
                <a:cubicBezTo>
                  <a:pt x="1770" y="237"/>
                  <a:pt x="1770" y="237"/>
                  <a:pt x="1770" y="238"/>
                </a:cubicBezTo>
                <a:cubicBezTo>
                  <a:pt x="1771" y="239"/>
                  <a:pt x="1772" y="240"/>
                  <a:pt x="1772" y="241"/>
                </a:cubicBezTo>
                <a:cubicBezTo>
                  <a:pt x="1773" y="242"/>
                  <a:pt x="1774" y="242"/>
                  <a:pt x="1774" y="243"/>
                </a:cubicBezTo>
                <a:cubicBezTo>
                  <a:pt x="1775" y="243"/>
                  <a:pt x="1775" y="243"/>
                  <a:pt x="1776" y="243"/>
                </a:cubicBezTo>
                <a:cubicBezTo>
                  <a:pt x="1776" y="243"/>
                  <a:pt x="1777" y="244"/>
                  <a:pt x="1777" y="244"/>
                </a:cubicBezTo>
                <a:cubicBezTo>
                  <a:pt x="1777" y="244"/>
                  <a:pt x="1777" y="245"/>
                  <a:pt x="1777" y="245"/>
                </a:cubicBezTo>
                <a:cubicBezTo>
                  <a:pt x="1777" y="245"/>
                  <a:pt x="1777" y="245"/>
                  <a:pt x="1777" y="245"/>
                </a:cubicBezTo>
                <a:cubicBezTo>
                  <a:pt x="1777" y="245"/>
                  <a:pt x="1776" y="244"/>
                  <a:pt x="1776" y="244"/>
                </a:cubicBezTo>
                <a:cubicBezTo>
                  <a:pt x="1776" y="244"/>
                  <a:pt x="1776" y="244"/>
                  <a:pt x="1776" y="243"/>
                </a:cubicBezTo>
                <a:cubicBezTo>
                  <a:pt x="1776" y="244"/>
                  <a:pt x="1776" y="244"/>
                  <a:pt x="1776" y="245"/>
                </a:cubicBezTo>
                <a:cubicBezTo>
                  <a:pt x="1776" y="245"/>
                  <a:pt x="1777" y="246"/>
                  <a:pt x="1777" y="246"/>
                </a:cubicBezTo>
                <a:cubicBezTo>
                  <a:pt x="1777" y="247"/>
                  <a:pt x="1777" y="247"/>
                  <a:pt x="1777" y="247"/>
                </a:cubicBezTo>
                <a:cubicBezTo>
                  <a:pt x="1777" y="248"/>
                  <a:pt x="1778" y="248"/>
                  <a:pt x="1778" y="248"/>
                </a:cubicBezTo>
                <a:cubicBezTo>
                  <a:pt x="1778" y="249"/>
                  <a:pt x="1777" y="249"/>
                  <a:pt x="1777" y="250"/>
                </a:cubicBezTo>
                <a:cubicBezTo>
                  <a:pt x="1776" y="250"/>
                  <a:pt x="1776" y="251"/>
                  <a:pt x="1775" y="252"/>
                </a:cubicBezTo>
                <a:cubicBezTo>
                  <a:pt x="1775" y="252"/>
                  <a:pt x="1775" y="253"/>
                  <a:pt x="1775" y="253"/>
                </a:cubicBezTo>
                <a:cubicBezTo>
                  <a:pt x="1775" y="254"/>
                  <a:pt x="1775" y="254"/>
                  <a:pt x="1775" y="254"/>
                </a:cubicBezTo>
                <a:cubicBezTo>
                  <a:pt x="1775" y="254"/>
                  <a:pt x="1775" y="255"/>
                  <a:pt x="1775" y="255"/>
                </a:cubicBezTo>
                <a:cubicBezTo>
                  <a:pt x="1774" y="255"/>
                  <a:pt x="1773" y="255"/>
                  <a:pt x="1773" y="255"/>
                </a:cubicBezTo>
                <a:cubicBezTo>
                  <a:pt x="1773" y="256"/>
                  <a:pt x="1772" y="256"/>
                  <a:pt x="1772" y="256"/>
                </a:cubicBezTo>
                <a:cubicBezTo>
                  <a:pt x="1772" y="256"/>
                  <a:pt x="1772" y="256"/>
                  <a:pt x="1771" y="256"/>
                </a:cubicBezTo>
                <a:cubicBezTo>
                  <a:pt x="1771" y="256"/>
                  <a:pt x="1772" y="256"/>
                  <a:pt x="1772" y="256"/>
                </a:cubicBezTo>
                <a:cubicBezTo>
                  <a:pt x="1772" y="256"/>
                  <a:pt x="1772" y="255"/>
                  <a:pt x="1772" y="255"/>
                </a:cubicBezTo>
                <a:cubicBezTo>
                  <a:pt x="1771" y="255"/>
                  <a:pt x="1769" y="255"/>
                  <a:pt x="1768" y="255"/>
                </a:cubicBezTo>
                <a:cubicBezTo>
                  <a:pt x="1768" y="255"/>
                  <a:pt x="1768" y="255"/>
                  <a:pt x="1768" y="255"/>
                </a:cubicBezTo>
                <a:cubicBezTo>
                  <a:pt x="1768" y="255"/>
                  <a:pt x="1767" y="255"/>
                  <a:pt x="1767" y="255"/>
                </a:cubicBezTo>
                <a:cubicBezTo>
                  <a:pt x="1766" y="254"/>
                  <a:pt x="1766" y="254"/>
                  <a:pt x="1766" y="254"/>
                </a:cubicBezTo>
                <a:cubicBezTo>
                  <a:pt x="1766" y="254"/>
                  <a:pt x="1766" y="253"/>
                  <a:pt x="1766" y="253"/>
                </a:cubicBezTo>
                <a:cubicBezTo>
                  <a:pt x="1765" y="253"/>
                  <a:pt x="1765" y="253"/>
                  <a:pt x="1764" y="253"/>
                </a:cubicBezTo>
                <a:cubicBezTo>
                  <a:pt x="1764" y="252"/>
                  <a:pt x="1764" y="251"/>
                  <a:pt x="1763" y="251"/>
                </a:cubicBezTo>
                <a:cubicBezTo>
                  <a:pt x="1763" y="250"/>
                  <a:pt x="1763" y="250"/>
                  <a:pt x="1762" y="250"/>
                </a:cubicBezTo>
                <a:cubicBezTo>
                  <a:pt x="1762" y="249"/>
                  <a:pt x="1761" y="249"/>
                  <a:pt x="1761" y="249"/>
                </a:cubicBezTo>
                <a:cubicBezTo>
                  <a:pt x="1761" y="249"/>
                  <a:pt x="1760" y="248"/>
                  <a:pt x="1760" y="248"/>
                </a:cubicBezTo>
                <a:cubicBezTo>
                  <a:pt x="1760" y="248"/>
                  <a:pt x="1759" y="248"/>
                  <a:pt x="1759" y="248"/>
                </a:cubicBezTo>
                <a:cubicBezTo>
                  <a:pt x="1759" y="248"/>
                  <a:pt x="1758" y="248"/>
                  <a:pt x="1758" y="248"/>
                </a:cubicBezTo>
                <a:cubicBezTo>
                  <a:pt x="1757" y="248"/>
                  <a:pt x="1757" y="248"/>
                  <a:pt x="1756" y="248"/>
                </a:cubicBezTo>
                <a:cubicBezTo>
                  <a:pt x="1757" y="248"/>
                  <a:pt x="1757" y="248"/>
                  <a:pt x="1757" y="249"/>
                </a:cubicBezTo>
                <a:cubicBezTo>
                  <a:pt x="1758" y="249"/>
                  <a:pt x="1759" y="249"/>
                  <a:pt x="1759" y="249"/>
                </a:cubicBezTo>
                <a:cubicBezTo>
                  <a:pt x="1759" y="249"/>
                  <a:pt x="1760" y="249"/>
                  <a:pt x="1760" y="249"/>
                </a:cubicBezTo>
                <a:cubicBezTo>
                  <a:pt x="1761" y="250"/>
                  <a:pt x="1762" y="250"/>
                  <a:pt x="1763" y="251"/>
                </a:cubicBezTo>
                <a:cubicBezTo>
                  <a:pt x="1763" y="251"/>
                  <a:pt x="1763" y="252"/>
                  <a:pt x="1763" y="252"/>
                </a:cubicBezTo>
                <a:cubicBezTo>
                  <a:pt x="1762" y="252"/>
                  <a:pt x="1762" y="252"/>
                  <a:pt x="1761" y="252"/>
                </a:cubicBezTo>
                <a:cubicBezTo>
                  <a:pt x="1761" y="252"/>
                  <a:pt x="1761" y="251"/>
                  <a:pt x="1760" y="251"/>
                </a:cubicBezTo>
                <a:cubicBezTo>
                  <a:pt x="1760" y="251"/>
                  <a:pt x="1760" y="251"/>
                  <a:pt x="1759" y="250"/>
                </a:cubicBezTo>
                <a:cubicBezTo>
                  <a:pt x="1759" y="251"/>
                  <a:pt x="1759" y="251"/>
                  <a:pt x="1759" y="251"/>
                </a:cubicBezTo>
                <a:cubicBezTo>
                  <a:pt x="1759" y="251"/>
                  <a:pt x="1758" y="250"/>
                  <a:pt x="1758" y="250"/>
                </a:cubicBezTo>
                <a:cubicBezTo>
                  <a:pt x="1758" y="250"/>
                  <a:pt x="1757" y="250"/>
                  <a:pt x="1757" y="250"/>
                </a:cubicBezTo>
                <a:cubicBezTo>
                  <a:pt x="1757" y="250"/>
                  <a:pt x="1757" y="250"/>
                  <a:pt x="1757" y="250"/>
                </a:cubicBezTo>
                <a:cubicBezTo>
                  <a:pt x="1758" y="250"/>
                  <a:pt x="1758" y="251"/>
                  <a:pt x="1758" y="251"/>
                </a:cubicBezTo>
                <a:cubicBezTo>
                  <a:pt x="1758" y="251"/>
                  <a:pt x="1759" y="252"/>
                  <a:pt x="1759" y="252"/>
                </a:cubicBezTo>
                <a:cubicBezTo>
                  <a:pt x="1759" y="253"/>
                  <a:pt x="1758" y="253"/>
                  <a:pt x="1758" y="253"/>
                </a:cubicBezTo>
                <a:cubicBezTo>
                  <a:pt x="1758" y="254"/>
                  <a:pt x="1758" y="254"/>
                  <a:pt x="1758" y="255"/>
                </a:cubicBezTo>
                <a:cubicBezTo>
                  <a:pt x="1759" y="255"/>
                  <a:pt x="1759" y="255"/>
                  <a:pt x="1759" y="255"/>
                </a:cubicBezTo>
                <a:cubicBezTo>
                  <a:pt x="1759" y="255"/>
                  <a:pt x="1759" y="255"/>
                  <a:pt x="1759" y="255"/>
                </a:cubicBezTo>
                <a:cubicBezTo>
                  <a:pt x="1759" y="254"/>
                  <a:pt x="1759" y="254"/>
                  <a:pt x="1760" y="253"/>
                </a:cubicBezTo>
                <a:cubicBezTo>
                  <a:pt x="1760" y="253"/>
                  <a:pt x="1760" y="253"/>
                  <a:pt x="1760" y="253"/>
                </a:cubicBezTo>
                <a:cubicBezTo>
                  <a:pt x="1761" y="254"/>
                  <a:pt x="1761" y="254"/>
                  <a:pt x="1761" y="254"/>
                </a:cubicBezTo>
                <a:cubicBezTo>
                  <a:pt x="1761" y="254"/>
                  <a:pt x="1761" y="254"/>
                  <a:pt x="1761" y="254"/>
                </a:cubicBezTo>
                <a:cubicBezTo>
                  <a:pt x="1762" y="253"/>
                  <a:pt x="1763" y="253"/>
                  <a:pt x="1764" y="253"/>
                </a:cubicBezTo>
                <a:cubicBezTo>
                  <a:pt x="1764" y="253"/>
                  <a:pt x="1764" y="254"/>
                  <a:pt x="1765" y="254"/>
                </a:cubicBezTo>
                <a:cubicBezTo>
                  <a:pt x="1765" y="254"/>
                  <a:pt x="1765" y="254"/>
                  <a:pt x="1765" y="254"/>
                </a:cubicBezTo>
                <a:cubicBezTo>
                  <a:pt x="1765" y="254"/>
                  <a:pt x="1765" y="255"/>
                  <a:pt x="1765" y="255"/>
                </a:cubicBezTo>
                <a:cubicBezTo>
                  <a:pt x="1765" y="255"/>
                  <a:pt x="1766" y="256"/>
                  <a:pt x="1766" y="257"/>
                </a:cubicBezTo>
                <a:cubicBezTo>
                  <a:pt x="1766" y="257"/>
                  <a:pt x="1767" y="257"/>
                  <a:pt x="1767" y="258"/>
                </a:cubicBezTo>
                <a:cubicBezTo>
                  <a:pt x="1767" y="258"/>
                  <a:pt x="1768" y="258"/>
                  <a:pt x="1768" y="259"/>
                </a:cubicBezTo>
                <a:cubicBezTo>
                  <a:pt x="1769" y="259"/>
                  <a:pt x="1769" y="259"/>
                  <a:pt x="1770" y="259"/>
                </a:cubicBezTo>
                <a:cubicBezTo>
                  <a:pt x="1770" y="259"/>
                  <a:pt x="1770" y="259"/>
                  <a:pt x="1770" y="259"/>
                </a:cubicBezTo>
                <a:cubicBezTo>
                  <a:pt x="1770" y="259"/>
                  <a:pt x="1770" y="259"/>
                  <a:pt x="1770" y="259"/>
                </a:cubicBezTo>
                <a:cubicBezTo>
                  <a:pt x="1771" y="259"/>
                  <a:pt x="1771" y="259"/>
                  <a:pt x="1771" y="259"/>
                </a:cubicBezTo>
                <a:cubicBezTo>
                  <a:pt x="1772" y="260"/>
                  <a:pt x="1772" y="261"/>
                  <a:pt x="1773" y="262"/>
                </a:cubicBezTo>
                <a:cubicBezTo>
                  <a:pt x="1773" y="262"/>
                  <a:pt x="1773" y="262"/>
                  <a:pt x="1773" y="262"/>
                </a:cubicBezTo>
                <a:cubicBezTo>
                  <a:pt x="1773" y="262"/>
                  <a:pt x="1773" y="262"/>
                  <a:pt x="1772" y="262"/>
                </a:cubicBezTo>
                <a:cubicBezTo>
                  <a:pt x="1772" y="262"/>
                  <a:pt x="1772" y="262"/>
                  <a:pt x="1772" y="262"/>
                </a:cubicBezTo>
                <a:cubicBezTo>
                  <a:pt x="1772" y="263"/>
                  <a:pt x="1773" y="264"/>
                  <a:pt x="1773" y="264"/>
                </a:cubicBezTo>
                <a:cubicBezTo>
                  <a:pt x="1774" y="264"/>
                  <a:pt x="1774" y="265"/>
                  <a:pt x="1774" y="265"/>
                </a:cubicBezTo>
                <a:cubicBezTo>
                  <a:pt x="1774" y="265"/>
                  <a:pt x="1774" y="264"/>
                  <a:pt x="1774" y="264"/>
                </a:cubicBezTo>
                <a:cubicBezTo>
                  <a:pt x="1774" y="264"/>
                  <a:pt x="1774" y="264"/>
                  <a:pt x="1775" y="263"/>
                </a:cubicBezTo>
                <a:cubicBezTo>
                  <a:pt x="1775" y="264"/>
                  <a:pt x="1776" y="264"/>
                  <a:pt x="1776" y="265"/>
                </a:cubicBezTo>
                <a:cubicBezTo>
                  <a:pt x="1776" y="266"/>
                  <a:pt x="1777" y="267"/>
                  <a:pt x="1777" y="268"/>
                </a:cubicBezTo>
                <a:cubicBezTo>
                  <a:pt x="1777" y="268"/>
                  <a:pt x="1777" y="267"/>
                  <a:pt x="1777" y="267"/>
                </a:cubicBezTo>
                <a:cubicBezTo>
                  <a:pt x="1776" y="267"/>
                  <a:pt x="1776" y="267"/>
                  <a:pt x="1776" y="267"/>
                </a:cubicBezTo>
                <a:cubicBezTo>
                  <a:pt x="1776" y="267"/>
                  <a:pt x="1776" y="267"/>
                  <a:pt x="1775" y="267"/>
                </a:cubicBezTo>
                <a:cubicBezTo>
                  <a:pt x="1776" y="267"/>
                  <a:pt x="1776" y="268"/>
                  <a:pt x="1776" y="268"/>
                </a:cubicBezTo>
                <a:cubicBezTo>
                  <a:pt x="1775" y="268"/>
                  <a:pt x="1775" y="268"/>
                  <a:pt x="1775" y="268"/>
                </a:cubicBezTo>
                <a:cubicBezTo>
                  <a:pt x="1774" y="268"/>
                  <a:pt x="1774" y="268"/>
                  <a:pt x="1774" y="269"/>
                </a:cubicBezTo>
                <a:cubicBezTo>
                  <a:pt x="1774" y="269"/>
                  <a:pt x="1774" y="269"/>
                  <a:pt x="1774" y="269"/>
                </a:cubicBezTo>
                <a:cubicBezTo>
                  <a:pt x="1775" y="269"/>
                  <a:pt x="1775" y="269"/>
                  <a:pt x="1776" y="270"/>
                </a:cubicBezTo>
                <a:cubicBezTo>
                  <a:pt x="1776" y="269"/>
                  <a:pt x="1776" y="269"/>
                  <a:pt x="1776" y="269"/>
                </a:cubicBezTo>
                <a:cubicBezTo>
                  <a:pt x="1776" y="269"/>
                  <a:pt x="1776" y="269"/>
                  <a:pt x="1777" y="269"/>
                </a:cubicBezTo>
                <a:cubicBezTo>
                  <a:pt x="1777" y="269"/>
                  <a:pt x="1777" y="269"/>
                  <a:pt x="1777" y="269"/>
                </a:cubicBezTo>
                <a:cubicBezTo>
                  <a:pt x="1778" y="269"/>
                  <a:pt x="1778" y="269"/>
                  <a:pt x="1778" y="269"/>
                </a:cubicBezTo>
                <a:cubicBezTo>
                  <a:pt x="1778" y="269"/>
                  <a:pt x="1778" y="270"/>
                  <a:pt x="1778" y="270"/>
                </a:cubicBezTo>
                <a:cubicBezTo>
                  <a:pt x="1779" y="271"/>
                  <a:pt x="1780" y="272"/>
                  <a:pt x="1780" y="272"/>
                </a:cubicBezTo>
                <a:cubicBezTo>
                  <a:pt x="1781" y="273"/>
                  <a:pt x="1782" y="273"/>
                  <a:pt x="1783" y="274"/>
                </a:cubicBezTo>
                <a:cubicBezTo>
                  <a:pt x="1783" y="274"/>
                  <a:pt x="1783" y="275"/>
                  <a:pt x="1784" y="275"/>
                </a:cubicBezTo>
                <a:cubicBezTo>
                  <a:pt x="1783" y="275"/>
                  <a:pt x="1783" y="276"/>
                  <a:pt x="1783" y="276"/>
                </a:cubicBezTo>
                <a:cubicBezTo>
                  <a:pt x="1783" y="276"/>
                  <a:pt x="1783" y="277"/>
                  <a:pt x="1784" y="277"/>
                </a:cubicBezTo>
                <a:cubicBezTo>
                  <a:pt x="1784" y="278"/>
                  <a:pt x="1784" y="278"/>
                  <a:pt x="1785" y="278"/>
                </a:cubicBezTo>
                <a:cubicBezTo>
                  <a:pt x="1785" y="279"/>
                  <a:pt x="1785" y="280"/>
                  <a:pt x="1785" y="280"/>
                </a:cubicBezTo>
                <a:cubicBezTo>
                  <a:pt x="1785" y="281"/>
                  <a:pt x="1785" y="282"/>
                  <a:pt x="1785" y="282"/>
                </a:cubicBezTo>
                <a:cubicBezTo>
                  <a:pt x="1784" y="282"/>
                  <a:pt x="1784" y="282"/>
                  <a:pt x="1784" y="282"/>
                </a:cubicBezTo>
                <a:cubicBezTo>
                  <a:pt x="1784" y="282"/>
                  <a:pt x="1784" y="282"/>
                  <a:pt x="1784" y="282"/>
                </a:cubicBezTo>
                <a:cubicBezTo>
                  <a:pt x="1784" y="283"/>
                  <a:pt x="1784" y="283"/>
                  <a:pt x="1785" y="283"/>
                </a:cubicBezTo>
                <a:cubicBezTo>
                  <a:pt x="1785" y="284"/>
                  <a:pt x="1785" y="284"/>
                  <a:pt x="1785" y="284"/>
                </a:cubicBezTo>
                <a:cubicBezTo>
                  <a:pt x="1784" y="284"/>
                  <a:pt x="1784" y="284"/>
                  <a:pt x="1784" y="284"/>
                </a:cubicBezTo>
                <a:cubicBezTo>
                  <a:pt x="1784" y="284"/>
                  <a:pt x="1784" y="284"/>
                  <a:pt x="1784" y="284"/>
                </a:cubicBezTo>
                <a:cubicBezTo>
                  <a:pt x="1782" y="283"/>
                  <a:pt x="1781" y="282"/>
                  <a:pt x="1779" y="282"/>
                </a:cubicBezTo>
                <a:cubicBezTo>
                  <a:pt x="1779" y="281"/>
                  <a:pt x="1779" y="281"/>
                  <a:pt x="1779" y="281"/>
                </a:cubicBezTo>
                <a:cubicBezTo>
                  <a:pt x="1778" y="281"/>
                  <a:pt x="1778" y="281"/>
                  <a:pt x="1778" y="281"/>
                </a:cubicBezTo>
                <a:cubicBezTo>
                  <a:pt x="1777" y="280"/>
                  <a:pt x="1777" y="280"/>
                  <a:pt x="1777" y="280"/>
                </a:cubicBezTo>
                <a:cubicBezTo>
                  <a:pt x="1777" y="280"/>
                  <a:pt x="1777" y="280"/>
                  <a:pt x="1777" y="279"/>
                </a:cubicBezTo>
                <a:cubicBezTo>
                  <a:pt x="1777" y="279"/>
                  <a:pt x="1776" y="279"/>
                  <a:pt x="1776" y="279"/>
                </a:cubicBezTo>
                <a:cubicBezTo>
                  <a:pt x="1776" y="279"/>
                  <a:pt x="1776" y="279"/>
                  <a:pt x="1776" y="279"/>
                </a:cubicBezTo>
                <a:cubicBezTo>
                  <a:pt x="1776" y="279"/>
                  <a:pt x="1776" y="279"/>
                  <a:pt x="1776" y="280"/>
                </a:cubicBezTo>
                <a:cubicBezTo>
                  <a:pt x="1775" y="280"/>
                  <a:pt x="1775" y="280"/>
                  <a:pt x="1774" y="280"/>
                </a:cubicBezTo>
                <a:cubicBezTo>
                  <a:pt x="1774" y="279"/>
                  <a:pt x="1773" y="279"/>
                  <a:pt x="1773" y="279"/>
                </a:cubicBezTo>
                <a:cubicBezTo>
                  <a:pt x="1772" y="279"/>
                  <a:pt x="1772" y="279"/>
                  <a:pt x="1772" y="279"/>
                </a:cubicBezTo>
                <a:cubicBezTo>
                  <a:pt x="1772" y="279"/>
                  <a:pt x="1772" y="279"/>
                  <a:pt x="1773" y="280"/>
                </a:cubicBezTo>
                <a:cubicBezTo>
                  <a:pt x="1772" y="280"/>
                  <a:pt x="1771" y="280"/>
                  <a:pt x="1770" y="280"/>
                </a:cubicBezTo>
                <a:cubicBezTo>
                  <a:pt x="1770" y="280"/>
                  <a:pt x="1770" y="280"/>
                  <a:pt x="1769" y="279"/>
                </a:cubicBezTo>
                <a:cubicBezTo>
                  <a:pt x="1769" y="280"/>
                  <a:pt x="1769" y="280"/>
                  <a:pt x="1769" y="280"/>
                </a:cubicBezTo>
                <a:cubicBezTo>
                  <a:pt x="1769" y="280"/>
                  <a:pt x="1769" y="280"/>
                  <a:pt x="1770" y="280"/>
                </a:cubicBezTo>
                <a:cubicBezTo>
                  <a:pt x="1769" y="281"/>
                  <a:pt x="1768" y="281"/>
                  <a:pt x="1767" y="281"/>
                </a:cubicBezTo>
                <a:cubicBezTo>
                  <a:pt x="1767" y="281"/>
                  <a:pt x="1767" y="281"/>
                  <a:pt x="1767" y="281"/>
                </a:cubicBezTo>
                <a:cubicBezTo>
                  <a:pt x="1766" y="281"/>
                  <a:pt x="1766" y="281"/>
                  <a:pt x="1766" y="281"/>
                </a:cubicBezTo>
                <a:cubicBezTo>
                  <a:pt x="1766" y="281"/>
                  <a:pt x="1766" y="281"/>
                  <a:pt x="1766" y="280"/>
                </a:cubicBezTo>
                <a:cubicBezTo>
                  <a:pt x="1765" y="281"/>
                  <a:pt x="1765" y="281"/>
                  <a:pt x="1765" y="281"/>
                </a:cubicBezTo>
                <a:cubicBezTo>
                  <a:pt x="1765" y="282"/>
                  <a:pt x="1765" y="282"/>
                  <a:pt x="1765" y="283"/>
                </a:cubicBezTo>
                <a:cubicBezTo>
                  <a:pt x="1765" y="283"/>
                  <a:pt x="1764" y="283"/>
                  <a:pt x="1764" y="283"/>
                </a:cubicBezTo>
                <a:cubicBezTo>
                  <a:pt x="1764" y="283"/>
                  <a:pt x="1764" y="282"/>
                  <a:pt x="1763" y="282"/>
                </a:cubicBezTo>
                <a:cubicBezTo>
                  <a:pt x="1763" y="282"/>
                  <a:pt x="1763" y="283"/>
                  <a:pt x="1763" y="283"/>
                </a:cubicBezTo>
                <a:cubicBezTo>
                  <a:pt x="1763" y="283"/>
                  <a:pt x="1763" y="283"/>
                  <a:pt x="1763" y="283"/>
                </a:cubicBezTo>
                <a:cubicBezTo>
                  <a:pt x="1763" y="284"/>
                  <a:pt x="1762" y="284"/>
                  <a:pt x="1762" y="284"/>
                </a:cubicBezTo>
                <a:cubicBezTo>
                  <a:pt x="1761" y="284"/>
                  <a:pt x="1761" y="284"/>
                  <a:pt x="1761" y="283"/>
                </a:cubicBezTo>
                <a:cubicBezTo>
                  <a:pt x="1761" y="284"/>
                  <a:pt x="1761" y="284"/>
                  <a:pt x="1761" y="284"/>
                </a:cubicBezTo>
                <a:cubicBezTo>
                  <a:pt x="1761" y="284"/>
                  <a:pt x="1761" y="284"/>
                  <a:pt x="1760" y="284"/>
                </a:cubicBezTo>
                <a:cubicBezTo>
                  <a:pt x="1760" y="284"/>
                  <a:pt x="1760" y="284"/>
                  <a:pt x="1760" y="285"/>
                </a:cubicBezTo>
                <a:cubicBezTo>
                  <a:pt x="1760" y="284"/>
                  <a:pt x="1759" y="284"/>
                  <a:pt x="1759" y="284"/>
                </a:cubicBezTo>
                <a:cubicBezTo>
                  <a:pt x="1759" y="284"/>
                  <a:pt x="1759" y="284"/>
                  <a:pt x="1758" y="284"/>
                </a:cubicBezTo>
                <a:cubicBezTo>
                  <a:pt x="1758" y="284"/>
                  <a:pt x="1759" y="285"/>
                  <a:pt x="1759" y="285"/>
                </a:cubicBezTo>
                <a:cubicBezTo>
                  <a:pt x="1759" y="285"/>
                  <a:pt x="1759" y="285"/>
                  <a:pt x="1759" y="285"/>
                </a:cubicBezTo>
                <a:cubicBezTo>
                  <a:pt x="1758" y="285"/>
                  <a:pt x="1758" y="285"/>
                  <a:pt x="1757" y="285"/>
                </a:cubicBezTo>
                <a:cubicBezTo>
                  <a:pt x="1757" y="286"/>
                  <a:pt x="1757" y="286"/>
                  <a:pt x="1757" y="286"/>
                </a:cubicBezTo>
                <a:cubicBezTo>
                  <a:pt x="1757" y="286"/>
                  <a:pt x="1757" y="286"/>
                  <a:pt x="1757" y="287"/>
                </a:cubicBezTo>
                <a:cubicBezTo>
                  <a:pt x="1757" y="286"/>
                  <a:pt x="1756" y="286"/>
                  <a:pt x="1756" y="286"/>
                </a:cubicBezTo>
                <a:cubicBezTo>
                  <a:pt x="1756" y="286"/>
                  <a:pt x="1756" y="286"/>
                  <a:pt x="1756" y="286"/>
                </a:cubicBezTo>
                <a:cubicBezTo>
                  <a:pt x="1755" y="286"/>
                  <a:pt x="1755" y="286"/>
                  <a:pt x="1755" y="286"/>
                </a:cubicBezTo>
                <a:cubicBezTo>
                  <a:pt x="1755" y="286"/>
                  <a:pt x="1755" y="286"/>
                  <a:pt x="1755" y="286"/>
                </a:cubicBezTo>
                <a:cubicBezTo>
                  <a:pt x="1756" y="287"/>
                  <a:pt x="1756" y="287"/>
                  <a:pt x="1757" y="287"/>
                </a:cubicBezTo>
                <a:cubicBezTo>
                  <a:pt x="1756" y="288"/>
                  <a:pt x="1756" y="288"/>
                  <a:pt x="1756" y="288"/>
                </a:cubicBezTo>
                <a:cubicBezTo>
                  <a:pt x="1755" y="288"/>
                  <a:pt x="1755" y="288"/>
                  <a:pt x="1754" y="287"/>
                </a:cubicBezTo>
                <a:cubicBezTo>
                  <a:pt x="1754" y="288"/>
                  <a:pt x="1754" y="288"/>
                  <a:pt x="1754" y="288"/>
                </a:cubicBezTo>
                <a:cubicBezTo>
                  <a:pt x="1754" y="288"/>
                  <a:pt x="1754" y="288"/>
                  <a:pt x="1755" y="288"/>
                </a:cubicBezTo>
                <a:cubicBezTo>
                  <a:pt x="1755" y="289"/>
                  <a:pt x="1755" y="289"/>
                  <a:pt x="1755" y="290"/>
                </a:cubicBezTo>
                <a:cubicBezTo>
                  <a:pt x="1755" y="290"/>
                  <a:pt x="1754" y="290"/>
                  <a:pt x="1754" y="290"/>
                </a:cubicBezTo>
                <a:cubicBezTo>
                  <a:pt x="1754" y="290"/>
                  <a:pt x="1754" y="290"/>
                  <a:pt x="1754" y="290"/>
                </a:cubicBezTo>
                <a:cubicBezTo>
                  <a:pt x="1754" y="291"/>
                  <a:pt x="1753" y="291"/>
                  <a:pt x="1753" y="291"/>
                </a:cubicBezTo>
                <a:cubicBezTo>
                  <a:pt x="1753" y="291"/>
                  <a:pt x="1753" y="291"/>
                  <a:pt x="1753" y="292"/>
                </a:cubicBezTo>
                <a:cubicBezTo>
                  <a:pt x="1752" y="292"/>
                  <a:pt x="1752" y="292"/>
                  <a:pt x="1751" y="292"/>
                </a:cubicBezTo>
                <a:cubicBezTo>
                  <a:pt x="1751" y="293"/>
                  <a:pt x="1751" y="293"/>
                  <a:pt x="1750" y="294"/>
                </a:cubicBezTo>
                <a:cubicBezTo>
                  <a:pt x="1750" y="294"/>
                  <a:pt x="1750" y="294"/>
                  <a:pt x="1749" y="294"/>
                </a:cubicBezTo>
                <a:cubicBezTo>
                  <a:pt x="1749" y="294"/>
                  <a:pt x="1749" y="295"/>
                  <a:pt x="1749" y="295"/>
                </a:cubicBezTo>
                <a:cubicBezTo>
                  <a:pt x="1749" y="295"/>
                  <a:pt x="1749" y="295"/>
                  <a:pt x="1750" y="295"/>
                </a:cubicBezTo>
                <a:cubicBezTo>
                  <a:pt x="1750" y="295"/>
                  <a:pt x="1750" y="296"/>
                  <a:pt x="1750" y="296"/>
                </a:cubicBezTo>
                <a:cubicBezTo>
                  <a:pt x="1749" y="296"/>
                  <a:pt x="1749" y="296"/>
                  <a:pt x="1749" y="296"/>
                </a:cubicBezTo>
                <a:cubicBezTo>
                  <a:pt x="1749" y="297"/>
                  <a:pt x="1750" y="297"/>
                  <a:pt x="1750" y="298"/>
                </a:cubicBezTo>
                <a:cubicBezTo>
                  <a:pt x="1750" y="298"/>
                  <a:pt x="1750" y="298"/>
                  <a:pt x="1750" y="299"/>
                </a:cubicBezTo>
                <a:cubicBezTo>
                  <a:pt x="1750" y="298"/>
                  <a:pt x="1749" y="298"/>
                  <a:pt x="1749" y="298"/>
                </a:cubicBezTo>
                <a:cubicBezTo>
                  <a:pt x="1749" y="298"/>
                  <a:pt x="1748" y="298"/>
                  <a:pt x="1748" y="298"/>
                </a:cubicBezTo>
                <a:cubicBezTo>
                  <a:pt x="1747" y="297"/>
                  <a:pt x="1747" y="297"/>
                  <a:pt x="1747" y="297"/>
                </a:cubicBezTo>
                <a:cubicBezTo>
                  <a:pt x="1747" y="297"/>
                  <a:pt x="1747" y="297"/>
                  <a:pt x="1746" y="297"/>
                </a:cubicBezTo>
                <a:cubicBezTo>
                  <a:pt x="1746" y="296"/>
                  <a:pt x="1746" y="295"/>
                  <a:pt x="1745" y="295"/>
                </a:cubicBezTo>
                <a:cubicBezTo>
                  <a:pt x="1745" y="295"/>
                  <a:pt x="1746" y="295"/>
                  <a:pt x="1746" y="295"/>
                </a:cubicBezTo>
                <a:cubicBezTo>
                  <a:pt x="1746" y="295"/>
                  <a:pt x="1746" y="295"/>
                  <a:pt x="1745" y="294"/>
                </a:cubicBezTo>
                <a:cubicBezTo>
                  <a:pt x="1745" y="294"/>
                  <a:pt x="1745" y="294"/>
                  <a:pt x="1744" y="294"/>
                </a:cubicBezTo>
                <a:cubicBezTo>
                  <a:pt x="1744" y="294"/>
                  <a:pt x="1744" y="294"/>
                  <a:pt x="1744" y="294"/>
                </a:cubicBezTo>
                <a:cubicBezTo>
                  <a:pt x="1744" y="293"/>
                  <a:pt x="1744" y="293"/>
                  <a:pt x="1744" y="293"/>
                </a:cubicBezTo>
                <a:cubicBezTo>
                  <a:pt x="1743" y="292"/>
                  <a:pt x="1742" y="291"/>
                  <a:pt x="1741" y="291"/>
                </a:cubicBezTo>
                <a:cubicBezTo>
                  <a:pt x="1741" y="290"/>
                  <a:pt x="1740" y="290"/>
                  <a:pt x="1740" y="290"/>
                </a:cubicBezTo>
                <a:cubicBezTo>
                  <a:pt x="1739" y="290"/>
                  <a:pt x="1738" y="290"/>
                  <a:pt x="1738" y="290"/>
                </a:cubicBezTo>
                <a:cubicBezTo>
                  <a:pt x="1738" y="290"/>
                  <a:pt x="1737" y="289"/>
                  <a:pt x="1737" y="289"/>
                </a:cubicBezTo>
                <a:cubicBezTo>
                  <a:pt x="1737" y="289"/>
                  <a:pt x="1736" y="289"/>
                  <a:pt x="1736" y="289"/>
                </a:cubicBezTo>
                <a:cubicBezTo>
                  <a:pt x="1735" y="289"/>
                  <a:pt x="1735" y="289"/>
                  <a:pt x="1734" y="289"/>
                </a:cubicBezTo>
                <a:cubicBezTo>
                  <a:pt x="1734" y="289"/>
                  <a:pt x="1734" y="289"/>
                  <a:pt x="1733" y="289"/>
                </a:cubicBezTo>
                <a:cubicBezTo>
                  <a:pt x="1733" y="289"/>
                  <a:pt x="1733" y="290"/>
                  <a:pt x="1732" y="290"/>
                </a:cubicBezTo>
                <a:cubicBezTo>
                  <a:pt x="1732" y="290"/>
                  <a:pt x="1732" y="290"/>
                  <a:pt x="1731" y="290"/>
                </a:cubicBezTo>
                <a:cubicBezTo>
                  <a:pt x="1731" y="290"/>
                  <a:pt x="1731" y="289"/>
                  <a:pt x="1730" y="289"/>
                </a:cubicBezTo>
                <a:cubicBezTo>
                  <a:pt x="1730" y="290"/>
                  <a:pt x="1731" y="290"/>
                  <a:pt x="1731" y="290"/>
                </a:cubicBezTo>
                <a:cubicBezTo>
                  <a:pt x="1730" y="291"/>
                  <a:pt x="1730" y="291"/>
                  <a:pt x="1730" y="291"/>
                </a:cubicBezTo>
                <a:cubicBezTo>
                  <a:pt x="1730" y="291"/>
                  <a:pt x="1730" y="291"/>
                  <a:pt x="1730" y="292"/>
                </a:cubicBezTo>
                <a:cubicBezTo>
                  <a:pt x="1730" y="292"/>
                  <a:pt x="1729" y="292"/>
                  <a:pt x="1729" y="292"/>
                </a:cubicBezTo>
                <a:cubicBezTo>
                  <a:pt x="1729" y="293"/>
                  <a:pt x="1728" y="293"/>
                  <a:pt x="1728" y="294"/>
                </a:cubicBezTo>
                <a:cubicBezTo>
                  <a:pt x="1728" y="294"/>
                  <a:pt x="1727" y="294"/>
                  <a:pt x="1727" y="294"/>
                </a:cubicBezTo>
                <a:cubicBezTo>
                  <a:pt x="1727" y="293"/>
                  <a:pt x="1727" y="293"/>
                  <a:pt x="1727" y="293"/>
                </a:cubicBezTo>
                <a:cubicBezTo>
                  <a:pt x="1727" y="292"/>
                  <a:pt x="1727" y="291"/>
                  <a:pt x="1726" y="290"/>
                </a:cubicBezTo>
                <a:cubicBezTo>
                  <a:pt x="1727" y="290"/>
                  <a:pt x="1727" y="290"/>
                  <a:pt x="1727" y="289"/>
                </a:cubicBezTo>
                <a:cubicBezTo>
                  <a:pt x="1726" y="289"/>
                  <a:pt x="1726" y="289"/>
                  <a:pt x="1726" y="289"/>
                </a:cubicBezTo>
                <a:cubicBezTo>
                  <a:pt x="1726" y="288"/>
                  <a:pt x="1726" y="288"/>
                  <a:pt x="1725" y="288"/>
                </a:cubicBezTo>
                <a:cubicBezTo>
                  <a:pt x="1725" y="288"/>
                  <a:pt x="1725" y="288"/>
                  <a:pt x="1725" y="288"/>
                </a:cubicBezTo>
                <a:cubicBezTo>
                  <a:pt x="1724" y="289"/>
                  <a:pt x="1724" y="289"/>
                  <a:pt x="1723" y="289"/>
                </a:cubicBezTo>
                <a:cubicBezTo>
                  <a:pt x="1723" y="289"/>
                  <a:pt x="1722" y="289"/>
                  <a:pt x="1722" y="289"/>
                </a:cubicBezTo>
                <a:cubicBezTo>
                  <a:pt x="1722" y="289"/>
                  <a:pt x="1722" y="289"/>
                  <a:pt x="1721" y="290"/>
                </a:cubicBezTo>
                <a:cubicBezTo>
                  <a:pt x="1722" y="290"/>
                  <a:pt x="1722" y="290"/>
                  <a:pt x="1722" y="290"/>
                </a:cubicBezTo>
                <a:cubicBezTo>
                  <a:pt x="1722" y="291"/>
                  <a:pt x="1721" y="291"/>
                  <a:pt x="1721" y="291"/>
                </a:cubicBezTo>
                <a:cubicBezTo>
                  <a:pt x="1720" y="291"/>
                  <a:pt x="1720" y="291"/>
                  <a:pt x="1720" y="290"/>
                </a:cubicBezTo>
                <a:cubicBezTo>
                  <a:pt x="1720" y="290"/>
                  <a:pt x="1720" y="290"/>
                  <a:pt x="1720" y="290"/>
                </a:cubicBezTo>
                <a:cubicBezTo>
                  <a:pt x="1719" y="290"/>
                  <a:pt x="1719" y="290"/>
                  <a:pt x="1719" y="289"/>
                </a:cubicBezTo>
                <a:cubicBezTo>
                  <a:pt x="1719" y="289"/>
                  <a:pt x="1719" y="289"/>
                  <a:pt x="1718" y="289"/>
                </a:cubicBezTo>
                <a:cubicBezTo>
                  <a:pt x="1718" y="289"/>
                  <a:pt x="1718" y="290"/>
                  <a:pt x="1717" y="290"/>
                </a:cubicBezTo>
                <a:cubicBezTo>
                  <a:pt x="1717" y="290"/>
                  <a:pt x="1717" y="290"/>
                  <a:pt x="1717" y="290"/>
                </a:cubicBezTo>
                <a:cubicBezTo>
                  <a:pt x="1716" y="289"/>
                  <a:pt x="1716" y="289"/>
                  <a:pt x="1716" y="289"/>
                </a:cubicBezTo>
                <a:cubicBezTo>
                  <a:pt x="1716" y="289"/>
                  <a:pt x="1715" y="289"/>
                  <a:pt x="1715" y="289"/>
                </a:cubicBezTo>
                <a:cubicBezTo>
                  <a:pt x="1715" y="289"/>
                  <a:pt x="1715" y="289"/>
                  <a:pt x="1715" y="289"/>
                </a:cubicBezTo>
                <a:cubicBezTo>
                  <a:pt x="1715" y="289"/>
                  <a:pt x="1715" y="290"/>
                  <a:pt x="1715" y="290"/>
                </a:cubicBezTo>
                <a:cubicBezTo>
                  <a:pt x="1715" y="290"/>
                  <a:pt x="1715" y="290"/>
                  <a:pt x="1714" y="290"/>
                </a:cubicBezTo>
                <a:cubicBezTo>
                  <a:pt x="1714" y="290"/>
                  <a:pt x="1714" y="290"/>
                  <a:pt x="1714" y="290"/>
                </a:cubicBezTo>
                <a:cubicBezTo>
                  <a:pt x="1714" y="291"/>
                  <a:pt x="1714" y="291"/>
                  <a:pt x="1713" y="291"/>
                </a:cubicBezTo>
                <a:cubicBezTo>
                  <a:pt x="1714" y="291"/>
                  <a:pt x="1714" y="292"/>
                  <a:pt x="1714" y="292"/>
                </a:cubicBezTo>
                <a:cubicBezTo>
                  <a:pt x="1714" y="292"/>
                  <a:pt x="1714" y="293"/>
                  <a:pt x="1714" y="293"/>
                </a:cubicBezTo>
                <a:cubicBezTo>
                  <a:pt x="1714" y="293"/>
                  <a:pt x="1714" y="293"/>
                  <a:pt x="1713" y="293"/>
                </a:cubicBezTo>
                <a:cubicBezTo>
                  <a:pt x="1713" y="293"/>
                  <a:pt x="1713" y="293"/>
                  <a:pt x="1713" y="293"/>
                </a:cubicBezTo>
                <a:cubicBezTo>
                  <a:pt x="1714" y="294"/>
                  <a:pt x="1714" y="294"/>
                  <a:pt x="1714" y="294"/>
                </a:cubicBezTo>
                <a:cubicBezTo>
                  <a:pt x="1715" y="294"/>
                  <a:pt x="1715" y="295"/>
                  <a:pt x="1715" y="295"/>
                </a:cubicBezTo>
                <a:cubicBezTo>
                  <a:pt x="1715" y="295"/>
                  <a:pt x="1715" y="295"/>
                  <a:pt x="1715" y="295"/>
                </a:cubicBezTo>
                <a:cubicBezTo>
                  <a:pt x="1715" y="295"/>
                  <a:pt x="1715" y="295"/>
                  <a:pt x="1715" y="295"/>
                </a:cubicBezTo>
                <a:cubicBezTo>
                  <a:pt x="1714" y="295"/>
                  <a:pt x="1714" y="296"/>
                  <a:pt x="1714" y="296"/>
                </a:cubicBezTo>
                <a:cubicBezTo>
                  <a:pt x="1714" y="296"/>
                  <a:pt x="1715" y="296"/>
                  <a:pt x="1715" y="296"/>
                </a:cubicBezTo>
                <a:cubicBezTo>
                  <a:pt x="1715" y="297"/>
                  <a:pt x="1715" y="297"/>
                  <a:pt x="1715" y="297"/>
                </a:cubicBezTo>
                <a:cubicBezTo>
                  <a:pt x="1715" y="297"/>
                  <a:pt x="1715" y="297"/>
                  <a:pt x="1715" y="297"/>
                </a:cubicBezTo>
                <a:cubicBezTo>
                  <a:pt x="1715" y="297"/>
                  <a:pt x="1715" y="297"/>
                  <a:pt x="1714" y="297"/>
                </a:cubicBezTo>
                <a:cubicBezTo>
                  <a:pt x="1714" y="297"/>
                  <a:pt x="1714" y="297"/>
                  <a:pt x="1714" y="296"/>
                </a:cubicBezTo>
                <a:cubicBezTo>
                  <a:pt x="1713" y="297"/>
                  <a:pt x="1713" y="297"/>
                  <a:pt x="1713" y="297"/>
                </a:cubicBezTo>
                <a:cubicBezTo>
                  <a:pt x="1713" y="297"/>
                  <a:pt x="1714" y="297"/>
                  <a:pt x="1714" y="298"/>
                </a:cubicBezTo>
                <a:cubicBezTo>
                  <a:pt x="1714" y="298"/>
                  <a:pt x="1714" y="298"/>
                  <a:pt x="1715" y="298"/>
                </a:cubicBezTo>
                <a:cubicBezTo>
                  <a:pt x="1715" y="298"/>
                  <a:pt x="1714" y="298"/>
                  <a:pt x="1714" y="299"/>
                </a:cubicBezTo>
                <a:cubicBezTo>
                  <a:pt x="1714" y="299"/>
                  <a:pt x="1714" y="299"/>
                  <a:pt x="1714" y="299"/>
                </a:cubicBezTo>
                <a:cubicBezTo>
                  <a:pt x="1714" y="299"/>
                  <a:pt x="1714" y="300"/>
                  <a:pt x="1714" y="300"/>
                </a:cubicBezTo>
                <a:cubicBezTo>
                  <a:pt x="1713" y="300"/>
                  <a:pt x="1713" y="300"/>
                  <a:pt x="1713" y="300"/>
                </a:cubicBezTo>
                <a:cubicBezTo>
                  <a:pt x="1713" y="301"/>
                  <a:pt x="1713" y="301"/>
                  <a:pt x="1713" y="301"/>
                </a:cubicBezTo>
                <a:cubicBezTo>
                  <a:pt x="1712" y="302"/>
                  <a:pt x="1712" y="302"/>
                  <a:pt x="1712" y="302"/>
                </a:cubicBezTo>
                <a:cubicBezTo>
                  <a:pt x="1712" y="302"/>
                  <a:pt x="1712" y="302"/>
                  <a:pt x="1712" y="303"/>
                </a:cubicBezTo>
                <a:cubicBezTo>
                  <a:pt x="1712" y="303"/>
                  <a:pt x="1712" y="303"/>
                  <a:pt x="1712" y="303"/>
                </a:cubicBezTo>
                <a:cubicBezTo>
                  <a:pt x="1712" y="303"/>
                  <a:pt x="1712" y="304"/>
                  <a:pt x="1712" y="304"/>
                </a:cubicBezTo>
                <a:cubicBezTo>
                  <a:pt x="1712" y="304"/>
                  <a:pt x="1712" y="305"/>
                  <a:pt x="1712" y="305"/>
                </a:cubicBezTo>
                <a:cubicBezTo>
                  <a:pt x="1712" y="305"/>
                  <a:pt x="1712" y="305"/>
                  <a:pt x="1712" y="305"/>
                </a:cubicBezTo>
                <a:cubicBezTo>
                  <a:pt x="1712" y="306"/>
                  <a:pt x="1712" y="306"/>
                  <a:pt x="1712" y="306"/>
                </a:cubicBezTo>
                <a:cubicBezTo>
                  <a:pt x="1712" y="307"/>
                  <a:pt x="1713" y="307"/>
                  <a:pt x="1713" y="307"/>
                </a:cubicBezTo>
                <a:cubicBezTo>
                  <a:pt x="1713" y="308"/>
                  <a:pt x="1713" y="308"/>
                  <a:pt x="1714" y="309"/>
                </a:cubicBezTo>
                <a:cubicBezTo>
                  <a:pt x="1714" y="309"/>
                  <a:pt x="1715" y="310"/>
                  <a:pt x="1715" y="310"/>
                </a:cubicBezTo>
                <a:cubicBezTo>
                  <a:pt x="1715" y="310"/>
                  <a:pt x="1715" y="310"/>
                  <a:pt x="1715" y="310"/>
                </a:cubicBezTo>
                <a:cubicBezTo>
                  <a:pt x="1716" y="310"/>
                  <a:pt x="1716" y="310"/>
                  <a:pt x="1716" y="309"/>
                </a:cubicBezTo>
                <a:cubicBezTo>
                  <a:pt x="1716" y="309"/>
                  <a:pt x="1715" y="308"/>
                  <a:pt x="1715" y="308"/>
                </a:cubicBezTo>
                <a:cubicBezTo>
                  <a:pt x="1715" y="308"/>
                  <a:pt x="1715" y="308"/>
                  <a:pt x="1715" y="307"/>
                </a:cubicBezTo>
                <a:cubicBezTo>
                  <a:pt x="1715" y="307"/>
                  <a:pt x="1716" y="307"/>
                  <a:pt x="1716" y="307"/>
                </a:cubicBezTo>
                <a:cubicBezTo>
                  <a:pt x="1716" y="308"/>
                  <a:pt x="1717" y="308"/>
                  <a:pt x="1717" y="308"/>
                </a:cubicBezTo>
                <a:cubicBezTo>
                  <a:pt x="1718" y="308"/>
                  <a:pt x="1718" y="309"/>
                  <a:pt x="1719" y="310"/>
                </a:cubicBezTo>
                <a:cubicBezTo>
                  <a:pt x="1719" y="310"/>
                  <a:pt x="1719" y="310"/>
                  <a:pt x="1720" y="310"/>
                </a:cubicBezTo>
                <a:cubicBezTo>
                  <a:pt x="1720" y="310"/>
                  <a:pt x="1720" y="310"/>
                  <a:pt x="1720" y="310"/>
                </a:cubicBezTo>
                <a:cubicBezTo>
                  <a:pt x="1720" y="311"/>
                  <a:pt x="1720" y="311"/>
                  <a:pt x="1720" y="311"/>
                </a:cubicBezTo>
                <a:cubicBezTo>
                  <a:pt x="1720" y="311"/>
                  <a:pt x="1720" y="311"/>
                  <a:pt x="1720" y="311"/>
                </a:cubicBezTo>
                <a:cubicBezTo>
                  <a:pt x="1720" y="312"/>
                  <a:pt x="1720" y="312"/>
                  <a:pt x="1720" y="312"/>
                </a:cubicBezTo>
                <a:cubicBezTo>
                  <a:pt x="1720" y="312"/>
                  <a:pt x="1719" y="312"/>
                  <a:pt x="1719" y="312"/>
                </a:cubicBezTo>
                <a:cubicBezTo>
                  <a:pt x="1719" y="313"/>
                  <a:pt x="1719" y="313"/>
                  <a:pt x="1719" y="313"/>
                </a:cubicBezTo>
                <a:cubicBezTo>
                  <a:pt x="1719" y="313"/>
                  <a:pt x="1719" y="313"/>
                  <a:pt x="1719" y="313"/>
                </a:cubicBezTo>
                <a:cubicBezTo>
                  <a:pt x="1718" y="313"/>
                  <a:pt x="1718" y="313"/>
                  <a:pt x="1718" y="313"/>
                </a:cubicBezTo>
                <a:cubicBezTo>
                  <a:pt x="1718" y="314"/>
                  <a:pt x="1718" y="315"/>
                  <a:pt x="1718" y="315"/>
                </a:cubicBezTo>
                <a:cubicBezTo>
                  <a:pt x="1718" y="315"/>
                  <a:pt x="1718" y="316"/>
                  <a:pt x="1718" y="316"/>
                </a:cubicBezTo>
                <a:cubicBezTo>
                  <a:pt x="1718" y="317"/>
                  <a:pt x="1718" y="317"/>
                  <a:pt x="1718" y="317"/>
                </a:cubicBezTo>
                <a:cubicBezTo>
                  <a:pt x="1718" y="318"/>
                  <a:pt x="1718" y="318"/>
                  <a:pt x="1719" y="318"/>
                </a:cubicBezTo>
                <a:cubicBezTo>
                  <a:pt x="1719" y="318"/>
                  <a:pt x="1719" y="318"/>
                  <a:pt x="1719" y="318"/>
                </a:cubicBezTo>
                <a:cubicBezTo>
                  <a:pt x="1719" y="318"/>
                  <a:pt x="1719" y="318"/>
                  <a:pt x="1719" y="318"/>
                </a:cubicBezTo>
                <a:cubicBezTo>
                  <a:pt x="1720" y="318"/>
                  <a:pt x="1720" y="318"/>
                  <a:pt x="1721" y="318"/>
                </a:cubicBezTo>
                <a:cubicBezTo>
                  <a:pt x="1721" y="318"/>
                  <a:pt x="1721" y="318"/>
                  <a:pt x="1721" y="318"/>
                </a:cubicBezTo>
                <a:cubicBezTo>
                  <a:pt x="1721" y="318"/>
                  <a:pt x="1721" y="318"/>
                  <a:pt x="1721" y="318"/>
                </a:cubicBezTo>
                <a:cubicBezTo>
                  <a:pt x="1722" y="318"/>
                  <a:pt x="1722" y="319"/>
                  <a:pt x="1722" y="319"/>
                </a:cubicBezTo>
                <a:cubicBezTo>
                  <a:pt x="1722" y="319"/>
                  <a:pt x="1722" y="320"/>
                  <a:pt x="1721" y="320"/>
                </a:cubicBezTo>
                <a:cubicBezTo>
                  <a:pt x="1722" y="321"/>
                  <a:pt x="1723" y="322"/>
                  <a:pt x="1723" y="323"/>
                </a:cubicBezTo>
                <a:cubicBezTo>
                  <a:pt x="1723" y="323"/>
                  <a:pt x="1723" y="324"/>
                  <a:pt x="1724" y="324"/>
                </a:cubicBezTo>
                <a:cubicBezTo>
                  <a:pt x="1723" y="324"/>
                  <a:pt x="1723" y="324"/>
                  <a:pt x="1723" y="325"/>
                </a:cubicBezTo>
                <a:cubicBezTo>
                  <a:pt x="1723" y="325"/>
                  <a:pt x="1722" y="325"/>
                  <a:pt x="1722" y="325"/>
                </a:cubicBezTo>
                <a:cubicBezTo>
                  <a:pt x="1722" y="325"/>
                  <a:pt x="1722" y="325"/>
                  <a:pt x="1722" y="325"/>
                </a:cubicBezTo>
                <a:cubicBezTo>
                  <a:pt x="1721" y="325"/>
                  <a:pt x="1721" y="324"/>
                  <a:pt x="1720" y="324"/>
                </a:cubicBezTo>
                <a:cubicBezTo>
                  <a:pt x="1720" y="324"/>
                  <a:pt x="1719" y="323"/>
                  <a:pt x="1719" y="323"/>
                </a:cubicBezTo>
                <a:cubicBezTo>
                  <a:pt x="1719" y="323"/>
                  <a:pt x="1719" y="322"/>
                  <a:pt x="1719" y="322"/>
                </a:cubicBezTo>
                <a:cubicBezTo>
                  <a:pt x="1720" y="322"/>
                  <a:pt x="1720" y="322"/>
                  <a:pt x="1720" y="321"/>
                </a:cubicBezTo>
                <a:cubicBezTo>
                  <a:pt x="1720" y="321"/>
                  <a:pt x="1720" y="321"/>
                  <a:pt x="1721" y="321"/>
                </a:cubicBezTo>
                <a:cubicBezTo>
                  <a:pt x="1721" y="320"/>
                  <a:pt x="1721" y="320"/>
                  <a:pt x="1721" y="320"/>
                </a:cubicBezTo>
                <a:cubicBezTo>
                  <a:pt x="1720" y="320"/>
                  <a:pt x="1720" y="320"/>
                  <a:pt x="1720" y="320"/>
                </a:cubicBezTo>
                <a:cubicBezTo>
                  <a:pt x="1720" y="320"/>
                  <a:pt x="1720" y="320"/>
                  <a:pt x="1720" y="320"/>
                </a:cubicBezTo>
                <a:cubicBezTo>
                  <a:pt x="1720" y="321"/>
                  <a:pt x="1720" y="321"/>
                  <a:pt x="1720" y="321"/>
                </a:cubicBezTo>
                <a:cubicBezTo>
                  <a:pt x="1719" y="321"/>
                  <a:pt x="1719" y="321"/>
                  <a:pt x="1719" y="321"/>
                </a:cubicBezTo>
                <a:cubicBezTo>
                  <a:pt x="1718" y="321"/>
                  <a:pt x="1718" y="321"/>
                  <a:pt x="1717" y="321"/>
                </a:cubicBezTo>
                <a:cubicBezTo>
                  <a:pt x="1717" y="321"/>
                  <a:pt x="1717" y="321"/>
                  <a:pt x="1717" y="322"/>
                </a:cubicBezTo>
                <a:cubicBezTo>
                  <a:pt x="1718" y="322"/>
                  <a:pt x="1718" y="322"/>
                  <a:pt x="1719" y="322"/>
                </a:cubicBezTo>
                <a:cubicBezTo>
                  <a:pt x="1719" y="322"/>
                  <a:pt x="1718" y="322"/>
                  <a:pt x="1718" y="323"/>
                </a:cubicBezTo>
                <a:cubicBezTo>
                  <a:pt x="1718" y="323"/>
                  <a:pt x="1718" y="323"/>
                  <a:pt x="1717" y="323"/>
                </a:cubicBezTo>
                <a:cubicBezTo>
                  <a:pt x="1717" y="324"/>
                  <a:pt x="1717" y="324"/>
                  <a:pt x="1717" y="324"/>
                </a:cubicBezTo>
                <a:cubicBezTo>
                  <a:pt x="1717" y="324"/>
                  <a:pt x="1717" y="324"/>
                  <a:pt x="1717" y="325"/>
                </a:cubicBezTo>
                <a:cubicBezTo>
                  <a:pt x="1716" y="325"/>
                  <a:pt x="1716" y="326"/>
                  <a:pt x="1716" y="327"/>
                </a:cubicBezTo>
                <a:cubicBezTo>
                  <a:pt x="1716" y="327"/>
                  <a:pt x="1716" y="328"/>
                  <a:pt x="1716" y="328"/>
                </a:cubicBezTo>
                <a:cubicBezTo>
                  <a:pt x="1716" y="328"/>
                  <a:pt x="1716" y="328"/>
                  <a:pt x="1716" y="328"/>
                </a:cubicBezTo>
                <a:cubicBezTo>
                  <a:pt x="1716" y="330"/>
                  <a:pt x="1717" y="331"/>
                  <a:pt x="1718" y="332"/>
                </a:cubicBezTo>
                <a:cubicBezTo>
                  <a:pt x="1718" y="332"/>
                  <a:pt x="1718" y="332"/>
                  <a:pt x="1718" y="332"/>
                </a:cubicBezTo>
                <a:cubicBezTo>
                  <a:pt x="1719" y="333"/>
                  <a:pt x="1719" y="334"/>
                  <a:pt x="1719" y="335"/>
                </a:cubicBezTo>
                <a:cubicBezTo>
                  <a:pt x="1720" y="335"/>
                  <a:pt x="1720" y="335"/>
                  <a:pt x="1720" y="336"/>
                </a:cubicBezTo>
                <a:cubicBezTo>
                  <a:pt x="1720" y="336"/>
                  <a:pt x="1720" y="336"/>
                  <a:pt x="1719" y="336"/>
                </a:cubicBezTo>
                <a:cubicBezTo>
                  <a:pt x="1719" y="336"/>
                  <a:pt x="1719" y="337"/>
                  <a:pt x="1719" y="337"/>
                </a:cubicBezTo>
                <a:cubicBezTo>
                  <a:pt x="1718" y="337"/>
                  <a:pt x="1717" y="337"/>
                  <a:pt x="1716" y="336"/>
                </a:cubicBezTo>
                <a:cubicBezTo>
                  <a:pt x="1716" y="336"/>
                  <a:pt x="1716" y="336"/>
                  <a:pt x="1716" y="336"/>
                </a:cubicBezTo>
                <a:cubicBezTo>
                  <a:pt x="1715" y="336"/>
                  <a:pt x="1714" y="336"/>
                  <a:pt x="1713" y="336"/>
                </a:cubicBezTo>
                <a:cubicBezTo>
                  <a:pt x="1713" y="336"/>
                  <a:pt x="1713" y="335"/>
                  <a:pt x="1713" y="335"/>
                </a:cubicBezTo>
                <a:cubicBezTo>
                  <a:pt x="1713" y="336"/>
                  <a:pt x="1713" y="336"/>
                  <a:pt x="1713" y="336"/>
                </a:cubicBezTo>
                <a:cubicBezTo>
                  <a:pt x="1712" y="336"/>
                  <a:pt x="1712" y="336"/>
                  <a:pt x="1711" y="337"/>
                </a:cubicBezTo>
                <a:cubicBezTo>
                  <a:pt x="1711" y="337"/>
                  <a:pt x="1711" y="337"/>
                  <a:pt x="1711" y="338"/>
                </a:cubicBezTo>
                <a:cubicBezTo>
                  <a:pt x="1711" y="338"/>
                  <a:pt x="1710" y="338"/>
                  <a:pt x="1710" y="338"/>
                </a:cubicBezTo>
                <a:cubicBezTo>
                  <a:pt x="1710" y="338"/>
                  <a:pt x="1710" y="338"/>
                  <a:pt x="1711" y="339"/>
                </a:cubicBezTo>
                <a:cubicBezTo>
                  <a:pt x="1710" y="339"/>
                  <a:pt x="1710" y="340"/>
                  <a:pt x="1709" y="340"/>
                </a:cubicBezTo>
                <a:cubicBezTo>
                  <a:pt x="1709" y="341"/>
                  <a:pt x="1709" y="342"/>
                  <a:pt x="1709" y="342"/>
                </a:cubicBezTo>
                <a:cubicBezTo>
                  <a:pt x="1710" y="343"/>
                  <a:pt x="1710" y="343"/>
                  <a:pt x="1710" y="344"/>
                </a:cubicBezTo>
                <a:cubicBezTo>
                  <a:pt x="1710" y="344"/>
                  <a:pt x="1710" y="344"/>
                  <a:pt x="1710" y="344"/>
                </a:cubicBezTo>
                <a:cubicBezTo>
                  <a:pt x="1710" y="345"/>
                  <a:pt x="1711" y="345"/>
                  <a:pt x="1711" y="346"/>
                </a:cubicBezTo>
                <a:cubicBezTo>
                  <a:pt x="1711" y="346"/>
                  <a:pt x="1712" y="346"/>
                  <a:pt x="1712" y="347"/>
                </a:cubicBezTo>
                <a:cubicBezTo>
                  <a:pt x="1711" y="346"/>
                  <a:pt x="1711" y="346"/>
                  <a:pt x="1711" y="346"/>
                </a:cubicBezTo>
                <a:cubicBezTo>
                  <a:pt x="1710" y="346"/>
                  <a:pt x="1710" y="346"/>
                  <a:pt x="1710" y="346"/>
                </a:cubicBezTo>
                <a:cubicBezTo>
                  <a:pt x="1710" y="346"/>
                  <a:pt x="1709" y="346"/>
                  <a:pt x="1709" y="345"/>
                </a:cubicBezTo>
                <a:cubicBezTo>
                  <a:pt x="1709" y="346"/>
                  <a:pt x="1708" y="346"/>
                  <a:pt x="1708" y="346"/>
                </a:cubicBezTo>
                <a:cubicBezTo>
                  <a:pt x="1708" y="346"/>
                  <a:pt x="1707" y="345"/>
                  <a:pt x="1707" y="345"/>
                </a:cubicBezTo>
                <a:cubicBezTo>
                  <a:pt x="1707" y="345"/>
                  <a:pt x="1706" y="345"/>
                  <a:pt x="1705" y="345"/>
                </a:cubicBezTo>
                <a:cubicBezTo>
                  <a:pt x="1705" y="345"/>
                  <a:pt x="1705" y="345"/>
                  <a:pt x="1704" y="344"/>
                </a:cubicBezTo>
                <a:cubicBezTo>
                  <a:pt x="1704" y="345"/>
                  <a:pt x="1704" y="345"/>
                  <a:pt x="1704" y="345"/>
                </a:cubicBezTo>
                <a:cubicBezTo>
                  <a:pt x="1704" y="345"/>
                  <a:pt x="1704" y="345"/>
                  <a:pt x="1704" y="346"/>
                </a:cubicBezTo>
                <a:cubicBezTo>
                  <a:pt x="1704" y="346"/>
                  <a:pt x="1705" y="346"/>
                  <a:pt x="1705" y="346"/>
                </a:cubicBezTo>
                <a:cubicBezTo>
                  <a:pt x="1705" y="346"/>
                  <a:pt x="1705" y="346"/>
                  <a:pt x="1705" y="347"/>
                </a:cubicBezTo>
                <a:cubicBezTo>
                  <a:pt x="1704" y="347"/>
                  <a:pt x="1704" y="347"/>
                  <a:pt x="1704" y="347"/>
                </a:cubicBezTo>
                <a:cubicBezTo>
                  <a:pt x="1704" y="347"/>
                  <a:pt x="1705" y="348"/>
                  <a:pt x="1705" y="348"/>
                </a:cubicBezTo>
                <a:cubicBezTo>
                  <a:pt x="1705" y="348"/>
                  <a:pt x="1704" y="348"/>
                  <a:pt x="1704" y="348"/>
                </a:cubicBezTo>
                <a:cubicBezTo>
                  <a:pt x="1704" y="348"/>
                  <a:pt x="1704" y="348"/>
                  <a:pt x="1704" y="348"/>
                </a:cubicBezTo>
                <a:cubicBezTo>
                  <a:pt x="1704" y="348"/>
                  <a:pt x="1704" y="349"/>
                  <a:pt x="1704" y="349"/>
                </a:cubicBezTo>
                <a:cubicBezTo>
                  <a:pt x="1704" y="349"/>
                  <a:pt x="1704" y="349"/>
                  <a:pt x="1703" y="349"/>
                </a:cubicBezTo>
                <a:cubicBezTo>
                  <a:pt x="1704" y="350"/>
                  <a:pt x="1704" y="350"/>
                  <a:pt x="1704" y="350"/>
                </a:cubicBezTo>
                <a:cubicBezTo>
                  <a:pt x="1704" y="350"/>
                  <a:pt x="1704" y="350"/>
                  <a:pt x="1705" y="350"/>
                </a:cubicBezTo>
                <a:cubicBezTo>
                  <a:pt x="1705" y="350"/>
                  <a:pt x="1705" y="351"/>
                  <a:pt x="1705" y="351"/>
                </a:cubicBezTo>
                <a:cubicBezTo>
                  <a:pt x="1705" y="351"/>
                  <a:pt x="1705" y="351"/>
                  <a:pt x="1704" y="351"/>
                </a:cubicBezTo>
                <a:cubicBezTo>
                  <a:pt x="1704" y="351"/>
                  <a:pt x="1704" y="352"/>
                  <a:pt x="1704" y="352"/>
                </a:cubicBezTo>
                <a:cubicBezTo>
                  <a:pt x="1704" y="352"/>
                  <a:pt x="1704" y="353"/>
                  <a:pt x="1704" y="353"/>
                </a:cubicBezTo>
                <a:cubicBezTo>
                  <a:pt x="1704" y="353"/>
                  <a:pt x="1703" y="354"/>
                  <a:pt x="1703" y="354"/>
                </a:cubicBezTo>
                <a:cubicBezTo>
                  <a:pt x="1703" y="354"/>
                  <a:pt x="1702" y="354"/>
                  <a:pt x="1702" y="355"/>
                </a:cubicBezTo>
                <a:cubicBezTo>
                  <a:pt x="1702" y="355"/>
                  <a:pt x="1702" y="355"/>
                  <a:pt x="1702" y="355"/>
                </a:cubicBezTo>
                <a:cubicBezTo>
                  <a:pt x="1702" y="355"/>
                  <a:pt x="1702" y="355"/>
                  <a:pt x="1702" y="355"/>
                </a:cubicBezTo>
                <a:cubicBezTo>
                  <a:pt x="1701" y="356"/>
                  <a:pt x="1701" y="356"/>
                  <a:pt x="1700" y="356"/>
                </a:cubicBezTo>
                <a:cubicBezTo>
                  <a:pt x="1700" y="356"/>
                  <a:pt x="1700" y="356"/>
                  <a:pt x="1700" y="356"/>
                </a:cubicBezTo>
                <a:cubicBezTo>
                  <a:pt x="1700" y="356"/>
                  <a:pt x="1700" y="356"/>
                  <a:pt x="1699" y="356"/>
                </a:cubicBezTo>
                <a:cubicBezTo>
                  <a:pt x="1699" y="357"/>
                  <a:pt x="1699" y="357"/>
                  <a:pt x="1698" y="357"/>
                </a:cubicBezTo>
                <a:cubicBezTo>
                  <a:pt x="1698" y="358"/>
                  <a:pt x="1697" y="358"/>
                  <a:pt x="1696" y="359"/>
                </a:cubicBezTo>
                <a:cubicBezTo>
                  <a:pt x="1696" y="358"/>
                  <a:pt x="1697" y="358"/>
                  <a:pt x="1697" y="358"/>
                </a:cubicBezTo>
                <a:cubicBezTo>
                  <a:pt x="1697" y="358"/>
                  <a:pt x="1697" y="358"/>
                  <a:pt x="1697" y="357"/>
                </a:cubicBezTo>
                <a:cubicBezTo>
                  <a:pt x="1697" y="357"/>
                  <a:pt x="1697" y="357"/>
                  <a:pt x="1697" y="357"/>
                </a:cubicBezTo>
                <a:cubicBezTo>
                  <a:pt x="1697" y="356"/>
                  <a:pt x="1697" y="356"/>
                  <a:pt x="1697" y="356"/>
                </a:cubicBezTo>
                <a:cubicBezTo>
                  <a:pt x="1696" y="356"/>
                  <a:pt x="1696" y="355"/>
                  <a:pt x="1695" y="355"/>
                </a:cubicBezTo>
                <a:cubicBezTo>
                  <a:pt x="1695" y="354"/>
                  <a:pt x="1695" y="354"/>
                  <a:pt x="1694" y="353"/>
                </a:cubicBezTo>
                <a:cubicBezTo>
                  <a:pt x="1695" y="353"/>
                  <a:pt x="1695" y="353"/>
                  <a:pt x="1695" y="352"/>
                </a:cubicBezTo>
                <a:cubicBezTo>
                  <a:pt x="1695" y="351"/>
                  <a:pt x="1694" y="350"/>
                  <a:pt x="1694" y="348"/>
                </a:cubicBezTo>
                <a:cubicBezTo>
                  <a:pt x="1694" y="348"/>
                  <a:pt x="1694" y="347"/>
                  <a:pt x="1693" y="346"/>
                </a:cubicBezTo>
                <a:cubicBezTo>
                  <a:pt x="1694" y="347"/>
                  <a:pt x="1694" y="347"/>
                  <a:pt x="1694" y="347"/>
                </a:cubicBezTo>
                <a:cubicBezTo>
                  <a:pt x="1694" y="347"/>
                  <a:pt x="1695" y="347"/>
                  <a:pt x="1695" y="347"/>
                </a:cubicBezTo>
                <a:cubicBezTo>
                  <a:pt x="1695" y="347"/>
                  <a:pt x="1696" y="347"/>
                  <a:pt x="1696" y="346"/>
                </a:cubicBezTo>
                <a:cubicBezTo>
                  <a:pt x="1695" y="346"/>
                  <a:pt x="1695" y="346"/>
                  <a:pt x="1695" y="346"/>
                </a:cubicBezTo>
                <a:cubicBezTo>
                  <a:pt x="1694" y="346"/>
                  <a:pt x="1694" y="346"/>
                  <a:pt x="1693" y="346"/>
                </a:cubicBezTo>
                <a:cubicBezTo>
                  <a:pt x="1693" y="345"/>
                  <a:pt x="1692" y="345"/>
                  <a:pt x="1692" y="344"/>
                </a:cubicBezTo>
                <a:cubicBezTo>
                  <a:pt x="1691" y="342"/>
                  <a:pt x="1691" y="340"/>
                  <a:pt x="1690" y="338"/>
                </a:cubicBezTo>
                <a:cubicBezTo>
                  <a:pt x="1689" y="336"/>
                  <a:pt x="1688" y="335"/>
                  <a:pt x="1687" y="333"/>
                </a:cubicBezTo>
                <a:cubicBezTo>
                  <a:pt x="1688" y="333"/>
                  <a:pt x="1688" y="333"/>
                  <a:pt x="1688" y="332"/>
                </a:cubicBezTo>
                <a:cubicBezTo>
                  <a:pt x="1687" y="332"/>
                  <a:pt x="1687" y="331"/>
                  <a:pt x="1687" y="331"/>
                </a:cubicBezTo>
                <a:cubicBezTo>
                  <a:pt x="1686" y="329"/>
                  <a:pt x="1686" y="328"/>
                  <a:pt x="1685" y="327"/>
                </a:cubicBezTo>
                <a:cubicBezTo>
                  <a:pt x="1685" y="325"/>
                  <a:pt x="1684" y="324"/>
                  <a:pt x="1684" y="322"/>
                </a:cubicBezTo>
                <a:cubicBezTo>
                  <a:pt x="1684" y="320"/>
                  <a:pt x="1683" y="319"/>
                  <a:pt x="1683" y="318"/>
                </a:cubicBezTo>
                <a:cubicBezTo>
                  <a:pt x="1683" y="317"/>
                  <a:pt x="1684" y="317"/>
                  <a:pt x="1684" y="316"/>
                </a:cubicBezTo>
                <a:cubicBezTo>
                  <a:pt x="1683" y="316"/>
                  <a:pt x="1683" y="315"/>
                  <a:pt x="1683" y="314"/>
                </a:cubicBezTo>
                <a:cubicBezTo>
                  <a:pt x="1683" y="313"/>
                  <a:pt x="1683" y="313"/>
                  <a:pt x="1683" y="312"/>
                </a:cubicBezTo>
                <a:cubicBezTo>
                  <a:pt x="1683" y="311"/>
                  <a:pt x="1683" y="311"/>
                  <a:pt x="1683" y="310"/>
                </a:cubicBezTo>
                <a:cubicBezTo>
                  <a:pt x="1683" y="310"/>
                  <a:pt x="1684" y="309"/>
                  <a:pt x="1684" y="309"/>
                </a:cubicBezTo>
                <a:cubicBezTo>
                  <a:pt x="1684" y="309"/>
                  <a:pt x="1685" y="309"/>
                  <a:pt x="1686" y="308"/>
                </a:cubicBezTo>
                <a:cubicBezTo>
                  <a:pt x="1686" y="308"/>
                  <a:pt x="1686" y="308"/>
                  <a:pt x="1686" y="307"/>
                </a:cubicBezTo>
                <a:cubicBezTo>
                  <a:pt x="1687" y="307"/>
                  <a:pt x="1687" y="307"/>
                  <a:pt x="1687" y="308"/>
                </a:cubicBezTo>
                <a:cubicBezTo>
                  <a:pt x="1687" y="307"/>
                  <a:pt x="1687" y="307"/>
                  <a:pt x="1687" y="307"/>
                </a:cubicBezTo>
                <a:cubicBezTo>
                  <a:pt x="1687" y="307"/>
                  <a:pt x="1687" y="307"/>
                  <a:pt x="1688" y="307"/>
                </a:cubicBezTo>
                <a:cubicBezTo>
                  <a:pt x="1688" y="306"/>
                  <a:pt x="1688" y="305"/>
                  <a:pt x="1688" y="305"/>
                </a:cubicBezTo>
                <a:cubicBezTo>
                  <a:pt x="1688" y="304"/>
                  <a:pt x="1688" y="303"/>
                  <a:pt x="1687" y="302"/>
                </a:cubicBezTo>
                <a:cubicBezTo>
                  <a:pt x="1687" y="302"/>
                  <a:pt x="1686" y="302"/>
                  <a:pt x="1686" y="302"/>
                </a:cubicBezTo>
                <a:cubicBezTo>
                  <a:pt x="1686" y="302"/>
                  <a:pt x="1686" y="301"/>
                  <a:pt x="1686" y="301"/>
                </a:cubicBezTo>
                <a:cubicBezTo>
                  <a:pt x="1686" y="301"/>
                  <a:pt x="1687" y="301"/>
                  <a:pt x="1687" y="301"/>
                </a:cubicBezTo>
                <a:cubicBezTo>
                  <a:pt x="1688" y="302"/>
                  <a:pt x="1688" y="302"/>
                  <a:pt x="1689" y="303"/>
                </a:cubicBezTo>
                <a:cubicBezTo>
                  <a:pt x="1690" y="302"/>
                  <a:pt x="1690" y="302"/>
                  <a:pt x="1691" y="302"/>
                </a:cubicBezTo>
                <a:cubicBezTo>
                  <a:pt x="1691" y="302"/>
                  <a:pt x="1691" y="302"/>
                  <a:pt x="1691" y="302"/>
                </a:cubicBezTo>
                <a:cubicBezTo>
                  <a:pt x="1691" y="301"/>
                  <a:pt x="1691" y="301"/>
                  <a:pt x="1691" y="300"/>
                </a:cubicBezTo>
                <a:cubicBezTo>
                  <a:pt x="1692" y="300"/>
                  <a:pt x="1692" y="301"/>
                  <a:pt x="1693" y="301"/>
                </a:cubicBezTo>
                <a:cubicBezTo>
                  <a:pt x="1693" y="301"/>
                  <a:pt x="1694" y="301"/>
                  <a:pt x="1694" y="301"/>
                </a:cubicBezTo>
                <a:cubicBezTo>
                  <a:pt x="1694" y="301"/>
                  <a:pt x="1694" y="301"/>
                  <a:pt x="1693" y="300"/>
                </a:cubicBezTo>
                <a:cubicBezTo>
                  <a:pt x="1694" y="300"/>
                  <a:pt x="1695" y="299"/>
                  <a:pt x="1696" y="299"/>
                </a:cubicBezTo>
                <a:cubicBezTo>
                  <a:pt x="1696" y="298"/>
                  <a:pt x="1696" y="298"/>
                  <a:pt x="1696" y="297"/>
                </a:cubicBezTo>
                <a:cubicBezTo>
                  <a:pt x="1696" y="297"/>
                  <a:pt x="1696" y="297"/>
                  <a:pt x="1697" y="296"/>
                </a:cubicBezTo>
                <a:cubicBezTo>
                  <a:pt x="1696" y="296"/>
                  <a:pt x="1696" y="295"/>
                  <a:pt x="1696" y="295"/>
                </a:cubicBezTo>
                <a:cubicBezTo>
                  <a:pt x="1697" y="295"/>
                  <a:pt x="1697" y="295"/>
                  <a:pt x="1697" y="295"/>
                </a:cubicBezTo>
                <a:cubicBezTo>
                  <a:pt x="1698" y="295"/>
                  <a:pt x="1698" y="294"/>
                  <a:pt x="1698" y="294"/>
                </a:cubicBezTo>
                <a:cubicBezTo>
                  <a:pt x="1698" y="294"/>
                  <a:pt x="1698" y="294"/>
                  <a:pt x="1698" y="293"/>
                </a:cubicBezTo>
                <a:cubicBezTo>
                  <a:pt x="1698" y="293"/>
                  <a:pt x="1698" y="293"/>
                  <a:pt x="1698" y="293"/>
                </a:cubicBezTo>
                <a:cubicBezTo>
                  <a:pt x="1699" y="293"/>
                  <a:pt x="1699" y="293"/>
                  <a:pt x="1699" y="293"/>
                </a:cubicBezTo>
                <a:cubicBezTo>
                  <a:pt x="1699" y="293"/>
                  <a:pt x="1699" y="292"/>
                  <a:pt x="1699" y="292"/>
                </a:cubicBezTo>
                <a:cubicBezTo>
                  <a:pt x="1699" y="292"/>
                  <a:pt x="1699" y="291"/>
                  <a:pt x="1699" y="291"/>
                </a:cubicBezTo>
                <a:cubicBezTo>
                  <a:pt x="1699" y="291"/>
                  <a:pt x="1699" y="291"/>
                  <a:pt x="1699" y="291"/>
                </a:cubicBezTo>
                <a:cubicBezTo>
                  <a:pt x="1699" y="291"/>
                  <a:pt x="1700" y="290"/>
                  <a:pt x="1700" y="290"/>
                </a:cubicBezTo>
                <a:cubicBezTo>
                  <a:pt x="1700" y="290"/>
                  <a:pt x="1700" y="290"/>
                  <a:pt x="1700" y="289"/>
                </a:cubicBezTo>
                <a:cubicBezTo>
                  <a:pt x="1700" y="289"/>
                  <a:pt x="1700" y="289"/>
                  <a:pt x="1700" y="289"/>
                </a:cubicBezTo>
                <a:cubicBezTo>
                  <a:pt x="1701" y="289"/>
                  <a:pt x="1701" y="289"/>
                  <a:pt x="1701" y="289"/>
                </a:cubicBezTo>
                <a:cubicBezTo>
                  <a:pt x="1702" y="289"/>
                  <a:pt x="1702" y="289"/>
                  <a:pt x="1702" y="289"/>
                </a:cubicBezTo>
                <a:cubicBezTo>
                  <a:pt x="1702" y="288"/>
                  <a:pt x="1702" y="288"/>
                  <a:pt x="1702" y="287"/>
                </a:cubicBezTo>
                <a:cubicBezTo>
                  <a:pt x="1703" y="287"/>
                  <a:pt x="1703" y="287"/>
                  <a:pt x="1703" y="286"/>
                </a:cubicBezTo>
                <a:cubicBezTo>
                  <a:pt x="1703" y="286"/>
                  <a:pt x="1703" y="286"/>
                  <a:pt x="1703" y="286"/>
                </a:cubicBezTo>
                <a:cubicBezTo>
                  <a:pt x="1703" y="286"/>
                  <a:pt x="1703" y="285"/>
                  <a:pt x="1703" y="285"/>
                </a:cubicBezTo>
                <a:cubicBezTo>
                  <a:pt x="1703" y="285"/>
                  <a:pt x="1704" y="285"/>
                  <a:pt x="1704" y="285"/>
                </a:cubicBezTo>
                <a:cubicBezTo>
                  <a:pt x="1704" y="284"/>
                  <a:pt x="1705" y="284"/>
                  <a:pt x="1705" y="284"/>
                </a:cubicBezTo>
                <a:cubicBezTo>
                  <a:pt x="1704" y="284"/>
                  <a:pt x="1704" y="284"/>
                  <a:pt x="1704" y="283"/>
                </a:cubicBezTo>
                <a:cubicBezTo>
                  <a:pt x="1704" y="283"/>
                  <a:pt x="1704" y="283"/>
                  <a:pt x="1704" y="282"/>
                </a:cubicBezTo>
                <a:cubicBezTo>
                  <a:pt x="1704" y="282"/>
                  <a:pt x="1704" y="282"/>
                  <a:pt x="1705" y="282"/>
                </a:cubicBezTo>
                <a:cubicBezTo>
                  <a:pt x="1705" y="282"/>
                  <a:pt x="1705" y="282"/>
                  <a:pt x="1705" y="282"/>
                </a:cubicBezTo>
                <a:cubicBezTo>
                  <a:pt x="1705" y="282"/>
                  <a:pt x="1706" y="282"/>
                  <a:pt x="1706" y="282"/>
                </a:cubicBezTo>
                <a:cubicBezTo>
                  <a:pt x="1706" y="282"/>
                  <a:pt x="1706" y="282"/>
                  <a:pt x="1706" y="282"/>
                </a:cubicBezTo>
                <a:cubicBezTo>
                  <a:pt x="1707" y="282"/>
                  <a:pt x="1707" y="282"/>
                  <a:pt x="1708" y="282"/>
                </a:cubicBezTo>
                <a:cubicBezTo>
                  <a:pt x="1708" y="281"/>
                  <a:pt x="1708" y="281"/>
                  <a:pt x="1708" y="281"/>
                </a:cubicBezTo>
                <a:cubicBezTo>
                  <a:pt x="1709" y="281"/>
                  <a:pt x="1709" y="281"/>
                  <a:pt x="1710" y="281"/>
                </a:cubicBezTo>
                <a:cubicBezTo>
                  <a:pt x="1710" y="281"/>
                  <a:pt x="1710" y="281"/>
                  <a:pt x="1710" y="281"/>
                </a:cubicBezTo>
                <a:cubicBezTo>
                  <a:pt x="1711" y="281"/>
                  <a:pt x="1711" y="281"/>
                  <a:pt x="1712" y="281"/>
                </a:cubicBezTo>
                <a:cubicBezTo>
                  <a:pt x="1712" y="281"/>
                  <a:pt x="1712" y="281"/>
                  <a:pt x="1712" y="281"/>
                </a:cubicBezTo>
                <a:cubicBezTo>
                  <a:pt x="1712" y="281"/>
                  <a:pt x="1713" y="281"/>
                  <a:pt x="1713" y="281"/>
                </a:cubicBezTo>
                <a:cubicBezTo>
                  <a:pt x="1713" y="281"/>
                  <a:pt x="1713" y="281"/>
                  <a:pt x="1713" y="280"/>
                </a:cubicBezTo>
                <a:cubicBezTo>
                  <a:pt x="1712" y="280"/>
                  <a:pt x="1712" y="280"/>
                  <a:pt x="1712" y="280"/>
                </a:cubicBezTo>
                <a:cubicBezTo>
                  <a:pt x="1711" y="280"/>
                  <a:pt x="1711" y="280"/>
                  <a:pt x="1711" y="280"/>
                </a:cubicBezTo>
                <a:cubicBezTo>
                  <a:pt x="1710" y="280"/>
                  <a:pt x="1710" y="279"/>
                  <a:pt x="1710" y="279"/>
                </a:cubicBezTo>
                <a:cubicBezTo>
                  <a:pt x="1710" y="279"/>
                  <a:pt x="1710" y="278"/>
                  <a:pt x="1711" y="278"/>
                </a:cubicBezTo>
                <a:cubicBezTo>
                  <a:pt x="1711" y="278"/>
                  <a:pt x="1711" y="277"/>
                  <a:pt x="1712" y="277"/>
                </a:cubicBezTo>
                <a:cubicBezTo>
                  <a:pt x="1712" y="277"/>
                  <a:pt x="1712" y="277"/>
                  <a:pt x="1712" y="276"/>
                </a:cubicBezTo>
                <a:cubicBezTo>
                  <a:pt x="1711" y="276"/>
                  <a:pt x="1711" y="276"/>
                  <a:pt x="1711" y="276"/>
                </a:cubicBezTo>
                <a:cubicBezTo>
                  <a:pt x="1711" y="275"/>
                  <a:pt x="1711" y="275"/>
                  <a:pt x="1711" y="275"/>
                </a:cubicBezTo>
                <a:cubicBezTo>
                  <a:pt x="1711" y="275"/>
                  <a:pt x="1710" y="275"/>
                  <a:pt x="1710" y="276"/>
                </a:cubicBezTo>
                <a:cubicBezTo>
                  <a:pt x="1710" y="276"/>
                  <a:pt x="1710" y="275"/>
                  <a:pt x="1710" y="275"/>
                </a:cubicBezTo>
                <a:cubicBezTo>
                  <a:pt x="1710" y="275"/>
                  <a:pt x="1710" y="274"/>
                  <a:pt x="1710" y="274"/>
                </a:cubicBezTo>
                <a:cubicBezTo>
                  <a:pt x="1711" y="274"/>
                  <a:pt x="1711" y="274"/>
                  <a:pt x="1711" y="273"/>
                </a:cubicBezTo>
                <a:cubicBezTo>
                  <a:pt x="1711" y="273"/>
                  <a:pt x="1711" y="273"/>
                  <a:pt x="1711" y="273"/>
                </a:cubicBezTo>
                <a:cubicBezTo>
                  <a:pt x="1711" y="273"/>
                  <a:pt x="1711" y="272"/>
                  <a:pt x="1711" y="272"/>
                </a:cubicBezTo>
                <a:cubicBezTo>
                  <a:pt x="1711" y="272"/>
                  <a:pt x="1711" y="272"/>
                  <a:pt x="1710" y="271"/>
                </a:cubicBezTo>
                <a:cubicBezTo>
                  <a:pt x="1710" y="271"/>
                  <a:pt x="1711" y="271"/>
                  <a:pt x="1711" y="271"/>
                </a:cubicBezTo>
                <a:cubicBezTo>
                  <a:pt x="1711" y="271"/>
                  <a:pt x="1711" y="271"/>
                  <a:pt x="1711" y="271"/>
                </a:cubicBezTo>
                <a:cubicBezTo>
                  <a:pt x="1711" y="271"/>
                  <a:pt x="1711" y="271"/>
                  <a:pt x="1711" y="271"/>
                </a:cubicBezTo>
                <a:cubicBezTo>
                  <a:pt x="1710" y="270"/>
                  <a:pt x="1710" y="270"/>
                  <a:pt x="1710" y="269"/>
                </a:cubicBezTo>
                <a:cubicBezTo>
                  <a:pt x="1710" y="269"/>
                  <a:pt x="1710" y="269"/>
                  <a:pt x="1710" y="269"/>
                </a:cubicBezTo>
                <a:cubicBezTo>
                  <a:pt x="1710" y="269"/>
                  <a:pt x="1710" y="268"/>
                  <a:pt x="1709" y="268"/>
                </a:cubicBezTo>
                <a:cubicBezTo>
                  <a:pt x="1709" y="268"/>
                  <a:pt x="1709" y="268"/>
                  <a:pt x="1710" y="267"/>
                </a:cubicBezTo>
                <a:cubicBezTo>
                  <a:pt x="1709" y="267"/>
                  <a:pt x="1709" y="267"/>
                  <a:pt x="1709" y="266"/>
                </a:cubicBezTo>
                <a:cubicBezTo>
                  <a:pt x="1709" y="266"/>
                  <a:pt x="1710" y="266"/>
                  <a:pt x="1710" y="266"/>
                </a:cubicBezTo>
                <a:cubicBezTo>
                  <a:pt x="1710" y="266"/>
                  <a:pt x="1711" y="266"/>
                  <a:pt x="1712" y="265"/>
                </a:cubicBezTo>
                <a:cubicBezTo>
                  <a:pt x="1712" y="266"/>
                  <a:pt x="1712" y="266"/>
                  <a:pt x="1713" y="266"/>
                </a:cubicBezTo>
                <a:cubicBezTo>
                  <a:pt x="1713" y="266"/>
                  <a:pt x="1714" y="266"/>
                  <a:pt x="1714" y="266"/>
                </a:cubicBezTo>
                <a:cubicBezTo>
                  <a:pt x="1714" y="266"/>
                  <a:pt x="1714" y="266"/>
                  <a:pt x="1713" y="266"/>
                </a:cubicBezTo>
                <a:cubicBezTo>
                  <a:pt x="1714" y="266"/>
                  <a:pt x="1715" y="266"/>
                  <a:pt x="1715" y="266"/>
                </a:cubicBezTo>
                <a:cubicBezTo>
                  <a:pt x="1715" y="266"/>
                  <a:pt x="1715" y="266"/>
                  <a:pt x="1714" y="266"/>
                </a:cubicBezTo>
                <a:cubicBezTo>
                  <a:pt x="1714" y="265"/>
                  <a:pt x="1714" y="265"/>
                  <a:pt x="1713" y="265"/>
                </a:cubicBezTo>
                <a:cubicBezTo>
                  <a:pt x="1713" y="265"/>
                  <a:pt x="1713" y="265"/>
                  <a:pt x="1713" y="265"/>
                </a:cubicBezTo>
                <a:cubicBezTo>
                  <a:pt x="1712" y="264"/>
                  <a:pt x="1712" y="264"/>
                  <a:pt x="1711" y="264"/>
                </a:cubicBezTo>
                <a:cubicBezTo>
                  <a:pt x="1711" y="264"/>
                  <a:pt x="1710" y="263"/>
                  <a:pt x="1710" y="263"/>
                </a:cubicBezTo>
                <a:cubicBezTo>
                  <a:pt x="1710" y="263"/>
                  <a:pt x="1710" y="263"/>
                  <a:pt x="1709" y="263"/>
                </a:cubicBezTo>
                <a:cubicBezTo>
                  <a:pt x="1709" y="262"/>
                  <a:pt x="1709" y="262"/>
                  <a:pt x="1708" y="262"/>
                </a:cubicBezTo>
                <a:cubicBezTo>
                  <a:pt x="1708" y="262"/>
                  <a:pt x="1707" y="262"/>
                  <a:pt x="1707" y="262"/>
                </a:cubicBezTo>
                <a:cubicBezTo>
                  <a:pt x="1706" y="262"/>
                  <a:pt x="1706" y="262"/>
                  <a:pt x="1706" y="262"/>
                </a:cubicBezTo>
                <a:cubicBezTo>
                  <a:pt x="1705" y="262"/>
                  <a:pt x="1704" y="262"/>
                  <a:pt x="1704" y="262"/>
                </a:cubicBezTo>
                <a:cubicBezTo>
                  <a:pt x="1704" y="262"/>
                  <a:pt x="1704" y="263"/>
                  <a:pt x="1704" y="263"/>
                </a:cubicBezTo>
                <a:cubicBezTo>
                  <a:pt x="1704" y="263"/>
                  <a:pt x="1704" y="263"/>
                  <a:pt x="1704" y="263"/>
                </a:cubicBezTo>
                <a:cubicBezTo>
                  <a:pt x="1704" y="264"/>
                  <a:pt x="1704" y="264"/>
                  <a:pt x="1705" y="264"/>
                </a:cubicBezTo>
                <a:cubicBezTo>
                  <a:pt x="1705" y="265"/>
                  <a:pt x="1705" y="265"/>
                  <a:pt x="1705" y="265"/>
                </a:cubicBezTo>
                <a:cubicBezTo>
                  <a:pt x="1704" y="265"/>
                  <a:pt x="1704" y="265"/>
                  <a:pt x="1704" y="265"/>
                </a:cubicBezTo>
                <a:cubicBezTo>
                  <a:pt x="1704" y="266"/>
                  <a:pt x="1704" y="266"/>
                  <a:pt x="1704" y="266"/>
                </a:cubicBezTo>
                <a:cubicBezTo>
                  <a:pt x="1704" y="267"/>
                  <a:pt x="1704" y="267"/>
                  <a:pt x="1705" y="267"/>
                </a:cubicBezTo>
                <a:cubicBezTo>
                  <a:pt x="1705" y="267"/>
                  <a:pt x="1705" y="268"/>
                  <a:pt x="1705" y="268"/>
                </a:cubicBezTo>
                <a:cubicBezTo>
                  <a:pt x="1705" y="268"/>
                  <a:pt x="1705" y="268"/>
                  <a:pt x="1705" y="268"/>
                </a:cubicBezTo>
                <a:cubicBezTo>
                  <a:pt x="1705" y="269"/>
                  <a:pt x="1705" y="269"/>
                  <a:pt x="1705" y="270"/>
                </a:cubicBezTo>
                <a:cubicBezTo>
                  <a:pt x="1706" y="270"/>
                  <a:pt x="1706" y="271"/>
                  <a:pt x="1707" y="271"/>
                </a:cubicBezTo>
                <a:cubicBezTo>
                  <a:pt x="1706" y="271"/>
                  <a:pt x="1706" y="271"/>
                  <a:pt x="1706" y="272"/>
                </a:cubicBezTo>
                <a:cubicBezTo>
                  <a:pt x="1706" y="272"/>
                  <a:pt x="1706" y="272"/>
                  <a:pt x="1707" y="272"/>
                </a:cubicBezTo>
                <a:cubicBezTo>
                  <a:pt x="1706" y="273"/>
                  <a:pt x="1706" y="273"/>
                  <a:pt x="1706" y="273"/>
                </a:cubicBezTo>
                <a:cubicBezTo>
                  <a:pt x="1706" y="272"/>
                  <a:pt x="1706" y="272"/>
                  <a:pt x="1705" y="272"/>
                </a:cubicBezTo>
                <a:cubicBezTo>
                  <a:pt x="1705" y="272"/>
                  <a:pt x="1705" y="271"/>
                  <a:pt x="1705" y="271"/>
                </a:cubicBezTo>
                <a:cubicBezTo>
                  <a:pt x="1705" y="271"/>
                  <a:pt x="1704" y="271"/>
                  <a:pt x="1704" y="271"/>
                </a:cubicBezTo>
                <a:cubicBezTo>
                  <a:pt x="1703" y="271"/>
                  <a:pt x="1703" y="271"/>
                  <a:pt x="1703" y="271"/>
                </a:cubicBezTo>
                <a:cubicBezTo>
                  <a:pt x="1702" y="271"/>
                  <a:pt x="1702" y="271"/>
                  <a:pt x="1701" y="272"/>
                </a:cubicBezTo>
                <a:cubicBezTo>
                  <a:pt x="1702" y="272"/>
                  <a:pt x="1702" y="272"/>
                  <a:pt x="1702" y="272"/>
                </a:cubicBezTo>
                <a:cubicBezTo>
                  <a:pt x="1702" y="273"/>
                  <a:pt x="1701" y="273"/>
                  <a:pt x="1701" y="273"/>
                </a:cubicBezTo>
                <a:cubicBezTo>
                  <a:pt x="1701" y="273"/>
                  <a:pt x="1701" y="273"/>
                  <a:pt x="1701" y="273"/>
                </a:cubicBezTo>
                <a:cubicBezTo>
                  <a:pt x="1701" y="273"/>
                  <a:pt x="1701" y="273"/>
                  <a:pt x="1701" y="273"/>
                </a:cubicBezTo>
                <a:cubicBezTo>
                  <a:pt x="1701" y="274"/>
                  <a:pt x="1701" y="274"/>
                  <a:pt x="1701" y="274"/>
                </a:cubicBezTo>
                <a:cubicBezTo>
                  <a:pt x="1701" y="274"/>
                  <a:pt x="1701" y="274"/>
                  <a:pt x="1701" y="274"/>
                </a:cubicBezTo>
                <a:cubicBezTo>
                  <a:pt x="1700" y="274"/>
                  <a:pt x="1700" y="274"/>
                  <a:pt x="1699" y="274"/>
                </a:cubicBezTo>
                <a:cubicBezTo>
                  <a:pt x="1700" y="275"/>
                  <a:pt x="1700" y="275"/>
                  <a:pt x="1700" y="275"/>
                </a:cubicBezTo>
                <a:cubicBezTo>
                  <a:pt x="1700" y="275"/>
                  <a:pt x="1699" y="275"/>
                  <a:pt x="1699" y="275"/>
                </a:cubicBezTo>
                <a:cubicBezTo>
                  <a:pt x="1699" y="276"/>
                  <a:pt x="1699" y="277"/>
                  <a:pt x="1698" y="277"/>
                </a:cubicBezTo>
                <a:cubicBezTo>
                  <a:pt x="1698" y="277"/>
                  <a:pt x="1698" y="277"/>
                  <a:pt x="1698" y="277"/>
                </a:cubicBezTo>
                <a:cubicBezTo>
                  <a:pt x="1698" y="277"/>
                  <a:pt x="1698" y="278"/>
                  <a:pt x="1697" y="278"/>
                </a:cubicBezTo>
                <a:cubicBezTo>
                  <a:pt x="1697" y="278"/>
                  <a:pt x="1697" y="278"/>
                  <a:pt x="1697" y="278"/>
                </a:cubicBezTo>
                <a:cubicBezTo>
                  <a:pt x="1696" y="278"/>
                  <a:pt x="1696" y="278"/>
                  <a:pt x="1695" y="278"/>
                </a:cubicBezTo>
                <a:cubicBezTo>
                  <a:pt x="1695" y="278"/>
                  <a:pt x="1695" y="278"/>
                  <a:pt x="1695" y="278"/>
                </a:cubicBezTo>
                <a:cubicBezTo>
                  <a:pt x="1695" y="277"/>
                  <a:pt x="1695" y="277"/>
                  <a:pt x="1695" y="277"/>
                </a:cubicBezTo>
                <a:cubicBezTo>
                  <a:pt x="1695" y="276"/>
                  <a:pt x="1696" y="276"/>
                  <a:pt x="1696" y="276"/>
                </a:cubicBezTo>
                <a:cubicBezTo>
                  <a:pt x="1696" y="276"/>
                  <a:pt x="1696" y="276"/>
                  <a:pt x="1696" y="275"/>
                </a:cubicBezTo>
                <a:cubicBezTo>
                  <a:pt x="1695" y="275"/>
                  <a:pt x="1695" y="275"/>
                  <a:pt x="1695" y="275"/>
                </a:cubicBezTo>
                <a:cubicBezTo>
                  <a:pt x="1695" y="275"/>
                  <a:pt x="1694" y="275"/>
                  <a:pt x="1694" y="275"/>
                </a:cubicBezTo>
                <a:cubicBezTo>
                  <a:pt x="1694" y="275"/>
                  <a:pt x="1694" y="276"/>
                  <a:pt x="1694" y="276"/>
                </a:cubicBezTo>
                <a:cubicBezTo>
                  <a:pt x="1693" y="276"/>
                  <a:pt x="1693" y="276"/>
                  <a:pt x="1693" y="276"/>
                </a:cubicBezTo>
                <a:cubicBezTo>
                  <a:pt x="1693" y="275"/>
                  <a:pt x="1693" y="275"/>
                  <a:pt x="1693" y="274"/>
                </a:cubicBezTo>
                <a:cubicBezTo>
                  <a:pt x="1693" y="274"/>
                  <a:pt x="1693" y="274"/>
                  <a:pt x="1692" y="274"/>
                </a:cubicBezTo>
                <a:cubicBezTo>
                  <a:pt x="1692" y="274"/>
                  <a:pt x="1692" y="273"/>
                  <a:pt x="1692" y="273"/>
                </a:cubicBezTo>
                <a:cubicBezTo>
                  <a:pt x="1692" y="273"/>
                  <a:pt x="1691" y="273"/>
                  <a:pt x="1691" y="273"/>
                </a:cubicBezTo>
                <a:cubicBezTo>
                  <a:pt x="1691" y="273"/>
                  <a:pt x="1691" y="273"/>
                  <a:pt x="1691" y="273"/>
                </a:cubicBezTo>
                <a:cubicBezTo>
                  <a:pt x="1691" y="273"/>
                  <a:pt x="1691" y="273"/>
                  <a:pt x="1691" y="273"/>
                </a:cubicBezTo>
                <a:cubicBezTo>
                  <a:pt x="1691" y="273"/>
                  <a:pt x="1691" y="273"/>
                  <a:pt x="1692" y="273"/>
                </a:cubicBezTo>
                <a:cubicBezTo>
                  <a:pt x="1692" y="272"/>
                  <a:pt x="1692" y="272"/>
                  <a:pt x="1691" y="272"/>
                </a:cubicBezTo>
                <a:cubicBezTo>
                  <a:pt x="1692" y="272"/>
                  <a:pt x="1692" y="272"/>
                  <a:pt x="1692" y="272"/>
                </a:cubicBezTo>
                <a:cubicBezTo>
                  <a:pt x="1692" y="272"/>
                  <a:pt x="1692" y="272"/>
                  <a:pt x="1692" y="272"/>
                </a:cubicBezTo>
                <a:cubicBezTo>
                  <a:pt x="1692" y="271"/>
                  <a:pt x="1692" y="271"/>
                  <a:pt x="1692" y="271"/>
                </a:cubicBezTo>
                <a:cubicBezTo>
                  <a:pt x="1692" y="271"/>
                  <a:pt x="1692" y="271"/>
                  <a:pt x="1692" y="270"/>
                </a:cubicBezTo>
                <a:cubicBezTo>
                  <a:pt x="1692" y="270"/>
                  <a:pt x="1692" y="270"/>
                  <a:pt x="1693" y="270"/>
                </a:cubicBezTo>
                <a:cubicBezTo>
                  <a:pt x="1693" y="270"/>
                  <a:pt x="1693" y="270"/>
                  <a:pt x="1693" y="269"/>
                </a:cubicBezTo>
                <a:cubicBezTo>
                  <a:pt x="1692" y="269"/>
                  <a:pt x="1692" y="269"/>
                  <a:pt x="1692" y="269"/>
                </a:cubicBezTo>
                <a:cubicBezTo>
                  <a:pt x="1692" y="269"/>
                  <a:pt x="1692" y="269"/>
                  <a:pt x="1693" y="269"/>
                </a:cubicBezTo>
                <a:cubicBezTo>
                  <a:pt x="1693" y="268"/>
                  <a:pt x="1693" y="268"/>
                  <a:pt x="1693" y="268"/>
                </a:cubicBezTo>
                <a:cubicBezTo>
                  <a:pt x="1693" y="268"/>
                  <a:pt x="1692" y="267"/>
                  <a:pt x="1692" y="267"/>
                </a:cubicBezTo>
                <a:cubicBezTo>
                  <a:pt x="1692" y="267"/>
                  <a:pt x="1692" y="266"/>
                  <a:pt x="1692" y="266"/>
                </a:cubicBezTo>
                <a:cubicBezTo>
                  <a:pt x="1692" y="266"/>
                  <a:pt x="1692" y="266"/>
                  <a:pt x="1691" y="266"/>
                </a:cubicBezTo>
                <a:cubicBezTo>
                  <a:pt x="1691" y="266"/>
                  <a:pt x="1691" y="267"/>
                  <a:pt x="1691" y="267"/>
                </a:cubicBezTo>
                <a:cubicBezTo>
                  <a:pt x="1691" y="267"/>
                  <a:pt x="1690" y="267"/>
                  <a:pt x="1690" y="267"/>
                </a:cubicBezTo>
                <a:cubicBezTo>
                  <a:pt x="1690" y="267"/>
                  <a:pt x="1690" y="267"/>
                  <a:pt x="1690" y="268"/>
                </a:cubicBezTo>
                <a:cubicBezTo>
                  <a:pt x="1689" y="268"/>
                  <a:pt x="1689" y="268"/>
                  <a:pt x="1689" y="268"/>
                </a:cubicBezTo>
                <a:cubicBezTo>
                  <a:pt x="1688" y="268"/>
                  <a:pt x="1688" y="268"/>
                  <a:pt x="1688" y="268"/>
                </a:cubicBezTo>
                <a:cubicBezTo>
                  <a:pt x="1688" y="267"/>
                  <a:pt x="1688" y="267"/>
                  <a:pt x="1688" y="267"/>
                </a:cubicBezTo>
                <a:cubicBezTo>
                  <a:pt x="1688" y="267"/>
                  <a:pt x="1688" y="266"/>
                  <a:pt x="1687" y="266"/>
                </a:cubicBezTo>
                <a:cubicBezTo>
                  <a:pt x="1687" y="266"/>
                  <a:pt x="1687" y="266"/>
                  <a:pt x="1687" y="266"/>
                </a:cubicBezTo>
                <a:cubicBezTo>
                  <a:pt x="1687" y="266"/>
                  <a:pt x="1687" y="266"/>
                  <a:pt x="1687" y="266"/>
                </a:cubicBezTo>
                <a:cubicBezTo>
                  <a:pt x="1686" y="265"/>
                  <a:pt x="1686" y="265"/>
                  <a:pt x="1686" y="265"/>
                </a:cubicBezTo>
                <a:cubicBezTo>
                  <a:pt x="1685" y="265"/>
                  <a:pt x="1685" y="265"/>
                  <a:pt x="1685" y="265"/>
                </a:cubicBezTo>
                <a:cubicBezTo>
                  <a:pt x="1685" y="265"/>
                  <a:pt x="1685" y="265"/>
                  <a:pt x="1685" y="265"/>
                </a:cubicBezTo>
                <a:cubicBezTo>
                  <a:pt x="1684" y="265"/>
                  <a:pt x="1684" y="265"/>
                  <a:pt x="1684" y="266"/>
                </a:cubicBezTo>
                <a:cubicBezTo>
                  <a:pt x="1684" y="266"/>
                  <a:pt x="1684" y="265"/>
                  <a:pt x="1683" y="265"/>
                </a:cubicBezTo>
                <a:cubicBezTo>
                  <a:pt x="1683" y="265"/>
                  <a:pt x="1683" y="266"/>
                  <a:pt x="1683" y="266"/>
                </a:cubicBezTo>
                <a:cubicBezTo>
                  <a:pt x="1682" y="265"/>
                  <a:pt x="1682" y="265"/>
                  <a:pt x="1681" y="265"/>
                </a:cubicBezTo>
                <a:cubicBezTo>
                  <a:pt x="1681" y="265"/>
                  <a:pt x="1680" y="265"/>
                  <a:pt x="1680" y="265"/>
                </a:cubicBezTo>
                <a:cubicBezTo>
                  <a:pt x="1680" y="265"/>
                  <a:pt x="1680" y="265"/>
                  <a:pt x="1679" y="265"/>
                </a:cubicBezTo>
                <a:cubicBezTo>
                  <a:pt x="1679" y="265"/>
                  <a:pt x="1679" y="265"/>
                  <a:pt x="1679" y="265"/>
                </a:cubicBezTo>
                <a:cubicBezTo>
                  <a:pt x="1678" y="265"/>
                  <a:pt x="1678" y="264"/>
                  <a:pt x="1677" y="264"/>
                </a:cubicBezTo>
                <a:cubicBezTo>
                  <a:pt x="1677" y="264"/>
                  <a:pt x="1676" y="265"/>
                  <a:pt x="1676" y="265"/>
                </a:cubicBezTo>
                <a:cubicBezTo>
                  <a:pt x="1675" y="265"/>
                  <a:pt x="1675" y="265"/>
                  <a:pt x="1675" y="265"/>
                </a:cubicBezTo>
                <a:cubicBezTo>
                  <a:pt x="1675" y="265"/>
                  <a:pt x="1675" y="265"/>
                  <a:pt x="1675" y="266"/>
                </a:cubicBezTo>
                <a:cubicBezTo>
                  <a:pt x="1674" y="266"/>
                  <a:pt x="1674" y="266"/>
                  <a:pt x="1673" y="266"/>
                </a:cubicBezTo>
                <a:cubicBezTo>
                  <a:pt x="1673" y="266"/>
                  <a:pt x="1673" y="266"/>
                  <a:pt x="1673" y="266"/>
                </a:cubicBezTo>
                <a:cubicBezTo>
                  <a:pt x="1673" y="266"/>
                  <a:pt x="1674" y="267"/>
                  <a:pt x="1674" y="267"/>
                </a:cubicBezTo>
                <a:cubicBezTo>
                  <a:pt x="1674" y="267"/>
                  <a:pt x="1674" y="267"/>
                  <a:pt x="1674" y="268"/>
                </a:cubicBezTo>
                <a:cubicBezTo>
                  <a:pt x="1674" y="268"/>
                  <a:pt x="1674" y="269"/>
                  <a:pt x="1674" y="269"/>
                </a:cubicBezTo>
                <a:cubicBezTo>
                  <a:pt x="1674" y="269"/>
                  <a:pt x="1674" y="269"/>
                  <a:pt x="1673" y="269"/>
                </a:cubicBezTo>
                <a:cubicBezTo>
                  <a:pt x="1673" y="270"/>
                  <a:pt x="1672" y="271"/>
                  <a:pt x="1672" y="271"/>
                </a:cubicBezTo>
                <a:cubicBezTo>
                  <a:pt x="1672" y="272"/>
                  <a:pt x="1672" y="273"/>
                  <a:pt x="1673" y="273"/>
                </a:cubicBezTo>
                <a:cubicBezTo>
                  <a:pt x="1672" y="273"/>
                  <a:pt x="1672" y="273"/>
                  <a:pt x="1671" y="273"/>
                </a:cubicBezTo>
                <a:cubicBezTo>
                  <a:pt x="1671" y="273"/>
                  <a:pt x="1672" y="273"/>
                  <a:pt x="1672" y="273"/>
                </a:cubicBezTo>
                <a:cubicBezTo>
                  <a:pt x="1672" y="273"/>
                  <a:pt x="1671" y="274"/>
                  <a:pt x="1671" y="274"/>
                </a:cubicBezTo>
                <a:cubicBezTo>
                  <a:pt x="1671" y="274"/>
                  <a:pt x="1670" y="274"/>
                  <a:pt x="1670" y="274"/>
                </a:cubicBezTo>
                <a:cubicBezTo>
                  <a:pt x="1670" y="274"/>
                  <a:pt x="1670" y="275"/>
                  <a:pt x="1669" y="275"/>
                </a:cubicBezTo>
                <a:cubicBezTo>
                  <a:pt x="1669" y="275"/>
                  <a:pt x="1669" y="275"/>
                  <a:pt x="1668" y="275"/>
                </a:cubicBezTo>
                <a:cubicBezTo>
                  <a:pt x="1668" y="276"/>
                  <a:pt x="1668" y="276"/>
                  <a:pt x="1668" y="276"/>
                </a:cubicBezTo>
                <a:cubicBezTo>
                  <a:pt x="1668" y="276"/>
                  <a:pt x="1667" y="277"/>
                  <a:pt x="1667" y="277"/>
                </a:cubicBezTo>
                <a:cubicBezTo>
                  <a:pt x="1667" y="278"/>
                  <a:pt x="1667" y="278"/>
                  <a:pt x="1668" y="278"/>
                </a:cubicBezTo>
                <a:cubicBezTo>
                  <a:pt x="1667" y="278"/>
                  <a:pt x="1667" y="278"/>
                  <a:pt x="1667" y="279"/>
                </a:cubicBezTo>
                <a:cubicBezTo>
                  <a:pt x="1667" y="279"/>
                  <a:pt x="1667" y="280"/>
                  <a:pt x="1667" y="280"/>
                </a:cubicBezTo>
                <a:cubicBezTo>
                  <a:pt x="1667" y="280"/>
                  <a:pt x="1667" y="280"/>
                  <a:pt x="1667" y="280"/>
                </a:cubicBezTo>
                <a:cubicBezTo>
                  <a:pt x="1667" y="280"/>
                  <a:pt x="1667" y="281"/>
                  <a:pt x="1666" y="281"/>
                </a:cubicBezTo>
                <a:cubicBezTo>
                  <a:pt x="1667" y="281"/>
                  <a:pt x="1667" y="281"/>
                  <a:pt x="1667" y="281"/>
                </a:cubicBezTo>
                <a:cubicBezTo>
                  <a:pt x="1667" y="281"/>
                  <a:pt x="1667" y="281"/>
                  <a:pt x="1668" y="281"/>
                </a:cubicBezTo>
                <a:cubicBezTo>
                  <a:pt x="1668" y="281"/>
                  <a:pt x="1668" y="282"/>
                  <a:pt x="1669" y="282"/>
                </a:cubicBezTo>
                <a:cubicBezTo>
                  <a:pt x="1669" y="282"/>
                  <a:pt x="1669" y="282"/>
                  <a:pt x="1669" y="281"/>
                </a:cubicBezTo>
                <a:cubicBezTo>
                  <a:pt x="1669" y="281"/>
                  <a:pt x="1669" y="281"/>
                  <a:pt x="1669" y="281"/>
                </a:cubicBezTo>
                <a:cubicBezTo>
                  <a:pt x="1669" y="282"/>
                  <a:pt x="1670" y="282"/>
                  <a:pt x="1670" y="282"/>
                </a:cubicBezTo>
                <a:cubicBezTo>
                  <a:pt x="1670" y="282"/>
                  <a:pt x="1670" y="282"/>
                  <a:pt x="1670" y="282"/>
                </a:cubicBezTo>
                <a:cubicBezTo>
                  <a:pt x="1671" y="282"/>
                  <a:pt x="1671" y="282"/>
                  <a:pt x="1671" y="282"/>
                </a:cubicBezTo>
                <a:cubicBezTo>
                  <a:pt x="1671" y="282"/>
                  <a:pt x="1671" y="282"/>
                  <a:pt x="1671" y="282"/>
                </a:cubicBezTo>
                <a:cubicBezTo>
                  <a:pt x="1671" y="282"/>
                  <a:pt x="1671" y="282"/>
                  <a:pt x="1671" y="282"/>
                </a:cubicBezTo>
                <a:cubicBezTo>
                  <a:pt x="1672" y="283"/>
                  <a:pt x="1672" y="283"/>
                  <a:pt x="1672" y="283"/>
                </a:cubicBezTo>
                <a:cubicBezTo>
                  <a:pt x="1672" y="283"/>
                  <a:pt x="1672" y="283"/>
                  <a:pt x="1672" y="284"/>
                </a:cubicBezTo>
                <a:cubicBezTo>
                  <a:pt x="1672" y="284"/>
                  <a:pt x="1672" y="284"/>
                  <a:pt x="1672" y="284"/>
                </a:cubicBezTo>
                <a:cubicBezTo>
                  <a:pt x="1672" y="284"/>
                  <a:pt x="1672" y="284"/>
                  <a:pt x="1673" y="285"/>
                </a:cubicBezTo>
                <a:cubicBezTo>
                  <a:pt x="1672" y="285"/>
                  <a:pt x="1672" y="285"/>
                  <a:pt x="1672" y="285"/>
                </a:cubicBezTo>
                <a:cubicBezTo>
                  <a:pt x="1672" y="285"/>
                  <a:pt x="1672" y="285"/>
                  <a:pt x="1671" y="285"/>
                </a:cubicBezTo>
                <a:cubicBezTo>
                  <a:pt x="1671" y="285"/>
                  <a:pt x="1671" y="285"/>
                  <a:pt x="1671" y="285"/>
                </a:cubicBezTo>
                <a:cubicBezTo>
                  <a:pt x="1670" y="284"/>
                  <a:pt x="1670" y="284"/>
                  <a:pt x="1670" y="284"/>
                </a:cubicBezTo>
                <a:cubicBezTo>
                  <a:pt x="1670" y="284"/>
                  <a:pt x="1669" y="284"/>
                  <a:pt x="1669" y="284"/>
                </a:cubicBezTo>
                <a:cubicBezTo>
                  <a:pt x="1669" y="284"/>
                  <a:pt x="1669" y="284"/>
                  <a:pt x="1669" y="284"/>
                </a:cubicBezTo>
                <a:cubicBezTo>
                  <a:pt x="1669" y="285"/>
                  <a:pt x="1669" y="285"/>
                  <a:pt x="1669" y="285"/>
                </a:cubicBezTo>
                <a:cubicBezTo>
                  <a:pt x="1669" y="285"/>
                  <a:pt x="1668" y="285"/>
                  <a:pt x="1667" y="285"/>
                </a:cubicBezTo>
                <a:cubicBezTo>
                  <a:pt x="1667" y="285"/>
                  <a:pt x="1667" y="285"/>
                  <a:pt x="1667" y="285"/>
                </a:cubicBezTo>
                <a:cubicBezTo>
                  <a:pt x="1667" y="285"/>
                  <a:pt x="1667" y="284"/>
                  <a:pt x="1667" y="284"/>
                </a:cubicBezTo>
                <a:cubicBezTo>
                  <a:pt x="1667" y="284"/>
                  <a:pt x="1667" y="284"/>
                  <a:pt x="1666" y="284"/>
                </a:cubicBezTo>
                <a:cubicBezTo>
                  <a:pt x="1666" y="284"/>
                  <a:pt x="1666" y="284"/>
                  <a:pt x="1666" y="284"/>
                </a:cubicBezTo>
                <a:cubicBezTo>
                  <a:pt x="1665" y="283"/>
                  <a:pt x="1665" y="283"/>
                  <a:pt x="1665" y="283"/>
                </a:cubicBezTo>
                <a:cubicBezTo>
                  <a:pt x="1665" y="283"/>
                  <a:pt x="1665" y="283"/>
                  <a:pt x="1664" y="283"/>
                </a:cubicBezTo>
                <a:cubicBezTo>
                  <a:pt x="1664" y="283"/>
                  <a:pt x="1664" y="283"/>
                  <a:pt x="1664" y="283"/>
                </a:cubicBezTo>
                <a:cubicBezTo>
                  <a:pt x="1664" y="284"/>
                  <a:pt x="1664" y="284"/>
                  <a:pt x="1664" y="284"/>
                </a:cubicBezTo>
                <a:cubicBezTo>
                  <a:pt x="1664" y="284"/>
                  <a:pt x="1664" y="284"/>
                  <a:pt x="1664" y="284"/>
                </a:cubicBezTo>
                <a:cubicBezTo>
                  <a:pt x="1663" y="284"/>
                  <a:pt x="1663" y="284"/>
                  <a:pt x="1663" y="284"/>
                </a:cubicBezTo>
                <a:cubicBezTo>
                  <a:pt x="1663" y="284"/>
                  <a:pt x="1662" y="284"/>
                  <a:pt x="1662" y="284"/>
                </a:cubicBezTo>
                <a:cubicBezTo>
                  <a:pt x="1662" y="284"/>
                  <a:pt x="1662" y="285"/>
                  <a:pt x="1662" y="285"/>
                </a:cubicBezTo>
                <a:cubicBezTo>
                  <a:pt x="1662" y="285"/>
                  <a:pt x="1662" y="285"/>
                  <a:pt x="1662" y="285"/>
                </a:cubicBezTo>
                <a:cubicBezTo>
                  <a:pt x="1661" y="285"/>
                  <a:pt x="1661" y="285"/>
                  <a:pt x="1661" y="285"/>
                </a:cubicBezTo>
                <a:cubicBezTo>
                  <a:pt x="1661" y="284"/>
                  <a:pt x="1660" y="284"/>
                  <a:pt x="1660" y="283"/>
                </a:cubicBezTo>
                <a:cubicBezTo>
                  <a:pt x="1660" y="283"/>
                  <a:pt x="1660" y="283"/>
                  <a:pt x="1659" y="283"/>
                </a:cubicBezTo>
                <a:cubicBezTo>
                  <a:pt x="1659" y="283"/>
                  <a:pt x="1660" y="284"/>
                  <a:pt x="1660" y="284"/>
                </a:cubicBezTo>
                <a:cubicBezTo>
                  <a:pt x="1659" y="284"/>
                  <a:pt x="1659" y="284"/>
                  <a:pt x="1659" y="284"/>
                </a:cubicBezTo>
                <a:cubicBezTo>
                  <a:pt x="1659" y="284"/>
                  <a:pt x="1659" y="284"/>
                  <a:pt x="1659" y="284"/>
                </a:cubicBezTo>
                <a:cubicBezTo>
                  <a:pt x="1658" y="284"/>
                  <a:pt x="1658" y="284"/>
                  <a:pt x="1658" y="284"/>
                </a:cubicBezTo>
                <a:cubicBezTo>
                  <a:pt x="1657" y="284"/>
                  <a:pt x="1657" y="284"/>
                  <a:pt x="1656" y="284"/>
                </a:cubicBezTo>
                <a:cubicBezTo>
                  <a:pt x="1656" y="284"/>
                  <a:pt x="1656" y="284"/>
                  <a:pt x="1655" y="284"/>
                </a:cubicBezTo>
                <a:cubicBezTo>
                  <a:pt x="1655" y="284"/>
                  <a:pt x="1655" y="283"/>
                  <a:pt x="1654" y="282"/>
                </a:cubicBezTo>
                <a:cubicBezTo>
                  <a:pt x="1654" y="282"/>
                  <a:pt x="1654" y="282"/>
                  <a:pt x="1654" y="282"/>
                </a:cubicBezTo>
                <a:cubicBezTo>
                  <a:pt x="1653" y="282"/>
                  <a:pt x="1653" y="282"/>
                  <a:pt x="1653" y="282"/>
                </a:cubicBezTo>
                <a:cubicBezTo>
                  <a:pt x="1653" y="282"/>
                  <a:pt x="1653" y="282"/>
                  <a:pt x="1654" y="282"/>
                </a:cubicBezTo>
                <a:cubicBezTo>
                  <a:pt x="1654" y="282"/>
                  <a:pt x="1654" y="282"/>
                  <a:pt x="1655" y="282"/>
                </a:cubicBezTo>
                <a:cubicBezTo>
                  <a:pt x="1655" y="282"/>
                  <a:pt x="1655" y="281"/>
                  <a:pt x="1655" y="281"/>
                </a:cubicBezTo>
                <a:cubicBezTo>
                  <a:pt x="1655" y="281"/>
                  <a:pt x="1655" y="281"/>
                  <a:pt x="1655" y="281"/>
                </a:cubicBezTo>
                <a:cubicBezTo>
                  <a:pt x="1656" y="281"/>
                  <a:pt x="1656" y="281"/>
                  <a:pt x="1657" y="282"/>
                </a:cubicBezTo>
                <a:cubicBezTo>
                  <a:pt x="1658" y="282"/>
                  <a:pt x="1658" y="282"/>
                  <a:pt x="1659" y="281"/>
                </a:cubicBezTo>
                <a:cubicBezTo>
                  <a:pt x="1659" y="281"/>
                  <a:pt x="1659" y="281"/>
                  <a:pt x="1659" y="281"/>
                </a:cubicBezTo>
                <a:cubicBezTo>
                  <a:pt x="1659" y="281"/>
                  <a:pt x="1659" y="281"/>
                  <a:pt x="1658" y="281"/>
                </a:cubicBezTo>
                <a:cubicBezTo>
                  <a:pt x="1658" y="281"/>
                  <a:pt x="1658" y="281"/>
                  <a:pt x="1657" y="281"/>
                </a:cubicBezTo>
                <a:cubicBezTo>
                  <a:pt x="1657" y="280"/>
                  <a:pt x="1656" y="280"/>
                  <a:pt x="1656" y="280"/>
                </a:cubicBezTo>
                <a:cubicBezTo>
                  <a:pt x="1656" y="280"/>
                  <a:pt x="1656" y="280"/>
                  <a:pt x="1656" y="280"/>
                </a:cubicBezTo>
                <a:cubicBezTo>
                  <a:pt x="1656" y="279"/>
                  <a:pt x="1655" y="279"/>
                  <a:pt x="1655" y="279"/>
                </a:cubicBezTo>
                <a:cubicBezTo>
                  <a:pt x="1655" y="279"/>
                  <a:pt x="1654" y="278"/>
                  <a:pt x="1654" y="278"/>
                </a:cubicBezTo>
                <a:cubicBezTo>
                  <a:pt x="1654" y="278"/>
                  <a:pt x="1653" y="278"/>
                  <a:pt x="1653" y="278"/>
                </a:cubicBezTo>
                <a:cubicBezTo>
                  <a:pt x="1652" y="277"/>
                  <a:pt x="1652" y="277"/>
                  <a:pt x="1651" y="277"/>
                </a:cubicBezTo>
                <a:cubicBezTo>
                  <a:pt x="1651" y="277"/>
                  <a:pt x="1651" y="277"/>
                  <a:pt x="1651" y="278"/>
                </a:cubicBezTo>
                <a:cubicBezTo>
                  <a:pt x="1651" y="278"/>
                  <a:pt x="1651" y="278"/>
                  <a:pt x="1650" y="277"/>
                </a:cubicBezTo>
                <a:cubicBezTo>
                  <a:pt x="1650" y="277"/>
                  <a:pt x="1650" y="277"/>
                  <a:pt x="1650" y="277"/>
                </a:cubicBezTo>
                <a:cubicBezTo>
                  <a:pt x="1650" y="277"/>
                  <a:pt x="1650" y="277"/>
                  <a:pt x="1650" y="277"/>
                </a:cubicBezTo>
                <a:cubicBezTo>
                  <a:pt x="1650" y="276"/>
                  <a:pt x="1649" y="276"/>
                  <a:pt x="1649" y="276"/>
                </a:cubicBezTo>
                <a:cubicBezTo>
                  <a:pt x="1648" y="276"/>
                  <a:pt x="1647" y="275"/>
                  <a:pt x="1647" y="275"/>
                </a:cubicBezTo>
                <a:cubicBezTo>
                  <a:pt x="1646" y="275"/>
                  <a:pt x="1646" y="275"/>
                  <a:pt x="1646" y="275"/>
                </a:cubicBezTo>
                <a:cubicBezTo>
                  <a:pt x="1646" y="275"/>
                  <a:pt x="1645" y="275"/>
                  <a:pt x="1645" y="274"/>
                </a:cubicBezTo>
                <a:cubicBezTo>
                  <a:pt x="1645" y="274"/>
                  <a:pt x="1644" y="274"/>
                  <a:pt x="1644" y="274"/>
                </a:cubicBezTo>
                <a:cubicBezTo>
                  <a:pt x="1643" y="274"/>
                  <a:pt x="1642" y="274"/>
                  <a:pt x="1642" y="274"/>
                </a:cubicBezTo>
                <a:cubicBezTo>
                  <a:pt x="1641" y="274"/>
                  <a:pt x="1641" y="274"/>
                  <a:pt x="1641" y="274"/>
                </a:cubicBezTo>
                <a:cubicBezTo>
                  <a:pt x="1641" y="274"/>
                  <a:pt x="1641" y="274"/>
                  <a:pt x="1641" y="274"/>
                </a:cubicBezTo>
                <a:cubicBezTo>
                  <a:pt x="1641" y="275"/>
                  <a:pt x="1642" y="275"/>
                  <a:pt x="1642" y="275"/>
                </a:cubicBezTo>
                <a:cubicBezTo>
                  <a:pt x="1641" y="275"/>
                  <a:pt x="1641" y="275"/>
                  <a:pt x="1640" y="275"/>
                </a:cubicBezTo>
                <a:cubicBezTo>
                  <a:pt x="1640" y="275"/>
                  <a:pt x="1640" y="275"/>
                  <a:pt x="1640" y="275"/>
                </a:cubicBezTo>
                <a:cubicBezTo>
                  <a:pt x="1640" y="275"/>
                  <a:pt x="1639" y="275"/>
                  <a:pt x="1639" y="275"/>
                </a:cubicBezTo>
                <a:cubicBezTo>
                  <a:pt x="1639" y="275"/>
                  <a:pt x="1640" y="276"/>
                  <a:pt x="1640" y="276"/>
                </a:cubicBezTo>
                <a:cubicBezTo>
                  <a:pt x="1640" y="276"/>
                  <a:pt x="1641" y="276"/>
                  <a:pt x="1641" y="276"/>
                </a:cubicBezTo>
                <a:cubicBezTo>
                  <a:pt x="1641" y="276"/>
                  <a:pt x="1641" y="276"/>
                  <a:pt x="1641" y="277"/>
                </a:cubicBezTo>
                <a:cubicBezTo>
                  <a:pt x="1641" y="277"/>
                  <a:pt x="1641" y="277"/>
                  <a:pt x="1641" y="277"/>
                </a:cubicBezTo>
                <a:cubicBezTo>
                  <a:pt x="1640" y="277"/>
                  <a:pt x="1640" y="277"/>
                  <a:pt x="1639" y="277"/>
                </a:cubicBezTo>
                <a:cubicBezTo>
                  <a:pt x="1639" y="276"/>
                  <a:pt x="1638" y="276"/>
                  <a:pt x="1638" y="276"/>
                </a:cubicBezTo>
                <a:cubicBezTo>
                  <a:pt x="1638" y="276"/>
                  <a:pt x="1637" y="275"/>
                  <a:pt x="1636" y="275"/>
                </a:cubicBezTo>
                <a:cubicBezTo>
                  <a:pt x="1636" y="275"/>
                  <a:pt x="1636" y="275"/>
                  <a:pt x="1636" y="275"/>
                </a:cubicBezTo>
                <a:cubicBezTo>
                  <a:pt x="1636" y="275"/>
                  <a:pt x="1636" y="276"/>
                  <a:pt x="1636" y="276"/>
                </a:cubicBezTo>
                <a:cubicBezTo>
                  <a:pt x="1635" y="276"/>
                  <a:pt x="1635" y="276"/>
                  <a:pt x="1635" y="276"/>
                </a:cubicBezTo>
                <a:cubicBezTo>
                  <a:pt x="1635" y="276"/>
                  <a:pt x="1634" y="276"/>
                  <a:pt x="1634" y="276"/>
                </a:cubicBezTo>
                <a:cubicBezTo>
                  <a:pt x="1634" y="276"/>
                  <a:pt x="1634" y="276"/>
                  <a:pt x="1634" y="276"/>
                </a:cubicBezTo>
                <a:cubicBezTo>
                  <a:pt x="1634" y="275"/>
                  <a:pt x="1633" y="275"/>
                  <a:pt x="1633" y="275"/>
                </a:cubicBezTo>
                <a:cubicBezTo>
                  <a:pt x="1633" y="275"/>
                  <a:pt x="1632" y="274"/>
                  <a:pt x="1631" y="274"/>
                </a:cubicBezTo>
                <a:cubicBezTo>
                  <a:pt x="1631" y="274"/>
                  <a:pt x="1631" y="274"/>
                  <a:pt x="1630" y="274"/>
                </a:cubicBezTo>
                <a:cubicBezTo>
                  <a:pt x="1629" y="274"/>
                  <a:pt x="1629" y="273"/>
                  <a:pt x="1628" y="273"/>
                </a:cubicBezTo>
                <a:cubicBezTo>
                  <a:pt x="1628" y="273"/>
                  <a:pt x="1627" y="273"/>
                  <a:pt x="1627" y="273"/>
                </a:cubicBezTo>
                <a:cubicBezTo>
                  <a:pt x="1627" y="273"/>
                  <a:pt x="1627" y="273"/>
                  <a:pt x="1627" y="273"/>
                </a:cubicBezTo>
                <a:cubicBezTo>
                  <a:pt x="1627" y="274"/>
                  <a:pt x="1627" y="274"/>
                  <a:pt x="1628" y="275"/>
                </a:cubicBezTo>
                <a:cubicBezTo>
                  <a:pt x="1627" y="275"/>
                  <a:pt x="1627" y="275"/>
                  <a:pt x="1627" y="275"/>
                </a:cubicBezTo>
                <a:cubicBezTo>
                  <a:pt x="1626" y="275"/>
                  <a:pt x="1626" y="275"/>
                  <a:pt x="1626" y="275"/>
                </a:cubicBezTo>
                <a:cubicBezTo>
                  <a:pt x="1626" y="275"/>
                  <a:pt x="1625" y="275"/>
                  <a:pt x="1625" y="274"/>
                </a:cubicBezTo>
                <a:cubicBezTo>
                  <a:pt x="1625" y="274"/>
                  <a:pt x="1625" y="274"/>
                  <a:pt x="1624" y="274"/>
                </a:cubicBezTo>
                <a:cubicBezTo>
                  <a:pt x="1625" y="274"/>
                  <a:pt x="1625" y="273"/>
                  <a:pt x="1625" y="273"/>
                </a:cubicBezTo>
                <a:cubicBezTo>
                  <a:pt x="1625" y="273"/>
                  <a:pt x="1625" y="273"/>
                  <a:pt x="1624" y="272"/>
                </a:cubicBezTo>
                <a:cubicBezTo>
                  <a:pt x="1624" y="273"/>
                  <a:pt x="1624" y="273"/>
                  <a:pt x="1624" y="273"/>
                </a:cubicBezTo>
                <a:cubicBezTo>
                  <a:pt x="1623" y="273"/>
                  <a:pt x="1623" y="273"/>
                  <a:pt x="1623" y="273"/>
                </a:cubicBezTo>
                <a:cubicBezTo>
                  <a:pt x="1622" y="272"/>
                  <a:pt x="1622" y="272"/>
                  <a:pt x="1622" y="272"/>
                </a:cubicBezTo>
                <a:cubicBezTo>
                  <a:pt x="1621" y="272"/>
                  <a:pt x="1621" y="272"/>
                  <a:pt x="1620" y="272"/>
                </a:cubicBezTo>
                <a:cubicBezTo>
                  <a:pt x="1620" y="272"/>
                  <a:pt x="1620" y="272"/>
                  <a:pt x="1619" y="272"/>
                </a:cubicBezTo>
                <a:cubicBezTo>
                  <a:pt x="1619" y="272"/>
                  <a:pt x="1618" y="272"/>
                  <a:pt x="1618" y="272"/>
                </a:cubicBezTo>
                <a:cubicBezTo>
                  <a:pt x="1617" y="272"/>
                  <a:pt x="1616" y="271"/>
                  <a:pt x="1616" y="271"/>
                </a:cubicBezTo>
                <a:cubicBezTo>
                  <a:pt x="1615" y="271"/>
                  <a:pt x="1614" y="271"/>
                  <a:pt x="1614" y="272"/>
                </a:cubicBezTo>
                <a:cubicBezTo>
                  <a:pt x="1613" y="271"/>
                  <a:pt x="1613" y="271"/>
                  <a:pt x="1612" y="271"/>
                </a:cubicBezTo>
                <a:cubicBezTo>
                  <a:pt x="1612" y="271"/>
                  <a:pt x="1612" y="271"/>
                  <a:pt x="1612" y="270"/>
                </a:cubicBezTo>
                <a:cubicBezTo>
                  <a:pt x="1612" y="270"/>
                  <a:pt x="1611" y="270"/>
                  <a:pt x="1611" y="270"/>
                </a:cubicBezTo>
                <a:cubicBezTo>
                  <a:pt x="1611" y="270"/>
                  <a:pt x="1611" y="271"/>
                  <a:pt x="1611" y="271"/>
                </a:cubicBezTo>
                <a:cubicBezTo>
                  <a:pt x="1610" y="271"/>
                  <a:pt x="1609" y="271"/>
                  <a:pt x="1608" y="271"/>
                </a:cubicBezTo>
                <a:cubicBezTo>
                  <a:pt x="1608" y="271"/>
                  <a:pt x="1608" y="271"/>
                  <a:pt x="1608" y="272"/>
                </a:cubicBezTo>
                <a:cubicBezTo>
                  <a:pt x="1607" y="272"/>
                  <a:pt x="1607" y="272"/>
                  <a:pt x="1606" y="272"/>
                </a:cubicBezTo>
                <a:cubicBezTo>
                  <a:pt x="1606" y="272"/>
                  <a:pt x="1606" y="272"/>
                  <a:pt x="1606" y="273"/>
                </a:cubicBezTo>
                <a:cubicBezTo>
                  <a:pt x="1606" y="273"/>
                  <a:pt x="1606" y="274"/>
                  <a:pt x="1607" y="275"/>
                </a:cubicBezTo>
                <a:cubicBezTo>
                  <a:pt x="1606" y="275"/>
                  <a:pt x="1606" y="275"/>
                  <a:pt x="1606" y="276"/>
                </a:cubicBezTo>
                <a:cubicBezTo>
                  <a:pt x="1605" y="276"/>
                  <a:pt x="1604" y="276"/>
                  <a:pt x="1604" y="276"/>
                </a:cubicBezTo>
                <a:cubicBezTo>
                  <a:pt x="1603" y="277"/>
                  <a:pt x="1603" y="277"/>
                  <a:pt x="1602" y="277"/>
                </a:cubicBezTo>
                <a:cubicBezTo>
                  <a:pt x="1602" y="277"/>
                  <a:pt x="1602" y="278"/>
                  <a:pt x="1602" y="278"/>
                </a:cubicBezTo>
                <a:cubicBezTo>
                  <a:pt x="1602" y="279"/>
                  <a:pt x="1602" y="279"/>
                  <a:pt x="1602" y="279"/>
                </a:cubicBezTo>
                <a:cubicBezTo>
                  <a:pt x="1602" y="280"/>
                  <a:pt x="1602" y="280"/>
                  <a:pt x="1602" y="280"/>
                </a:cubicBezTo>
                <a:cubicBezTo>
                  <a:pt x="1602" y="280"/>
                  <a:pt x="1602" y="281"/>
                  <a:pt x="1602" y="281"/>
                </a:cubicBezTo>
                <a:cubicBezTo>
                  <a:pt x="1602" y="281"/>
                  <a:pt x="1602" y="281"/>
                  <a:pt x="1601" y="281"/>
                </a:cubicBezTo>
                <a:cubicBezTo>
                  <a:pt x="1601" y="281"/>
                  <a:pt x="1601" y="281"/>
                  <a:pt x="1601" y="281"/>
                </a:cubicBezTo>
                <a:cubicBezTo>
                  <a:pt x="1601" y="281"/>
                  <a:pt x="1600" y="281"/>
                  <a:pt x="1600" y="281"/>
                </a:cubicBezTo>
                <a:cubicBezTo>
                  <a:pt x="1600" y="282"/>
                  <a:pt x="1600" y="282"/>
                  <a:pt x="1600" y="282"/>
                </a:cubicBezTo>
                <a:cubicBezTo>
                  <a:pt x="1600" y="282"/>
                  <a:pt x="1600" y="283"/>
                  <a:pt x="1600" y="283"/>
                </a:cubicBezTo>
                <a:cubicBezTo>
                  <a:pt x="1599" y="283"/>
                  <a:pt x="1599" y="283"/>
                  <a:pt x="1599" y="283"/>
                </a:cubicBezTo>
                <a:cubicBezTo>
                  <a:pt x="1598" y="283"/>
                  <a:pt x="1598" y="284"/>
                  <a:pt x="1598" y="284"/>
                </a:cubicBezTo>
                <a:cubicBezTo>
                  <a:pt x="1597" y="284"/>
                  <a:pt x="1597" y="284"/>
                  <a:pt x="1596" y="285"/>
                </a:cubicBezTo>
                <a:cubicBezTo>
                  <a:pt x="1596" y="285"/>
                  <a:pt x="1596" y="285"/>
                  <a:pt x="1596" y="285"/>
                </a:cubicBezTo>
                <a:cubicBezTo>
                  <a:pt x="1596" y="285"/>
                  <a:pt x="1595" y="285"/>
                  <a:pt x="1595" y="285"/>
                </a:cubicBezTo>
                <a:cubicBezTo>
                  <a:pt x="1595" y="286"/>
                  <a:pt x="1595" y="286"/>
                  <a:pt x="1594" y="287"/>
                </a:cubicBezTo>
                <a:cubicBezTo>
                  <a:pt x="1594" y="286"/>
                  <a:pt x="1594" y="286"/>
                  <a:pt x="1594" y="286"/>
                </a:cubicBezTo>
                <a:cubicBezTo>
                  <a:pt x="1593" y="287"/>
                  <a:pt x="1593" y="287"/>
                  <a:pt x="1593" y="288"/>
                </a:cubicBezTo>
                <a:cubicBezTo>
                  <a:pt x="1592" y="288"/>
                  <a:pt x="1592" y="289"/>
                  <a:pt x="1592" y="289"/>
                </a:cubicBezTo>
                <a:cubicBezTo>
                  <a:pt x="1592" y="289"/>
                  <a:pt x="1592" y="289"/>
                  <a:pt x="1592" y="289"/>
                </a:cubicBezTo>
                <a:cubicBezTo>
                  <a:pt x="1592" y="290"/>
                  <a:pt x="1592" y="290"/>
                  <a:pt x="1592" y="290"/>
                </a:cubicBezTo>
                <a:cubicBezTo>
                  <a:pt x="1591" y="291"/>
                  <a:pt x="1591" y="291"/>
                  <a:pt x="1591" y="291"/>
                </a:cubicBezTo>
                <a:cubicBezTo>
                  <a:pt x="1591" y="291"/>
                  <a:pt x="1590" y="291"/>
                  <a:pt x="1590" y="292"/>
                </a:cubicBezTo>
                <a:cubicBezTo>
                  <a:pt x="1590" y="292"/>
                  <a:pt x="1589" y="292"/>
                  <a:pt x="1589" y="292"/>
                </a:cubicBezTo>
                <a:cubicBezTo>
                  <a:pt x="1589" y="292"/>
                  <a:pt x="1589" y="292"/>
                  <a:pt x="1589" y="293"/>
                </a:cubicBezTo>
                <a:cubicBezTo>
                  <a:pt x="1589" y="293"/>
                  <a:pt x="1588" y="293"/>
                  <a:pt x="1588" y="293"/>
                </a:cubicBezTo>
                <a:cubicBezTo>
                  <a:pt x="1588" y="293"/>
                  <a:pt x="1588" y="293"/>
                  <a:pt x="1588" y="293"/>
                </a:cubicBezTo>
                <a:cubicBezTo>
                  <a:pt x="1587" y="294"/>
                  <a:pt x="1586" y="294"/>
                  <a:pt x="1586" y="294"/>
                </a:cubicBezTo>
                <a:cubicBezTo>
                  <a:pt x="1586" y="294"/>
                  <a:pt x="1585" y="294"/>
                  <a:pt x="1585" y="295"/>
                </a:cubicBezTo>
                <a:cubicBezTo>
                  <a:pt x="1585" y="295"/>
                  <a:pt x="1584" y="295"/>
                  <a:pt x="1583" y="295"/>
                </a:cubicBezTo>
                <a:cubicBezTo>
                  <a:pt x="1583" y="295"/>
                  <a:pt x="1583" y="296"/>
                  <a:pt x="1583" y="296"/>
                </a:cubicBezTo>
                <a:cubicBezTo>
                  <a:pt x="1583" y="296"/>
                  <a:pt x="1582" y="296"/>
                  <a:pt x="1582" y="296"/>
                </a:cubicBezTo>
                <a:cubicBezTo>
                  <a:pt x="1582" y="297"/>
                  <a:pt x="1581" y="297"/>
                  <a:pt x="1581" y="297"/>
                </a:cubicBezTo>
                <a:cubicBezTo>
                  <a:pt x="1581" y="297"/>
                  <a:pt x="1581" y="297"/>
                  <a:pt x="1580" y="297"/>
                </a:cubicBezTo>
                <a:cubicBezTo>
                  <a:pt x="1581" y="298"/>
                  <a:pt x="1581" y="298"/>
                  <a:pt x="1581" y="298"/>
                </a:cubicBezTo>
                <a:cubicBezTo>
                  <a:pt x="1581" y="299"/>
                  <a:pt x="1581" y="299"/>
                  <a:pt x="1582" y="299"/>
                </a:cubicBezTo>
                <a:cubicBezTo>
                  <a:pt x="1582" y="299"/>
                  <a:pt x="1582" y="299"/>
                  <a:pt x="1583" y="299"/>
                </a:cubicBezTo>
                <a:cubicBezTo>
                  <a:pt x="1583" y="300"/>
                  <a:pt x="1583" y="300"/>
                  <a:pt x="1583" y="300"/>
                </a:cubicBezTo>
                <a:cubicBezTo>
                  <a:pt x="1584" y="300"/>
                  <a:pt x="1584" y="300"/>
                  <a:pt x="1585" y="301"/>
                </a:cubicBezTo>
                <a:cubicBezTo>
                  <a:pt x="1585" y="300"/>
                  <a:pt x="1586" y="300"/>
                  <a:pt x="1586" y="300"/>
                </a:cubicBezTo>
                <a:cubicBezTo>
                  <a:pt x="1586" y="300"/>
                  <a:pt x="1587" y="300"/>
                  <a:pt x="1587" y="300"/>
                </a:cubicBezTo>
                <a:cubicBezTo>
                  <a:pt x="1587" y="300"/>
                  <a:pt x="1588" y="300"/>
                  <a:pt x="1588" y="300"/>
                </a:cubicBezTo>
                <a:cubicBezTo>
                  <a:pt x="1588" y="300"/>
                  <a:pt x="1588" y="301"/>
                  <a:pt x="1588" y="301"/>
                </a:cubicBezTo>
                <a:cubicBezTo>
                  <a:pt x="1589" y="301"/>
                  <a:pt x="1589" y="301"/>
                  <a:pt x="1590" y="301"/>
                </a:cubicBezTo>
                <a:cubicBezTo>
                  <a:pt x="1590" y="301"/>
                  <a:pt x="1589" y="302"/>
                  <a:pt x="1589" y="303"/>
                </a:cubicBezTo>
                <a:cubicBezTo>
                  <a:pt x="1589" y="303"/>
                  <a:pt x="1590" y="304"/>
                  <a:pt x="1590" y="304"/>
                </a:cubicBezTo>
                <a:cubicBezTo>
                  <a:pt x="1590" y="305"/>
                  <a:pt x="1590" y="305"/>
                  <a:pt x="1590" y="305"/>
                </a:cubicBezTo>
                <a:cubicBezTo>
                  <a:pt x="1590" y="306"/>
                  <a:pt x="1590" y="306"/>
                  <a:pt x="1589" y="306"/>
                </a:cubicBezTo>
                <a:cubicBezTo>
                  <a:pt x="1590" y="307"/>
                  <a:pt x="1590" y="307"/>
                  <a:pt x="1590" y="307"/>
                </a:cubicBezTo>
                <a:cubicBezTo>
                  <a:pt x="1591" y="307"/>
                  <a:pt x="1591" y="307"/>
                  <a:pt x="1591" y="307"/>
                </a:cubicBezTo>
                <a:cubicBezTo>
                  <a:pt x="1592" y="307"/>
                  <a:pt x="1592" y="307"/>
                  <a:pt x="1592" y="307"/>
                </a:cubicBezTo>
                <a:cubicBezTo>
                  <a:pt x="1592" y="307"/>
                  <a:pt x="1592" y="307"/>
                  <a:pt x="1592" y="307"/>
                </a:cubicBezTo>
                <a:cubicBezTo>
                  <a:pt x="1593" y="307"/>
                  <a:pt x="1593" y="307"/>
                  <a:pt x="1593" y="307"/>
                </a:cubicBezTo>
                <a:cubicBezTo>
                  <a:pt x="1593" y="307"/>
                  <a:pt x="1594" y="307"/>
                  <a:pt x="1594" y="307"/>
                </a:cubicBezTo>
                <a:cubicBezTo>
                  <a:pt x="1594" y="307"/>
                  <a:pt x="1594" y="307"/>
                  <a:pt x="1594" y="307"/>
                </a:cubicBezTo>
                <a:cubicBezTo>
                  <a:pt x="1595" y="307"/>
                  <a:pt x="1595" y="307"/>
                  <a:pt x="1595" y="307"/>
                </a:cubicBezTo>
                <a:cubicBezTo>
                  <a:pt x="1595" y="307"/>
                  <a:pt x="1596" y="308"/>
                  <a:pt x="1596" y="308"/>
                </a:cubicBezTo>
                <a:cubicBezTo>
                  <a:pt x="1596" y="308"/>
                  <a:pt x="1596" y="308"/>
                  <a:pt x="1596" y="308"/>
                </a:cubicBezTo>
                <a:cubicBezTo>
                  <a:pt x="1595" y="308"/>
                  <a:pt x="1595" y="308"/>
                  <a:pt x="1595" y="308"/>
                </a:cubicBezTo>
                <a:cubicBezTo>
                  <a:pt x="1595" y="309"/>
                  <a:pt x="1595" y="309"/>
                  <a:pt x="1595" y="309"/>
                </a:cubicBezTo>
                <a:cubicBezTo>
                  <a:pt x="1594" y="309"/>
                  <a:pt x="1594" y="309"/>
                  <a:pt x="1594" y="309"/>
                </a:cubicBezTo>
                <a:cubicBezTo>
                  <a:pt x="1594" y="309"/>
                  <a:pt x="1593" y="309"/>
                  <a:pt x="1593" y="309"/>
                </a:cubicBezTo>
                <a:cubicBezTo>
                  <a:pt x="1593" y="309"/>
                  <a:pt x="1593" y="310"/>
                  <a:pt x="1593" y="310"/>
                </a:cubicBezTo>
                <a:cubicBezTo>
                  <a:pt x="1594" y="310"/>
                  <a:pt x="1595" y="310"/>
                  <a:pt x="1596" y="310"/>
                </a:cubicBezTo>
                <a:cubicBezTo>
                  <a:pt x="1596" y="310"/>
                  <a:pt x="1597" y="310"/>
                  <a:pt x="1597" y="310"/>
                </a:cubicBezTo>
                <a:cubicBezTo>
                  <a:pt x="1597" y="310"/>
                  <a:pt x="1598" y="310"/>
                  <a:pt x="1598" y="309"/>
                </a:cubicBezTo>
                <a:cubicBezTo>
                  <a:pt x="1598" y="309"/>
                  <a:pt x="1598" y="309"/>
                  <a:pt x="1598" y="309"/>
                </a:cubicBezTo>
                <a:cubicBezTo>
                  <a:pt x="1598" y="308"/>
                  <a:pt x="1598" y="308"/>
                  <a:pt x="1599" y="308"/>
                </a:cubicBezTo>
                <a:cubicBezTo>
                  <a:pt x="1599" y="309"/>
                  <a:pt x="1599" y="309"/>
                  <a:pt x="1599" y="309"/>
                </a:cubicBezTo>
                <a:cubicBezTo>
                  <a:pt x="1599" y="310"/>
                  <a:pt x="1599" y="310"/>
                  <a:pt x="1598" y="310"/>
                </a:cubicBezTo>
                <a:cubicBezTo>
                  <a:pt x="1598" y="311"/>
                  <a:pt x="1598" y="311"/>
                  <a:pt x="1598" y="311"/>
                </a:cubicBezTo>
                <a:cubicBezTo>
                  <a:pt x="1598" y="311"/>
                  <a:pt x="1599" y="311"/>
                  <a:pt x="1599" y="311"/>
                </a:cubicBezTo>
                <a:cubicBezTo>
                  <a:pt x="1599" y="311"/>
                  <a:pt x="1599" y="311"/>
                  <a:pt x="1600" y="310"/>
                </a:cubicBezTo>
                <a:cubicBezTo>
                  <a:pt x="1600" y="310"/>
                  <a:pt x="1600" y="309"/>
                  <a:pt x="1600" y="309"/>
                </a:cubicBezTo>
                <a:cubicBezTo>
                  <a:pt x="1600" y="309"/>
                  <a:pt x="1600" y="309"/>
                  <a:pt x="1600" y="308"/>
                </a:cubicBezTo>
                <a:cubicBezTo>
                  <a:pt x="1600" y="308"/>
                  <a:pt x="1600" y="308"/>
                  <a:pt x="1600" y="308"/>
                </a:cubicBezTo>
                <a:cubicBezTo>
                  <a:pt x="1600" y="307"/>
                  <a:pt x="1600" y="307"/>
                  <a:pt x="1600" y="306"/>
                </a:cubicBezTo>
                <a:cubicBezTo>
                  <a:pt x="1600" y="306"/>
                  <a:pt x="1600" y="306"/>
                  <a:pt x="1601" y="306"/>
                </a:cubicBezTo>
                <a:cubicBezTo>
                  <a:pt x="1601" y="307"/>
                  <a:pt x="1601" y="307"/>
                  <a:pt x="1601" y="307"/>
                </a:cubicBezTo>
                <a:cubicBezTo>
                  <a:pt x="1601" y="307"/>
                  <a:pt x="1601" y="307"/>
                  <a:pt x="1601" y="308"/>
                </a:cubicBezTo>
                <a:cubicBezTo>
                  <a:pt x="1601" y="308"/>
                  <a:pt x="1601" y="308"/>
                  <a:pt x="1602" y="308"/>
                </a:cubicBezTo>
                <a:cubicBezTo>
                  <a:pt x="1602" y="308"/>
                  <a:pt x="1602" y="308"/>
                  <a:pt x="1602" y="308"/>
                </a:cubicBezTo>
                <a:cubicBezTo>
                  <a:pt x="1602" y="308"/>
                  <a:pt x="1603" y="308"/>
                  <a:pt x="1603" y="308"/>
                </a:cubicBezTo>
                <a:cubicBezTo>
                  <a:pt x="1603" y="308"/>
                  <a:pt x="1603" y="308"/>
                  <a:pt x="1604" y="308"/>
                </a:cubicBezTo>
                <a:cubicBezTo>
                  <a:pt x="1604" y="308"/>
                  <a:pt x="1605" y="308"/>
                  <a:pt x="1605" y="308"/>
                </a:cubicBezTo>
                <a:cubicBezTo>
                  <a:pt x="1606" y="308"/>
                  <a:pt x="1606" y="309"/>
                  <a:pt x="1606" y="309"/>
                </a:cubicBezTo>
                <a:cubicBezTo>
                  <a:pt x="1607" y="309"/>
                  <a:pt x="1607" y="310"/>
                  <a:pt x="1607" y="310"/>
                </a:cubicBezTo>
                <a:cubicBezTo>
                  <a:pt x="1608" y="310"/>
                  <a:pt x="1608" y="310"/>
                  <a:pt x="1608" y="310"/>
                </a:cubicBezTo>
                <a:cubicBezTo>
                  <a:pt x="1608" y="311"/>
                  <a:pt x="1608" y="311"/>
                  <a:pt x="1608" y="312"/>
                </a:cubicBezTo>
                <a:cubicBezTo>
                  <a:pt x="1609" y="312"/>
                  <a:pt x="1609" y="312"/>
                  <a:pt x="1609" y="312"/>
                </a:cubicBezTo>
                <a:cubicBezTo>
                  <a:pt x="1609" y="312"/>
                  <a:pt x="1610" y="312"/>
                  <a:pt x="1610" y="313"/>
                </a:cubicBezTo>
                <a:cubicBezTo>
                  <a:pt x="1610" y="313"/>
                  <a:pt x="1611" y="313"/>
                  <a:pt x="1611" y="313"/>
                </a:cubicBezTo>
                <a:cubicBezTo>
                  <a:pt x="1611" y="314"/>
                  <a:pt x="1612" y="314"/>
                  <a:pt x="1613" y="315"/>
                </a:cubicBezTo>
                <a:cubicBezTo>
                  <a:pt x="1613" y="315"/>
                  <a:pt x="1613" y="315"/>
                  <a:pt x="1613" y="315"/>
                </a:cubicBezTo>
                <a:cubicBezTo>
                  <a:pt x="1613" y="316"/>
                  <a:pt x="1613" y="316"/>
                  <a:pt x="1614" y="316"/>
                </a:cubicBezTo>
                <a:cubicBezTo>
                  <a:pt x="1614" y="316"/>
                  <a:pt x="1614" y="316"/>
                  <a:pt x="1614" y="317"/>
                </a:cubicBezTo>
                <a:cubicBezTo>
                  <a:pt x="1614" y="317"/>
                  <a:pt x="1615" y="317"/>
                  <a:pt x="1615" y="317"/>
                </a:cubicBezTo>
                <a:cubicBezTo>
                  <a:pt x="1615" y="317"/>
                  <a:pt x="1615" y="318"/>
                  <a:pt x="1615" y="318"/>
                </a:cubicBezTo>
                <a:cubicBezTo>
                  <a:pt x="1615" y="318"/>
                  <a:pt x="1615" y="318"/>
                  <a:pt x="1614" y="319"/>
                </a:cubicBezTo>
                <a:cubicBezTo>
                  <a:pt x="1614" y="319"/>
                  <a:pt x="1614" y="319"/>
                  <a:pt x="1614" y="319"/>
                </a:cubicBezTo>
                <a:cubicBezTo>
                  <a:pt x="1614" y="319"/>
                  <a:pt x="1614" y="319"/>
                  <a:pt x="1613" y="319"/>
                </a:cubicBezTo>
                <a:cubicBezTo>
                  <a:pt x="1614" y="320"/>
                  <a:pt x="1614" y="320"/>
                  <a:pt x="1614" y="320"/>
                </a:cubicBezTo>
                <a:cubicBezTo>
                  <a:pt x="1614" y="320"/>
                  <a:pt x="1615" y="320"/>
                  <a:pt x="1615" y="321"/>
                </a:cubicBezTo>
                <a:cubicBezTo>
                  <a:pt x="1615" y="321"/>
                  <a:pt x="1615" y="322"/>
                  <a:pt x="1616" y="322"/>
                </a:cubicBezTo>
                <a:cubicBezTo>
                  <a:pt x="1616" y="322"/>
                  <a:pt x="1616" y="323"/>
                  <a:pt x="1616" y="323"/>
                </a:cubicBezTo>
                <a:cubicBezTo>
                  <a:pt x="1615" y="323"/>
                  <a:pt x="1615" y="323"/>
                  <a:pt x="1615" y="323"/>
                </a:cubicBezTo>
                <a:cubicBezTo>
                  <a:pt x="1615" y="323"/>
                  <a:pt x="1615" y="324"/>
                  <a:pt x="1614" y="324"/>
                </a:cubicBezTo>
                <a:cubicBezTo>
                  <a:pt x="1615" y="324"/>
                  <a:pt x="1615" y="325"/>
                  <a:pt x="1615" y="325"/>
                </a:cubicBezTo>
                <a:cubicBezTo>
                  <a:pt x="1616" y="325"/>
                  <a:pt x="1616" y="325"/>
                  <a:pt x="1616" y="325"/>
                </a:cubicBezTo>
                <a:cubicBezTo>
                  <a:pt x="1616" y="325"/>
                  <a:pt x="1617" y="325"/>
                  <a:pt x="1617" y="325"/>
                </a:cubicBezTo>
                <a:cubicBezTo>
                  <a:pt x="1617" y="326"/>
                  <a:pt x="1617" y="326"/>
                  <a:pt x="1617" y="326"/>
                </a:cubicBezTo>
                <a:cubicBezTo>
                  <a:pt x="1617" y="326"/>
                  <a:pt x="1617" y="326"/>
                  <a:pt x="1616" y="326"/>
                </a:cubicBezTo>
                <a:cubicBezTo>
                  <a:pt x="1616" y="326"/>
                  <a:pt x="1616" y="327"/>
                  <a:pt x="1616" y="327"/>
                </a:cubicBezTo>
                <a:cubicBezTo>
                  <a:pt x="1616" y="327"/>
                  <a:pt x="1617" y="328"/>
                  <a:pt x="1617" y="328"/>
                </a:cubicBezTo>
                <a:cubicBezTo>
                  <a:pt x="1617" y="328"/>
                  <a:pt x="1616" y="328"/>
                  <a:pt x="1616" y="328"/>
                </a:cubicBezTo>
                <a:cubicBezTo>
                  <a:pt x="1616" y="328"/>
                  <a:pt x="1616" y="328"/>
                  <a:pt x="1616" y="328"/>
                </a:cubicBezTo>
                <a:cubicBezTo>
                  <a:pt x="1616" y="329"/>
                  <a:pt x="1616" y="329"/>
                  <a:pt x="1616" y="329"/>
                </a:cubicBezTo>
                <a:cubicBezTo>
                  <a:pt x="1616" y="329"/>
                  <a:pt x="1615" y="330"/>
                  <a:pt x="1615" y="330"/>
                </a:cubicBezTo>
                <a:cubicBezTo>
                  <a:pt x="1615" y="330"/>
                  <a:pt x="1615" y="330"/>
                  <a:pt x="1615" y="330"/>
                </a:cubicBezTo>
                <a:cubicBezTo>
                  <a:pt x="1615" y="330"/>
                  <a:pt x="1615" y="330"/>
                  <a:pt x="1615" y="331"/>
                </a:cubicBezTo>
                <a:cubicBezTo>
                  <a:pt x="1615" y="331"/>
                  <a:pt x="1615" y="331"/>
                  <a:pt x="1615" y="331"/>
                </a:cubicBezTo>
                <a:cubicBezTo>
                  <a:pt x="1615" y="331"/>
                  <a:pt x="1615" y="331"/>
                  <a:pt x="1615" y="331"/>
                </a:cubicBezTo>
                <a:cubicBezTo>
                  <a:pt x="1615" y="331"/>
                  <a:pt x="1615" y="331"/>
                  <a:pt x="1614" y="332"/>
                </a:cubicBezTo>
                <a:cubicBezTo>
                  <a:pt x="1614" y="332"/>
                  <a:pt x="1614" y="333"/>
                  <a:pt x="1615" y="333"/>
                </a:cubicBezTo>
                <a:cubicBezTo>
                  <a:pt x="1614" y="334"/>
                  <a:pt x="1614" y="334"/>
                  <a:pt x="1614" y="334"/>
                </a:cubicBezTo>
                <a:cubicBezTo>
                  <a:pt x="1614" y="334"/>
                  <a:pt x="1614" y="335"/>
                  <a:pt x="1614" y="335"/>
                </a:cubicBezTo>
                <a:cubicBezTo>
                  <a:pt x="1614" y="335"/>
                  <a:pt x="1614" y="336"/>
                  <a:pt x="1614" y="336"/>
                </a:cubicBezTo>
                <a:cubicBezTo>
                  <a:pt x="1614" y="336"/>
                  <a:pt x="1613" y="336"/>
                  <a:pt x="1613" y="336"/>
                </a:cubicBezTo>
                <a:cubicBezTo>
                  <a:pt x="1613" y="337"/>
                  <a:pt x="1613" y="338"/>
                  <a:pt x="1614" y="339"/>
                </a:cubicBezTo>
                <a:cubicBezTo>
                  <a:pt x="1614" y="339"/>
                  <a:pt x="1614" y="339"/>
                  <a:pt x="1614" y="339"/>
                </a:cubicBezTo>
                <a:cubicBezTo>
                  <a:pt x="1615" y="339"/>
                  <a:pt x="1615" y="339"/>
                  <a:pt x="1615" y="339"/>
                </a:cubicBezTo>
                <a:cubicBezTo>
                  <a:pt x="1615" y="339"/>
                  <a:pt x="1615" y="340"/>
                  <a:pt x="1615" y="340"/>
                </a:cubicBezTo>
                <a:cubicBezTo>
                  <a:pt x="1615" y="340"/>
                  <a:pt x="1615" y="340"/>
                  <a:pt x="1614" y="340"/>
                </a:cubicBezTo>
                <a:cubicBezTo>
                  <a:pt x="1614" y="340"/>
                  <a:pt x="1614" y="340"/>
                  <a:pt x="1614" y="340"/>
                </a:cubicBezTo>
                <a:cubicBezTo>
                  <a:pt x="1614" y="341"/>
                  <a:pt x="1614" y="341"/>
                  <a:pt x="1614" y="341"/>
                </a:cubicBezTo>
                <a:cubicBezTo>
                  <a:pt x="1614" y="341"/>
                  <a:pt x="1614" y="341"/>
                  <a:pt x="1614" y="341"/>
                </a:cubicBezTo>
                <a:cubicBezTo>
                  <a:pt x="1615" y="342"/>
                  <a:pt x="1615" y="342"/>
                  <a:pt x="1616" y="343"/>
                </a:cubicBezTo>
                <a:cubicBezTo>
                  <a:pt x="1615" y="343"/>
                  <a:pt x="1615" y="344"/>
                  <a:pt x="1615" y="344"/>
                </a:cubicBezTo>
                <a:cubicBezTo>
                  <a:pt x="1615" y="344"/>
                  <a:pt x="1615" y="345"/>
                  <a:pt x="1615" y="345"/>
                </a:cubicBezTo>
                <a:cubicBezTo>
                  <a:pt x="1615" y="345"/>
                  <a:pt x="1615" y="345"/>
                  <a:pt x="1615" y="345"/>
                </a:cubicBezTo>
                <a:cubicBezTo>
                  <a:pt x="1615" y="346"/>
                  <a:pt x="1615" y="346"/>
                  <a:pt x="1614" y="347"/>
                </a:cubicBezTo>
                <a:cubicBezTo>
                  <a:pt x="1615" y="347"/>
                  <a:pt x="1615" y="347"/>
                  <a:pt x="1615" y="347"/>
                </a:cubicBezTo>
                <a:cubicBezTo>
                  <a:pt x="1615" y="348"/>
                  <a:pt x="1615" y="348"/>
                  <a:pt x="1615" y="348"/>
                </a:cubicBezTo>
                <a:cubicBezTo>
                  <a:pt x="1615" y="348"/>
                  <a:pt x="1615" y="348"/>
                  <a:pt x="1614" y="348"/>
                </a:cubicBezTo>
                <a:cubicBezTo>
                  <a:pt x="1614" y="349"/>
                  <a:pt x="1614" y="349"/>
                  <a:pt x="1614" y="349"/>
                </a:cubicBezTo>
                <a:cubicBezTo>
                  <a:pt x="1614" y="350"/>
                  <a:pt x="1614" y="350"/>
                  <a:pt x="1614" y="350"/>
                </a:cubicBezTo>
                <a:cubicBezTo>
                  <a:pt x="1614" y="350"/>
                  <a:pt x="1614" y="351"/>
                  <a:pt x="1614" y="351"/>
                </a:cubicBezTo>
                <a:cubicBezTo>
                  <a:pt x="1613" y="351"/>
                  <a:pt x="1613" y="351"/>
                  <a:pt x="1612" y="352"/>
                </a:cubicBezTo>
                <a:cubicBezTo>
                  <a:pt x="1612" y="352"/>
                  <a:pt x="1612" y="352"/>
                  <a:pt x="1612" y="352"/>
                </a:cubicBezTo>
                <a:cubicBezTo>
                  <a:pt x="1611" y="353"/>
                  <a:pt x="1611" y="353"/>
                  <a:pt x="1610" y="353"/>
                </a:cubicBezTo>
                <a:cubicBezTo>
                  <a:pt x="1610" y="354"/>
                  <a:pt x="1610" y="354"/>
                  <a:pt x="1610" y="355"/>
                </a:cubicBezTo>
                <a:cubicBezTo>
                  <a:pt x="1610" y="355"/>
                  <a:pt x="1610" y="355"/>
                  <a:pt x="1610" y="355"/>
                </a:cubicBezTo>
                <a:cubicBezTo>
                  <a:pt x="1610" y="355"/>
                  <a:pt x="1610" y="355"/>
                  <a:pt x="1610" y="356"/>
                </a:cubicBezTo>
                <a:cubicBezTo>
                  <a:pt x="1609" y="356"/>
                  <a:pt x="1609" y="356"/>
                  <a:pt x="1609" y="356"/>
                </a:cubicBezTo>
                <a:cubicBezTo>
                  <a:pt x="1608" y="356"/>
                  <a:pt x="1608" y="357"/>
                  <a:pt x="1608" y="357"/>
                </a:cubicBezTo>
                <a:cubicBezTo>
                  <a:pt x="1608" y="357"/>
                  <a:pt x="1607" y="357"/>
                  <a:pt x="1607" y="358"/>
                </a:cubicBezTo>
                <a:cubicBezTo>
                  <a:pt x="1607" y="358"/>
                  <a:pt x="1607" y="358"/>
                  <a:pt x="1607" y="358"/>
                </a:cubicBezTo>
                <a:cubicBezTo>
                  <a:pt x="1607" y="358"/>
                  <a:pt x="1607" y="358"/>
                  <a:pt x="1607" y="358"/>
                </a:cubicBezTo>
                <a:cubicBezTo>
                  <a:pt x="1607" y="359"/>
                  <a:pt x="1607" y="359"/>
                  <a:pt x="1606" y="359"/>
                </a:cubicBezTo>
                <a:cubicBezTo>
                  <a:pt x="1606" y="359"/>
                  <a:pt x="1606" y="360"/>
                  <a:pt x="1606" y="361"/>
                </a:cubicBezTo>
                <a:cubicBezTo>
                  <a:pt x="1606" y="361"/>
                  <a:pt x="1605" y="361"/>
                  <a:pt x="1605" y="361"/>
                </a:cubicBezTo>
                <a:cubicBezTo>
                  <a:pt x="1605" y="361"/>
                  <a:pt x="1605" y="362"/>
                  <a:pt x="1605" y="362"/>
                </a:cubicBezTo>
                <a:cubicBezTo>
                  <a:pt x="1605" y="362"/>
                  <a:pt x="1605" y="362"/>
                  <a:pt x="1605" y="362"/>
                </a:cubicBezTo>
                <a:cubicBezTo>
                  <a:pt x="1605" y="362"/>
                  <a:pt x="1605" y="363"/>
                  <a:pt x="1605" y="363"/>
                </a:cubicBezTo>
                <a:cubicBezTo>
                  <a:pt x="1604" y="363"/>
                  <a:pt x="1604" y="363"/>
                  <a:pt x="1603" y="363"/>
                </a:cubicBezTo>
                <a:cubicBezTo>
                  <a:pt x="1603" y="364"/>
                  <a:pt x="1603" y="364"/>
                  <a:pt x="1602" y="364"/>
                </a:cubicBezTo>
                <a:cubicBezTo>
                  <a:pt x="1602" y="364"/>
                  <a:pt x="1602" y="364"/>
                  <a:pt x="1601" y="364"/>
                </a:cubicBezTo>
                <a:cubicBezTo>
                  <a:pt x="1601" y="365"/>
                  <a:pt x="1601" y="365"/>
                  <a:pt x="1601" y="365"/>
                </a:cubicBezTo>
                <a:cubicBezTo>
                  <a:pt x="1600" y="365"/>
                  <a:pt x="1600" y="365"/>
                  <a:pt x="1599" y="365"/>
                </a:cubicBezTo>
                <a:cubicBezTo>
                  <a:pt x="1599" y="366"/>
                  <a:pt x="1598" y="367"/>
                  <a:pt x="1597" y="368"/>
                </a:cubicBezTo>
                <a:cubicBezTo>
                  <a:pt x="1597" y="368"/>
                  <a:pt x="1597" y="368"/>
                  <a:pt x="1597" y="368"/>
                </a:cubicBezTo>
                <a:cubicBezTo>
                  <a:pt x="1596" y="368"/>
                  <a:pt x="1596" y="369"/>
                  <a:pt x="1596" y="369"/>
                </a:cubicBezTo>
                <a:cubicBezTo>
                  <a:pt x="1596" y="369"/>
                  <a:pt x="1596" y="369"/>
                  <a:pt x="1596" y="369"/>
                </a:cubicBezTo>
                <a:cubicBezTo>
                  <a:pt x="1596" y="369"/>
                  <a:pt x="1596" y="369"/>
                  <a:pt x="1596" y="369"/>
                </a:cubicBezTo>
                <a:cubicBezTo>
                  <a:pt x="1595" y="370"/>
                  <a:pt x="1595" y="370"/>
                  <a:pt x="1594" y="370"/>
                </a:cubicBezTo>
                <a:cubicBezTo>
                  <a:pt x="1594" y="370"/>
                  <a:pt x="1594" y="370"/>
                  <a:pt x="1594" y="370"/>
                </a:cubicBezTo>
                <a:cubicBezTo>
                  <a:pt x="1594" y="370"/>
                  <a:pt x="1593" y="370"/>
                  <a:pt x="1593" y="370"/>
                </a:cubicBezTo>
                <a:cubicBezTo>
                  <a:pt x="1593" y="371"/>
                  <a:pt x="1593" y="371"/>
                  <a:pt x="1593" y="371"/>
                </a:cubicBezTo>
                <a:cubicBezTo>
                  <a:pt x="1592" y="371"/>
                  <a:pt x="1592" y="371"/>
                  <a:pt x="1592" y="371"/>
                </a:cubicBezTo>
                <a:cubicBezTo>
                  <a:pt x="1592" y="372"/>
                  <a:pt x="1592" y="372"/>
                  <a:pt x="1592" y="372"/>
                </a:cubicBezTo>
                <a:cubicBezTo>
                  <a:pt x="1592" y="372"/>
                  <a:pt x="1591" y="373"/>
                  <a:pt x="1591" y="373"/>
                </a:cubicBezTo>
                <a:cubicBezTo>
                  <a:pt x="1591" y="373"/>
                  <a:pt x="1591" y="373"/>
                  <a:pt x="1591" y="373"/>
                </a:cubicBezTo>
                <a:cubicBezTo>
                  <a:pt x="1590" y="372"/>
                  <a:pt x="1590" y="372"/>
                  <a:pt x="1590" y="372"/>
                </a:cubicBezTo>
                <a:cubicBezTo>
                  <a:pt x="1590" y="372"/>
                  <a:pt x="1590" y="373"/>
                  <a:pt x="1590" y="373"/>
                </a:cubicBezTo>
                <a:cubicBezTo>
                  <a:pt x="1590" y="373"/>
                  <a:pt x="1590" y="374"/>
                  <a:pt x="1590" y="374"/>
                </a:cubicBezTo>
                <a:cubicBezTo>
                  <a:pt x="1589" y="374"/>
                  <a:pt x="1589" y="374"/>
                  <a:pt x="1588" y="374"/>
                </a:cubicBezTo>
                <a:cubicBezTo>
                  <a:pt x="1588" y="374"/>
                  <a:pt x="1588" y="374"/>
                  <a:pt x="1588" y="374"/>
                </a:cubicBezTo>
                <a:cubicBezTo>
                  <a:pt x="1588" y="374"/>
                  <a:pt x="1587" y="375"/>
                  <a:pt x="1586" y="375"/>
                </a:cubicBezTo>
                <a:cubicBezTo>
                  <a:pt x="1586" y="375"/>
                  <a:pt x="1585" y="375"/>
                  <a:pt x="1585" y="376"/>
                </a:cubicBezTo>
                <a:cubicBezTo>
                  <a:pt x="1585" y="375"/>
                  <a:pt x="1585" y="375"/>
                  <a:pt x="1584" y="375"/>
                </a:cubicBezTo>
                <a:cubicBezTo>
                  <a:pt x="1584" y="375"/>
                  <a:pt x="1584" y="376"/>
                  <a:pt x="1584" y="376"/>
                </a:cubicBezTo>
                <a:cubicBezTo>
                  <a:pt x="1583" y="376"/>
                  <a:pt x="1583" y="375"/>
                  <a:pt x="1582" y="375"/>
                </a:cubicBezTo>
                <a:cubicBezTo>
                  <a:pt x="1582" y="375"/>
                  <a:pt x="1581" y="376"/>
                  <a:pt x="1581" y="376"/>
                </a:cubicBezTo>
                <a:cubicBezTo>
                  <a:pt x="1581" y="375"/>
                  <a:pt x="1581" y="375"/>
                  <a:pt x="1580" y="375"/>
                </a:cubicBezTo>
                <a:cubicBezTo>
                  <a:pt x="1580" y="375"/>
                  <a:pt x="1580" y="375"/>
                  <a:pt x="1580" y="375"/>
                </a:cubicBezTo>
                <a:cubicBezTo>
                  <a:pt x="1579" y="375"/>
                  <a:pt x="1579" y="374"/>
                  <a:pt x="1578" y="374"/>
                </a:cubicBezTo>
                <a:cubicBezTo>
                  <a:pt x="1578" y="374"/>
                  <a:pt x="1577" y="373"/>
                  <a:pt x="1577" y="373"/>
                </a:cubicBezTo>
                <a:cubicBezTo>
                  <a:pt x="1577" y="373"/>
                  <a:pt x="1577" y="372"/>
                  <a:pt x="1577" y="372"/>
                </a:cubicBezTo>
                <a:cubicBezTo>
                  <a:pt x="1577" y="372"/>
                  <a:pt x="1577" y="371"/>
                  <a:pt x="1577" y="371"/>
                </a:cubicBezTo>
                <a:cubicBezTo>
                  <a:pt x="1576" y="371"/>
                  <a:pt x="1576" y="371"/>
                  <a:pt x="1575" y="371"/>
                </a:cubicBezTo>
                <a:cubicBezTo>
                  <a:pt x="1575" y="371"/>
                  <a:pt x="1575" y="371"/>
                  <a:pt x="1574" y="370"/>
                </a:cubicBezTo>
                <a:cubicBezTo>
                  <a:pt x="1574" y="370"/>
                  <a:pt x="1574" y="370"/>
                  <a:pt x="1574" y="371"/>
                </a:cubicBezTo>
                <a:cubicBezTo>
                  <a:pt x="1574" y="371"/>
                  <a:pt x="1574" y="371"/>
                  <a:pt x="1574" y="371"/>
                </a:cubicBezTo>
                <a:cubicBezTo>
                  <a:pt x="1573" y="371"/>
                  <a:pt x="1573" y="371"/>
                  <a:pt x="1573" y="371"/>
                </a:cubicBezTo>
                <a:cubicBezTo>
                  <a:pt x="1572" y="372"/>
                  <a:pt x="1572" y="372"/>
                  <a:pt x="1572" y="373"/>
                </a:cubicBezTo>
                <a:cubicBezTo>
                  <a:pt x="1572" y="373"/>
                  <a:pt x="1572" y="373"/>
                  <a:pt x="1571" y="373"/>
                </a:cubicBezTo>
                <a:cubicBezTo>
                  <a:pt x="1571" y="373"/>
                  <a:pt x="1571" y="373"/>
                  <a:pt x="1570" y="374"/>
                </a:cubicBezTo>
                <a:cubicBezTo>
                  <a:pt x="1570" y="373"/>
                  <a:pt x="1570" y="373"/>
                  <a:pt x="1570" y="373"/>
                </a:cubicBezTo>
                <a:cubicBezTo>
                  <a:pt x="1570" y="373"/>
                  <a:pt x="1569" y="373"/>
                  <a:pt x="1569" y="373"/>
                </a:cubicBezTo>
                <a:cubicBezTo>
                  <a:pt x="1568" y="373"/>
                  <a:pt x="1568" y="373"/>
                  <a:pt x="1568" y="374"/>
                </a:cubicBezTo>
                <a:cubicBezTo>
                  <a:pt x="1568" y="374"/>
                  <a:pt x="1568" y="374"/>
                  <a:pt x="1568" y="374"/>
                </a:cubicBezTo>
                <a:cubicBezTo>
                  <a:pt x="1568" y="374"/>
                  <a:pt x="1568" y="374"/>
                  <a:pt x="1568" y="374"/>
                </a:cubicBezTo>
                <a:cubicBezTo>
                  <a:pt x="1568" y="374"/>
                  <a:pt x="1568" y="374"/>
                  <a:pt x="1567" y="374"/>
                </a:cubicBezTo>
                <a:cubicBezTo>
                  <a:pt x="1567" y="374"/>
                  <a:pt x="1566" y="374"/>
                  <a:pt x="1565" y="374"/>
                </a:cubicBezTo>
                <a:cubicBezTo>
                  <a:pt x="1565" y="374"/>
                  <a:pt x="1565" y="374"/>
                  <a:pt x="1565" y="374"/>
                </a:cubicBezTo>
                <a:cubicBezTo>
                  <a:pt x="1565" y="374"/>
                  <a:pt x="1564" y="374"/>
                  <a:pt x="1564" y="375"/>
                </a:cubicBezTo>
                <a:cubicBezTo>
                  <a:pt x="1564" y="375"/>
                  <a:pt x="1563" y="376"/>
                  <a:pt x="1563" y="376"/>
                </a:cubicBezTo>
                <a:cubicBezTo>
                  <a:pt x="1563" y="377"/>
                  <a:pt x="1563" y="377"/>
                  <a:pt x="1563" y="377"/>
                </a:cubicBezTo>
                <a:cubicBezTo>
                  <a:pt x="1563" y="378"/>
                  <a:pt x="1563" y="378"/>
                  <a:pt x="1564" y="378"/>
                </a:cubicBezTo>
                <a:cubicBezTo>
                  <a:pt x="1563" y="379"/>
                  <a:pt x="1563" y="379"/>
                  <a:pt x="1563" y="380"/>
                </a:cubicBezTo>
                <a:cubicBezTo>
                  <a:pt x="1563" y="380"/>
                  <a:pt x="1563" y="380"/>
                  <a:pt x="1563" y="381"/>
                </a:cubicBezTo>
                <a:cubicBezTo>
                  <a:pt x="1563" y="381"/>
                  <a:pt x="1563" y="381"/>
                  <a:pt x="1563" y="381"/>
                </a:cubicBezTo>
                <a:cubicBezTo>
                  <a:pt x="1562" y="381"/>
                  <a:pt x="1562" y="382"/>
                  <a:pt x="1561" y="382"/>
                </a:cubicBezTo>
                <a:cubicBezTo>
                  <a:pt x="1561" y="382"/>
                  <a:pt x="1561" y="382"/>
                  <a:pt x="1561" y="382"/>
                </a:cubicBezTo>
                <a:cubicBezTo>
                  <a:pt x="1560" y="382"/>
                  <a:pt x="1559" y="383"/>
                  <a:pt x="1558" y="383"/>
                </a:cubicBezTo>
                <a:cubicBezTo>
                  <a:pt x="1558" y="383"/>
                  <a:pt x="1558" y="383"/>
                  <a:pt x="1558" y="383"/>
                </a:cubicBezTo>
                <a:cubicBezTo>
                  <a:pt x="1558" y="384"/>
                  <a:pt x="1558" y="384"/>
                  <a:pt x="1557" y="384"/>
                </a:cubicBezTo>
                <a:cubicBezTo>
                  <a:pt x="1557" y="384"/>
                  <a:pt x="1557" y="384"/>
                  <a:pt x="1557" y="384"/>
                </a:cubicBezTo>
                <a:cubicBezTo>
                  <a:pt x="1557" y="384"/>
                  <a:pt x="1556" y="384"/>
                  <a:pt x="1556" y="384"/>
                </a:cubicBezTo>
                <a:cubicBezTo>
                  <a:pt x="1555" y="384"/>
                  <a:pt x="1555" y="384"/>
                  <a:pt x="1555" y="384"/>
                </a:cubicBezTo>
                <a:cubicBezTo>
                  <a:pt x="1554" y="384"/>
                  <a:pt x="1554" y="384"/>
                  <a:pt x="1554" y="384"/>
                </a:cubicBezTo>
                <a:cubicBezTo>
                  <a:pt x="1553" y="384"/>
                  <a:pt x="1553" y="384"/>
                  <a:pt x="1552" y="384"/>
                </a:cubicBezTo>
                <a:cubicBezTo>
                  <a:pt x="1552" y="385"/>
                  <a:pt x="1552" y="385"/>
                  <a:pt x="1552" y="385"/>
                </a:cubicBezTo>
                <a:cubicBezTo>
                  <a:pt x="1552" y="386"/>
                  <a:pt x="1552" y="386"/>
                  <a:pt x="1552" y="386"/>
                </a:cubicBezTo>
                <a:cubicBezTo>
                  <a:pt x="1552" y="386"/>
                  <a:pt x="1552" y="386"/>
                  <a:pt x="1551" y="386"/>
                </a:cubicBezTo>
                <a:cubicBezTo>
                  <a:pt x="1551" y="387"/>
                  <a:pt x="1551" y="387"/>
                  <a:pt x="1551" y="387"/>
                </a:cubicBezTo>
                <a:cubicBezTo>
                  <a:pt x="1552" y="388"/>
                  <a:pt x="1553" y="388"/>
                  <a:pt x="1553" y="388"/>
                </a:cubicBezTo>
                <a:cubicBezTo>
                  <a:pt x="1553" y="389"/>
                  <a:pt x="1553" y="389"/>
                  <a:pt x="1554" y="389"/>
                </a:cubicBezTo>
                <a:cubicBezTo>
                  <a:pt x="1555" y="390"/>
                  <a:pt x="1556" y="391"/>
                  <a:pt x="1557" y="392"/>
                </a:cubicBezTo>
                <a:cubicBezTo>
                  <a:pt x="1557" y="392"/>
                  <a:pt x="1557" y="392"/>
                  <a:pt x="1557" y="393"/>
                </a:cubicBezTo>
                <a:cubicBezTo>
                  <a:pt x="1557" y="394"/>
                  <a:pt x="1558" y="395"/>
                  <a:pt x="1558" y="396"/>
                </a:cubicBezTo>
                <a:cubicBezTo>
                  <a:pt x="1559" y="397"/>
                  <a:pt x="1559" y="398"/>
                  <a:pt x="1560" y="399"/>
                </a:cubicBezTo>
                <a:cubicBezTo>
                  <a:pt x="1561" y="400"/>
                  <a:pt x="1561" y="401"/>
                  <a:pt x="1562" y="402"/>
                </a:cubicBezTo>
                <a:cubicBezTo>
                  <a:pt x="1562" y="403"/>
                  <a:pt x="1562" y="403"/>
                  <a:pt x="1561" y="404"/>
                </a:cubicBezTo>
                <a:cubicBezTo>
                  <a:pt x="1562" y="404"/>
                  <a:pt x="1562" y="405"/>
                  <a:pt x="1562" y="405"/>
                </a:cubicBezTo>
                <a:cubicBezTo>
                  <a:pt x="1562" y="406"/>
                  <a:pt x="1562" y="407"/>
                  <a:pt x="1562" y="407"/>
                </a:cubicBezTo>
                <a:cubicBezTo>
                  <a:pt x="1562" y="408"/>
                  <a:pt x="1562" y="408"/>
                  <a:pt x="1561" y="408"/>
                </a:cubicBezTo>
                <a:cubicBezTo>
                  <a:pt x="1562" y="408"/>
                  <a:pt x="1562" y="408"/>
                  <a:pt x="1562" y="408"/>
                </a:cubicBezTo>
                <a:cubicBezTo>
                  <a:pt x="1562" y="408"/>
                  <a:pt x="1562" y="408"/>
                  <a:pt x="1562" y="408"/>
                </a:cubicBezTo>
                <a:cubicBezTo>
                  <a:pt x="1562" y="409"/>
                  <a:pt x="1562" y="410"/>
                  <a:pt x="1561" y="411"/>
                </a:cubicBezTo>
                <a:cubicBezTo>
                  <a:pt x="1561" y="411"/>
                  <a:pt x="1561" y="411"/>
                  <a:pt x="1561" y="411"/>
                </a:cubicBezTo>
                <a:cubicBezTo>
                  <a:pt x="1561" y="411"/>
                  <a:pt x="1561" y="411"/>
                  <a:pt x="1561" y="412"/>
                </a:cubicBezTo>
                <a:cubicBezTo>
                  <a:pt x="1560" y="412"/>
                  <a:pt x="1560" y="412"/>
                  <a:pt x="1559" y="412"/>
                </a:cubicBezTo>
                <a:cubicBezTo>
                  <a:pt x="1559" y="412"/>
                  <a:pt x="1558" y="412"/>
                  <a:pt x="1558" y="412"/>
                </a:cubicBezTo>
                <a:cubicBezTo>
                  <a:pt x="1557" y="412"/>
                  <a:pt x="1557" y="412"/>
                  <a:pt x="1556" y="412"/>
                </a:cubicBezTo>
                <a:cubicBezTo>
                  <a:pt x="1556" y="412"/>
                  <a:pt x="1556" y="412"/>
                  <a:pt x="1557" y="413"/>
                </a:cubicBezTo>
                <a:cubicBezTo>
                  <a:pt x="1556" y="413"/>
                  <a:pt x="1556" y="413"/>
                  <a:pt x="1556" y="413"/>
                </a:cubicBezTo>
                <a:cubicBezTo>
                  <a:pt x="1556" y="413"/>
                  <a:pt x="1556" y="412"/>
                  <a:pt x="1556" y="412"/>
                </a:cubicBezTo>
                <a:cubicBezTo>
                  <a:pt x="1555" y="412"/>
                  <a:pt x="1555" y="412"/>
                  <a:pt x="1555" y="412"/>
                </a:cubicBezTo>
                <a:cubicBezTo>
                  <a:pt x="1555" y="412"/>
                  <a:pt x="1554" y="412"/>
                  <a:pt x="1554" y="411"/>
                </a:cubicBezTo>
                <a:cubicBezTo>
                  <a:pt x="1554" y="411"/>
                  <a:pt x="1554" y="411"/>
                  <a:pt x="1554" y="411"/>
                </a:cubicBezTo>
                <a:cubicBezTo>
                  <a:pt x="1554" y="411"/>
                  <a:pt x="1553" y="411"/>
                  <a:pt x="1553" y="411"/>
                </a:cubicBezTo>
                <a:cubicBezTo>
                  <a:pt x="1553" y="411"/>
                  <a:pt x="1553" y="411"/>
                  <a:pt x="1553" y="411"/>
                </a:cubicBezTo>
                <a:cubicBezTo>
                  <a:pt x="1553" y="411"/>
                  <a:pt x="1552" y="411"/>
                  <a:pt x="1552" y="411"/>
                </a:cubicBezTo>
                <a:cubicBezTo>
                  <a:pt x="1551" y="411"/>
                  <a:pt x="1550" y="411"/>
                  <a:pt x="1549" y="411"/>
                </a:cubicBezTo>
                <a:cubicBezTo>
                  <a:pt x="1549" y="411"/>
                  <a:pt x="1549" y="412"/>
                  <a:pt x="1548" y="412"/>
                </a:cubicBezTo>
                <a:cubicBezTo>
                  <a:pt x="1548" y="412"/>
                  <a:pt x="1548" y="411"/>
                  <a:pt x="1548" y="411"/>
                </a:cubicBezTo>
                <a:cubicBezTo>
                  <a:pt x="1548" y="411"/>
                  <a:pt x="1548" y="412"/>
                  <a:pt x="1548" y="412"/>
                </a:cubicBezTo>
                <a:cubicBezTo>
                  <a:pt x="1547" y="412"/>
                  <a:pt x="1547" y="412"/>
                  <a:pt x="1547" y="412"/>
                </a:cubicBezTo>
                <a:cubicBezTo>
                  <a:pt x="1547" y="412"/>
                  <a:pt x="1547" y="412"/>
                  <a:pt x="1547" y="412"/>
                </a:cubicBezTo>
                <a:cubicBezTo>
                  <a:pt x="1547" y="411"/>
                  <a:pt x="1547" y="411"/>
                  <a:pt x="1547" y="411"/>
                </a:cubicBezTo>
                <a:cubicBezTo>
                  <a:pt x="1547" y="411"/>
                  <a:pt x="1547" y="411"/>
                  <a:pt x="1547" y="410"/>
                </a:cubicBezTo>
                <a:cubicBezTo>
                  <a:pt x="1546" y="410"/>
                  <a:pt x="1546" y="410"/>
                  <a:pt x="1546" y="410"/>
                </a:cubicBezTo>
                <a:cubicBezTo>
                  <a:pt x="1546" y="409"/>
                  <a:pt x="1546" y="409"/>
                  <a:pt x="1545" y="408"/>
                </a:cubicBezTo>
                <a:cubicBezTo>
                  <a:pt x="1546" y="408"/>
                  <a:pt x="1546" y="408"/>
                  <a:pt x="1546" y="408"/>
                </a:cubicBezTo>
                <a:cubicBezTo>
                  <a:pt x="1546" y="408"/>
                  <a:pt x="1546" y="408"/>
                  <a:pt x="1546" y="407"/>
                </a:cubicBezTo>
                <a:cubicBezTo>
                  <a:pt x="1546" y="407"/>
                  <a:pt x="1546" y="407"/>
                  <a:pt x="1546" y="407"/>
                </a:cubicBezTo>
                <a:cubicBezTo>
                  <a:pt x="1546" y="407"/>
                  <a:pt x="1546" y="407"/>
                  <a:pt x="1547" y="407"/>
                </a:cubicBezTo>
                <a:cubicBezTo>
                  <a:pt x="1547" y="406"/>
                  <a:pt x="1547" y="406"/>
                  <a:pt x="1547" y="406"/>
                </a:cubicBezTo>
                <a:cubicBezTo>
                  <a:pt x="1547" y="406"/>
                  <a:pt x="1547" y="406"/>
                  <a:pt x="1546" y="405"/>
                </a:cubicBezTo>
                <a:cubicBezTo>
                  <a:pt x="1546" y="405"/>
                  <a:pt x="1546" y="405"/>
                  <a:pt x="1547" y="405"/>
                </a:cubicBezTo>
                <a:cubicBezTo>
                  <a:pt x="1547" y="405"/>
                  <a:pt x="1548" y="405"/>
                  <a:pt x="1548" y="405"/>
                </a:cubicBezTo>
                <a:cubicBezTo>
                  <a:pt x="1548" y="404"/>
                  <a:pt x="1548" y="404"/>
                  <a:pt x="1548" y="403"/>
                </a:cubicBezTo>
                <a:cubicBezTo>
                  <a:pt x="1548" y="403"/>
                  <a:pt x="1548" y="403"/>
                  <a:pt x="1548" y="403"/>
                </a:cubicBezTo>
                <a:cubicBezTo>
                  <a:pt x="1547" y="403"/>
                  <a:pt x="1547" y="403"/>
                  <a:pt x="1547" y="403"/>
                </a:cubicBezTo>
                <a:cubicBezTo>
                  <a:pt x="1547" y="402"/>
                  <a:pt x="1547" y="402"/>
                  <a:pt x="1548" y="402"/>
                </a:cubicBezTo>
                <a:cubicBezTo>
                  <a:pt x="1548" y="401"/>
                  <a:pt x="1547" y="401"/>
                  <a:pt x="1547" y="401"/>
                </a:cubicBezTo>
                <a:cubicBezTo>
                  <a:pt x="1547" y="401"/>
                  <a:pt x="1547" y="401"/>
                  <a:pt x="1547" y="401"/>
                </a:cubicBezTo>
                <a:cubicBezTo>
                  <a:pt x="1546" y="400"/>
                  <a:pt x="1545" y="400"/>
                  <a:pt x="1545" y="399"/>
                </a:cubicBezTo>
                <a:cubicBezTo>
                  <a:pt x="1545" y="399"/>
                  <a:pt x="1546" y="399"/>
                  <a:pt x="1546" y="398"/>
                </a:cubicBezTo>
                <a:cubicBezTo>
                  <a:pt x="1546" y="398"/>
                  <a:pt x="1547" y="399"/>
                  <a:pt x="1547" y="399"/>
                </a:cubicBezTo>
                <a:cubicBezTo>
                  <a:pt x="1547" y="399"/>
                  <a:pt x="1547" y="398"/>
                  <a:pt x="1548" y="398"/>
                </a:cubicBezTo>
                <a:cubicBezTo>
                  <a:pt x="1548" y="398"/>
                  <a:pt x="1548" y="399"/>
                  <a:pt x="1548" y="399"/>
                </a:cubicBezTo>
                <a:cubicBezTo>
                  <a:pt x="1548" y="399"/>
                  <a:pt x="1549" y="399"/>
                  <a:pt x="1549" y="400"/>
                </a:cubicBezTo>
                <a:cubicBezTo>
                  <a:pt x="1549" y="399"/>
                  <a:pt x="1549" y="399"/>
                  <a:pt x="1549" y="399"/>
                </a:cubicBezTo>
                <a:cubicBezTo>
                  <a:pt x="1549" y="399"/>
                  <a:pt x="1549" y="398"/>
                  <a:pt x="1549" y="398"/>
                </a:cubicBezTo>
                <a:cubicBezTo>
                  <a:pt x="1549" y="398"/>
                  <a:pt x="1549" y="398"/>
                  <a:pt x="1549" y="398"/>
                </a:cubicBezTo>
                <a:cubicBezTo>
                  <a:pt x="1549" y="398"/>
                  <a:pt x="1549" y="398"/>
                  <a:pt x="1548" y="397"/>
                </a:cubicBezTo>
                <a:cubicBezTo>
                  <a:pt x="1548" y="397"/>
                  <a:pt x="1548" y="396"/>
                  <a:pt x="1548" y="396"/>
                </a:cubicBezTo>
                <a:cubicBezTo>
                  <a:pt x="1547" y="395"/>
                  <a:pt x="1547" y="394"/>
                  <a:pt x="1546" y="394"/>
                </a:cubicBezTo>
                <a:cubicBezTo>
                  <a:pt x="1546" y="394"/>
                  <a:pt x="1547" y="394"/>
                  <a:pt x="1547" y="394"/>
                </a:cubicBezTo>
                <a:cubicBezTo>
                  <a:pt x="1546" y="394"/>
                  <a:pt x="1546" y="393"/>
                  <a:pt x="1545" y="393"/>
                </a:cubicBezTo>
                <a:cubicBezTo>
                  <a:pt x="1545" y="393"/>
                  <a:pt x="1545" y="393"/>
                  <a:pt x="1544" y="393"/>
                </a:cubicBezTo>
                <a:cubicBezTo>
                  <a:pt x="1544" y="393"/>
                  <a:pt x="1544" y="393"/>
                  <a:pt x="1544" y="393"/>
                </a:cubicBezTo>
                <a:cubicBezTo>
                  <a:pt x="1544" y="393"/>
                  <a:pt x="1544" y="392"/>
                  <a:pt x="1543" y="392"/>
                </a:cubicBezTo>
                <a:cubicBezTo>
                  <a:pt x="1543" y="392"/>
                  <a:pt x="1543" y="392"/>
                  <a:pt x="1543" y="392"/>
                </a:cubicBezTo>
                <a:cubicBezTo>
                  <a:pt x="1543" y="392"/>
                  <a:pt x="1543" y="392"/>
                  <a:pt x="1543" y="392"/>
                </a:cubicBezTo>
                <a:cubicBezTo>
                  <a:pt x="1542" y="393"/>
                  <a:pt x="1542" y="393"/>
                  <a:pt x="1542" y="393"/>
                </a:cubicBezTo>
                <a:cubicBezTo>
                  <a:pt x="1541" y="393"/>
                  <a:pt x="1541" y="393"/>
                  <a:pt x="1541" y="392"/>
                </a:cubicBezTo>
                <a:cubicBezTo>
                  <a:pt x="1541" y="393"/>
                  <a:pt x="1540" y="393"/>
                  <a:pt x="1540" y="393"/>
                </a:cubicBezTo>
                <a:cubicBezTo>
                  <a:pt x="1540" y="392"/>
                  <a:pt x="1540" y="392"/>
                  <a:pt x="1540" y="392"/>
                </a:cubicBezTo>
                <a:cubicBezTo>
                  <a:pt x="1540" y="392"/>
                  <a:pt x="1541" y="392"/>
                  <a:pt x="1541" y="391"/>
                </a:cubicBezTo>
                <a:cubicBezTo>
                  <a:pt x="1541" y="391"/>
                  <a:pt x="1540" y="391"/>
                  <a:pt x="1540" y="391"/>
                </a:cubicBezTo>
                <a:cubicBezTo>
                  <a:pt x="1540" y="391"/>
                  <a:pt x="1539" y="391"/>
                  <a:pt x="1539" y="391"/>
                </a:cubicBezTo>
                <a:cubicBezTo>
                  <a:pt x="1539" y="391"/>
                  <a:pt x="1539" y="391"/>
                  <a:pt x="1539" y="391"/>
                </a:cubicBezTo>
                <a:cubicBezTo>
                  <a:pt x="1539" y="390"/>
                  <a:pt x="1539" y="390"/>
                  <a:pt x="1539" y="390"/>
                </a:cubicBezTo>
                <a:cubicBezTo>
                  <a:pt x="1539" y="390"/>
                  <a:pt x="1539" y="389"/>
                  <a:pt x="1540" y="389"/>
                </a:cubicBezTo>
                <a:cubicBezTo>
                  <a:pt x="1540" y="388"/>
                  <a:pt x="1540" y="388"/>
                  <a:pt x="1541" y="388"/>
                </a:cubicBezTo>
                <a:cubicBezTo>
                  <a:pt x="1541" y="388"/>
                  <a:pt x="1542" y="388"/>
                  <a:pt x="1542" y="388"/>
                </a:cubicBezTo>
                <a:cubicBezTo>
                  <a:pt x="1543" y="388"/>
                  <a:pt x="1543" y="388"/>
                  <a:pt x="1543" y="388"/>
                </a:cubicBezTo>
                <a:cubicBezTo>
                  <a:pt x="1543" y="388"/>
                  <a:pt x="1543" y="388"/>
                  <a:pt x="1542" y="388"/>
                </a:cubicBezTo>
                <a:cubicBezTo>
                  <a:pt x="1542" y="388"/>
                  <a:pt x="1541" y="387"/>
                  <a:pt x="1540" y="387"/>
                </a:cubicBezTo>
                <a:cubicBezTo>
                  <a:pt x="1540" y="387"/>
                  <a:pt x="1540" y="387"/>
                  <a:pt x="1540" y="387"/>
                </a:cubicBezTo>
                <a:cubicBezTo>
                  <a:pt x="1540" y="386"/>
                  <a:pt x="1540" y="386"/>
                  <a:pt x="1541" y="385"/>
                </a:cubicBezTo>
                <a:cubicBezTo>
                  <a:pt x="1541" y="385"/>
                  <a:pt x="1542" y="384"/>
                  <a:pt x="1542" y="384"/>
                </a:cubicBezTo>
                <a:cubicBezTo>
                  <a:pt x="1542" y="384"/>
                  <a:pt x="1542" y="384"/>
                  <a:pt x="1542" y="383"/>
                </a:cubicBezTo>
                <a:cubicBezTo>
                  <a:pt x="1542" y="383"/>
                  <a:pt x="1543" y="383"/>
                  <a:pt x="1543" y="383"/>
                </a:cubicBezTo>
                <a:cubicBezTo>
                  <a:pt x="1543" y="383"/>
                  <a:pt x="1543" y="383"/>
                  <a:pt x="1543" y="383"/>
                </a:cubicBezTo>
                <a:cubicBezTo>
                  <a:pt x="1543" y="383"/>
                  <a:pt x="1543" y="383"/>
                  <a:pt x="1543" y="383"/>
                </a:cubicBezTo>
                <a:cubicBezTo>
                  <a:pt x="1542" y="383"/>
                  <a:pt x="1542" y="383"/>
                  <a:pt x="1542" y="383"/>
                </a:cubicBezTo>
                <a:cubicBezTo>
                  <a:pt x="1541" y="383"/>
                  <a:pt x="1541" y="383"/>
                  <a:pt x="1540" y="382"/>
                </a:cubicBezTo>
                <a:cubicBezTo>
                  <a:pt x="1540" y="382"/>
                  <a:pt x="1540" y="382"/>
                  <a:pt x="1540" y="382"/>
                </a:cubicBezTo>
                <a:cubicBezTo>
                  <a:pt x="1540" y="382"/>
                  <a:pt x="1539" y="381"/>
                  <a:pt x="1539" y="381"/>
                </a:cubicBezTo>
                <a:cubicBezTo>
                  <a:pt x="1539" y="381"/>
                  <a:pt x="1539" y="381"/>
                  <a:pt x="1539" y="381"/>
                </a:cubicBezTo>
                <a:cubicBezTo>
                  <a:pt x="1538" y="382"/>
                  <a:pt x="1538" y="382"/>
                  <a:pt x="1538" y="382"/>
                </a:cubicBezTo>
                <a:cubicBezTo>
                  <a:pt x="1538" y="381"/>
                  <a:pt x="1538" y="381"/>
                  <a:pt x="1538" y="380"/>
                </a:cubicBezTo>
                <a:cubicBezTo>
                  <a:pt x="1538" y="380"/>
                  <a:pt x="1538" y="380"/>
                  <a:pt x="1538" y="380"/>
                </a:cubicBezTo>
                <a:cubicBezTo>
                  <a:pt x="1538" y="380"/>
                  <a:pt x="1538" y="380"/>
                  <a:pt x="1537" y="380"/>
                </a:cubicBezTo>
                <a:cubicBezTo>
                  <a:pt x="1537" y="380"/>
                  <a:pt x="1537" y="380"/>
                  <a:pt x="1538" y="380"/>
                </a:cubicBezTo>
                <a:cubicBezTo>
                  <a:pt x="1537" y="380"/>
                  <a:pt x="1537" y="379"/>
                  <a:pt x="1537" y="379"/>
                </a:cubicBezTo>
                <a:cubicBezTo>
                  <a:pt x="1537" y="379"/>
                  <a:pt x="1536" y="380"/>
                  <a:pt x="1535" y="380"/>
                </a:cubicBezTo>
                <a:cubicBezTo>
                  <a:pt x="1535" y="380"/>
                  <a:pt x="1535" y="380"/>
                  <a:pt x="1534" y="379"/>
                </a:cubicBezTo>
                <a:cubicBezTo>
                  <a:pt x="1534" y="379"/>
                  <a:pt x="1534" y="379"/>
                  <a:pt x="1534" y="379"/>
                </a:cubicBezTo>
                <a:cubicBezTo>
                  <a:pt x="1534" y="379"/>
                  <a:pt x="1533" y="379"/>
                  <a:pt x="1533" y="379"/>
                </a:cubicBezTo>
                <a:cubicBezTo>
                  <a:pt x="1533" y="379"/>
                  <a:pt x="1532" y="379"/>
                  <a:pt x="1532" y="379"/>
                </a:cubicBezTo>
                <a:cubicBezTo>
                  <a:pt x="1531" y="379"/>
                  <a:pt x="1531" y="379"/>
                  <a:pt x="1530" y="379"/>
                </a:cubicBezTo>
                <a:cubicBezTo>
                  <a:pt x="1530" y="379"/>
                  <a:pt x="1530" y="379"/>
                  <a:pt x="1530" y="379"/>
                </a:cubicBezTo>
                <a:cubicBezTo>
                  <a:pt x="1530" y="379"/>
                  <a:pt x="1530" y="379"/>
                  <a:pt x="1529" y="379"/>
                </a:cubicBezTo>
                <a:cubicBezTo>
                  <a:pt x="1529" y="379"/>
                  <a:pt x="1528" y="379"/>
                  <a:pt x="1527" y="379"/>
                </a:cubicBezTo>
                <a:cubicBezTo>
                  <a:pt x="1526" y="379"/>
                  <a:pt x="1526" y="380"/>
                  <a:pt x="1525" y="380"/>
                </a:cubicBezTo>
                <a:cubicBezTo>
                  <a:pt x="1525" y="380"/>
                  <a:pt x="1525" y="380"/>
                  <a:pt x="1525" y="380"/>
                </a:cubicBezTo>
                <a:cubicBezTo>
                  <a:pt x="1525" y="381"/>
                  <a:pt x="1525" y="381"/>
                  <a:pt x="1525" y="381"/>
                </a:cubicBezTo>
                <a:cubicBezTo>
                  <a:pt x="1525" y="381"/>
                  <a:pt x="1524" y="381"/>
                  <a:pt x="1524" y="381"/>
                </a:cubicBezTo>
                <a:cubicBezTo>
                  <a:pt x="1523" y="381"/>
                  <a:pt x="1523" y="381"/>
                  <a:pt x="1522" y="381"/>
                </a:cubicBezTo>
                <a:cubicBezTo>
                  <a:pt x="1522" y="381"/>
                  <a:pt x="1522" y="381"/>
                  <a:pt x="1522" y="381"/>
                </a:cubicBezTo>
                <a:cubicBezTo>
                  <a:pt x="1522" y="381"/>
                  <a:pt x="1521" y="381"/>
                  <a:pt x="1521" y="381"/>
                </a:cubicBezTo>
                <a:cubicBezTo>
                  <a:pt x="1521" y="381"/>
                  <a:pt x="1521" y="381"/>
                  <a:pt x="1520" y="381"/>
                </a:cubicBezTo>
                <a:cubicBezTo>
                  <a:pt x="1520" y="381"/>
                  <a:pt x="1520" y="381"/>
                  <a:pt x="1520" y="381"/>
                </a:cubicBezTo>
                <a:cubicBezTo>
                  <a:pt x="1520" y="380"/>
                  <a:pt x="1520" y="380"/>
                  <a:pt x="1520" y="380"/>
                </a:cubicBezTo>
                <a:cubicBezTo>
                  <a:pt x="1520" y="380"/>
                  <a:pt x="1520" y="380"/>
                  <a:pt x="1520" y="380"/>
                </a:cubicBezTo>
                <a:cubicBezTo>
                  <a:pt x="1521" y="380"/>
                  <a:pt x="1521" y="380"/>
                  <a:pt x="1521" y="380"/>
                </a:cubicBezTo>
                <a:cubicBezTo>
                  <a:pt x="1521" y="380"/>
                  <a:pt x="1522" y="380"/>
                  <a:pt x="1522" y="379"/>
                </a:cubicBezTo>
                <a:cubicBezTo>
                  <a:pt x="1522" y="380"/>
                  <a:pt x="1523" y="380"/>
                  <a:pt x="1523" y="380"/>
                </a:cubicBezTo>
                <a:cubicBezTo>
                  <a:pt x="1523" y="380"/>
                  <a:pt x="1523" y="380"/>
                  <a:pt x="1523" y="380"/>
                </a:cubicBezTo>
                <a:cubicBezTo>
                  <a:pt x="1524" y="380"/>
                  <a:pt x="1524" y="380"/>
                  <a:pt x="1524" y="380"/>
                </a:cubicBezTo>
                <a:cubicBezTo>
                  <a:pt x="1524" y="379"/>
                  <a:pt x="1523" y="379"/>
                  <a:pt x="1523" y="379"/>
                </a:cubicBezTo>
                <a:cubicBezTo>
                  <a:pt x="1523" y="379"/>
                  <a:pt x="1523" y="379"/>
                  <a:pt x="1523" y="379"/>
                </a:cubicBezTo>
                <a:cubicBezTo>
                  <a:pt x="1524" y="379"/>
                  <a:pt x="1524" y="379"/>
                  <a:pt x="1524" y="379"/>
                </a:cubicBezTo>
                <a:cubicBezTo>
                  <a:pt x="1525" y="379"/>
                  <a:pt x="1525" y="378"/>
                  <a:pt x="1525" y="378"/>
                </a:cubicBezTo>
                <a:cubicBezTo>
                  <a:pt x="1525" y="378"/>
                  <a:pt x="1524" y="378"/>
                  <a:pt x="1524" y="379"/>
                </a:cubicBezTo>
                <a:cubicBezTo>
                  <a:pt x="1523" y="378"/>
                  <a:pt x="1523" y="378"/>
                  <a:pt x="1522" y="378"/>
                </a:cubicBezTo>
                <a:cubicBezTo>
                  <a:pt x="1522" y="378"/>
                  <a:pt x="1522" y="378"/>
                  <a:pt x="1522" y="378"/>
                </a:cubicBezTo>
                <a:cubicBezTo>
                  <a:pt x="1522" y="378"/>
                  <a:pt x="1522" y="378"/>
                  <a:pt x="1522" y="377"/>
                </a:cubicBezTo>
                <a:cubicBezTo>
                  <a:pt x="1522" y="377"/>
                  <a:pt x="1523" y="377"/>
                  <a:pt x="1523" y="377"/>
                </a:cubicBezTo>
                <a:cubicBezTo>
                  <a:pt x="1523" y="377"/>
                  <a:pt x="1523" y="377"/>
                  <a:pt x="1523" y="377"/>
                </a:cubicBezTo>
                <a:cubicBezTo>
                  <a:pt x="1523" y="377"/>
                  <a:pt x="1522" y="376"/>
                  <a:pt x="1522" y="376"/>
                </a:cubicBezTo>
                <a:cubicBezTo>
                  <a:pt x="1522" y="376"/>
                  <a:pt x="1522" y="375"/>
                  <a:pt x="1523" y="375"/>
                </a:cubicBezTo>
                <a:cubicBezTo>
                  <a:pt x="1523" y="375"/>
                  <a:pt x="1523" y="375"/>
                  <a:pt x="1523" y="375"/>
                </a:cubicBezTo>
                <a:cubicBezTo>
                  <a:pt x="1523" y="375"/>
                  <a:pt x="1523" y="375"/>
                  <a:pt x="1524" y="375"/>
                </a:cubicBezTo>
                <a:cubicBezTo>
                  <a:pt x="1524" y="375"/>
                  <a:pt x="1524" y="375"/>
                  <a:pt x="1524" y="374"/>
                </a:cubicBezTo>
                <a:cubicBezTo>
                  <a:pt x="1524" y="374"/>
                  <a:pt x="1525" y="374"/>
                  <a:pt x="1525" y="374"/>
                </a:cubicBezTo>
                <a:cubicBezTo>
                  <a:pt x="1526" y="374"/>
                  <a:pt x="1526" y="373"/>
                  <a:pt x="1526" y="373"/>
                </a:cubicBezTo>
                <a:cubicBezTo>
                  <a:pt x="1526" y="373"/>
                  <a:pt x="1526" y="373"/>
                  <a:pt x="1527" y="373"/>
                </a:cubicBezTo>
                <a:cubicBezTo>
                  <a:pt x="1527" y="373"/>
                  <a:pt x="1527" y="373"/>
                  <a:pt x="1527" y="373"/>
                </a:cubicBezTo>
                <a:cubicBezTo>
                  <a:pt x="1526" y="372"/>
                  <a:pt x="1525" y="371"/>
                  <a:pt x="1525" y="371"/>
                </a:cubicBezTo>
                <a:cubicBezTo>
                  <a:pt x="1524" y="370"/>
                  <a:pt x="1524" y="370"/>
                  <a:pt x="1524" y="369"/>
                </a:cubicBezTo>
                <a:cubicBezTo>
                  <a:pt x="1523" y="369"/>
                  <a:pt x="1523" y="369"/>
                  <a:pt x="1523" y="370"/>
                </a:cubicBezTo>
                <a:cubicBezTo>
                  <a:pt x="1523" y="370"/>
                  <a:pt x="1522" y="369"/>
                  <a:pt x="1522" y="369"/>
                </a:cubicBezTo>
                <a:cubicBezTo>
                  <a:pt x="1522" y="369"/>
                  <a:pt x="1522" y="369"/>
                  <a:pt x="1522" y="369"/>
                </a:cubicBezTo>
                <a:cubicBezTo>
                  <a:pt x="1521" y="369"/>
                  <a:pt x="1521" y="369"/>
                  <a:pt x="1520" y="369"/>
                </a:cubicBezTo>
                <a:cubicBezTo>
                  <a:pt x="1520" y="369"/>
                  <a:pt x="1520" y="369"/>
                  <a:pt x="1520" y="369"/>
                </a:cubicBezTo>
                <a:cubicBezTo>
                  <a:pt x="1519" y="369"/>
                  <a:pt x="1519" y="369"/>
                  <a:pt x="1519" y="369"/>
                </a:cubicBezTo>
                <a:cubicBezTo>
                  <a:pt x="1519" y="369"/>
                  <a:pt x="1519" y="370"/>
                  <a:pt x="1519" y="370"/>
                </a:cubicBezTo>
                <a:cubicBezTo>
                  <a:pt x="1518" y="370"/>
                  <a:pt x="1518" y="370"/>
                  <a:pt x="1517" y="370"/>
                </a:cubicBezTo>
                <a:cubicBezTo>
                  <a:pt x="1517" y="371"/>
                  <a:pt x="1517" y="371"/>
                  <a:pt x="1517" y="372"/>
                </a:cubicBezTo>
                <a:cubicBezTo>
                  <a:pt x="1516" y="372"/>
                  <a:pt x="1516" y="372"/>
                  <a:pt x="1516" y="372"/>
                </a:cubicBezTo>
                <a:cubicBezTo>
                  <a:pt x="1516" y="372"/>
                  <a:pt x="1515" y="372"/>
                  <a:pt x="1515" y="372"/>
                </a:cubicBezTo>
                <a:cubicBezTo>
                  <a:pt x="1515" y="372"/>
                  <a:pt x="1514" y="372"/>
                  <a:pt x="1514" y="372"/>
                </a:cubicBezTo>
                <a:cubicBezTo>
                  <a:pt x="1513" y="372"/>
                  <a:pt x="1512" y="372"/>
                  <a:pt x="1512" y="372"/>
                </a:cubicBezTo>
                <a:cubicBezTo>
                  <a:pt x="1511" y="373"/>
                  <a:pt x="1511" y="373"/>
                  <a:pt x="1511" y="374"/>
                </a:cubicBezTo>
                <a:cubicBezTo>
                  <a:pt x="1510" y="374"/>
                  <a:pt x="1510" y="374"/>
                  <a:pt x="1510" y="374"/>
                </a:cubicBezTo>
                <a:cubicBezTo>
                  <a:pt x="1510" y="374"/>
                  <a:pt x="1510" y="374"/>
                  <a:pt x="1510" y="374"/>
                </a:cubicBezTo>
                <a:cubicBezTo>
                  <a:pt x="1510" y="374"/>
                  <a:pt x="1510" y="375"/>
                  <a:pt x="1510" y="375"/>
                </a:cubicBezTo>
                <a:cubicBezTo>
                  <a:pt x="1510" y="375"/>
                  <a:pt x="1510" y="375"/>
                  <a:pt x="1509" y="375"/>
                </a:cubicBezTo>
                <a:cubicBezTo>
                  <a:pt x="1509" y="375"/>
                  <a:pt x="1510" y="375"/>
                  <a:pt x="1510" y="375"/>
                </a:cubicBezTo>
                <a:cubicBezTo>
                  <a:pt x="1509" y="375"/>
                  <a:pt x="1509" y="376"/>
                  <a:pt x="1509" y="376"/>
                </a:cubicBezTo>
                <a:cubicBezTo>
                  <a:pt x="1508" y="376"/>
                  <a:pt x="1508" y="376"/>
                  <a:pt x="1508" y="375"/>
                </a:cubicBezTo>
                <a:cubicBezTo>
                  <a:pt x="1507" y="375"/>
                  <a:pt x="1506" y="375"/>
                  <a:pt x="1506" y="375"/>
                </a:cubicBezTo>
                <a:cubicBezTo>
                  <a:pt x="1505" y="375"/>
                  <a:pt x="1505" y="374"/>
                  <a:pt x="1504" y="374"/>
                </a:cubicBezTo>
                <a:cubicBezTo>
                  <a:pt x="1504" y="374"/>
                  <a:pt x="1504" y="374"/>
                  <a:pt x="1504" y="374"/>
                </a:cubicBezTo>
                <a:cubicBezTo>
                  <a:pt x="1504" y="374"/>
                  <a:pt x="1503" y="374"/>
                  <a:pt x="1503" y="374"/>
                </a:cubicBezTo>
                <a:cubicBezTo>
                  <a:pt x="1503" y="375"/>
                  <a:pt x="1503" y="375"/>
                  <a:pt x="1503" y="375"/>
                </a:cubicBezTo>
                <a:cubicBezTo>
                  <a:pt x="1503" y="375"/>
                  <a:pt x="1502" y="375"/>
                  <a:pt x="1502" y="375"/>
                </a:cubicBezTo>
                <a:cubicBezTo>
                  <a:pt x="1502" y="375"/>
                  <a:pt x="1502" y="376"/>
                  <a:pt x="1502" y="376"/>
                </a:cubicBezTo>
                <a:cubicBezTo>
                  <a:pt x="1502" y="376"/>
                  <a:pt x="1502" y="376"/>
                  <a:pt x="1502" y="376"/>
                </a:cubicBezTo>
                <a:cubicBezTo>
                  <a:pt x="1502" y="376"/>
                  <a:pt x="1502" y="376"/>
                  <a:pt x="1502" y="377"/>
                </a:cubicBezTo>
                <a:cubicBezTo>
                  <a:pt x="1502" y="377"/>
                  <a:pt x="1502" y="377"/>
                  <a:pt x="1502" y="378"/>
                </a:cubicBezTo>
                <a:cubicBezTo>
                  <a:pt x="1502" y="378"/>
                  <a:pt x="1502" y="378"/>
                  <a:pt x="1503" y="378"/>
                </a:cubicBezTo>
                <a:cubicBezTo>
                  <a:pt x="1503" y="379"/>
                  <a:pt x="1504" y="379"/>
                  <a:pt x="1504" y="380"/>
                </a:cubicBezTo>
                <a:cubicBezTo>
                  <a:pt x="1504" y="380"/>
                  <a:pt x="1504" y="380"/>
                  <a:pt x="1504" y="380"/>
                </a:cubicBezTo>
                <a:cubicBezTo>
                  <a:pt x="1504" y="381"/>
                  <a:pt x="1505" y="381"/>
                  <a:pt x="1505" y="381"/>
                </a:cubicBezTo>
                <a:cubicBezTo>
                  <a:pt x="1505" y="381"/>
                  <a:pt x="1505" y="381"/>
                  <a:pt x="1505" y="381"/>
                </a:cubicBezTo>
                <a:cubicBezTo>
                  <a:pt x="1505" y="381"/>
                  <a:pt x="1505" y="381"/>
                  <a:pt x="1505" y="382"/>
                </a:cubicBezTo>
                <a:cubicBezTo>
                  <a:pt x="1505" y="381"/>
                  <a:pt x="1505" y="381"/>
                  <a:pt x="1506" y="381"/>
                </a:cubicBezTo>
                <a:cubicBezTo>
                  <a:pt x="1506" y="381"/>
                  <a:pt x="1506" y="381"/>
                  <a:pt x="1506" y="381"/>
                </a:cubicBezTo>
                <a:cubicBezTo>
                  <a:pt x="1506" y="382"/>
                  <a:pt x="1506" y="382"/>
                  <a:pt x="1506" y="382"/>
                </a:cubicBezTo>
                <a:cubicBezTo>
                  <a:pt x="1506" y="382"/>
                  <a:pt x="1507" y="382"/>
                  <a:pt x="1507" y="382"/>
                </a:cubicBezTo>
                <a:cubicBezTo>
                  <a:pt x="1507" y="382"/>
                  <a:pt x="1508" y="382"/>
                  <a:pt x="1508" y="382"/>
                </a:cubicBezTo>
                <a:cubicBezTo>
                  <a:pt x="1508" y="382"/>
                  <a:pt x="1508" y="383"/>
                  <a:pt x="1508" y="383"/>
                </a:cubicBezTo>
                <a:cubicBezTo>
                  <a:pt x="1508" y="383"/>
                  <a:pt x="1508" y="384"/>
                  <a:pt x="1508" y="384"/>
                </a:cubicBezTo>
                <a:cubicBezTo>
                  <a:pt x="1508" y="385"/>
                  <a:pt x="1508" y="385"/>
                  <a:pt x="1509" y="386"/>
                </a:cubicBezTo>
                <a:cubicBezTo>
                  <a:pt x="1509" y="386"/>
                  <a:pt x="1509" y="387"/>
                  <a:pt x="1510" y="387"/>
                </a:cubicBezTo>
                <a:cubicBezTo>
                  <a:pt x="1510" y="387"/>
                  <a:pt x="1511" y="387"/>
                  <a:pt x="1511" y="387"/>
                </a:cubicBezTo>
                <a:cubicBezTo>
                  <a:pt x="1511" y="387"/>
                  <a:pt x="1512" y="387"/>
                  <a:pt x="1512" y="387"/>
                </a:cubicBezTo>
                <a:cubicBezTo>
                  <a:pt x="1512" y="387"/>
                  <a:pt x="1512" y="387"/>
                  <a:pt x="1513" y="387"/>
                </a:cubicBezTo>
                <a:cubicBezTo>
                  <a:pt x="1513" y="387"/>
                  <a:pt x="1513" y="387"/>
                  <a:pt x="1513" y="387"/>
                </a:cubicBezTo>
                <a:cubicBezTo>
                  <a:pt x="1513" y="386"/>
                  <a:pt x="1513" y="386"/>
                  <a:pt x="1513" y="386"/>
                </a:cubicBezTo>
                <a:cubicBezTo>
                  <a:pt x="1513" y="386"/>
                  <a:pt x="1513" y="386"/>
                  <a:pt x="1513" y="386"/>
                </a:cubicBezTo>
                <a:cubicBezTo>
                  <a:pt x="1513" y="386"/>
                  <a:pt x="1514" y="386"/>
                  <a:pt x="1514" y="386"/>
                </a:cubicBezTo>
                <a:cubicBezTo>
                  <a:pt x="1515" y="386"/>
                  <a:pt x="1515" y="386"/>
                  <a:pt x="1515" y="386"/>
                </a:cubicBezTo>
                <a:cubicBezTo>
                  <a:pt x="1515" y="386"/>
                  <a:pt x="1515" y="385"/>
                  <a:pt x="1515" y="385"/>
                </a:cubicBezTo>
                <a:cubicBezTo>
                  <a:pt x="1515" y="385"/>
                  <a:pt x="1515" y="385"/>
                  <a:pt x="1515" y="385"/>
                </a:cubicBezTo>
                <a:cubicBezTo>
                  <a:pt x="1515" y="385"/>
                  <a:pt x="1516" y="385"/>
                  <a:pt x="1516" y="385"/>
                </a:cubicBezTo>
                <a:cubicBezTo>
                  <a:pt x="1517" y="385"/>
                  <a:pt x="1518" y="385"/>
                  <a:pt x="1519" y="385"/>
                </a:cubicBezTo>
                <a:cubicBezTo>
                  <a:pt x="1519" y="385"/>
                  <a:pt x="1519" y="385"/>
                  <a:pt x="1519" y="386"/>
                </a:cubicBezTo>
                <a:cubicBezTo>
                  <a:pt x="1519" y="386"/>
                  <a:pt x="1519" y="386"/>
                  <a:pt x="1520" y="386"/>
                </a:cubicBezTo>
                <a:cubicBezTo>
                  <a:pt x="1520" y="386"/>
                  <a:pt x="1520" y="386"/>
                  <a:pt x="1520" y="387"/>
                </a:cubicBezTo>
                <a:cubicBezTo>
                  <a:pt x="1520" y="387"/>
                  <a:pt x="1520" y="387"/>
                  <a:pt x="1521" y="387"/>
                </a:cubicBezTo>
                <a:cubicBezTo>
                  <a:pt x="1521" y="387"/>
                  <a:pt x="1521" y="388"/>
                  <a:pt x="1521" y="388"/>
                </a:cubicBezTo>
                <a:cubicBezTo>
                  <a:pt x="1522" y="388"/>
                  <a:pt x="1523" y="388"/>
                  <a:pt x="1524" y="389"/>
                </a:cubicBezTo>
                <a:cubicBezTo>
                  <a:pt x="1524" y="389"/>
                  <a:pt x="1525" y="389"/>
                  <a:pt x="1525" y="389"/>
                </a:cubicBezTo>
                <a:cubicBezTo>
                  <a:pt x="1525" y="389"/>
                  <a:pt x="1526" y="389"/>
                  <a:pt x="1526" y="389"/>
                </a:cubicBezTo>
                <a:cubicBezTo>
                  <a:pt x="1526" y="389"/>
                  <a:pt x="1526" y="389"/>
                  <a:pt x="1526" y="389"/>
                </a:cubicBezTo>
                <a:cubicBezTo>
                  <a:pt x="1526" y="389"/>
                  <a:pt x="1527" y="390"/>
                  <a:pt x="1527" y="390"/>
                </a:cubicBezTo>
                <a:cubicBezTo>
                  <a:pt x="1528" y="390"/>
                  <a:pt x="1528" y="390"/>
                  <a:pt x="1528" y="390"/>
                </a:cubicBezTo>
                <a:cubicBezTo>
                  <a:pt x="1529" y="390"/>
                  <a:pt x="1529" y="390"/>
                  <a:pt x="1529" y="390"/>
                </a:cubicBezTo>
                <a:cubicBezTo>
                  <a:pt x="1529" y="390"/>
                  <a:pt x="1528" y="390"/>
                  <a:pt x="1528" y="390"/>
                </a:cubicBezTo>
                <a:cubicBezTo>
                  <a:pt x="1528" y="390"/>
                  <a:pt x="1528" y="390"/>
                  <a:pt x="1528" y="391"/>
                </a:cubicBezTo>
                <a:cubicBezTo>
                  <a:pt x="1528" y="391"/>
                  <a:pt x="1528" y="391"/>
                  <a:pt x="1528" y="392"/>
                </a:cubicBezTo>
                <a:cubicBezTo>
                  <a:pt x="1528" y="392"/>
                  <a:pt x="1528" y="392"/>
                  <a:pt x="1528" y="391"/>
                </a:cubicBezTo>
                <a:cubicBezTo>
                  <a:pt x="1527" y="391"/>
                  <a:pt x="1527" y="391"/>
                  <a:pt x="1527" y="391"/>
                </a:cubicBezTo>
                <a:cubicBezTo>
                  <a:pt x="1527" y="392"/>
                  <a:pt x="1527" y="392"/>
                  <a:pt x="1527" y="392"/>
                </a:cubicBezTo>
                <a:cubicBezTo>
                  <a:pt x="1527" y="392"/>
                  <a:pt x="1527" y="393"/>
                  <a:pt x="1528" y="393"/>
                </a:cubicBezTo>
                <a:cubicBezTo>
                  <a:pt x="1527" y="393"/>
                  <a:pt x="1527" y="393"/>
                  <a:pt x="1527" y="393"/>
                </a:cubicBezTo>
                <a:cubicBezTo>
                  <a:pt x="1527" y="393"/>
                  <a:pt x="1526" y="393"/>
                  <a:pt x="1526" y="393"/>
                </a:cubicBezTo>
                <a:cubicBezTo>
                  <a:pt x="1526" y="393"/>
                  <a:pt x="1525" y="393"/>
                  <a:pt x="1525" y="392"/>
                </a:cubicBezTo>
                <a:cubicBezTo>
                  <a:pt x="1525" y="392"/>
                  <a:pt x="1525" y="392"/>
                  <a:pt x="1525" y="392"/>
                </a:cubicBezTo>
                <a:cubicBezTo>
                  <a:pt x="1525" y="392"/>
                  <a:pt x="1524" y="392"/>
                  <a:pt x="1524" y="392"/>
                </a:cubicBezTo>
                <a:cubicBezTo>
                  <a:pt x="1524" y="392"/>
                  <a:pt x="1524" y="392"/>
                  <a:pt x="1524" y="392"/>
                </a:cubicBezTo>
                <a:cubicBezTo>
                  <a:pt x="1524" y="392"/>
                  <a:pt x="1523" y="392"/>
                  <a:pt x="1523" y="392"/>
                </a:cubicBezTo>
                <a:cubicBezTo>
                  <a:pt x="1522" y="392"/>
                  <a:pt x="1522" y="392"/>
                  <a:pt x="1522" y="392"/>
                </a:cubicBezTo>
                <a:cubicBezTo>
                  <a:pt x="1522" y="392"/>
                  <a:pt x="1521" y="392"/>
                  <a:pt x="1521" y="392"/>
                </a:cubicBezTo>
                <a:cubicBezTo>
                  <a:pt x="1521" y="392"/>
                  <a:pt x="1520" y="392"/>
                  <a:pt x="1520" y="392"/>
                </a:cubicBezTo>
                <a:cubicBezTo>
                  <a:pt x="1520" y="392"/>
                  <a:pt x="1520" y="392"/>
                  <a:pt x="1520" y="392"/>
                </a:cubicBezTo>
                <a:cubicBezTo>
                  <a:pt x="1519" y="392"/>
                  <a:pt x="1519" y="392"/>
                  <a:pt x="1519" y="391"/>
                </a:cubicBezTo>
                <a:cubicBezTo>
                  <a:pt x="1518" y="391"/>
                  <a:pt x="1518" y="391"/>
                  <a:pt x="1518" y="391"/>
                </a:cubicBezTo>
                <a:cubicBezTo>
                  <a:pt x="1518" y="391"/>
                  <a:pt x="1518" y="392"/>
                  <a:pt x="1519" y="392"/>
                </a:cubicBezTo>
                <a:cubicBezTo>
                  <a:pt x="1519" y="392"/>
                  <a:pt x="1519" y="392"/>
                  <a:pt x="1519" y="393"/>
                </a:cubicBezTo>
                <a:cubicBezTo>
                  <a:pt x="1518" y="393"/>
                  <a:pt x="1518" y="392"/>
                  <a:pt x="1517" y="392"/>
                </a:cubicBezTo>
                <a:cubicBezTo>
                  <a:pt x="1517" y="393"/>
                  <a:pt x="1517" y="393"/>
                  <a:pt x="1517" y="393"/>
                </a:cubicBezTo>
                <a:cubicBezTo>
                  <a:pt x="1516" y="393"/>
                  <a:pt x="1516" y="393"/>
                  <a:pt x="1515" y="393"/>
                </a:cubicBezTo>
                <a:cubicBezTo>
                  <a:pt x="1515" y="393"/>
                  <a:pt x="1515" y="393"/>
                  <a:pt x="1514" y="393"/>
                </a:cubicBezTo>
                <a:cubicBezTo>
                  <a:pt x="1514" y="393"/>
                  <a:pt x="1515" y="393"/>
                  <a:pt x="1515" y="393"/>
                </a:cubicBezTo>
                <a:cubicBezTo>
                  <a:pt x="1515" y="394"/>
                  <a:pt x="1515" y="394"/>
                  <a:pt x="1515" y="394"/>
                </a:cubicBezTo>
                <a:cubicBezTo>
                  <a:pt x="1515" y="394"/>
                  <a:pt x="1515" y="394"/>
                  <a:pt x="1514" y="395"/>
                </a:cubicBezTo>
                <a:cubicBezTo>
                  <a:pt x="1514" y="394"/>
                  <a:pt x="1514" y="394"/>
                  <a:pt x="1514" y="394"/>
                </a:cubicBezTo>
                <a:cubicBezTo>
                  <a:pt x="1513" y="394"/>
                  <a:pt x="1513" y="395"/>
                  <a:pt x="1513" y="395"/>
                </a:cubicBezTo>
                <a:cubicBezTo>
                  <a:pt x="1512" y="395"/>
                  <a:pt x="1512" y="395"/>
                  <a:pt x="1512" y="395"/>
                </a:cubicBezTo>
                <a:cubicBezTo>
                  <a:pt x="1512" y="395"/>
                  <a:pt x="1512" y="395"/>
                  <a:pt x="1511" y="395"/>
                </a:cubicBezTo>
                <a:cubicBezTo>
                  <a:pt x="1511" y="395"/>
                  <a:pt x="1511" y="395"/>
                  <a:pt x="1511" y="395"/>
                </a:cubicBezTo>
                <a:cubicBezTo>
                  <a:pt x="1511" y="396"/>
                  <a:pt x="1511" y="396"/>
                  <a:pt x="1511" y="396"/>
                </a:cubicBezTo>
                <a:cubicBezTo>
                  <a:pt x="1511" y="397"/>
                  <a:pt x="1510" y="397"/>
                  <a:pt x="1510" y="397"/>
                </a:cubicBezTo>
                <a:cubicBezTo>
                  <a:pt x="1510" y="398"/>
                  <a:pt x="1510" y="399"/>
                  <a:pt x="1510" y="399"/>
                </a:cubicBezTo>
                <a:cubicBezTo>
                  <a:pt x="1510" y="399"/>
                  <a:pt x="1510" y="399"/>
                  <a:pt x="1510" y="399"/>
                </a:cubicBezTo>
                <a:cubicBezTo>
                  <a:pt x="1511" y="400"/>
                  <a:pt x="1511" y="400"/>
                  <a:pt x="1512" y="401"/>
                </a:cubicBezTo>
                <a:cubicBezTo>
                  <a:pt x="1512" y="401"/>
                  <a:pt x="1512" y="401"/>
                  <a:pt x="1512" y="402"/>
                </a:cubicBezTo>
                <a:cubicBezTo>
                  <a:pt x="1512" y="402"/>
                  <a:pt x="1513" y="402"/>
                  <a:pt x="1513" y="401"/>
                </a:cubicBezTo>
                <a:cubicBezTo>
                  <a:pt x="1514" y="402"/>
                  <a:pt x="1515" y="403"/>
                  <a:pt x="1515" y="403"/>
                </a:cubicBezTo>
                <a:cubicBezTo>
                  <a:pt x="1516" y="404"/>
                  <a:pt x="1516" y="405"/>
                  <a:pt x="1516" y="406"/>
                </a:cubicBezTo>
                <a:cubicBezTo>
                  <a:pt x="1516" y="406"/>
                  <a:pt x="1516" y="406"/>
                  <a:pt x="1516" y="406"/>
                </a:cubicBezTo>
                <a:cubicBezTo>
                  <a:pt x="1516" y="407"/>
                  <a:pt x="1516" y="407"/>
                  <a:pt x="1516" y="407"/>
                </a:cubicBezTo>
                <a:cubicBezTo>
                  <a:pt x="1516" y="407"/>
                  <a:pt x="1516" y="407"/>
                  <a:pt x="1517" y="408"/>
                </a:cubicBezTo>
                <a:cubicBezTo>
                  <a:pt x="1516" y="408"/>
                  <a:pt x="1516" y="408"/>
                  <a:pt x="1516" y="409"/>
                </a:cubicBezTo>
                <a:cubicBezTo>
                  <a:pt x="1517" y="409"/>
                  <a:pt x="1517" y="410"/>
                  <a:pt x="1518" y="410"/>
                </a:cubicBezTo>
                <a:cubicBezTo>
                  <a:pt x="1518" y="411"/>
                  <a:pt x="1518" y="411"/>
                  <a:pt x="1517" y="411"/>
                </a:cubicBezTo>
                <a:cubicBezTo>
                  <a:pt x="1518" y="412"/>
                  <a:pt x="1518" y="412"/>
                  <a:pt x="1518" y="413"/>
                </a:cubicBezTo>
                <a:cubicBezTo>
                  <a:pt x="1519" y="413"/>
                  <a:pt x="1519" y="413"/>
                  <a:pt x="1519" y="414"/>
                </a:cubicBezTo>
                <a:cubicBezTo>
                  <a:pt x="1520" y="414"/>
                  <a:pt x="1520" y="414"/>
                  <a:pt x="1520" y="414"/>
                </a:cubicBezTo>
                <a:cubicBezTo>
                  <a:pt x="1520" y="414"/>
                  <a:pt x="1520" y="414"/>
                  <a:pt x="1521" y="414"/>
                </a:cubicBezTo>
                <a:cubicBezTo>
                  <a:pt x="1521" y="414"/>
                  <a:pt x="1521" y="415"/>
                  <a:pt x="1521" y="415"/>
                </a:cubicBezTo>
                <a:cubicBezTo>
                  <a:pt x="1521" y="415"/>
                  <a:pt x="1521" y="416"/>
                  <a:pt x="1521" y="416"/>
                </a:cubicBezTo>
                <a:cubicBezTo>
                  <a:pt x="1522" y="416"/>
                  <a:pt x="1522" y="416"/>
                  <a:pt x="1522" y="416"/>
                </a:cubicBezTo>
                <a:cubicBezTo>
                  <a:pt x="1522" y="417"/>
                  <a:pt x="1522" y="417"/>
                  <a:pt x="1522" y="418"/>
                </a:cubicBezTo>
                <a:cubicBezTo>
                  <a:pt x="1522" y="418"/>
                  <a:pt x="1522" y="418"/>
                  <a:pt x="1522" y="418"/>
                </a:cubicBezTo>
                <a:cubicBezTo>
                  <a:pt x="1521" y="417"/>
                  <a:pt x="1520" y="417"/>
                  <a:pt x="1520" y="417"/>
                </a:cubicBezTo>
                <a:cubicBezTo>
                  <a:pt x="1519" y="417"/>
                  <a:pt x="1519" y="417"/>
                  <a:pt x="1518" y="417"/>
                </a:cubicBezTo>
                <a:cubicBezTo>
                  <a:pt x="1518" y="416"/>
                  <a:pt x="1518" y="416"/>
                  <a:pt x="1517" y="416"/>
                </a:cubicBezTo>
                <a:cubicBezTo>
                  <a:pt x="1517" y="415"/>
                  <a:pt x="1517" y="415"/>
                  <a:pt x="1517" y="415"/>
                </a:cubicBezTo>
                <a:cubicBezTo>
                  <a:pt x="1516" y="415"/>
                  <a:pt x="1516" y="415"/>
                  <a:pt x="1516" y="414"/>
                </a:cubicBezTo>
                <a:cubicBezTo>
                  <a:pt x="1515" y="414"/>
                  <a:pt x="1515" y="414"/>
                  <a:pt x="1514" y="414"/>
                </a:cubicBezTo>
                <a:cubicBezTo>
                  <a:pt x="1514" y="414"/>
                  <a:pt x="1514" y="414"/>
                  <a:pt x="1513" y="414"/>
                </a:cubicBezTo>
                <a:cubicBezTo>
                  <a:pt x="1513" y="414"/>
                  <a:pt x="1513" y="414"/>
                  <a:pt x="1512" y="414"/>
                </a:cubicBezTo>
                <a:cubicBezTo>
                  <a:pt x="1512" y="414"/>
                  <a:pt x="1512" y="413"/>
                  <a:pt x="1512" y="413"/>
                </a:cubicBezTo>
                <a:cubicBezTo>
                  <a:pt x="1512" y="413"/>
                  <a:pt x="1512" y="412"/>
                  <a:pt x="1512" y="412"/>
                </a:cubicBezTo>
                <a:cubicBezTo>
                  <a:pt x="1511" y="412"/>
                  <a:pt x="1511" y="412"/>
                  <a:pt x="1510" y="412"/>
                </a:cubicBezTo>
                <a:cubicBezTo>
                  <a:pt x="1510" y="412"/>
                  <a:pt x="1510" y="411"/>
                  <a:pt x="1509" y="411"/>
                </a:cubicBezTo>
                <a:cubicBezTo>
                  <a:pt x="1509" y="411"/>
                  <a:pt x="1509" y="411"/>
                  <a:pt x="1509" y="411"/>
                </a:cubicBezTo>
                <a:cubicBezTo>
                  <a:pt x="1509" y="411"/>
                  <a:pt x="1509" y="411"/>
                  <a:pt x="1508" y="411"/>
                </a:cubicBezTo>
                <a:cubicBezTo>
                  <a:pt x="1508" y="411"/>
                  <a:pt x="1508" y="411"/>
                  <a:pt x="1508" y="411"/>
                </a:cubicBezTo>
                <a:cubicBezTo>
                  <a:pt x="1508" y="411"/>
                  <a:pt x="1507" y="411"/>
                  <a:pt x="1507" y="411"/>
                </a:cubicBezTo>
                <a:cubicBezTo>
                  <a:pt x="1506" y="411"/>
                  <a:pt x="1506" y="412"/>
                  <a:pt x="1505" y="412"/>
                </a:cubicBezTo>
                <a:cubicBezTo>
                  <a:pt x="1506" y="412"/>
                  <a:pt x="1506" y="412"/>
                  <a:pt x="1507" y="411"/>
                </a:cubicBezTo>
                <a:cubicBezTo>
                  <a:pt x="1507" y="411"/>
                  <a:pt x="1508" y="411"/>
                  <a:pt x="1508" y="411"/>
                </a:cubicBezTo>
                <a:cubicBezTo>
                  <a:pt x="1509" y="412"/>
                  <a:pt x="1509" y="412"/>
                  <a:pt x="1509" y="412"/>
                </a:cubicBezTo>
                <a:cubicBezTo>
                  <a:pt x="1510" y="412"/>
                  <a:pt x="1510" y="412"/>
                  <a:pt x="1511" y="412"/>
                </a:cubicBezTo>
                <a:cubicBezTo>
                  <a:pt x="1511" y="412"/>
                  <a:pt x="1511" y="412"/>
                  <a:pt x="1511" y="412"/>
                </a:cubicBezTo>
                <a:cubicBezTo>
                  <a:pt x="1511" y="413"/>
                  <a:pt x="1511" y="413"/>
                  <a:pt x="1511" y="413"/>
                </a:cubicBezTo>
                <a:cubicBezTo>
                  <a:pt x="1511" y="413"/>
                  <a:pt x="1512" y="414"/>
                  <a:pt x="1512" y="414"/>
                </a:cubicBezTo>
                <a:cubicBezTo>
                  <a:pt x="1512" y="414"/>
                  <a:pt x="1513" y="414"/>
                  <a:pt x="1513" y="414"/>
                </a:cubicBezTo>
                <a:cubicBezTo>
                  <a:pt x="1513" y="414"/>
                  <a:pt x="1514" y="414"/>
                  <a:pt x="1515" y="414"/>
                </a:cubicBezTo>
                <a:cubicBezTo>
                  <a:pt x="1515" y="414"/>
                  <a:pt x="1515" y="414"/>
                  <a:pt x="1516" y="415"/>
                </a:cubicBezTo>
                <a:cubicBezTo>
                  <a:pt x="1516" y="415"/>
                  <a:pt x="1517" y="416"/>
                  <a:pt x="1517" y="417"/>
                </a:cubicBezTo>
                <a:cubicBezTo>
                  <a:pt x="1518" y="417"/>
                  <a:pt x="1518" y="417"/>
                  <a:pt x="1519" y="418"/>
                </a:cubicBezTo>
                <a:cubicBezTo>
                  <a:pt x="1519" y="419"/>
                  <a:pt x="1520" y="419"/>
                  <a:pt x="1521" y="420"/>
                </a:cubicBezTo>
                <a:cubicBezTo>
                  <a:pt x="1521" y="420"/>
                  <a:pt x="1521" y="421"/>
                  <a:pt x="1521" y="422"/>
                </a:cubicBezTo>
                <a:cubicBezTo>
                  <a:pt x="1521" y="422"/>
                  <a:pt x="1521" y="422"/>
                  <a:pt x="1521" y="422"/>
                </a:cubicBezTo>
                <a:cubicBezTo>
                  <a:pt x="1521" y="422"/>
                  <a:pt x="1520" y="422"/>
                  <a:pt x="1520" y="422"/>
                </a:cubicBezTo>
                <a:cubicBezTo>
                  <a:pt x="1519" y="422"/>
                  <a:pt x="1519" y="422"/>
                  <a:pt x="1518" y="422"/>
                </a:cubicBezTo>
                <a:cubicBezTo>
                  <a:pt x="1518" y="422"/>
                  <a:pt x="1518" y="422"/>
                  <a:pt x="1518" y="422"/>
                </a:cubicBezTo>
                <a:cubicBezTo>
                  <a:pt x="1518" y="422"/>
                  <a:pt x="1517" y="422"/>
                  <a:pt x="1517" y="422"/>
                </a:cubicBezTo>
                <a:cubicBezTo>
                  <a:pt x="1517" y="422"/>
                  <a:pt x="1517" y="423"/>
                  <a:pt x="1517" y="423"/>
                </a:cubicBezTo>
                <a:cubicBezTo>
                  <a:pt x="1517" y="423"/>
                  <a:pt x="1516" y="423"/>
                  <a:pt x="1516" y="423"/>
                </a:cubicBezTo>
                <a:cubicBezTo>
                  <a:pt x="1516" y="423"/>
                  <a:pt x="1515" y="422"/>
                  <a:pt x="1515" y="422"/>
                </a:cubicBezTo>
                <a:cubicBezTo>
                  <a:pt x="1515" y="422"/>
                  <a:pt x="1514" y="422"/>
                  <a:pt x="1514" y="422"/>
                </a:cubicBezTo>
                <a:cubicBezTo>
                  <a:pt x="1514" y="422"/>
                  <a:pt x="1514" y="422"/>
                  <a:pt x="1513" y="422"/>
                </a:cubicBezTo>
                <a:cubicBezTo>
                  <a:pt x="1513" y="422"/>
                  <a:pt x="1512" y="422"/>
                  <a:pt x="1512" y="422"/>
                </a:cubicBezTo>
                <a:cubicBezTo>
                  <a:pt x="1512" y="422"/>
                  <a:pt x="1512" y="423"/>
                  <a:pt x="1512" y="423"/>
                </a:cubicBezTo>
                <a:cubicBezTo>
                  <a:pt x="1512" y="423"/>
                  <a:pt x="1512" y="423"/>
                  <a:pt x="1512" y="422"/>
                </a:cubicBezTo>
                <a:cubicBezTo>
                  <a:pt x="1513" y="422"/>
                  <a:pt x="1513" y="422"/>
                  <a:pt x="1513" y="422"/>
                </a:cubicBezTo>
                <a:cubicBezTo>
                  <a:pt x="1514" y="422"/>
                  <a:pt x="1514" y="422"/>
                  <a:pt x="1514" y="422"/>
                </a:cubicBezTo>
                <a:cubicBezTo>
                  <a:pt x="1515" y="423"/>
                  <a:pt x="1515" y="423"/>
                  <a:pt x="1515" y="424"/>
                </a:cubicBezTo>
                <a:cubicBezTo>
                  <a:pt x="1515" y="424"/>
                  <a:pt x="1516" y="424"/>
                  <a:pt x="1516" y="424"/>
                </a:cubicBezTo>
                <a:cubicBezTo>
                  <a:pt x="1516" y="424"/>
                  <a:pt x="1517" y="424"/>
                  <a:pt x="1518" y="424"/>
                </a:cubicBezTo>
                <a:cubicBezTo>
                  <a:pt x="1518" y="424"/>
                  <a:pt x="1518" y="424"/>
                  <a:pt x="1519" y="424"/>
                </a:cubicBezTo>
                <a:cubicBezTo>
                  <a:pt x="1519" y="425"/>
                  <a:pt x="1520" y="426"/>
                  <a:pt x="1520" y="426"/>
                </a:cubicBezTo>
                <a:cubicBezTo>
                  <a:pt x="1520" y="426"/>
                  <a:pt x="1520" y="426"/>
                  <a:pt x="1520" y="426"/>
                </a:cubicBezTo>
                <a:cubicBezTo>
                  <a:pt x="1520" y="426"/>
                  <a:pt x="1520" y="426"/>
                  <a:pt x="1521" y="427"/>
                </a:cubicBezTo>
                <a:cubicBezTo>
                  <a:pt x="1521" y="427"/>
                  <a:pt x="1521" y="427"/>
                  <a:pt x="1522" y="427"/>
                </a:cubicBezTo>
                <a:cubicBezTo>
                  <a:pt x="1522" y="427"/>
                  <a:pt x="1522" y="427"/>
                  <a:pt x="1522" y="427"/>
                </a:cubicBezTo>
                <a:cubicBezTo>
                  <a:pt x="1521" y="427"/>
                  <a:pt x="1520" y="428"/>
                  <a:pt x="1519" y="428"/>
                </a:cubicBezTo>
                <a:cubicBezTo>
                  <a:pt x="1518" y="428"/>
                  <a:pt x="1518" y="428"/>
                  <a:pt x="1517" y="428"/>
                </a:cubicBezTo>
                <a:cubicBezTo>
                  <a:pt x="1517" y="428"/>
                  <a:pt x="1517" y="428"/>
                  <a:pt x="1517" y="428"/>
                </a:cubicBezTo>
                <a:cubicBezTo>
                  <a:pt x="1517" y="428"/>
                  <a:pt x="1518" y="428"/>
                  <a:pt x="1518" y="429"/>
                </a:cubicBezTo>
                <a:cubicBezTo>
                  <a:pt x="1518" y="428"/>
                  <a:pt x="1519" y="428"/>
                  <a:pt x="1519" y="428"/>
                </a:cubicBezTo>
                <a:cubicBezTo>
                  <a:pt x="1520" y="428"/>
                  <a:pt x="1520" y="429"/>
                  <a:pt x="1520" y="429"/>
                </a:cubicBezTo>
                <a:cubicBezTo>
                  <a:pt x="1520" y="429"/>
                  <a:pt x="1520" y="429"/>
                  <a:pt x="1521" y="428"/>
                </a:cubicBezTo>
                <a:cubicBezTo>
                  <a:pt x="1520" y="428"/>
                  <a:pt x="1520" y="428"/>
                  <a:pt x="1520" y="428"/>
                </a:cubicBezTo>
                <a:cubicBezTo>
                  <a:pt x="1521" y="428"/>
                  <a:pt x="1521" y="428"/>
                  <a:pt x="1521" y="428"/>
                </a:cubicBezTo>
                <a:cubicBezTo>
                  <a:pt x="1521" y="428"/>
                  <a:pt x="1521" y="428"/>
                  <a:pt x="1522" y="428"/>
                </a:cubicBezTo>
                <a:cubicBezTo>
                  <a:pt x="1522" y="429"/>
                  <a:pt x="1521" y="429"/>
                  <a:pt x="1521" y="429"/>
                </a:cubicBezTo>
                <a:cubicBezTo>
                  <a:pt x="1521" y="430"/>
                  <a:pt x="1521" y="430"/>
                  <a:pt x="1521" y="430"/>
                </a:cubicBezTo>
                <a:cubicBezTo>
                  <a:pt x="1521" y="430"/>
                  <a:pt x="1521" y="430"/>
                  <a:pt x="1521" y="430"/>
                </a:cubicBezTo>
                <a:cubicBezTo>
                  <a:pt x="1521" y="430"/>
                  <a:pt x="1521" y="430"/>
                  <a:pt x="1521" y="430"/>
                </a:cubicBezTo>
                <a:cubicBezTo>
                  <a:pt x="1521" y="430"/>
                  <a:pt x="1520" y="430"/>
                  <a:pt x="1520" y="429"/>
                </a:cubicBezTo>
                <a:cubicBezTo>
                  <a:pt x="1520" y="430"/>
                  <a:pt x="1520" y="430"/>
                  <a:pt x="1520" y="430"/>
                </a:cubicBezTo>
                <a:cubicBezTo>
                  <a:pt x="1520" y="430"/>
                  <a:pt x="1520" y="430"/>
                  <a:pt x="1520" y="430"/>
                </a:cubicBezTo>
                <a:cubicBezTo>
                  <a:pt x="1519" y="430"/>
                  <a:pt x="1519" y="429"/>
                  <a:pt x="1519" y="429"/>
                </a:cubicBezTo>
                <a:cubicBezTo>
                  <a:pt x="1518" y="429"/>
                  <a:pt x="1518" y="429"/>
                  <a:pt x="1517" y="430"/>
                </a:cubicBezTo>
                <a:cubicBezTo>
                  <a:pt x="1517" y="430"/>
                  <a:pt x="1517" y="430"/>
                  <a:pt x="1517" y="430"/>
                </a:cubicBezTo>
                <a:cubicBezTo>
                  <a:pt x="1518" y="430"/>
                  <a:pt x="1518" y="430"/>
                  <a:pt x="1519" y="430"/>
                </a:cubicBezTo>
                <a:cubicBezTo>
                  <a:pt x="1519" y="431"/>
                  <a:pt x="1519" y="431"/>
                  <a:pt x="1519" y="431"/>
                </a:cubicBezTo>
                <a:cubicBezTo>
                  <a:pt x="1519" y="431"/>
                  <a:pt x="1519" y="431"/>
                  <a:pt x="1519" y="431"/>
                </a:cubicBezTo>
                <a:cubicBezTo>
                  <a:pt x="1519" y="431"/>
                  <a:pt x="1519" y="431"/>
                  <a:pt x="1519" y="431"/>
                </a:cubicBezTo>
                <a:cubicBezTo>
                  <a:pt x="1518" y="431"/>
                  <a:pt x="1518" y="431"/>
                  <a:pt x="1518" y="431"/>
                </a:cubicBezTo>
                <a:cubicBezTo>
                  <a:pt x="1518" y="431"/>
                  <a:pt x="1518" y="431"/>
                  <a:pt x="1518" y="432"/>
                </a:cubicBezTo>
                <a:cubicBezTo>
                  <a:pt x="1519" y="432"/>
                  <a:pt x="1519" y="432"/>
                  <a:pt x="1519" y="432"/>
                </a:cubicBezTo>
                <a:cubicBezTo>
                  <a:pt x="1519" y="432"/>
                  <a:pt x="1518" y="432"/>
                  <a:pt x="1518" y="432"/>
                </a:cubicBezTo>
                <a:cubicBezTo>
                  <a:pt x="1518" y="432"/>
                  <a:pt x="1518" y="432"/>
                  <a:pt x="1517" y="432"/>
                </a:cubicBezTo>
                <a:cubicBezTo>
                  <a:pt x="1517" y="432"/>
                  <a:pt x="1517" y="432"/>
                  <a:pt x="1517" y="432"/>
                </a:cubicBezTo>
                <a:cubicBezTo>
                  <a:pt x="1517" y="432"/>
                  <a:pt x="1517" y="432"/>
                  <a:pt x="1517" y="432"/>
                </a:cubicBezTo>
                <a:cubicBezTo>
                  <a:pt x="1518" y="433"/>
                  <a:pt x="1518" y="433"/>
                  <a:pt x="1518" y="433"/>
                </a:cubicBezTo>
                <a:cubicBezTo>
                  <a:pt x="1518" y="433"/>
                  <a:pt x="1518" y="433"/>
                  <a:pt x="1518" y="434"/>
                </a:cubicBezTo>
                <a:cubicBezTo>
                  <a:pt x="1518" y="434"/>
                  <a:pt x="1518" y="434"/>
                  <a:pt x="1518" y="434"/>
                </a:cubicBezTo>
                <a:cubicBezTo>
                  <a:pt x="1518" y="434"/>
                  <a:pt x="1517" y="434"/>
                  <a:pt x="1517" y="434"/>
                </a:cubicBezTo>
                <a:cubicBezTo>
                  <a:pt x="1517" y="434"/>
                  <a:pt x="1517" y="434"/>
                  <a:pt x="1517" y="434"/>
                </a:cubicBezTo>
                <a:cubicBezTo>
                  <a:pt x="1517" y="434"/>
                  <a:pt x="1517" y="434"/>
                  <a:pt x="1517" y="433"/>
                </a:cubicBezTo>
                <a:cubicBezTo>
                  <a:pt x="1517" y="433"/>
                  <a:pt x="1517" y="433"/>
                  <a:pt x="1516" y="433"/>
                </a:cubicBezTo>
                <a:cubicBezTo>
                  <a:pt x="1516" y="434"/>
                  <a:pt x="1515" y="434"/>
                  <a:pt x="1515" y="434"/>
                </a:cubicBezTo>
                <a:cubicBezTo>
                  <a:pt x="1515" y="434"/>
                  <a:pt x="1515" y="434"/>
                  <a:pt x="1514" y="434"/>
                </a:cubicBezTo>
                <a:cubicBezTo>
                  <a:pt x="1514" y="434"/>
                  <a:pt x="1514" y="434"/>
                  <a:pt x="1513" y="434"/>
                </a:cubicBezTo>
                <a:cubicBezTo>
                  <a:pt x="1513" y="434"/>
                  <a:pt x="1514" y="434"/>
                  <a:pt x="1514" y="434"/>
                </a:cubicBezTo>
                <a:cubicBezTo>
                  <a:pt x="1514" y="434"/>
                  <a:pt x="1514" y="435"/>
                  <a:pt x="1514" y="435"/>
                </a:cubicBezTo>
                <a:cubicBezTo>
                  <a:pt x="1514" y="435"/>
                  <a:pt x="1514" y="435"/>
                  <a:pt x="1514" y="435"/>
                </a:cubicBezTo>
                <a:cubicBezTo>
                  <a:pt x="1514" y="435"/>
                  <a:pt x="1514" y="435"/>
                  <a:pt x="1513" y="435"/>
                </a:cubicBezTo>
                <a:cubicBezTo>
                  <a:pt x="1513" y="435"/>
                  <a:pt x="1513" y="436"/>
                  <a:pt x="1513" y="436"/>
                </a:cubicBezTo>
                <a:cubicBezTo>
                  <a:pt x="1513" y="436"/>
                  <a:pt x="1513" y="436"/>
                  <a:pt x="1513" y="436"/>
                </a:cubicBezTo>
                <a:cubicBezTo>
                  <a:pt x="1513" y="436"/>
                  <a:pt x="1513" y="436"/>
                  <a:pt x="1513" y="436"/>
                </a:cubicBezTo>
                <a:cubicBezTo>
                  <a:pt x="1513" y="437"/>
                  <a:pt x="1513" y="437"/>
                  <a:pt x="1513" y="437"/>
                </a:cubicBezTo>
                <a:cubicBezTo>
                  <a:pt x="1512" y="437"/>
                  <a:pt x="1512" y="437"/>
                  <a:pt x="1512" y="437"/>
                </a:cubicBezTo>
                <a:cubicBezTo>
                  <a:pt x="1512" y="437"/>
                  <a:pt x="1511" y="437"/>
                  <a:pt x="1511" y="436"/>
                </a:cubicBezTo>
                <a:cubicBezTo>
                  <a:pt x="1511" y="436"/>
                  <a:pt x="1511" y="437"/>
                  <a:pt x="1511" y="437"/>
                </a:cubicBezTo>
                <a:cubicBezTo>
                  <a:pt x="1511" y="437"/>
                  <a:pt x="1511" y="437"/>
                  <a:pt x="1512" y="437"/>
                </a:cubicBezTo>
                <a:cubicBezTo>
                  <a:pt x="1512" y="437"/>
                  <a:pt x="1512" y="438"/>
                  <a:pt x="1512" y="438"/>
                </a:cubicBezTo>
                <a:cubicBezTo>
                  <a:pt x="1512" y="438"/>
                  <a:pt x="1511" y="438"/>
                  <a:pt x="1511" y="437"/>
                </a:cubicBezTo>
                <a:cubicBezTo>
                  <a:pt x="1511" y="438"/>
                  <a:pt x="1511" y="438"/>
                  <a:pt x="1511" y="438"/>
                </a:cubicBezTo>
                <a:cubicBezTo>
                  <a:pt x="1510" y="438"/>
                  <a:pt x="1510" y="438"/>
                  <a:pt x="1509" y="438"/>
                </a:cubicBezTo>
                <a:cubicBezTo>
                  <a:pt x="1509" y="438"/>
                  <a:pt x="1509" y="438"/>
                  <a:pt x="1509" y="438"/>
                </a:cubicBezTo>
                <a:cubicBezTo>
                  <a:pt x="1509" y="438"/>
                  <a:pt x="1509" y="438"/>
                  <a:pt x="1509" y="438"/>
                </a:cubicBezTo>
                <a:cubicBezTo>
                  <a:pt x="1509" y="437"/>
                  <a:pt x="1508" y="437"/>
                  <a:pt x="1508" y="437"/>
                </a:cubicBezTo>
                <a:cubicBezTo>
                  <a:pt x="1508" y="437"/>
                  <a:pt x="1508" y="437"/>
                  <a:pt x="1508" y="437"/>
                </a:cubicBezTo>
                <a:cubicBezTo>
                  <a:pt x="1508" y="437"/>
                  <a:pt x="1508" y="438"/>
                  <a:pt x="1508" y="438"/>
                </a:cubicBezTo>
                <a:cubicBezTo>
                  <a:pt x="1507" y="438"/>
                  <a:pt x="1507" y="438"/>
                  <a:pt x="1507" y="437"/>
                </a:cubicBezTo>
                <a:cubicBezTo>
                  <a:pt x="1507" y="438"/>
                  <a:pt x="1507" y="438"/>
                  <a:pt x="1507" y="438"/>
                </a:cubicBezTo>
                <a:cubicBezTo>
                  <a:pt x="1507" y="438"/>
                  <a:pt x="1507" y="438"/>
                  <a:pt x="1507" y="438"/>
                </a:cubicBezTo>
                <a:cubicBezTo>
                  <a:pt x="1507" y="438"/>
                  <a:pt x="1507" y="438"/>
                  <a:pt x="1507" y="438"/>
                </a:cubicBezTo>
                <a:cubicBezTo>
                  <a:pt x="1508" y="439"/>
                  <a:pt x="1508" y="439"/>
                  <a:pt x="1508" y="439"/>
                </a:cubicBezTo>
                <a:cubicBezTo>
                  <a:pt x="1508" y="439"/>
                  <a:pt x="1507" y="439"/>
                  <a:pt x="1507" y="439"/>
                </a:cubicBezTo>
                <a:cubicBezTo>
                  <a:pt x="1507" y="439"/>
                  <a:pt x="1507" y="440"/>
                  <a:pt x="1508" y="440"/>
                </a:cubicBezTo>
                <a:cubicBezTo>
                  <a:pt x="1508" y="440"/>
                  <a:pt x="1508" y="440"/>
                  <a:pt x="1508" y="440"/>
                </a:cubicBezTo>
                <a:cubicBezTo>
                  <a:pt x="1509" y="440"/>
                  <a:pt x="1509" y="440"/>
                  <a:pt x="1509" y="440"/>
                </a:cubicBezTo>
                <a:cubicBezTo>
                  <a:pt x="1508" y="440"/>
                  <a:pt x="1508" y="440"/>
                  <a:pt x="1507" y="440"/>
                </a:cubicBezTo>
                <a:cubicBezTo>
                  <a:pt x="1507" y="440"/>
                  <a:pt x="1506" y="440"/>
                  <a:pt x="1506" y="441"/>
                </a:cubicBezTo>
                <a:cubicBezTo>
                  <a:pt x="1506" y="441"/>
                  <a:pt x="1506" y="441"/>
                  <a:pt x="1505" y="441"/>
                </a:cubicBezTo>
                <a:cubicBezTo>
                  <a:pt x="1506" y="441"/>
                  <a:pt x="1506" y="441"/>
                  <a:pt x="1506" y="441"/>
                </a:cubicBezTo>
                <a:cubicBezTo>
                  <a:pt x="1506" y="441"/>
                  <a:pt x="1506" y="441"/>
                  <a:pt x="1507" y="441"/>
                </a:cubicBezTo>
                <a:cubicBezTo>
                  <a:pt x="1507" y="441"/>
                  <a:pt x="1507" y="441"/>
                  <a:pt x="1507" y="442"/>
                </a:cubicBezTo>
                <a:cubicBezTo>
                  <a:pt x="1507" y="442"/>
                  <a:pt x="1506" y="442"/>
                  <a:pt x="1506" y="442"/>
                </a:cubicBezTo>
                <a:cubicBezTo>
                  <a:pt x="1506" y="442"/>
                  <a:pt x="1506" y="442"/>
                  <a:pt x="1507" y="442"/>
                </a:cubicBezTo>
                <a:cubicBezTo>
                  <a:pt x="1506" y="443"/>
                  <a:pt x="1506" y="443"/>
                  <a:pt x="1506" y="443"/>
                </a:cubicBezTo>
                <a:cubicBezTo>
                  <a:pt x="1506" y="443"/>
                  <a:pt x="1506" y="443"/>
                  <a:pt x="1506" y="443"/>
                </a:cubicBezTo>
                <a:cubicBezTo>
                  <a:pt x="1506" y="443"/>
                  <a:pt x="1506" y="443"/>
                  <a:pt x="1506" y="443"/>
                </a:cubicBezTo>
                <a:cubicBezTo>
                  <a:pt x="1506" y="443"/>
                  <a:pt x="1506" y="443"/>
                  <a:pt x="1506" y="443"/>
                </a:cubicBezTo>
                <a:cubicBezTo>
                  <a:pt x="1506" y="444"/>
                  <a:pt x="1506" y="444"/>
                  <a:pt x="1506" y="444"/>
                </a:cubicBezTo>
                <a:cubicBezTo>
                  <a:pt x="1506" y="444"/>
                  <a:pt x="1506" y="445"/>
                  <a:pt x="1506" y="445"/>
                </a:cubicBezTo>
                <a:cubicBezTo>
                  <a:pt x="1506" y="445"/>
                  <a:pt x="1506" y="444"/>
                  <a:pt x="1506" y="444"/>
                </a:cubicBezTo>
                <a:cubicBezTo>
                  <a:pt x="1505" y="444"/>
                  <a:pt x="1505" y="444"/>
                  <a:pt x="1505" y="444"/>
                </a:cubicBezTo>
                <a:cubicBezTo>
                  <a:pt x="1505" y="444"/>
                  <a:pt x="1505" y="444"/>
                  <a:pt x="1505" y="443"/>
                </a:cubicBezTo>
                <a:cubicBezTo>
                  <a:pt x="1505" y="443"/>
                  <a:pt x="1505" y="443"/>
                  <a:pt x="1505" y="443"/>
                </a:cubicBezTo>
                <a:cubicBezTo>
                  <a:pt x="1504" y="443"/>
                  <a:pt x="1504" y="443"/>
                  <a:pt x="1504" y="443"/>
                </a:cubicBezTo>
                <a:cubicBezTo>
                  <a:pt x="1504" y="443"/>
                  <a:pt x="1504" y="443"/>
                  <a:pt x="1504" y="443"/>
                </a:cubicBezTo>
                <a:cubicBezTo>
                  <a:pt x="1503" y="443"/>
                  <a:pt x="1503" y="443"/>
                  <a:pt x="1503" y="443"/>
                </a:cubicBezTo>
                <a:cubicBezTo>
                  <a:pt x="1504" y="444"/>
                  <a:pt x="1504" y="444"/>
                  <a:pt x="1504" y="444"/>
                </a:cubicBezTo>
                <a:cubicBezTo>
                  <a:pt x="1504" y="444"/>
                  <a:pt x="1504" y="444"/>
                  <a:pt x="1504" y="445"/>
                </a:cubicBezTo>
                <a:cubicBezTo>
                  <a:pt x="1504" y="445"/>
                  <a:pt x="1504" y="444"/>
                  <a:pt x="1504" y="444"/>
                </a:cubicBezTo>
                <a:cubicBezTo>
                  <a:pt x="1503" y="444"/>
                  <a:pt x="1503" y="444"/>
                  <a:pt x="1503" y="444"/>
                </a:cubicBezTo>
                <a:cubicBezTo>
                  <a:pt x="1503" y="444"/>
                  <a:pt x="1503" y="444"/>
                  <a:pt x="1503" y="444"/>
                </a:cubicBezTo>
                <a:cubicBezTo>
                  <a:pt x="1503" y="444"/>
                  <a:pt x="1502" y="443"/>
                  <a:pt x="1502" y="443"/>
                </a:cubicBezTo>
                <a:cubicBezTo>
                  <a:pt x="1502" y="444"/>
                  <a:pt x="1502" y="444"/>
                  <a:pt x="1502" y="444"/>
                </a:cubicBezTo>
                <a:cubicBezTo>
                  <a:pt x="1502" y="444"/>
                  <a:pt x="1502" y="444"/>
                  <a:pt x="1502" y="445"/>
                </a:cubicBezTo>
                <a:cubicBezTo>
                  <a:pt x="1503" y="445"/>
                  <a:pt x="1503" y="445"/>
                  <a:pt x="1503" y="445"/>
                </a:cubicBezTo>
                <a:cubicBezTo>
                  <a:pt x="1503" y="445"/>
                  <a:pt x="1503" y="445"/>
                  <a:pt x="1503" y="445"/>
                </a:cubicBezTo>
                <a:cubicBezTo>
                  <a:pt x="1503" y="445"/>
                  <a:pt x="1503" y="445"/>
                  <a:pt x="1502" y="445"/>
                </a:cubicBezTo>
                <a:cubicBezTo>
                  <a:pt x="1502" y="445"/>
                  <a:pt x="1502" y="445"/>
                  <a:pt x="1502" y="445"/>
                </a:cubicBezTo>
                <a:cubicBezTo>
                  <a:pt x="1501" y="445"/>
                  <a:pt x="1501" y="445"/>
                  <a:pt x="1501" y="445"/>
                </a:cubicBezTo>
                <a:cubicBezTo>
                  <a:pt x="1501" y="445"/>
                  <a:pt x="1501" y="445"/>
                  <a:pt x="1501" y="445"/>
                </a:cubicBezTo>
                <a:cubicBezTo>
                  <a:pt x="1502" y="446"/>
                  <a:pt x="1502" y="446"/>
                  <a:pt x="1502" y="446"/>
                </a:cubicBezTo>
                <a:cubicBezTo>
                  <a:pt x="1502" y="446"/>
                  <a:pt x="1502" y="446"/>
                  <a:pt x="1502" y="446"/>
                </a:cubicBezTo>
                <a:cubicBezTo>
                  <a:pt x="1501" y="446"/>
                  <a:pt x="1501" y="446"/>
                  <a:pt x="1500" y="445"/>
                </a:cubicBezTo>
                <a:cubicBezTo>
                  <a:pt x="1500" y="445"/>
                  <a:pt x="1500" y="446"/>
                  <a:pt x="1500" y="446"/>
                </a:cubicBezTo>
                <a:cubicBezTo>
                  <a:pt x="1500" y="445"/>
                  <a:pt x="1500" y="445"/>
                  <a:pt x="1500" y="445"/>
                </a:cubicBezTo>
                <a:cubicBezTo>
                  <a:pt x="1499" y="445"/>
                  <a:pt x="1499" y="446"/>
                  <a:pt x="1498" y="446"/>
                </a:cubicBezTo>
                <a:cubicBezTo>
                  <a:pt x="1498" y="445"/>
                  <a:pt x="1497" y="445"/>
                  <a:pt x="1497" y="445"/>
                </a:cubicBezTo>
                <a:cubicBezTo>
                  <a:pt x="1497" y="446"/>
                  <a:pt x="1497" y="446"/>
                  <a:pt x="1498" y="446"/>
                </a:cubicBezTo>
                <a:cubicBezTo>
                  <a:pt x="1498" y="446"/>
                  <a:pt x="1498" y="446"/>
                  <a:pt x="1499" y="446"/>
                </a:cubicBezTo>
                <a:cubicBezTo>
                  <a:pt x="1499" y="446"/>
                  <a:pt x="1499" y="447"/>
                  <a:pt x="1499" y="447"/>
                </a:cubicBezTo>
                <a:cubicBezTo>
                  <a:pt x="1499" y="447"/>
                  <a:pt x="1499" y="447"/>
                  <a:pt x="1499" y="447"/>
                </a:cubicBezTo>
                <a:cubicBezTo>
                  <a:pt x="1499" y="447"/>
                  <a:pt x="1498" y="447"/>
                  <a:pt x="1498" y="447"/>
                </a:cubicBezTo>
                <a:cubicBezTo>
                  <a:pt x="1498" y="447"/>
                  <a:pt x="1498" y="447"/>
                  <a:pt x="1498" y="448"/>
                </a:cubicBezTo>
                <a:cubicBezTo>
                  <a:pt x="1498" y="447"/>
                  <a:pt x="1498" y="447"/>
                  <a:pt x="1497" y="447"/>
                </a:cubicBezTo>
                <a:cubicBezTo>
                  <a:pt x="1497" y="447"/>
                  <a:pt x="1497" y="447"/>
                  <a:pt x="1497" y="447"/>
                </a:cubicBezTo>
                <a:cubicBezTo>
                  <a:pt x="1497" y="447"/>
                  <a:pt x="1496" y="447"/>
                  <a:pt x="1496" y="447"/>
                </a:cubicBezTo>
                <a:cubicBezTo>
                  <a:pt x="1496" y="447"/>
                  <a:pt x="1496" y="447"/>
                  <a:pt x="1496" y="447"/>
                </a:cubicBezTo>
                <a:cubicBezTo>
                  <a:pt x="1496" y="447"/>
                  <a:pt x="1496" y="447"/>
                  <a:pt x="1496" y="447"/>
                </a:cubicBezTo>
                <a:cubicBezTo>
                  <a:pt x="1496" y="447"/>
                  <a:pt x="1496" y="447"/>
                  <a:pt x="1496" y="448"/>
                </a:cubicBezTo>
                <a:cubicBezTo>
                  <a:pt x="1495" y="447"/>
                  <a:pt x="1495" y="447"/>
                  <a:pt x="1495" y="447"/>
                </a:cubicBezTo>
                <a:cubicBezTo>
                  <a:pt x="1495" y="448"/>
                  <a:pt x="1495" y="448"/>
                  <a:pt x="1495" y="448"/>
                </a:cubicBezTo>
                <a:cubicBezTo>
                  <a:pt x="1494" y="448"/>
                  <a:pt x="1494" y="448"/>
                  <a:pt x="1494" y="448"/>
                </a:cubicBezTo>
                <a:cubicBezTo>
                  <a:pt x="1494" y="448"/>
                  <a:pt x="1494" y="448"/>
                  <a:pt x="1494" y="447"/>
                </a:cubicBezTo>
                <a:cubicBezTo>
                  <a:pt x="1493" y="447"/>
                  <a:pt x="1493" y="447"/>
                  <a:pt x="1492" y="447"/>
                </a:cubicBezTo>
                <a:cubicBezTo>
                  <a:pt x="1492" y="447"/>
                  <a:pt x="1492" y="447"/>
                  <a:pt x="1492" y="447"/>
                </a:cubicBezTo>
                <a:cubicBezTo>
                  <a:pt x="1492" y="447"/>
                  <a:pt x="1492" y="447"/>
                  <a:pt x="1491" y="447"/>
                </a:cubicBezTo>
                <a:cubicBezTo>
                  <a:pt x="1491" y="447"/>
                  <a:pt x="1492" y="448"/>
                  <a:pt x="1492" y="448"/>
                </a:cubicBezTo>
                <a:cubicBezTo>
                  <a:pt x="1491" y="448"/>
                  <a:pt x="1491" y="448"/>
                  <a:pt x="1491" y="449"/>
                </a:cubicBezTo>
                <a:cubicBezTo>
                  <a:pt x="1491" y="449"/>
                  <a:pt x="1491" y="449"/>
                  <a:pt x="1490" y="449"/>
                </a:cubicBezTo>
                <a:cubicBezTo>
                  <a:pt x="1491" y="449"/>
                  <a:pt x="1491" y="449"/>
                  <a:pt x="1491" y="450"/>
                </a:cubicBezTo>
                <a:cubicBezTo>
                  <a:pt x="1490" y="450"/>
                  <a:pt x="1490" y="450"/>
                  <a:pt x="1490" y="450"/>
                </a:cubicBezTo>
                <a:cubicBezTo>
                  <a:pt x="1490" y="449"/>
                  <a:pt x="1489" y="449"/>
                  <a:pt x="1489" y="449"/>
                </a:cubicBezTo>
                <a:cubicBezTo>
                  <a:pt x="1489" y="449"/>
                  <a:pt x="1489" y="449"/>
                  <a:pt x="1489" y="449"/>
                </a:cubicBezTo>
                <a:cubicBezTo>
                  <a:pt x="1489" y="449"/>
                  <a:pt x="1489" y="449"/>
                  <a:pt x="1489" y="449"/>
                </a:cubicBezTo>
                <a:cubicBezTo>
                  <a:pt x="1489" y="449"/>
                  <a:pt x="1488" y="449"/>
                  <a:pt x="1488" y="449"/>
                </a:cubicBezTo>
                <a:cubicBezTo>
                  <a:pt x="1488" y="449"/>
                  <a:pt x="1488" y="449"/>
                  <a:pt x="1488" y="449"/>
                </a:cubicBezTo>
                <a:cubicBezTo>
                  <a:pt x="1487" y="449"/>
                  <a:pt x="1487" y="449"/>
                  <a:pt x="1486" y="449"/>
                </a:cubicBezTo>
                <a:cubicBezTo>
                  <a:pt x="1486" y="449"/>
                  <a:pt x="1486" y="449"/>
                  <a:pt x="1486" y="449"/>
                </a:cubicBezTo>
                <a:cubicBezTo>
                  <a:pt x="1486" y="449"/>
                  <a:pt x="1486" y="449"/>
                  <a:pt x="1485" y="449"/>
                </a:cubicBezTo>
                <a:cubicBezTo>
                  <a:pt x="1485" y="449"/>
                  <a:pt x="1485" y="449"/>
                  <a:pt x="1485" y="449"/>
                </a:cubicBezTo>
                <a:cubicBezTo>
                  <a:pt x="1485" y="449"/>
                  <a:pt x="1485" y="449"/>
                  <a:pt x="1485" y="449"/>
                </a:cubicBezTo>
                <a:cubicBezTo>
                  <a:pt x="1485" y="449"/>
                  <a:pt x="1485" y="449"/>
                  <a:pt x="1484" y="449"/>
                </a:cubicBezTo>
                <a:cubicBezTo>
                  <a:pt x="1484" y="449"/>
                  <a:pt x="1484" y="449"/>
                  <a:pt x="1484" y="449"/>
                </a:cubicBezTo>
                <a:cubicBezTo>
                  <a:pt x="1484" y="449"/>
                  <a:pt x="1484" y="449"/>
                  <a:pt x="1483" y="449"/>
                </a:cubicBezTo>
                <a:cubicBezTo>
                  <a:pt x="1483" y="448"/>
                  <a:pt x="1483" y="448"/>
                  <a:pt x="1483" y="448"/>
                </a:cubicBezTo>
                <a:cubicBezTo>
                  <a:pt x="1483" y="448"/>
                  <a:pt x="1483" y="448"/>
                  <a:pt x="1483" y="448"/>
                </a:cubicBezTo>
                <a:cubicBezTo>
                  <a:pt x="1482" y="448"/>
                  <a:pt x="1482" y="448"/>
                  <a:pt x="1482" y="448"/>
                </a:cubicBezTo>
                <a:cubicBezTo>
                  <a:pt x="1482" y="448"/>
                  <a:pt x="1482" y="449"/>
                  <a:pt x="1482" y="449"/>
                </a:cubicBezTo>
                <a:cubicBezTo>
                  <a:pt x="1481" y="449"/>
                  <a:pt x="1481" y="449"/>
                  <a:pt x="1481" y="449"/>
                </a:cubicBezTo>
                <a:cubicBezTo>
                  <a:pt x="1481" y="448"/>
                  <a:pt x="1480" y="448"/>
                  <a:pt x="1480" y="448"/>
                </a:cubicBezTo>
                <a:cubicBezTo>
                  <a:pt x="1480" y="448"/>
                  <a:pt x="1480" y="448"/>
                  <a:pt x="1480" y="448"/>
                </a:cubicBezTo>
                <a:cubicBezTo>
                  <a:pt x="1479" y="448"/>
                  <a:pt x="1479" y="448"/>
                  <a:pt x="1479" y="448"/>
                </a:cubicBezTo>
                <a:cubicBezTo>
                  <a:pt x="1479" y="448"/>
                  <a:pt x="1478" y="448"/>
                  <a:pt x="1478" y="449"/>
                </a:cubicBezTo>
                <a:cubicBezTo>
                  <a:pt x="1478" y="449"/>
                  <a:pt x="1477" y="449"/>
                  <a:pt x="1476" y="449"/>
                </a:cubicBezTo>
                <a:cubicBezTo>
                  <a:pt x="1476" y="449"/>
                  <a:pt x="1476" y="449"/>
                  <a:pt x="1476" y="448"/>
                </a:cubicBezTo>
                <a:cubicBezTo>
                  <a:pt x="1477" y="448"/>
                  <a:pt x="1477" y="448"/>
                  <a:pt x="1477" y="448"/>
                </a:cubicBezTo>
                <a:cubicBezTo>
                  <a:pt x="1477" y="448"/>
                  <a:pt x="1478" y="448"/>
                  <a:pt x="1478" y="448"/>
                </a:cubicBezTo>
                <a:cubicBezTo>
                  <a:pt x="1478" y="448"/>
                  <a:pt x="1477" y="448"/>
                  <a:pt x="1477" y="448"/>
                </a:cubicBezTo>
                <a:cubicBezTo>
                  <a:pt x="1477" y="448"/>
                  <a:pt x="1477" y="447"/>
                  <a:pt x="1476" y="447"/>
                </a:cubicBezTo>
                <a:cubicBezTo>
                  <a:pt x="1476" y="447"/>
                  <a:pt x="1476" y="447"/>
                  <a:pt x="1476" y="446"/>
                </a:cubicBezTo>
                <a:cubicBezTo>
                  <a:pt x="1476" y="446"/>
                  <a:pt x="1476" y="446"/>
                  <a:pt x="1475" y="446"/>
                </a:cubicBezTo>
                <a:cubicBezTo>
                  <a:pt x="1475" y="445"/>
                  <a:pt x="1475" y="445"/>
                  <a:pt x="1475" y="445"/>
                </a:cubicBezTo>
                <a:cubicBezTo>
                  <a:pt x="1475" y="445"/>
                  <a:pt x="1475" y="445"/>
                  <a:pt x="1475" y="446"/>
                </a:cubicBezTo>
                <a:cubicBezTo>
                  <a:pt x="1475" y="446"/>
                  <a:pt x="1475" y="446"/>
                  <a:pt x="1475" y="446"/>
                </a:cubicBezTo>
                <a:cubicBezTo>
                  <a:pt x="1475" y="446"/>
                  <a:pt x="1475" y="447"/>
                  <a:pt x="1475" y="447"/>
                </a:cubicBezTo>
                <a:cubicBezTo>
                  <a:pt x="1475" y="447"/>
                  <a:pt x="1475" y="447"/>
                  <a:pt x="1475" y="448"/>
                </a:cubicBezTo>
                <a:cubicBezTo>
                  <a:pt x="1474" y="448"/>
                  <a:pt x="1474" y="448"/>
                  <a:pt x="1474" y="448"/>
                </a:cubicBezTo>
                <a:cubicBezTo>
                  <a:pt x="1473" y="448"/>
                  <a:pt x="1473" y="448"/>
                  <a:pt x="1473" y="448"/>
                </a:cubicBezTo>
                <a:cubicBezTo>
                  <a:pt x="1473" y="448"/>
                  <a:pt x="1473" y="448"/>
                  <a:pt x="1473" y="448"/>
                </a:cubicBezTo>
                <a:cubicBezTo>
                  <a:pt x="1472" y="448"/>
                  <a:pt x="1472" y="448"/>
                  <a:pt x="1472" y="448"/>
                </a:cubicBezTo>
                <a:cubicBezTo>
                  <a:pt x="1472" y="448"/>
                  <a:pt x="1472" y="448"/>
                  <a:pt x="1472" y="448"/>
                </a:cubicBezTo>
                <a:cubicBezTo>
                  <a:pt x="1472" y="448"/>
                  <a:pt x="1472" y="448"/>
                  <a:pt x="1472" y="448"/>
                </a:cubicBezTo>
                <a:cubicBezTo>
                  <a:pt x="1472" y="448"/>
                  <a:pt x="1471" y="448"/>
                  <a:pt x="1471" y="448"/>
                </a:cubicBezTo>
                <a:cubicBezTo>
                  <a:pt x="1471" y="448"/>
                  <a:pt x="1470" y="448"/>
                  <a:pt x="1470" y="449"/>
                </a:cubicBezTo>
                <a:cubicBezTo>
                  <a:pt x="1469" y="449"/>
                  <a:pt x="1469" y="449"/>
                  <a:pt x="1469" y="449"/>
                </a:cubicBezTo>
                <a:cubicBezTo>
                  <a:pt x="1468" y="449"/>
                  <a:pt x="1468" y="449"/>
                  <a:pt x="1468" y="449"/>
                </a:cubicBezTo>
                <a:cubicBezTo>
                  <a:pt x="1468" y="448"/>
                  <a:pt x="1467" y="448"/>
                  <a:pt x="1467" y="448"/>
                </a:cubicBezTo>
                <a:cubicBezTo>
                  <a:pt x="1467" y="448"/>
                  <a:pt x="1466" y="448"/>
                  <a:pt x="1466" y="448"/>
                </a:cubicBezTo>
                <a:cubicBezTo>
                  <a:pt x="1466" y="448"/>
                  <a:pt x="1466" y="448"/>
                  <a:pt x="1465" y="448"/>
                </a:cubicBezTo>
                <a:cubicBezTo>
                  <a:pt x="1465" y="448"/>
                  <a:pt x="1465" y="448"/>
                  <a:pt x="1465" y="448"/>
                </a:cubicBezTo>
                <a:cubicBezTo>
                  <a:pt x="1465" y="448"/>
                  <a:pt x="1465" y="448"/>
                  <a:pt x="1464" y="448"/>
                </a:cubicBezTo>
                <a:cubicBezTo>
                  <a:pt x="1464" y="448"/>
                  <a:pt x="1464" y="448"/>
                  <a:pt x="1463" y="448"/>
                </a:cubicBezTo>
                <a:cubicBezTo>
                  <a:pt x="1463" y="448"/>
                  <a:pt x="1463" y="448"/>
                  <a:pt x="1463" y="448"/>
                </a:cubicBezTo>
                <a:cubicBezTo>
                  <a:pt x="1462" y="448"/>
                  <a:pt x="1462" y="448"/>
                  <a:pt x="1462" y="448"/>
                </a:cubicBezTo>
                <a:cubicBezTo>
                  <a:pt x="1462" y="448"/>
                  <a:pt x="1461" y="448"/>
                  <a:pt x="1461" y="448"/>
                </a:cubicBezTo>
                <a:cubicBezTo>
                  <a:pt x="1461" y="448"/>
                  <a:pt x="1461" y="448"/>
                  <a:pt x="1460" y="448"/>
                </a:cubicBezTo>
                <a:cubicBezTo>
                  <a:pt x="1460" y="448"/>
                  <a:pt x="1460" y="448"/>
                  <a:pt x="1460" y="448"/>
                </a:cubicBezTo>
                <a:cubicBezTo>
                  <a:pt x="1460" y="448"/>
                  <a:pt x="1460" y="448"/>
                  <a:pt x="1460" y="448"/>
                </a:cubicBezTo>
                <a:cubicBezTo>
                  <a:pt x="1460" y="448"/>
                  <a:pt x="1460" y="448"/>
                  <a:pt x="1460" y="448"/>
                </a:cubicBezTo>
                <a:cubicBezTo>
                  <a:pt x="1460" y="448"/>
                  <a:pt x="1460" y="448"/>
                  <a:pt x="1460" y="448"/>
                </a:cubicBezTo>
                <a:cubicBezTo>
                  <a:pt x="1460" y="448"/>
                  <a:pt x="1460" y="448"/>
                  <a:pt x="1460" y="448"/>
                </a:cubicBezTo>
                <a:cubicBezTo>
                  <a:pt x="1460" y="448"/>
                  <a:pt x="1460" y="448"/>
                  <a:pt x="1460" y="447"/>
                </a:cubicBezTo>
                <a:cubicBezTo>
                  <a:pt x="1460" y="447"/>
                  <a:pt x="1460" y="447"/>
                  <a:pt x="1460" y="447"/>
                </a:cubicBezTo>
                <a:cubicBezTo>
                  <a:pt x="1460" y="447"/>
                  <a:pt x="1460" y="447"/>
                  <a:pt x="1460" y="447"/>
                </a:cubicBezTo>
                <a:cubicBezTo>
                  <a:pt x="1460" y="447"/>
                  <a:pt x="1459" y="447"/>
                  <a:pt x="1459" y="447"/>
                </a:cubicBezTo>
                <a:cubicBezTo>
                  <a:pt x="1459" y="447"/>
                  <a:pt x="1459" y="447"/>
                  <a:pt x="1459" y="447"/>
                </a:cubicBezTo>
                <a:cubicBezTo>
                  <a:pt x="1459" y="447"/>
                  <a:pt x="1459" y="447"/>
                  <a:pt x="1459" y="447"/>
                </a:cubicBezTo>
                <a:cubicBezTo>
                  <a:pt x="1459" y="448"/>
                  <a:pt x="1459" y="448"/>
                  <a:pt x="1459" y="448"/>
                </a:cubicBezTo>
                <a:cubicBezTo>
                  <a:pt x="1459" y="448"/>
                  <a:pt x="1458" y="448"/>
                  <a:pt x="1458" y="448"/>
                </a:cubicBezTo>
                <a:cubicBezTo>
                  <a:pt x="1458" y="448"/>
                  <a:pt x="1458" y="448"/>
                  <a:pt x="1458" y="448"/>
                </a:cubicBezTo>
                <a:cubicBezTo>
                  <a:pt x="1458" y="449"/>
                  <a:pt x="1458" y="449"/>
                  <a:pt x="1458" y="449"/>
                </a:cubicBezTo>
                <a:cubicBezTo>
                  <a:pt x="1458" y="449"/>
                  <a:pt x="1458" y="449"/>
                  <a:pt x="1458" y="449"/>
                </a:cubicBezTo>
                <a:cubicBezTo>
                  <a:pt x="1458" y="450"/>
                  <a:pt x="1459" y="450"/>
                  <a:pt x="1459" y="450"/>
                </a:cubicBezTo>
                <a:cubicBezTo>
                  <a:pt x="1459" y="450"/>
                  <a:pt x="1459" y="450"/>
                  <a:pt x="1459" y="450"/>
                </a:cubicBezTo>
                <a:cubicBezTo>
                  <a:pt x="1459" y="450"/>
                  <a:pt x="1459" y="450"/>
                  <a:pt x="1459" y="450"/>
                </a:cubicBezTo>
                <a:cubicBezTo>
                  <a:pt x="1459" y="451"/>
                  <a:pt x="1459" y="451"/>
                  <a:pt x="1459" y="451"/>
                </a:cubicBezTo>
                <a:cubicBezTo>
                  <a:pt x="1459" y="451"/>
                  <a:pt x="1458" y="451"/>
                  <a:pt x="1458" y="451"/>
                </a:cubicBezTo>
                <a:cubicBezTo>
                  <a:pt x="1458" y="451"/>
                  <a:pt x="1458" y="451"/>
                  <a:pt x="1457" y="451"/>
                </a:cubicBezTo>
                <a:cubicBezTo>
                  <a:pt x="1457" y="451"/>
                  <a:pt x="1457" y="451"/>
                  <a:pt x="1457" y="451"/>
                </a:cubicBezTo>
                <a:cubicBezTo>
                  <a:pt x="1457" y="451"/>
                  <a:pt x="1457" y="451"/>
                  <a:pt x="1456" y="450"/>
                </a:cubicBezTo>
                <a:cubicBezTo>
                  <a:pt x="1456" y="451"/>
                  <a:pt x="1456" y="451"/>
                  <a:pt x="1456" y="451"/>
                </a:cubicBezTo>
                <a:cubicBezTo>
                  <a:pt x="1456" y="451"/>
                  <a:pt x="1456" y="451"/>
                  <a:pt x="1456" y="451"/>
                </a:cubicBezTo>
                <a:cubicBezTo>
                  <a:pt x="1456" y="451"/>
                  <a:pt x="1456" y="450"/>
                  <a:pt x="1456" y="450"/>
                </a:cubicBezTo>
                <a:cubicBezTo>
                  <a:pt x="1456" y="450"/>
                  <a:pt x="1456" y="450"/>
                  <a:pt x="1456" y="450"/>
                </a:cubicBezTo>
                <a:cubicBezTo>
                  <a:pt x="1456" y="450"/>
                  <a:pt x="1456" y="449"/>
                  <a:pt x="1455" y="449"/>
                </a:cubicBezTo>
                <a:cubicBezTo>
                  <a:pt x="1455" y="449"/>
                  <a:pt x="1455" y="448"/>
                  <a:pt x="1455" y="448"/>
                </a:cubicBezTo>
                <a:cubicBezTo>
                  <a:pt x="1455" y="448"/>
                  <a:pt x="1455" y="447"/>
                  <a:pt x="1455" y="447"/>
                </a:cubicBezTo>
                <a:cubicBezTo>
                  <a:pt x="1455" y="447"/>
                  <a:pt x="1455" y="447"/>
                  <a:pt x="1456" y="447"/>
                </a:cubicBezTo>
                <a:cubicBezTo>
                  <a:pt x="1456" y="447"/>
                  <a:pt x="1456" y="447"/>
                  <a:pt x="1456" y="446"/>
                </a:cubicBezTo>
                <a:cubicBezTo>
                  <a:pt x="1456" y="446"/>
                  <a:pt x="1456" y="446"/>
                  <a:pt x="1457" y="447"/>
                </a:cubicBezTo>
                <a:cubicBezTo>
                  <a:pt x="1457" y="446"/>
                  <a:pt x="1457" y="446"/>
                  <a:pt x="1457" y="446"/>
                </a:cubicBezTo>
                <a:cubicBezTo>
                  <a:pt x="1457" y="446"/>
                  <a:pt x="1456" y="446"/>
                  <a:pt x="1456" y="446"/>
                </a:cubicBezTo>
                <a:cubicBezTo>
                  <a:pt x="1456" y="446"/>
                  <a:pt x="1456" y="446"/>
                  <a:pt x="1455" y="446"/>
                </a:cubicBezTo>
                <a:cubicBezTo>
                  <a:pt x="1455" y="446"/>
                  <a:pt x="1455" y="445"/>
                  <a:pt x="1455" y="445"/>
                </a:cubicBezTo>
                <a:cubicBezTo>
                  <a:pt x="1455" y="445"/>
                  <a:pt x="1454" y="446"/>
                  <a:pt x="1454" y="446"/>
                </a:cubicBezTo>
                <a:cubicBezTo>
                  <a:pt x="1454" y="446"/>
                  <a:pt x="1454" y="445"/>
                  <a:pt x="1454" y="445"/>
                </a:cubicBezTo>
                <a:cubicBezTo>
                  <a:pt x="1453" y="445"/>
                  <a:pt x="1453" y="445"/>
                  <a:pt x="1453" y="445"/>
                </a:cubicBezTo>
                <a:cubicBezTo>
                  <a:pt x="1453" y="445"/>
                  <a:pt x="1452" y="445"/>
                  <a:pt x="1452" y="444"/>
                </a:cubicBezTo>
                <a:cubicBezTo>
                  <a:pt x="1452" y="444"/>
                  <a:pt x="1452" y="444"/>
                  <a:pt x="1452" y="444"/>
                </a:cubicBezTo>
                <a:cubicBezTo>
                  <a:pt x="1451" y="444"/>
                  <a:pt x="1451" y="444"/>
                  <a:pt x="1451" y="443"/>
                </a:cubicBezTo>
                <a:cubicBezTo>
                  <a:pt x="1451" y="443"/>
                  <a:pt x="1451" y="443"/>
                  <a:pt x="1451" y="443"/>
                </a:cubicBezTo>
                <a:cubicBezTo>
                  <a:pt x="1450" y="443"/>
                  <a:pt x="1450" y="443"/>
                  <a:pt x="1450" y="443"/>
                </a:cubicBezTo>
                <a:cubicBezTo>
                  <a:pt x="1450" y="443"/>
                  <a:pt x="1450" y="443"/>
                  <a:pt x="1450" y="444"/>
                </a:cubicBezTo>
                <a:cubicBezTo>
                  <a:pt x="1450" y="444"/>
                  <a:pt x="1449" y="444"/>
                  <a:pt x="1449" y="444"/>
                </a:cubicBezTo>
                <a:cubicBezTo>
                  <a:pt x="1449" y="443"/>
                  <a:pt x="1449" y="443"/>
                  <a:pt x="1449" y="443"/>
                </a:cubicBezTo>
                <a:cubicBezTo>
                  <a:pt x="1448" y="443"/>
                  <a:pt x="1448" y="443"/>
                  <a:pt x="1448" y="443"/>
                </a:cubicBezTo>
                <a:cubicBezTo>
                  <a:pt x="1448" y="443"/>
                  <a:pt x="1448" y="443"/>
                  <a:pt x="1448" y="443"/>
                </a:cubicBezTo>
                <a:cubicBezTo>
                  <a:pt x="1448" y="443"/>
                  <a:pt x="1448" y="443"/>
                  <a:pt x="1448" y="443"/>
                </a:cubicBezTo>
                <a:cubicBezTo>
                  <a:pt x="1448" y="443"/>
                  <a:pt x="1448" y="443"/>
                  <a:pt x="1448" y="443"/>
                </a:cubicBezTo>
                <a:cubicBezTo>
                  <a:pt x="1448" y="443"/>
                  <a:pt x="1448" y="443"/>
                  <a:pt x="1448" y="443"/>
                </a:cubicBezTo>
                <a:cubicBezTo>
                  <a:pt x="1448" y="443"/>
                  <a:pt x="1448" y="443"/>
                  <a:pt x="1448" y="443"/>
                </a:cubicBezTo>
                <a:cubicBezTo>
                  <a:pt x="1448" y="443"/>
                  <a:pt x="1448" y="443"/>
                  <a:pt x="1448" y="443"/>
                </a:cubicBezTo>
                <a:cubicBezTo>
                  <a:pt x="1448" y="443"/>
                  <a:pt x="1448" y="444"/>
                  <a:pt x="1448" y="444"/>
                </a:cubicBezTo>
                <a:cubicBezTo>
                  <a:pt x="1447" y="444"/>
                  <a:pt x="1447" y="444"/>
                  <a:pt x="1447" y="444"/>
                </a:cubicBezTo>
                <a:cubicBezTo>
                  <a:pt x="1447" y="444"/>
                  <a:pt x="1447" y="444"/>
                  <a:pt x="1447" y="444"/>
                </a:cubicBezTo>
                <a:cubicBezTo>
                  <a:pt x="1446" y="444"/>
                  <a:pt x="1446" y="444"/>
                  <a:pt x="1446" y="444"/>
                </a:cubicBezTo>
                <a:cubicBezTo>
                  <a:pt x="1445" y="444"/>
                  <a:pt x="1445" y="443"/>
                  <a:pt x="1445" y="443"/>
                </a:cubicBezTo>
                <a:cubicBezTo>
                  <a:pt x="1444" y="443"/>
                  <a:pt x="1444" y="443"/>
                  <a:pt x="1444" y="443"/>
                </a:cubicBezTo>
                <a:cubicBezTo>
                  <a:pt x="1444" y="443"/>
                  <a:pt x="1444" y="443"/>
                  <a:pt x="1443" y="443"/>
                </a:cubicBezTo>
                <a:cubicBezTo>
                  <a:pt x="1443" y="444"/>
                  <a:pt x="1443" y="444"/>
                  <a:pt x="1443" y="444"/>
                </a:cubicBezTo>
                <a:cubicBezTo>
                  <a:pt x="1443" y="444"/>
                  <a:pt x="1443" y="444"/>
                  <a:pt x="1443" y="444"/>
                </a:cubicBezTo>
                <a:cubicBezTo>
                  <a:pt x="1443" y="444"/>
                  <a:pt x="1443" y="444"/>
                  <a:pt x="1443" y="444"/>
                </a:cubicBezTo>
                <a:cubicBezTo>
                  <a:pt x="1443" y="444"/>
                  <a:pt x="1442" y="444"/>
                  <a:pt x="1442" y="444"/>
                </a:cubicBezTo>
                <a:cubicBezTo>
                  <a:pt x="1442" y="444"/>
                  <a:pt x="1442" y="444"/>
                  <a:pt x="1441" y="444"/>
                </a:cubicBezTo>
                <a:cubicBezTo>
                  <a:pt x="1441" y="444"/>
                  <a:pt x="1441" y="444"/>
                  <a:pt x="1441" y="444"/>
                </a:cubicBezTo>
                <a:cubicBezTo>
                  <a:pt x="1441" y="444"/>
                  <a:pt x="1441" y="444"/>
                  <a:pt x="1441" y="444"/>
                </a:cubicBezTo>
                <a:cubicBezTo>
                  <a:pt x="1440" y="444"/>
                  <a:pt x="1440" y="444"/>
                  <a:pt x="1440" y="444"/>
                </a:cubicBezTo>
                <a:cubicBezTo>
                  <a:pt x="1440" y="444"/>
                  <a:pt x="1440" y="443"/>
                  <a:pt x="1440" y="443"/>
                </a:cubicBezTo>
                <a:cubicBezTo>
                  <a:pt x="1440" y="444"/>
                  <a:pt x="1440" y="444"/>
                  <a:pt x="1440" y="444"/>
                </a:cubicBezTo>
                <a:cubicBezTo>
                  <a:pt x="1440" y="444"/>
                  <a:pt x="1439" y="444"/>
                  <a:pt x="1439" y="444"/>
                </a:cubicBezTo>
                <a:cubicBezTo>
                  <a:pt x="1439" y="444"/>
                  <a:pt x="1439" y="444"/>
                  <a:pt x="1439" y="444"/>
                </a:cubicBezTo>
                <a:cubicBezTo>
                  <a:pt x="1439" y="445"/>
                  <a:pt x="1439" y="445"/>
                  <a:pt x="1439" y="445"/>
                </a:cubicBezTo>
                <a:cubicBezTo>
                  <a:pt x="1439" y="445"/>
                  <a:pt x="1439" y="445"/>
                  <a:pt x="1439" y="446"/>
                </a:cubicBezTo>
                <a:cubicBezTo>
                  <a:pt x="1439" y="446"/>
                  <a:pt x="1439" y="446"/>
                  <a:pt x="1439" y="446"/>
                </a:cubicBezTo>
                <a:cubicBezTo>
                  <a:pt x="1439" y="446"/>
                  <a:pt x="1439" y="446"/>
                  <a:pt x="1439" y="446"/>
                </a:cubicBezTo>
                <a:cubicBezTo>
                  <a:pt x="1439" y="446"/>
                  <a:pt x="1439" y="446"/>
                  <a:pt x="1439" y="446"/>
                </a:cubicBezTo>
                <a:cubicBezTo>
                  <a:pt x="1439" y="446"/>
                  <a:pt x="1438" y="446"/>
                  <a:pt x="1438" y="446"/>
                </a:cubicBezTo>
                <a:cubicBezTo>
                  <a:pt x="1438" y="447"/>
                  <a:pt x="1438" y="447"/>
                  <a:pt x="1437" y="447"/>
                </a:cubicBezTo>
                <a:cubicBezTo>
                  <a:pt x="1437" y="447"/>
                  <a:pt x="1437" y="447"/>
                  <a:pt x="1437" y="447"/>
                </a:cubicBezTo>
                <a:cubicBezTo>
                  <a:pt x="1437" y="447"/>
                  <a:pt x="1437" y="447"/>
                  <a:pt x="1436" y="446"/>
                </a:cubicBezTo>
                <a:cubicBezTo>
                  <a:pt x="1436" y="447"/>
                  <a:pt x="1436" y="447"/>
                  <a:pt x="1436" y="447"/>
                </a:cubicBezTo>
                <a:cubicBezTo>
                  <a:pt x="1436" y="447"/>
                  <a:pt x="1436" y="447"/>
                  <a:pt x="1436" y="447"/>
                </a:cubicBezTo>
                <a:cubicBezTo>
                  <a:pt x="1436" y="447"/>
                  <a:pt x="1435" y="447"/>
                  <a:pt x="1435" y="447"/>
                </a:cubicBezTo>
                <a:cubicBezTo>
                  <a:pt x="1435" y="447"/>
                  <a:pt x="1435" y="447"/>
                  <a:pt x="1435" y="447"/>
                </a:cubicBezTo>
                <a:cubicBezTo>
                  <a:pt x="1435" y="448"/>
                  <a:pt x="1435" y="448"/>
                  <a:pt x="1435" y="448"/>
                </a:cubicBezTo>
                <a:cubicBezTo>
                  <a:pt x="1435" y="448"/>
                  <a:pt x="1435" y="448"/>
                  <a:pt x="1435" y="448"/>
                </a:cubicBezTo>
                <a:cubicBezTo>
                  <a:pt x="1435" y="448"/>
                  <a:pt x="1435" y="449"/>
                  <a:pt x="1435" y="449"/>
                </a:cubicBezTo>
                <a:cubicBezTo>
                  <a:pt x="1435" y="449"/>
                  <a:pt x="1435" y="449"/>
                  <a:pt x="1434" y="450"/>
                </a:cubicBezTo>
                <a:cubicBezTo>
                  <a:pt x="1434" y="450"/>
                  <a:pt x="1434" y="450"/>
                  <a:pt x="1434" y="450"/>
                </a:cubicBezTo>
                <a:cubicBezTo>
                  <a:pt x="1434" y="451"/>
                  <a:pt x="1434" y="451"/>
                  <a:pt x="1434" y="451"/>
                </a:cubicBezTo>
                <a:cubicBezTo>
                  <a:pt x="1434" y="451"/>
                  <a:pt x="1434" y="451"/>
                  <a:pt x="1434" y="451"/>
                </a:cubicBezTo>
                <a:cubicBezTo>
                  <a:pt x="1434" y="451"/>
                  <a:pt x="1434" y="451"/>
                  <a:pt x="1433" y="451"/>
                </a:cubicBezTo>
                <a:cubicBezTo>
                  <a:pt x="1434" y="452"/>
                  <a:pt x="1434" y="452"/>
                  <a:pt x="1434" y="452"/>
                </a:cubicBezTo>
                <a:cubicBezTo>
                  <a:pt x="1435" y="452"/>
                  <a:pt x="1435" y="453"/>
                  <a:pt x="1435" y="453"/>
                </a:cubicBezTo>
                <a:cubicBezTo>
                  <a:pt x="1436" y="453"/>
                  <a:pt x="1436" y="454"/>
                  <a:pt x="1436" y="454"/>
                </a:cubicBezTo>
                <a:cubicBezTo>
                  <a:pt x="1437" y="454"/>
                  <a:pt x="1437" y="454"/>
                  <a:pt x="1437" y="454"/>
                </a:cubicBezTo>
                <a:cubicBezTo>
                  <a:pt x="1437" y="455"/>
                  <a:pt x="1437" y="455"/>
                  <a:pt x="1437" y="455"/>
                </a:cubicBezTo>
                <a:cubicBezTo>
                  <a:pt x="1437" y="455"/>
                  <a:pt x="1437" y="456"/>
                  <a:pt x="1437" y="456"/>
                </a:cubicBezTo>
                <a:cubicBezTo>
                  <a:pt x="1437" y="456"/>
                  <a:pt x="1437" y="456"/>
                  <a:pt x="1437" y="456"/>
                </a:cubicBezTo>
                <a:cubicBezTo>
                  <a:pt x="1437" y="456"/>
                  <a:pt x="1437" y="456"/>
                  <a:pt x="1437" y="457"/>
                </a:cubicBezTo>
                <a:cubicBezTo>
                  <a:pt x="1437" y="457"/>
                  <a:pt x="1437" y="457"/>
                  <a:pt x="1437" y="457"/>
                </a:cubicBezTo>
                <a:cubicBezTo>
                  <a:pt x="1438" y="458"/>
                  <a:pt x="1438" y="458"/>
                  <a:pt x="1439" y="459"/>
                </a:cubicBezTo>
                <a:cubicBezTo>
                  <a:pt x="1439" y="459"/>
                  <a:pt x="1439" y="459"/>
                  <a:pt x="1440" y="460"/>
                </a:cubicBezTo>
                <a:cubicBezTo>
                  <a:pt x="1440" y="460"/>
                  <a:pt x="1440" y="460"/>
                  <a:pt x="1440" y="460"/>
                </a:cubicBezTo>
                <a:cubicBezTo>
                  <a:pt x="1440" y="461"/>
                  <a:pt x="1441" y="461"/>
                  <a:pt x="1442" y="462"/>
                </a:cubicBezTo>
                <a:cubicBezTo>
                  <a:pt x="1442" y="463"/>
                  <a:pt x="1443" y="463"/>
                  <a:pt x="1444" y="464"/>
                </a:cubicBezTo>
                <a:cubicBezTo>
                  <a:pt x="1444" y="464"/>
                  <a:pt x="1444" y="464"/>
                  <a:pt x="1444" y="465"/>
                </a:cubicBezTo>
                <a:cubicBezTo>
                  <a:pt x="1445" y="465"/>
                  <a:pt x="1445" y="466"/>
                  <a:pt x="1446" y="467"/>
                </a:cubicBezTo>
                <a:cubicBezTo>
                  <a:pt x="1446" y="467"/>
                  <a:pt x="1446" y="467"/>
                  <a:pt x="1446" y="468"/>
                </a:cubicBezTo>
                <a:cubicBezTo>
                  <a:pt x="1446" y="468"/>
                  <a:pt x="1446" y="468"/>
                  <a:pt x="1446" y="468"/>
                </a:cubicBezTo>
                <a:cubicBezTo>
                  <a:pt x="1446" y="468"/>
                  <a:pt x="1446" y="468"/>
                  <a:pt x="1446" y="468"/>
                </a:cubicBezTo>
                <a:cubicBezTo>
                  <a:pt x="1446" y="468"/>
                  <a:pt x="1446" y="469"/>
                  <a:pt x="1446" y="469"/>
                </a:cubicBezTo>
                <a:cubicBezTo>
                  <a:pt x="1447" y="469"/>
                  <a:pt x="1447" y="470"/>
                  <a:pt x="1447" y="470"/>
                </a:cubicBezTo>
                <a:cubicBezTo>
                  <a:pt x="1447" y="470"/>
                  <a:pt x="1447" y="470"/>
                  <a:pt x="1447" y="470"/>
                </a:cubicBezTo>
                <a:cubicBezTo>
                  <a:pt x="1447" y="470"/>
                  <a:pt x="1447" y="471"/>
                  <a:pt x="1447" y="471"/>
                </a:cubicBezTo>
                <a:cubicBezTo>
                  <a:pt x="1447" y="471"/>
                  <a:pt x="1447" y="471"/>
                  <a:pt x="1447" y="471"/>
                </a:cubicBezTo>
                <a:cubicBezTo>
                  <a:pt x="1447" y="471"/>
                  <a:pt x="1447" y="472"/>
                  <a:pt x="1447" y="472"/>
                </a:cubicBezTo>
                <a:cubicBezTo>
                  <a:pt x="1447" y="472"/>
                  <a:pt x="1447" y="473"/>
                  <a:pt x="1447" y="473"/>
                </a:cubicBezTo>
                <a:cubicBezTo>
                  <a:pt x="1447" y="473"/>
                  <a:pt x="1447" y="474"/>
                  <a:pt x="1447" y="474"/>
                </a:cubicBezTo>
                <a:cubicBezTo>
                  <a:pt x="1447" y="474"/>
                  <a:pt x="1448" y="474"/>
                  <a:pt x="1448" y="475"/>
                </a:cubicBezTo>
                <a:cubicBezTo>
                  <a:pt x="1448" y="475"/>
                  <a:pt x="1448" y="475"/>
                  <a:pt x="1448" y="475"/>
                </a:cubicBezTo>
                <a:cubicBezTo>
                  <a:pt x="1448" y="475"/>
                  <a:pt x="1448" y="476"/>
                  <a:pt x="1448" y="476"/>
                </a:cubicBezTo>
                <a:cubicBezTo>
                  <a:pt x="1447" y="476"/>
                  <a:pt x="1447" y="476"/>
                  <a:pt x="1447" y="476"/>
                </a:cubicBezTo>
                <a:cubicBezTo>
                  <a:pt x="1447" y="476"/>
                  <a:pt x="1447" y="477"/>
                  <a:pt x="1447" y="477"/>
                </a:cubicBezTo>
                <a:cubicBezTo>
                  <a:pt x="1447" y="477"/>
                  <a:pt x="1447" y="477"/>
                  <a:pt x="1447" y="477"/>
                </a:cubicBezTo>
                <a:cubicBezTo>
                  <a:pt x="1447" y="477"/>
                  <a:pt x="1447" y="478"/>
                  <a:pt x="1447" y="478"/>
                </a:cubicBezTo>
                <a:cubicBezTo>
                  <a:pt x="1447" y="478"/>
                  <a:pt x="1447" y="478"/>
                  <a:pt x="1447" y="478"/>
                </a:cubicBezTo>
                <a:cubicBezTo>
                  <a:pt x="1447" y="478"/>
                  <a:pt x="1447" y="479"/>
                  <a:pt x="1447" y="479"/>
                </a:cubicBezTo>
                <a:cubicBezTo>
                  <a:pt x="1447" y="479"/>
                  <a:pt x="1447" y="479"/>
                  <a:pt x="1447" y="479"/>
                </a:cubicBezTo>
                <a:cubicBezTo>
                  <a:pt x="1448" y="480"/>
                  <a:pt x="1448" y="480"/>
                  <a:pt x="1448" y="480"/>
                </a:cubicBezTo>
                <a:cubicBezTo>
                  <a:pt x="1448" y="480"/>
                  <a:pt x="1448" y="481"/>
                  <a:pt x="1447" y="481"/>
                </a:cubicBezTo>
                <a:cubicBezTo>
                  <a:pt x="1447" y="481"/>
                  <a:pt x="1447" y="481"/>
                  <a:pt x="1447" y="481"/>
                </a:cubicBezTo>
                <a:cubicBezTo>
                  <a:pt x="1447" y="481"/>
                  <a:pt x="1447" y="480"/>
                  <a:pt x="1447" y="480"/>
                </a:cubicBezTo>
                <a:cubicBezTo>
                  <a:pt x="1447" y="480"/>
                  <a:pt x="1447" y="480"/>
                  <a:pt x="1447" y="480"/>
                </a:cubicBezTo>
                <a:cubicBezTo>
                  <a:pt x="1447" y="480"/>
                  <a:pt x="1447" y="480"/>
                  <a:pt x="1447" y="480"/>
                </a:cubicBezTo>
                <a:cubicBezTo>
                  <a:pt x="1447" y="480"/>
                  <a:pt x="1447" y="480"/>
                  <a:pt x="1447" y="481"/>
                </a:cubicBezTo>
                <a:cubicBezTo>
                  <a:pt x="1447" y="481"/>
                  <a:pt x="1447" y="481"/>
                  <a:pt x="1447" y="481"/>
                </a:cubicBezTo>
                <a:cubicBezTo>
                  <a:pt x="1447" y="481"/>
                  <a:pt x="1447" y="481"/>
                  <a:pt x="1447" y="481"/>
                </a:cubicBezTo>
                <a:cubicBezTo>
                  <a:pt x="1446" y="481"/>
                  <a:pt x="1446" y="481"/>
                  <a:pt x="1446" y="481"/>
                </a:cubicBezTo>
                <a:cubicBezTo>
                  <a:pt x="1446" y="482"/>
                  <a:pt x="1446" y="482"/>
                  <a:pt x="1446" y="482"/>
                </a:cubicBezTo>
                <a:cubicBezTo>
                  <a:pt x="1446" y="482"/>
                  <a:pt x="1445" y="482"/>
                  <a:pt x="1445" y="482"/>
                </a:cubicBezTo>
                <a:cubicBezTo>
                  <a:pt x="1445" y="482"/>
                  <a:pt x="1445" y="483"/>
                  <a:pt x="1445" y="483"/>
                </a:cubicBezTo>
                <a:cubicBezTo>
                  <a:pt x="1445" y="483"/>
                  <a:pt x="1445" y="483"/>
                  <a:pt x="1445" y="484"/>
                </a:cubicBezTo>
                <a:cubicBezTo>
                  <a:pt x="1445" y="484"/>
                  <a:pt x="1445" y="484"/>
                  <a:pt x="1445" y="484"/>
                </a:cubicBezTo>
                <a:cubicBezTo>
                  <a:pt x="1445" y="484"/>
                  <a:pt x="1445" y="484"/>
                  <a:pt x="1444" y="484"/>
                </a:cubicBezTo>
                <a:cubicBezTo>
                  <a:pt x="1444" y="484"/>
                  <a:pt x="1444" y="484"/>
                  <a:pt x="1444" y="484"/>
                </a:cubicBezTo>
                <a:cubicBezTo>
                  <a:pt x="1444" y="484"/>
                  <a:pt x="1443" y="485"/>
                  <a:pt x="1443" y="485"/>
                </a:cubicBezTo>
                <a:cubicBezTo>
                  <a:pt x="1443" y="485"/>
                  <a:pt x="1443" y="485"/>
                  <a:pt x="1443" y="485"/>
                </a:cubicBezTo>
                <a:cubicBezTo>
                  <a:pt x="1442" y="485"/>
                  <a:pt x="1442" y="485"/>
                  <a:pt x="1441" y="485"/>
                </a:cubicBezTo>
                <a:cubicBezTo>
                  <a:pt x="1441" y="485"/>
                  <a:pt x="1441" y="485"/>
                  <a:pt x="1441" y="485"/>
                </a:cubicBezTo>
                <a:cubicBezTo>
                  <a:pt x="1440" y="486"/>
                  <a:pt x="1440" y="486"/>
                  <a:pt x="1439" y="486"/>
                </a:cubicBezTo>
                <a:cubicBezTo>
                  <a:pt x="1439" y="486"/>
                  <a:pt x="1439" y="486"/>
                  <a:pt x="1439" y="486"/>
                </a:cubicBezTo>
                <a:cubicBezTo>
                  <a:pt x="1439" y="486"/>
                  <a:pt x="1439" y="486"/>
                  <a:pt x="1438" y="486"/>
                </a:cubicBezTo>
                <a:cubicBezTo>
                  <a:pt x="1438" y="486"/>
                  <a:pt x="1438" y="486"/>
                  <a:pt x="1438" y="486"/>
                </a:cubicBezTo>
                <a:cubicBezTo>
                  <a:pt x="1437" y="486"/>
                  <a:pt x="1436" y="486"/>
                  <a:pt x="1435" y="487"/>
                </a:cubicBezTo>
                <a:cubicBezTo>
                  <a:pt x="1435" y="486"/>
                  <a:pt x="1434" y="486"/>
                  <a:pt x="1434" y="486"/>
                </a:cubicBezTo>
                <a:cubicBezTo>
                  <a:pt x="1434" y="486"/>
                  <a:pt x="1434" y="486"/>
                  <a:pt x="1433" y="486"/>
                </a:cubicBezTo>
                <a:cubicBezTo>
                  <a:pt x="1433" y="486"/>
                  <a:pt x="1433" y="486"/>
                  <a:pt x="1433" y="486"/>
                </a:cubicBezTo>
                <a:cubicBezTo>
                  <a:pt x="1432" y="486"/>
                  <a:pt x="1432" y="486"/>
                  <a:pt x="1432" y="486"/>
                </a:cubicBezTo>
                <a:cubicBezTo>
                  <a:pt x="1432" y="485"/>
                  <a:pt x="1433" y="485"/>
                  <a:pt x="1433" y="485"/>
                </a:cubicBezTo>
                <a:cubicBezTo>
                  <a:pt x="1433" y="485"/>
                  <a:pt x="1433" y="485"/>
                  <a:pt x="1433" y="485"/>
                </a:cubicBezTo>
                <a:cubicBezTo>
                  <a:pt x="1433" y="485"/>
                  <a:pt x="1433" y="485"/>
                  <a:pt x="1432" y="485"/>
                </a:cubicBezTo>
                <a:cubicBezTo>
                  <a:pt x="1432" y="485"/>
                  <a:pt x="1432" y="485"/>
                  <a:pt x="1432" y="485"/>
                </a:cubicBezTo>
                <a:cubicBezTo>
                  <a:pt x="1432" y="485"/>
                  <a:pt x="1432" y="485"/>
                  <a:pt x="1431" y="485"/>
                </a:cubicBezTo>
                <a:cubicBezTo>
                  <a:pt x="1432" y="485"/>
                  <a:pt x="1432" y="485"/>
                  <a:pt x="1432" y="485"/>
                </a:cubicBezTo>
                <a:cubicBezTo>
                  <a:pt x="1432" y="485"/>
                  <a:pt x="1432" y="485"/>
                  <a:pt x="1432" y="486"/>
                </a:cubicBezTo>
                <a:cubicBezTo>
                  <a:pt x="1432" y="486"/>
                  <a:pt x="1432" y="486"/>
                  <a:pt x="1431" y="486"/>
                </a:cubicBezTo>
                <a:cubicBezTo>
                  <a:pt x="1431" y="485"/>
                  <a:pt x="1431" y="485"/>
                  <a:pt x="1431" y="485"/>
                </a:cubicBezTo>
                <a:cubicBezTo>
                  <a:pt x="1431" y="486"/>
                  <a:pt x="1431" y="486"/>
                  <a:pt x="1432" y="486"/>
                </a:cubicBezTo>
                <a:cubicBezTo>
                  <a:pt x="1432" y="486"/>
                  <a:pt x="1432" y="486"/>
                  <a:pt x="1431" y="486"/>
                </a:cubicBezTo>
                <a:cubicBezTo>
                  <a:pt x="1432" y="487"/>
                  <a:pt x="1432" y="487"/>
                  <a:pt x="1432" y="487"/>
                </a:cubicBezTo>
                <a:cubicBezTo>
                  <a:pt x="1431" y="487"/>
                  <a:pt x="1431" y="487"/>
                  <a:pt x="1431" y="487"/>
                </a:cubicBezTo>
                <a:cubicBezTo>
                  <a:pt x="1431" y="487"/>
                  <a:pt x="1430" y="486"/>
                  <a:pt x="1430" y="486"/>
                </a:cubicBezTo>
                <a:cubicBezTo>
                  <a:pt x="1430" y="487"/>
                  <a:pt x="1430" y="487"/>
                  <a:pt x="1431" y="487"/>
                </a:cubicBezTo>
                <a:cubicBezTo>
                  <a:pt x="1431" y="487"/>
                  <a:pt x="1431" y="487"/>
                  <a:pt x="1430" y="487"/>
                </a:cubicBezTo>
                <a:cubicBezTo>
                  <a:pt x="1430" y="488"/>
                  <a:pt x="1430" y="488"/>
                  <a:pt x="1430" y="488"/>
                </a:cubicBezTo>
                <a:cubicBezTo>
                  <a:pt x="1430" y="488"/>
                  <a:pt x="1430" y="488"/>
                  <a:pt x="1430" y="488"/>
                </a:cubicBezTo>
                <a:cubicBezTo>
                  <a:pt x="1429" y="487"/>
                  <a:pt x="1429" y="487"/>
                  <a:pt x="1429" y="487"/>
                </a:cubicBezTo>
                <a:cubicBezTo>
                  <a:pt x="1429" y="487"/>
                  <a:pt x="1429" y="487"/>
                  <a:pt x="1429" y="487"/>
                </a:cubicBezTo>
                <a:cubicBezTo>
                  <a:pt x="1429" y="487"/>
                  <a:pt x="1429" y="487"/>
                  <a:pt x="1429" y="487"/>
                </a:cubicBezTo>
                <a:cubicBezTo>
                  <a:pt x="1429" y="488"/>
                  <a:pt x="1429" y="488"/>
                  <a:pt x="1429" y="488"/>
                </a:cubicBezTo>
                <a:cubicBezTo>
                  <a:pt x="1429" y="488"/>
                  <a:pt x="1429" y="488"/>
                  <a:pt x="1429" y="488"/>
                </a:cubicBezTo>
                <a:cubicBezTo>
                  <a:pt x="1429" y="488"/>
                  <a:pt x="1429" y="488"/>
                  <a:pt x="1428" y="488"/>
                </a:cubicBezTo>
                <a:cubicBezTo>
                  <a:pt x="1428" y="488"/>
                  <a:pt x="1428" y="488"/>
                  <a:pt x="1428" y="488"/>
                </a:cubicBezTo>
                <a:cubicBezTo>
                  <a:pt x="1428" y="488"/>
                  <a:pt x="1428" y="488"/>
                  <a:pt x="1428" y="488"/>
                </a:cubicBezTo>
                <a:cubicBezTo>
                  <a:pt x="1427" y="488"/>
                  <a:pt x="1427" y="488"/>
                  <a:pt x="1426" y="488"/>
                </a:cubicBezTo>
                <a:cubicBezTo>
                  <a:pt x="1426" y="488"/>
                  <a:pt x="1426" y="488"/>
                  <a:pt x="1426" y="488"/>
                </a:cubicBezTo>
                <a:cubicBezTo>
                  <a:pt x="1426" y="488"/>
                  <a:pt x="1426" y="488"/>
                  <a:pt x="1425" y="488"/>
                </a:cubicBezTo>
                <a:cubicBezTo>
                  <a:pt x="1425" y="488"/>
                  <a:pt x="1425" y="488"/>
                  <a:pt x="1425" y="489"/>
                </a:cubicBezTo>
                <a:cubicBezTo>
                  <a:pt x="1425" y="489"/>
                  <a:pt x="1425" y="489"/>
                  <a:pt x="1425" y="489"/>
                </a:cubicBezTo>
                <a:cubicBezTo>
                  <a:pt x="1424" y="489"/>
                  <a:pt x="1424" y="489"/>
                  <a:pt x="1424" y="489"/>
                </a:cubicBezTo>
                <a:cubicBezTo>
                  <a:pt x="1424" y="489"/>
                  <a:pt x="1424" y="489"/>
                  <a:pt x="1424" y="489"/>
                </a:cubicBezTo>
                <a:cubicBezTo>
                  <a:pt x="1424" y="489"/>
                  <a:pt x="1424" y="489"/>
                  <a:pt x="1424" y="490"/>
                </a:cubicBezTo>
                <a:cubicBezTo>
                  <a:pt x="1423" y="490"/>
                  <a:pt x="1422" y="490"/>
                  <a:pt x="1421" y="490"/>
                </a:cubicBezTo>
                <a:cubicBezTo>
                  <a:pt x="1421" y="489"/>
                  <a:pt x="1421" y="489"/>
                  <a:pt x="1420" y="489"/>
                </a:cubicBezTo>
                <a:cubicBezTo>
                  <a:pt x="1421" y="489"/>
                  <a:pt x="1421" y="489"/>
                  <a:pt x="1421" y="489"/>
                </a:cubicBezTo>
                <a:cubicBezTo>
                  <a:pt x="1421" y="489"/>
                  <a:pt x="1422" y="489"/>
                  <a:pt x="1422" y="489"/>
                </a:cubicBezTo>
                <a:cubicBezTo>
                  <a:pt x="1422" y="489"/>
                  <a:pt x="1423" y="489"/>
                  <a:pt x="1423" y="489"/>
                </a:cubicBezTo>
                <a:cubicBezTo>
                  <a:pt x="1423" y="489"/>
                  <a:pt x="1422" y="489"/>
                  <a:pt x="1422" y="489"/>
                </a:cubicBezTo>
                <a:cubicBezTo>
                  <a:pt x="1422" y="489"/>
                  <a:pt x="1422" y="488"/>
                  <a:pt x="1422" y="488"/>
                </a:cubicBezTo>
                <a:cubicBezTo>
                  <a:pt x="1422" y="488"/>
                  <a:pt x="1422" y="488"/>
                  <a:pt x="1422" y="487"/>
                </a:cubicBezTo>
                <a:cubicBezTo>
                  <a:pt x="1422" y="487"/>
                  <a:pt x="1422" y="487"/>
                  <a:pt x="1422" y="487"/>
                </a:cubicBezTo>
                <a:cubicBezTo>
                  <a:pt x="1422" y="487"/>
                  <a:pt x="1422" y="487"/>
                  <a:pt x="1422" y="487"/>
                </a:cubicBezTo>
                <a:cubicBezTo>
                  <a:pt x="1422" y="487"/>
                  <a:pt x="1422" y="487"/>
                  <a:pt x="1422" y="487"/>
                </a:cubicBezTo>
                <a:cubicBezTo>
                  <a:pt x="1422" y="486"/>
                  <a:pt x="1422" y="486"/>
                  <a:pt x="1423" y="485"/>
                </a:cubicBezTo>
                <a:cubicBezTo>
                  <a:pt x="1423" y="485"/>
                  <a:pt x="1423" y="485"/>
                  <a:pt x="1424" y="485"/>
                </a:cubicBezTo>
                <a:cubicBezTo>
                  <a:pt x="1424" y="485"/>
                  <a:pt x="1425" y="485"/>
                  <a:pt x="1425" y="484"/>
                </a:cubicBezTo>
                <a:cubicBezTo>
                  <a:pt x="1425" y="484"/>
                  <a:pt x="1425" y="484"/>
                  <a:pt x="1426" y="484"/>
                </a:cubicBezTo>
                <a:cubicBezTo>
                  <a:pt x="1425" y="484"/>
                  <a:pt x="1425" y="484"/>
                  <a:pt x="1425" y="484"/>
                </a:cubicBezTo>
                <a:cubicBezTo>
                  <a:pt x="1425" y="484"/>
                  <a:pt x="1424" y="484"/>
                  <a:pt x="1424" y="484"/>
                </a:cubicBezTo>
                <a:cubicBezTo>
                  <a:pt x="1424" y="484"/>
                  <a:pt x="1423" y="484"/>
                  <a:pt x="1423" y="484"/>
                </a:cubicBezTo>
                <a:cubicBezTo>
                  <a:pt x="1423" y="484"/>
                  <a:pt x="1423" y="484"/>
                  <a:pt x="1423" y="483"/>
                </a:cubicBezTo>
                <a:cubicBezTo>
                  <a:pt x="1423" y="483"/>
                  <a:pt x="1422" y="483"/>
                  <a:pt x="1422" y="483"/>
                </a:cubicBezTo>
                <a:cubicBezTo>
                  <a:pt x="1422" y="483"/>
                  <a:pt x="1422" y="483"/>
                  <a:pt x="1421" y="483"/>
                </a:cubicBezTo>
                <a:cubicBezTo>
                  <a:pt x="1421" y="483"/>
                  <a:pt x="1422" y="483"/>
                  <a:pt x="1422" y="483"/>
                </a:cubicBezTo>
                <a:cubicBezTo>
                  <a:pt x="1422" y="483"/>
                  <a:pt x="1422" y="482"/>
                  <a:pt x="1422" y="482"/>
                </a:cubicBezTo>
                <a:cubicBezTo>
                  <a:pt x="1422" y="482"/>
                  <a:pt x="1422" y="482"/>
                  <a:pt x="1422" y="482"/>
                </a:cubicBezTo>
                <a:cubicBezTo>
                  <a:pt x="1421" y="482"/>
                  <a:pt x="1421" y="482"/>
                  <a:pt x="1421" y="481"/>
                </a:cubicBezTo>
                <a:cubicBezTo>
                  <a:pt x="1421" y="481"/>
                  <a:pt x="1421" y="481"/>
                  <a:pt x="1420" y="481"/>
                </a:cubicBezTo>
                <a:cubicBezTo>
                  <a:pt x="1420" y="481"/>
                  <a:pt x="1420" y="481"/>
                  <a:pt x="1420" y="481"/>
                </a:cubicBezTo>
                <a:cubicBezTo>
                  <a:pt x="1419" y="481"/>
                  <a:pt x="1419" y="481"/>
                  <a:pt x="1419" y="480"/>
                </a:cubicBezTo>
                <a:cubicBezTo>
                  <a:pt x="1419" y="480"/>
                  <a:pt x="1419" y="481"/>
                  <a:pt x="1419" y="481"/>
                </a:cubicBezTo>
                <a:cubicBezTo>
                  <a:pt x="1419" y="481"/>
                  <a:pt x="1418" y="481"/>
                  <a:pt x="1418" y="481"/>
                </a:cubicBezTo>
                <a:cubicBezTo>
                  <a:pt x="1418" y="481"/>
                  <a:pt x="1418" y="481"/>
                  <a:pt x="1418" y="481"/>
                </a:cubicBezTo>
                <a:cubicBezTo>
                  <a:pt x="1418" y="481"/>
                  <a:pt x="1418" y="481"/>
                  <a:pt x="1418" y="480"/>
                </a:cubicBezTo>
                <a:cubicBezTo>
                  <a:pt x="1417" y="480"/>
                  <a:pt x="1417" y="480"/>
                  <a:pt x="1417" y="480"/>
                </a:cubicBezTo>
                <a:cubicBezTo>
                  <a:pt x="1418" y="480"/>
                  <a:pt x="1418" y="480"/>
                  <a:pt x="1418" y="480"/>
                </a:cubicBezTo>
                <a:cubicBezTo>
                  <a:pt x="1418" y="480"/>
                  <a:pt x="1418" y="479"/>
                  <a:pt x="1418" y="479"/>
                </a:cubicBezTo>
                <a:cubicBezTo>
                  <a:pt x="1418" y="479"/>
                  <a:pt x="1418" y="479"/>
                  <a:pt x="1418" y="479"/>
                </a:cubicBezTo>
                <a:cubicBezTo>
                  <a:pt x="1418" y="478"/>
                  <a:pt x="1418" y="478"/>
                  <a:pt x="1418" y="478"/>
                </a:cubicBezTo>
                <a:cubicBezTo>
                  <a:pt x="1418" y="478"/>
                  <a:pt x="1418" y="478"/>
                  <a:pt x="1418" y="478"/>
                </a:cubicBezTo>
                <a:cubicBezTo>
                  <a:pt x="1418" y="478"/>
                  <a:pt x="1417" y="478"/>
                  <a:pt x="1417" y="478"/>
                </a:cubicBezTo>
                <a:cubicBezTo>
                  <a:pt x="1417" y="479"/>
                  <a:pt x="1417" y="479"/>
                  <a:pt x="1417" y="479"/>
                </a:cubicBezTo>
                <a:cubicBezTo>
                  <a:pt x="1417" y="479"/>
                  <a:pt x="1416" y="479"/>
                  <a:pt x="1416" y="479"/>
                </a:cubicBezTo>
                <a:cubicBezTo>
                  <a:pt x="1416" y="479"/>
                  <a:pt x="1416" y="479"/>
                  <a:pt x="1416" y="479"/>
                </a:cubicBezTo>
                <a:cubicBezTo>
                  <a:pt x="1416" y="478"/>
                  <a:pt x="1416" y="478"/>
                  <a:pt x="1416" y="478"/>
                </a:cubicBezTo>
                <a:cubicBezTo>
                  <a:pt x="1416" y="478"/>
                  <a:pt x="1415" y="478"/>
                  <a:pt x="1415" y="478"/>
                </a:cubicBezTo>
                <a:cubicBezTo>
                  <a:pt x="1415" y="477"/>
                  <a:pt x="1416" y="477"/>
                  <a:pt x="1416" y="477"/>
                </a:cubicBezTo>
                <a:cubicBezTo>
                  <a:pt x="1416" y="477"/>
                  <a:pt x="1416" y="477"/>
                  <a:pt x="1415" y="476"/>
                </a:cubicBezTo>
                <a:cubicBezTo>
                  <a:pt x="1415" y="476"/>
                  <a:pt x="1415" y="476"/>
                  <a:pt x="1415" y="476"/>
                </a:cubicBezTo>
                <a:cubicBezTo>
                  <a:pt x="1415" y="476"/>
                  <a:pt x="1415" y="476"/>
                  <a:pt x="1415" y="476"/>
                </a:cubicBezTo>
                <a:cubicBezTo>
                  <a:pt x="1415" y="475"/>
                  <a:pt x="1415" y="475"/>
                  <a:pt x="1415" y="475"/>
                </a:cubicBezTo>
                <a:cubicBezTo>
                  <a:pt x="1415" y="475"/>
                  <a:pt x="1414" y="474"/>
                  <a:pt x="1414" y="474"/>
                </a:cubicBezTo>
                <a:cubicBezTo>
                  <a:pt x="1414" y="474"/>
                  <a:pt x="1414" y="474"/>
                  <a:pt x="1414" y="474"/>
                </a:cubicBezTo>
                <a:cubicBezTo>
                  <a:pt x="1414" y="473"/>
                  <a:pt x="1414" y="473"/>
                  <a:pt x="1414" y="473"/>
                </a:cubicBezTo>
                <a:cubicBezTo>
                  <a:pt x="1414" y="473"/>
                  <a:pt x="1414" y="473"/>
                  <a:pt x="1414" y="473"/>
                </a:cubicBezTo>
                <a:cubicBezTo>
                  <a:pt x="1414" y="473"/>
                  <a:pt x="1414" y="473"/>
                  <a:pt x="1414" y="473"/>
                </a:cubicBezTo>
                <a:cubicBezTo>
                  <a:pt x="1413" y="473"/>
                  <a:pt x="1413" y="473"/>
                  <a:pt x="1413" y="473"/>
                </a:cubicBezTo>
                <a:cubicBezTo>
                  <a:pt x="1413" y="473"/>
                  <a:pt x="1413" y="473"/>
                  <a:pt x="1413" y="473"/>
                </a:cubicBezTo>
                <a:cubicBezTo>
                  <a:pt x="1413" y="473"/>
                  <a:pt x="1413" y="473"/>
                  <a:pt x="1413" y="473"/>
                </a:cubicBezTo>
                <a:cubicBezTo>
                  <a:pt x="1413" y="473"/>
                  <a:pt x="1413" y="472"/>
                  <a:pt x="1412" y="472"/>
                </a:cubicBezTo>
                <a:cubicBezTo>
                  <a:pt x="1412" y="472"/>
                  <a:pt x="1412" y="472"/>
                  <a:pt x="1412" y="472"/>
                </a:cubicBezTo>
                <a:cubicBezTo>
                  <a:pt x="1412" y="472"/>
                  <a:pt x="1412" y="472"/>
                  <a:pt x="1412" y="472"/>
                </a:cubicBezTo>
                <a:cubicBezTo>
                  <a:pt x="1412" y="471"/>
                  <a:pt x="1412" y="471"/>
                  <a:pt x="1411" y="471"/>
                </a:cubicBezTo>
                <a:cubicBezTo>
                  <a:pt x="1411" y="471"/>
                  <a:pt x="1411" y="470"/>
                  <a:pt x="1410" y="470"/>
                </a:cubicBezTo>
                <a:cubicBezTo>
                  <a:pt x="1410" y="470"/>
                  <a:pt x="1410" y="470"/>
                  <a:pt x="1410" y="469"/>
                </a:cubicBezTo>
                <a:cubicBezTo>
                  <a:pt x="1410" y="470"/>
                  <a:pt x="1409" y="470"/>
                  <a:pt x="1409" y="470"/>
                </a:cubicBezTo>
                <a:cubicBezTo>
                  <a:pt x="1409" y="470"/>
                  <a:pt x="1409" y="470"/>
                  <a:pt x="1409" y="470"/>
                </a:cubicBezTo>
                <a:cubicBezTo>
                  <a:pt x="1409" y="470"/>
                  <a:pt x="1409" y="470"/>
                  <a:pt x="1409" y="470"/>
                </a:cubicBezTo>
                <a:cubicBezTo>
                  <a:pt x="1409" y="470"/>
                  <a:pt x="1409" y="470"/>
                  <a:pt x="1409" y="470"/>
                </a:cubicBezTo>
                <a:cubicBezTo>
                  <a:pt x="1408" y="469"/>
                  <a:pt x="1408" y="469"/>
                  <a:pt x="1408" y="469"/>
                </a:cubicBezTo>
                <a:cubicBezTo>
                  <a:pt x="1407" y="469"/>
                  <a:pt x="1407" y="469"/>
                  <a:pt x="1407" y="469"/>
                </a:cubicBezTo>
                <a:cubicBezTo>
                  <a:pt x="1407" y="469"/>
                  <a:pt x="1406" y="469"/>
                  <a:pt x="1406" y="469"/>
                </a:cubicBezTo>
                <a:cubicBezTo>
                  <a:pt x="1406" y="469"/>
                  <a:pt x="1406" y="469"/>
                  <a:pt x="1405" y="469"/>
                </a:cubicBezTo>
                <a:cubicBezTo>
                  <a:pt x="1406" y="468"/>
                  <a:pt x="1406" y="468"/>
                  <a:pt x="1406" y="468"/>
                </a:cubicBezTo>
                <a:cubicBezTo>
                  <a:pt x="1406" y="468"/>
                  <a:pt x="1406" y="468"/>
                  <a:pt x="1406" y="468"/>
                </a:cubicBezTo>
                <a:cubicBezTo>
                  <a:pt x="1406" y="468"/>
                  <a:pt x="1406" y="467"/>
                  <a:pt x="1406" y="467"/>
                </a:cubicBezTo>
                <a:cubicBezTo>
                  <a:pt x="1406" y="467"/>
                  <a:pt x="1406" y="467"/>
                  <a:pt x="1406" y="466"/>
                </a:cubicBezTo>
                <a:cubicBezTo>
                  <a:pt x="1406" y="466"/>
                  <a:pt x="1407" y="466"/>
                  <a:pt x="1407" y="466"/>
                </a:cubicBezTo>
                <a:cubicBezTo>
                  <a:pt x="1407" y="466"/>
                  <a:pt x="1407" y="466"/>
                  <a:pt x="1407" y="466"/>
                </a:cubicBezTo>
                <a:cubicBezTo>
                  <a:pt x="1406" y="465"/>
                  <a:pt x="1406" y="465"/>
                  <a:pt x="1406" y="465"/>
                </a:cubicBezTo>
                <a:cubicBezTo>
                  <a:pt x="1406" y="465"/>
                  <a:pt x="1406" y="465"/>
                  <a:pt x="1406" y="465"/>
                </a:cubicBezTo>
                <a:cubicBezTo>
                  <a:pt x="1405" y="465"/>
                  <a:pt x="1405" y="465"/>
                  <a:pt x="1405" y="465"/>
                </a:cubicBezTo>
                <a:cubicBezTo>
                  <a:pt x="1405" y="465"/>
                  <a:pt x="1405" y="465"/>
                  <a:pt x="1405" y="465"/>
                </a:cubicBezTo>
                <a:cubicBezTo>
                  <a:pt x="1405" y="465"/>
                  <a:pt x="1404" y="465"/>
                  <a:pt x="1404" y="465"/>
                </a:cubicBezTo>
                <a:cubicBezTo>
                  <a:pt x="1404" y="465"/>
                  <a:pt x="1404" y="465"/>
                  <a:pt x="1404" y="465"/>
                </a:cubicBezTo>
                <a:cubicBezTo>
                  <a:pt x="1403" y="465"/>
                  <a:pt x="1403" y="465"/>
                  <a:pt x="1403" y="464"/>
                </a:cubicBezTo>
                <a:cubicBezTo>
                  <a:pt x="1403" y="464"/>
                  <a:pt x="1403" y="465"/>
                  <a:pt x="1403" y="465"/>
                </a:cubicBezTo>
                <a:cubicBezTo>
                  <a:pt x="1403" y="465"/>
                  <a:pt x="1402" y="465"/>
                  <a:pt x="1402" y="464"/>
                </a:cubicBezTo>
                <a:cubicBezTo>
                  <a:pt x="1402" y="464"/>
                  <a:pt x="1402" y="464"/>
                  <a:pt x="1402" y="464"/>
                </a:cubicBezTo>
                <a:cubicBezTo>
                  <a:pt x="1402" y="464"/>
                  <a:pt x="1402" y="464"/>
                  <a:pt x="1402" y="464"/>
                </a:cubicBezTo>
                <a:cubicBezTo>
                  <a:pt x="1402" y="465"/>
                  <a:pt x="1402" y="465"/>
                  <a:pt x="1402" y="465"/>
                </a:cubicBezTo>
                <a:cubicBezTo>
                  <a:pt x="1402" y="465"/>
                  <a:pt x="1402" y="465"/>
                  <a:pt x="1402" y="465"/>
                </a:cubicBezTo>
                <a:cubicBezTo>
                  <a:pt x="1402" y="466"/>
                  <a:pt x="1402" y="466"/>
                  <a:pt x="1402" y="466"/>
                </a:cubicBezTo>
                <a:cubicBezTo>
                  <a:pt x="1402" y="466"/>
                  <a:pt x="1402" y="466"/>
                  <a:pt x="1402" y="467"/>
                </a:cubicBezTo>
                <a:cubicBezTo>
                  <a:pt x="1402" y="467"/>
                  <a:pt x="1401" y="467"/>
                  <a:pt x="1401" y="467"/>
                </a:cubicBezTo>
                <a:cubicBezTo>
                  <a:pt x="1401" y="467"/>
                  <a:pt x="1401" y="468"/>
                  <a:pt x="1401" y="468"/>
                </a:cubicBezTo>
                <a:cubicBezTo>
                  <a:pt x="1401" y="468"/>
                  <a:pt x="1401" y="468"/>
                  <a:pt x="1401" y="468"/>
                </a:cubicBezTo>
                <a:cubicBezTo>
                  <a:pt x="1401" y="468"/>
                  <a:pt x="1401" y="469"/>
                  <a:pt x="1401" y="469"/>
                </a:cubicBezTo>
                <a:cubicBezTo>
                  <a:pt x="1401" y="469"/>
                  <a:pt x="1400" y="469"/>
                  <a:pt x="1400" y="469"/>
                </a:cubicBezTo>
                <a:cubicBezTo>
                  <a:pt x="1400" y="470"/>
                  <a:pt x="1400" y="470"/>
                  <a:pt x="1400" y="470"/>
                </a:cubicBezTo>
                <a:cubicBezTo>
                  <a:pt x="1399" y="470"/>
                  <a:pt x="1399" y="470"/>
                  <a:pt x="1399" y="471"/>
                </a:cubicBezTo>
                <a:cubicBezTo>
                  <a:pt x="1398" y="472"/>
                  <a:pt x="1398" y="472"/>
                  <a:pt x="1398" y="473"/>
                </a:cubicBezTo>
                <a:cubicBezTo>
                  <a:pt x="1397" y="474"/>
                  <a:pt x="1397" y="474"/>
                  <a:pt x="1396" y="474"/>
                </a:cubicBezTo>
                <a:cubicBezTo>
                  <a:pt x="1396" y="474"/>
                  <a:pt x="1396" y="475"/>
                  <a:pt x="1396" y="475"/>
                </a:cubicBezTo>
                <a:cubicBezTo>
                  <a:pt x="1396" y="475"/>
                  <a:pt x="1396" y="475"/>
                  <a:pt x="1395" y="475"/>
                </a:cubicBezTo>
                <a:cubicBezTo>
                  <a:pt x="1395" y="475"/>
                  <a:pt x="1396" y="476"/>
                  <a:pt x="1396" y="476"/>
                </a:cubicBezTo>
                <a:cubicBezTo>
                  <a:pt x="1396" y="476"/>
                  <a:pt x="1396" y="476"/>
                  <a:pt x="1396" y="476"/>
                </a:cubicBezTo>
                <a:cubicBezTo>
                  <a:pt x="1396" y="476"/>
                  <a:pt x="1396" y="476"/>
                  <a:pt x="1395" y="476"/>
                </a:cubicBezTo>
                <a:cubicBezTo>
                  <a:pt x="1395" y="476"/>
                  <a:pt x="1395" y="476"/>
                  <a:pt x="1395" y="476"/>
                </a:cubicBezTo>
                <a:cubicBezTo>
                  <a:pt x="1395" y="477"/>
                  <a:pt x="1395" y="477"/>
                  <a:pt x="1395" y="477"/>
                </a:cubicBezTo>
                <a:cubicBezTo>
                  <a:pt x="1395" y="477"/>
                  <a:pt x="1395" y="478"/>
                  <a:pt x="1395" y="478"/>
                </a:cubicBezTo>
                <a:cubicBezTo>
                  <a:pt x="1395" y="478"/>
                  <a:pt x="1396" y="479"/>
                  <a:pt x="1396" y="479"/>
                </a:cubicBezTo>
                <a:cubicBezTo>
                  <a:pt x="1396" y="479"/>
                  <a:pt x="1395" y="479"/>
                  <a:pt x="1395" y="480"/>
                </a:cubicBezTo>
                <a:cubicBezTo>
                  <a:pt x="1395" y="480"/>
                  <a:pt x="1395" y="480"/>
                  <a:pt x="1395" y="480"/>
                </a:cubicBezTo>
                <a:cubicBezTo>
                  <a:pt x="1396" y="480"/>
                  <a:pt x="1396" y="480"/>
                  <a:pt x="1396" y="480"/>
                </a:cubicBezTo>
                <a:cubicBezTo>
                  <a:pt x="1396" y="480"/>
                  <a:pt x="1396" y="480"/>
                  <a:pt x="1396" y="480"/>
                </a:cubicBezTo>
                <a:cubicBezTo>
                  <a:pt x="1396" y="480"/>
                  <a:pt x="1396" y="480"/>
                  <a:pt x="1397" y="479"/>
                </a:cubicBezTo>
                <a:cubicBezTo>
                  <a:pt x="1397" y="479"/>
                  <a:pt x="1397" y="480"/>
                  <a:pt x="1397" y="480"/>
                </a:cubicBezTo>
                <a:cubicBezTo>
                  <a:pt x="1397" y="480"/>
                  <a:pt x="1397" y="480"/>
                  <a:pt x="1398" y="480"/>
                </a:cubicBezTo>
                <a:cubicBezTo>
                  <a:pt x="1398" y="480"/>
                  <a:pt x="1398" y="480"/>
                  <a:pt x="1398" y="480"/>
                </a:cubicBezTo>
                <a:cubicBezTo>
                  <a:pt x="1398" y="481"/>
                  <a:pt x="1398" y="481"/>
                  <a:pt x="1398" y="481"/>
                </a:cubicBezTo>
                <a:cubicBezTo>
                  <a:pt x="1398" y="481"/>
                  <a:pt x="1398" y="481"/>
                  <a:pt x="1398" y="482"/>
                </a:cubicBezTo>
                <a:cubicBezTo>
                  <a:pt x="1398" y="482"/>
                  <a:pt x="1398" y="482"/>
                  <a:pt x="1398" y="482"/>
                </a:cubicBezTo>
                <a:cubicBezTo>
                  <a:pt x="1398" y="482"/>
                  <a:pt x="1398" y="483"/>
                  <a:pt x="1398" y="483"/>
                </a:cubicBezTo>
                <a:cubicBezTo>
                  <a:pt x="1398" y="483"/>
                  <a:pt x="1398" y="483"/>
                  <a:pt x="1398" y="484"/>
                </a:cubicBezTo>
                <a:cubicBezTo>
                  <a:pt x="1399" y="484"/>
                  <a:pt x="1399" y="484"/>
                  <a:pt x="1399" y="484"/>
                </a:cubicBezTo>
                <a:cubicBezTo>
                  <a:pt x="1399" y="484"/>
                  <a:pt x="1399" y="483"/>
                  <a:pt x="1399" y="483"/>
                </a:cubicBezTo>
                <a:cubicBezTo>
                  <a:pt x="1399" y="483"/>
                  <a:pt x="1399" y="483"/>
                  <a:pt x="1399" y="483"/>
                </a:cubicBezTo>
                <a:cubicBezTo>
                  <a:pt x="1399" y="483"/>
                  <a:pt x="1399" y="483"/>
                  <a:pt x="1399" y="484"/>
                </a:cubicBezTo>
                <a:cubicBezTo>
                  <a:pt x="1399" y="484"/>
                  <a:pt x="1400" y="484"/>
                  <a:pt x="1400" y="484"/>
                </a:cubicBezTo>
                <a:cubicBezTo>
                  <a:pt x="1400" y="485"/>
                  <a:pt x="1400" y="485"/>
                  <a:pt x="1400" y="485"/>
                </a:cubicBezTo>
                <a:cubicBezTo>
                  <a:pt x="1400" y="485"/>
                  <a:pt x="1400" y="485"/>
                  <a:pt x="1400" y="485"/>
                </a:cubicBezTo>
                <a:cubicBezTo>
                  <a:pt x="1400" y="486"/>
                  <a:pt x="1400" y="486"/>
                  <a:pt x="1400" y="487"/>
                </a:cubicBezTo>
                <a:cubicBezTo>
                  <a:pt x="1400" y="487"/>
                  <a:pt x="1400" y="487"/>
                  <a:pt x="1400" y="487"/>
                </a:cubicBezTo>
                <a:cubicBezTo>
                  <a:pt x="1400" y="487"/>
                  <a:pt x="1399" y="487"/>
                  <a:pt x="1399" y="487"/>
                </a:cubicBezTo>
                <a:cubicBezTo>
                  <a:pt x="1399" y="487"/>
                  <a:pt x="1399" y="487"/>
                  <a:pt x="1399" y="487"/>
                </a:cubicBezTo>
                <a:cubicBezTo>
                  <a:pt x="1399" y="487"/>
                  <a:pt x="1399" y="487"/>
                  <a:pt x="1398" y="487"/>
                </a:cubicBezTo>
                <a:cubicBezTo>
                  <a:pt x="1398" y="487"/>
                  <a:pt x="1398" y="487"/>
                  <a:pt x="1398" y="488"/>
                </a:cubicBezTo>
                <a:cubicBezTo>
                  <a:pt x="1398" y="488"/>
                  <a:pt x="1399" y="488"/>
                  <a:pt x="1399" y="488"/>
                </a:cubicBezTo>
                <a:cubicBezTo>
                  <a:pt x="1399" y="488"/>
                  <a:pt x="1400" y="488"/>
                  <a:pt x="1400" y="488"/>
                </a:cubicBezTo>
                <a:cubicBezTo>
                  <a:pt x="1400" y="488"/>
                  <a:pt x="1400" y="488"/>
                  <a:pt x="1400" y="488"/>
                </a:cubicBezTo>
                <a:cubicBezTo>
                  <a:pt x="1400" y="488"/>
                  <a:pt x="1400" y="489"/>
                  <a:pt x="1400" y="489"/>
                </a:cubicBezTo>
                <a:cubicBezTo>
                  <a:pt x="1400" y="489"/>
                  <a:pt x="1400" y="489"/>
                  <a:pt x="1400" y="489"/>
                </a:cubicBezTo>
                <a:cubicBezTo>
                  <a:pt x="1401" y="490"/>
                  <a:pt x="1401" y="490"/>
                  <a:pt x="1401" y="491"/>
                </a:cubicBezTo>
                <a:cubicBezTo>
                  <a:pt x="1402" y="491"/>
                  <a:pt x="1402" y="491"/>
                  <a:pt x="1402" y="491"/>
                </a:cubicBezTo>
                <a:cubicBezTo>
                  <a:pt x="1402" y="491"/>
                  <a:pt x="1402" y="491"/>
                  <a:pt x="1402" y="491"/>
                </a:cubicBezTo>
                <a:cubicBezTo>
                  <a:pt x="1403" y="491"/>
                  <a:pt x="1403" y="491"/>
                  <a:pt x="1403" y="491"/>
                </a:cubicBezTo>
                <a:cubicBezTo>
                  <a:pt x="1403" y="492"/>
                  <a:pt x="1404" y="492"/>
                  <a:pt x="1404" y="492"/>
                </a:cubicBezTo>
                <a:cubicBezTo>
                  <a:pt x="1404" y="492"/>
                  <a:pt x="1404" y="493"/>
                  <a:pt x="1404" y="493"/>
                </a:cubicBezTo>
                <a:cubicBezTo>
                  <a:pt x="1404" y="493"/>
                  <a:pt x="1405" y="494"/>
                  <a:pt x="1405" y="494"/>
                </a:cubicBezTo>
                <a:cubicBezTo>
                  <a:pt x="1405" y="494"/>
                  <a:pt x="1405" y="494"/>
                  <a:pt x="1405" y="494"/>
                </a:cubicBezTo>
                <a:cubicBezTo>
                  <a:pt x="1405" y="495"/>
                  <a:pt x="1405" y="495"/>
                  <a:pt x="1405" y="495"/>
                </a:cubicBezTo>
                <a:cubicBezTo>
                  <a:pt x="1405" y="495"/>
                  <a:pt x="1405" y="495"/>
                  <a:pt x="1405" y="495"/>
                </a:cubicBezTo>
                <a:cubicBezTo>
                  <a:pt x="1406" y="495"/>
                  <a:pt x="1406" y="495"/>
                  <a:pt x="1406" y="495"/>
                </a:cubicBezTo>
                <a:cubicBezTo>
                  <a:pt x="1406" y="495"/>
                  <a:pt x="1406" y="495"/>
                  <a:pt x="1407" y="495"/>
                </a:cubicBezTo>
                <a:cubicBezTo>
                  <a:pt x="1407" y="495"/>
                  <a:pt x="1407" y="495"/>
                  <a:pt x="1407" y="495"/>
                </a:cubicBezTo>
                <a:cubicBezTo>
                  <a:pt x="1407" y="495"/>
                  <a:pt x="1407" y="496"/>
                  <a:pt x="1407" y="496"/>
                </a:cubicBezTo>
                <a:cubicBezTo>
                  <a:pt x="1408" y="497"/>
                  <a:pt x="1409" y="498"/>
                  <a:pt x="1410" y="500"/>
                </a:cubicBezTo>
                <a:cubicBezTo>
                  <a:pt x="1410" y="500"/>
                  <a:pt x="1411" y="501"/>
                  <a:pt x="1411" y="501"/>
                </a:cubicBezTo>
                <a:cubicBezTo>
                  <a:pt x="1411" y="502"/>
                  <a:pt x="1411" y="502"/>
                  <a:pt x="1411" y="503"/>
                </a:cubicBezTo>
                <a:cubicBezTo>
                  <a:pt x="1411" y="503"/>
                  <a:pt x="1410" y="503"/>
                  <a:pt x="1410" y="503"/>
                </a:cubicBezTo>
                <a:cubicBezTo>
                  <a:pt x="1410" y="504"/>
                  <a:pt x="1410" y="504"/>
                  <a:pt x="1410" y="505"/>
                </a:cubicBezTo>
                <a:cubicBezTo>
                  <a:pt x="1410" y="505"/>
                  <a:pt x="1410" y="505"/>
                  <a:pt x="1410" y="505"/>
                </a:cubicBezTo>
                <a:cubicBezTo>
                  <a:pt x="1409" y="505"/>
                  <a:pt x="1409" y="505"/>
                  <a:pt x="1409" y="506"/>
                </a:cubicBezTo>
                <a:cubicBezTo>
                  <a:pt x="1409" y="506"/>
                  <a:pt x="1409" y="506"/>
                  <a:pt x="1410" y="506"/>
                </a:cubicBezTo>
                <a:cubicBezTo>
                  <a:pt x="1409" y="507"/>
                  <a:pt x="1409" y="507"/>
                  <a:pt x="1409" y="508"/>
                </a:cubicBezTo>
                <a:cubicBezTo>
                  <a:pt x="1409" y="508"/>
                  <a:pt x="1409" y="509"/>
                  <a:pt x="1409" y="509"/>
                </a:cubicBezTo>
                <a:cubicBezTo>
                  <a:pt x="1410" y="509"/>
                  <a:pt x="1410" y="510"/>
                  <a:pt x="1410" y="510"/>
                </a:cubicBezTo>
                <a:cubicBezTo>
                  <a:pt x="1410" y="510"/>
                  <a:pt x="1411" y="510"/>
                  <a:pt x="1411" y="510"/>
                </a:cubicBezTo>
                <a:cubicBezTo>
                  <a:pt x="1411" y="511"/>
                  <a:pt x="1411" y="511"/>
                  <a:pt x="1411" y="511"/>
                </a:cubicBezTo>
                <a:cubicBezTo>
                  <a:pt x="1411" y="511"/>
                  <a:pt x="1411" y="511"/>
                  <a:pt x="1411" y="511"/>
                </a:cubicBezTo>
                <a:cubicBezTo>
                  <a:pt x="1411" y="511"/>
                  <a:pt x="1411" y="512"/>
                  <a:pt x="1411" y="512"/>
                </a:cubicBezTo>
                <a:cubicBezTo>
                  <a:pt x="1411" y="512"/>
                  <a:pt x="1411" y="512"/>
                  <a:pt x="1411" y="512"/>
                </a:cubicBezTo>
                <a:cubicBezTo>
                  <a:pt x="1411" y="513"/>
                  <a:pt x="1411" y="513"/>
                  <a:pt x="1411" y="513"/>
                </a:cubicBezTo>
                <a:cubicBezTo>
                  <a:pt x="1411" y="513"/>
                  <a:pt x="1411" y="513"/>
                  <a:pt x="1411" y="513"/>
                </a:cubicBezTo>
                <a:cubicBezTo>
                  <a:pt x="1411" y="513"/>
                  <a:pt x="1411" y="513"/>
                  <a:pt x="1411" y="513"/>
                </a:cubicBezTo>
                <a:cubicBezTo>
                  <a:pt x="1411" y="514"/>
                  <a:pt x="1411" y="514"/>
                  <a:pt x="1412" y="515"/>
                </a:cubicBezTo>
                <a:cubicBezTo>
                  <a:pt x="1412" y="515"/>
                  <a:pt x="1411" y="515"/>
                  <a:pt x="1411" y="516"/>
                </a:cubicBezTo>
                <a:cubicBezTo>
                  <a:pt x="1411" y="516"/>
                  <a:pt x="1411" y="516"/>
                  <a:pt x="1411" y="515"/>
                </a:cubicBezTo>
                <a:cubicBezTo>
                  <a:pt x="1411" y="515"/>
                  <a:pt x="1411" y="515"/>
                  <a:pt x="1411" y="515"/>
                </a:cubicBezTo>
                <a:cubicBezTo>
                  <a:pt x="1411" y="515"/>
                  <a:pt x="1411" y="515"/>
                  <a:pt x="1411" y="515"/>
                </a:cubicBezTo>
                <a:cubicBezTo>
                  <a:pt x="1411" y="515"/>
                  <a:pt x="1411" y="514"/>
                  <a:pt x="1410" y="514"/>
                </a:cubicBezTo>
                <a:cubicBezTo>
                  <a:pt x="1410" y="514"/>
                  <a:pt x="1410" y="515"/>
                  <a:pt x="1411" y="515"/>
                </a:cubicBezTo>
                <a:cubicBezTo>
                  <a:pt x="1410" y="515"/>
                  <a:pt x="1410" y="515"/>
                  <a:pt x="1410" y="515"/>
                </a:cubicBezTo>
                <a:cubicBezTo>
                  <a:pt x="1410" y="515"/>
                  <a:pt x="1410" y="515"/>
                  <a:pt x="1410" y="515"/>
                </a:cubicBezTo>
                <a:cubicBezTo>
                  <a:pt x="1410" y="515"/>
                  <a:pt x="1410" y="515"/>
                  <a:pt x="1410" y="515"/>
                </a:cubicBezTo>
                <a:cubicBezTo>
                  <a:pt x="1410" y="515"/>
                  <a:pt x="1410" y="515"/>
                  <a:pt x="1410" y="515"/>
                </a:cubicBezTo>
                <a:cubicBezTo>
                  <a:pt x="1410" y="515"/>
                  <a:pt x="1410" y="515"/>
                  <a:pt x="1409" y="516"/>
                </a:cubicBezTo>
                <a:cubicBezTo>
                  <a:pt x="1409" y="515"/>
                  <a:pt x="1409" y="515"/>
                  <a:pt x="1409" y="515"/>
                </a:cubicBezTo>
                <a:cubicBezTo>
                  <a:pt x="1409" y="515"/>
                  <a:pt x="1409" y="515"/>
                  <a:pt x="1409" y="515"/>
                </a:cubicBezTo>
                <a:cubicBezTo>
                  <a:pt x="1408" y="515"/>
                  <a:pt x="1408" y="515"/>
                  <a:pt x="1408" y="515"/>
                </a:cubicBezTo>
                <a:cubicBezTo>
                  <a:pt x="1408" y="514"/>
                  <a:pt x="1408" y="514"/>
                  <a:pt x="1407" y="514"/>
                </a:cubicBezTo>
                <a:cubicBezTo>
                  <a:pt x="1407" y="514"/>
                  <a:pt x="1407" y="513"/>
                  <a:pt x="1406" y="513"/>
                </a:cubicBezTo>
                <a:cubicBezTo>
                  <a:pt x="1406" y="513"/>
                  <a:pt x="1405" y="513"/>
                  <a:pt x="1405" y="512"/>
                </a:cubicBezTo>
                <a:cubicBezTo>
                  <a:pt x="1405" y="512"/>
                  <a:pt x="1404" y="512"/>
                  <a:pt x="1404" y="511"/>
                </a:cubicBezTo>
                <a:cubicBezTo>
                  <a:pt x="1404" y="511"/>
                  <a:pt x="1404" y="511"/>
                  <a:pt x="1404" y="511"/>
                </a:cubicBezTo>
                <a:cubicBezTo>
                  <a:pt x="1404" y="511"/>
                  <a:pt x="1403" y="511"/>
                  <a:pt x="1403" y="511"/>
                </a:cubicBezTo>
                <a:cubicBezTo>
                  <a:pt x="1403" y="511"/>
                  <a:pt x="1403" y="511"/>
                  <a:pt x="1402" y="511"/>
                </a:cubicBezTo>
                <a:cubicBezTo>
                  <a:pt x="1402" y="510"/>
                  <a:pt x="1402" y="510"/>
                  <a:pt x="1402" y="509"/>
                </a:cubicBezTo>
                <a:cubicBezTo>
                  <a:pt x="1402" y="509"/>
                  <a:pt x="1402" y="509"/>
                  <a:pt x="1402" y="509"/>
                </a:cubicBezTo>
                <a:cubicBezTo>
                  <a:pt x="1402" y="508"/>
                  <a:pt x="1401" y="508"/>
                  <a:pt x="1401" y="508"/>
                </a:cubicBezTo>
                <a:cubicBezTo>
                  <a:pt x="1400" y="507"/>
                  <a:pt x="1400" y="507"/>
                  <a:pt x="1399" y="507"/>
                </a:cubicBezTo>
                <a:cubicBezTo>
                  <a:pt x="1399" y="506"/>
                  <a:pt x="1399" y="506"/>
                  <a:pt x="1399" y="506"/>
                </a:cubicBezTo>
                <a:cubicBezTo>
                  <a:pt x="1399" y="506"/>
                  <a:pt x="1399" y="506"/>
                  <a:pt x="1399" y="506"/>
                </a:cubicBezTo>
                <a:cubicBezTo>
                  <a:pt x="1399" y="505"/>
                  <a:pt x="1400" y="505"/>
                  <a:pt x="1400" y="505"/>
                </a:cubicBezTo>
                <a:cubicBezTo>
                  <a:pt x="1400" y="505"/>
                  <a:pt x="1400" y="505"/>
                  <a:pt x="1400" y="504"/>
                </a:cubicBezTo>
                <a:cubicBezTo>
                  <a:pt x="1399" y="504"/>
                  <a:pt x="1399" y="504"/>
                  <a:pt x="1399" y="504"/>
                </a:cubicBezTo>
                <a:cubicBezTo>
                  <a:pt x="1399" y="503"/>
                  <a:pt x="1398" y="503"/>
                  <a:pt x="1398" y="503"/>
                </a:cubicBezTo>
                <a:cubicBezTo>
                  <a:pt x="1398" y="502"/>
                  <a:pt x="1398" y="502"/>
                  <a:pt x="1397" y="502"/>
                </a:cubicBezTo>
                <a:cubicBezTo>
                  <a:pt x="1397" y="501"/>
                  <a:pt x="1397" y="501"/>
                  <a:pt x="1397" y="501"/>
                </a:cubicBezTo>
                <a:cubicBezTo>
                  <a:pt x="1397" y="501"/>
                  <a:pt x="1397" y="501"/>
                  <a:pt x="1397" y="501"/>
                </a:cubicBezTo>
                <a:cubicBezTo>
                  <a:pt x="1397" y="500"/>
                  <a:pt x="1397" y="500"/>
                  <a:pt x="1397" y="500"/>
                </a:cubicBezTo>
                <a:cubicBezTo>
                  <a:pt x="1397" y="500"/>
                  <a:pt x="1397" y="499"/>
                  <a:pt x="1397" y="499"/>
                </a:cubicBezTo>
                <a:cubicBezTo>
                  <a:pt x="1397" y="499"/>
                  <a:pt x="1397" y="499"/>
                  <a:pt x="1397" y="499"/>
                </a:cubicBezTo>
                <a:cubicBezTo>
                  <a:pt x="1397" y="499"/>
                  <a:pt x="1397" y="498"/>
                  <a:pt x="1398" y="498"/>
                </a:cubicBezTo>
                <a:cubicBezTo>
                  <a:pt x="1397" y="498"/>
                  <a:pt x="1397" y="497"/>
                  <a:pt x="1397" y="497"/>
                </a:cubicBezTo>
                <a:cubicBezTo>
                  <a:pt x="1397" y="497"/>
                  <a:pt x="1397" y="496"/>
                  <a:pt x="1397" y="496"/>
                </a:cubicBezTo>
                <a:cubicBezTo>
                  <a:pt x="1397" y="495"/>
                  <a:pt x="1397" y="494"/>
                  <a:pt x="1397" y="493"/>
                </a:cubicBezTo>
                <a:cubicBezTo>
                  <a:pt x="1397" y="492"/>
                  <a:pt x="1397" y="492"/>
                  <a:pt x="1397" y="491"/>
                </a:cubicBezTo>
                <a:cubicBezTo>
                  <a:pt x="1397" y="491"/>
                  <a:pt x="1397" y="491"/>
                  <a:pt x="1397" y="491"/>
                </a:cubicBezTo>
                <a:cubicBezTo>
                  <a:pt x="1396" y="490"/>
                  <a:pt x="1395" y="490"/>
                  <a:pt x="1395" y="489"/>
                </a:cubicBezTo>
                <a:cubicBezTo>
                  <a:pt x="1395" y="489"/>
                  <a:pt x="1395" y="489"/>
                  <a:pt x="1395" y="489"/>
                </a:cubicBezTo>
                <a:cubicBezTo>
                  <a:pt x="1395" y="489"/>
                  <a:pt x="1395" y="488"/>
                  <a:pt x="1395" y="488"/>
                </a:cubicBezTo>
                <a:cubicBezTo>
                  <a:pt x="1395" y="488"/>
                  <a:pt x="1395" y="488"/>
                  <a:pt x="1396" y="488"/>
                </a:cubicBezTo>
                <a:cubicBezTo>
                  <a:pt x="1395" y="488"/>
                  <a:pt x="1395" y="488"/>
                  <a:pt x="1395" y="488"/>
                </a:cubicBezTo>
                <a:cubicBezTo>
                  <a:pt x="1395" y="488"/>
                  <a:pt x="1395" y="487"/>
                  <a:pt x="1395" y="487"/>
                </a:cubicBezTo>
                <a:cubicBezTo>
                  <a:pt x="1395" y="487"/>
                  <a:pt x="1394" y="487"/>
                  <a:pt x="1394" y="487"/>
                </a:cubicBezTo>
                <a:cubicBezTo>
                  <a:pt x="1394" y="487"/>
                  <a:pt x="1394" y="486"/>
                  <a:pt x="1394" y="486"/>
                </a:cubicBezTo>
                <a:cubicBezTo>
                  <a:pt x="1394" y="486"/>
                  <a:pt x="1394" y="485"/>
                  <a:pt x="1393" y="485"/>
                </a:cubicBezTo>
                <a:cubicBezTo>
                  <a:pt x="1393" y="485"/>
                  <a:pt x="1393" y="485"/>
                  <a:pt x="1393" y="485"/>
                </a:cubicBezTo>
                <a:cubicBezTo>
                  <a:pt x="1393" y="484"/>
                  <a:pt x="1393" y="484"/>
                  <a:pt x="1393" y="483"/>
                </a:cubicBezTo>
                <a:cubicBezTo>
                  <a:pt x="1392" y="483"/>
                  <a:pt x="1392" y="483"/>
                  <a:pt x="1392" y="483"/>
                </a:cubicBezTo>
                <a:cubicBezTo>
                  <a:pt x="1392" y="483"/>
                  <a:pt x="1392" y="483"/>
                  <a:pt x="1392" y="482"/>
                </a:cubicBezTo>
                <a:cubicBezTo>
                  <a:pt x="1392" y="482"/>
                  <a:pt x="1392" y="482"/>
                  <a:pt x="1391" y="482"/>
                </a:cubicBezTo>
                <a:cubicBezTo>
                  <a:pt x="1391" y="482"/>
                  <a:pt x="1391" y="482"/>
                  <a:pt x="1392" y="482"/>
                </a:cubicBezTo>
                <a:cubicBezTo>
                  <a:pt x="1391" y="482"/>
                  <a:pt x="1391" y="482"/>
                  <a:pt x="1391" y="482"/>
                </a:cubicBezTo>
                <a:cubicBezTo>
                  <a:pt x="1390" y="482"/>
                  <a:pt x="1390" y="482"/>
                  <a:pt x="1390" y="482"/>
                </a:cubicBezTo>
                <a:cubicBezTo>
                  <a:pt x="1390" y="482"/>
                  <a:pt x="1390" y="482"/>
                  <a:pt x="1390" y="482"/>
                </a:cubicBezTo>
                <a:cubicBezTo>
                  <a:pt x="1390" y="482"/>
                  <a:pt x="1390" y="482"/>
                  <a:pt x="1389" y="482"/>
                </a:cubicBezTo>
                <a:cubicBezTo>
                  <a:pt x="1389" y="481"/>
                  <a:pt x="1390" y="481"/>
                  <a:pt x="1390" y="480"/>
                </a:cubicBezTo>
                <a:cubicBezTo>
                  <a:pt x="1390" y="480"/>
                  <a:pt x="1390" y="480"/>
                  <a:pt x="1390" y="480"/>
                </a:cubicBezTo>
                <a:cubicBezTo>
                  <a:pt x="1390" y="480"/>
                  <a:pt x="1390" y="479"/>
                  <a:pt x="1390" y="479"/>
                </a:cubicBezTo>
                <a:cubicBezTo>
                  <a:pt x="1390" y="479"/>
                  <a:pt x="1390" y="479"/>
                  <a:pt x="1391" y="479"/>
                </a:cubicBezTo>
                <a:cubicBezTo>
                  <a:pt x="1391" y="478"/>
                  <a:pt x="1391" y="478"/>
                  <a:pt x="1391" y="478"/>
                </a:cubicBezTo>
                <a:cubicBezTo>
                  <a:pt x="1391" y="478"/>
                  <a:pt x="1391" y="478"/>
                  <a:pt x="1392" y="478"/>
                </a:cubicBezTo>
                <a:cubicBezTo>
                  <a:pt x="1392" y="478"/>
                  <a:pt x="1392" y="477"/>
                  <a:pt x="1392" y="477"/>
                </a:cubicBezTo>
                <a:cubicBezTo>
                  <a:pt x="1392" y="477"/>
                  <a:pt x="1392" y="477"/>
                  <a:pt x="1392" y="477"/>
                </a:cubicBezTo>
                <a:cubicBezTo>
                  <a:pt x="1392" y="477"/>
                  <a:pt x="1392" y="477"/>
                  <a:pt x="1392" y="477"/>
                </a:cubicBezTo>
                <a:cubicBezTo>
                  <a:pt x="1392" y="476"/>
                  <a:pt x="1392" y="476"/>
                  <a:pt x="1392" y="476"/>
                </a:cubicBezTo>
                <a:cubicBezTo>
                  <a:pt x="1393" y="476"/>
                  <a:pt x="1393" y="476"/>
                  <a:pt x="1393" y="476"/>
                </a:cubicBezTo>
                <a:cubicBezTo>
                  <a:pt x="1393" y="476"/>
                  <a:pt x="1393" y="476"/>
                  <a:pt x="1393" y="475"/>
                </a:cubicBezTo>
                <a:cubicBezTo>
                  <a:pt x="1393" y="475"/>
                  <a:pt x="1393" y="475"/>
                  <a:pt x="1393" y="474"/>
                </a:cubicBezTo>
                <a:cubicBezTo>
                  <a:pt x="1393" y="474"/>
                  <a:pt x="1393" y="474"/>
                  <a:pt x="1393" y="474"/>
                </a:cubicBezTo>
                <a:cubicBezTo>
                  <a:pt x="1393" y="474"/>
                  <a:pt x="1393" y="475"/>
                  <a:pt x="1393" y="475"/>
                </a:cubicBezTo>
                <a:cubicBezTo>
                  <a:pt x="1392" y="475"/>
                  <a:pt x="1392" y="476"/>
                  <a:pt x="1392" y="476"/>
                </a:cubicBezTo>
                <a:cubicBezTo>
                  <a:pt x="1392" y="475"/>
                  <a:pt x="1392" y="475"/>
                  <a:pt x="1392" y="475"/>
                </a:cubicBezTo>
                <a:cubicBezTo>
                  <a:pt x="1392" y="474"/>
                  <a:pt x="1392" y="474"/>
                  <a:pt x="1392" y="474"/>
                </a:cubicBezTo>
                <a:cubicBezTo>
                  <a:pt x="1392" y="473"/>
                  <a:pt x="1392" y="473"/>
                  <a:pt x="1392" y="473"/>
                </a:cubicBezTo>
                <a:cubicBezTo>
                  <a:pt x="1392" y="473"/>
                  <a:pt x="1392" y="473"/>
                  <a:pt x="1392" y="473"/>
                </a:cubicBezTo>
                <a:cubicBezTo>
                  <a:pt x="1392" y="473"/>
                  <a:pt x="1392" y="473"/>
                  <a:pt x="1393" y="473"/>
                </a:cubicBezTo>
                <a:cubicBezTo>
                  <a:pt x="1393" y="473"/>
                  <a:pt x="1393" y="473"/>
                  <a:pt x="1393" y="473"/>
                </a:cubicBezTo>
                <a:cubicBezTo>
                  <a:pt x="1393" y="473"/>
                  <a:pt x="1393" y="472"/>
                  <a:pt x="1394" y="472"/>
                </a:cubicBezTo>
                <a:cubicBezTo>
                  <a:pt x="1394" y="472"/>
                  <a:pt x="1394" y="472"/>
                  <a:pt x="1394" y="472"/>
                </a:cubicBezTo>
                <a:cubicBezTo>
                  <a:pt x="1394" y="472"/>
                  <a:pt x="1394" y="471"/>
                  <a:pt x="1394" y="471"/>
                </a:cubicBezTo>
                <a:cubicBezTo>
                  <a:pt x="1394" y="471"/>
                  <a:pt x="1394" y="471"/>
                  <a:pt x="1394" y="470"/>
                </a:cubicBezTo>
                <a:cubicBezTo>
                  <a:pt x="1394" y="470"/>
                  <a:pt x="1394" y="470"/>
                  <a:pt x="1394" y="470"/>
                </a:cubicBezTo>
                <a:cubicBezTo>
                  <a:pt x="1395" y="470"/>
                  <a:pt x="1395" y="470"/>
                  <a:pt x="1395" y="470"/>
                </a:cubicBezTo>
                <a:cubicBezTo>
                  <a:pt x="1395" y="470"/>
                  <a:pt x="1395" y="469"/>
                  <a:pt x="1395" y="469"/>
                </a:cubicBezTo>
                <a:cubicBezTo>
                  <a:pt x="1395" y="469"/>
                  <a:pt x="1395" y="469"/>
                  <a:pt x="1395" y="469"/>
                </a:cubicBezTo>
                <a:cubicBezTo>
                  <a:pt x="1395" y="469"/>
                  <a:pt x="1395" y="468"/>
                  <a:pt x="1395" y="468"/>
                </a:cubicBezTo>
                <a:cubicBezTo>
                  <a:pt x="1395" y="468"/>
                  <a:pt x="1395" y="468"/>
                  <a:pt x="1395" y="467"/>
                </a:cubicBezTo>
                <a:cubicBezTo>
                  <a:pt x="1395" y="467"/>
                  <a:pt x="1395" y="467"/>
                  <a:pt x="1395" y="466"/>
                </a:cubicBezTo>
                <a:cubicBezTo>
                  <a:pt x="1395" y="466"/>
                  <a:pt x="1395" y="466"/>
                  <a:pt x="1395" y="466"/>
                </a:cubicBezTo>
                <a:cubicBezTo>
                  <a:pt x="1395" y="466"/>
                  <a:pt x="1395" y="466"/>
                  <a:pt x="1395" y="466"/>
                </a:cubicBezTo>
                <a:cubicBezTo>
                  <a:pt x="1395" y="465"/>
                  <a:pt x="1395" y="465"/>
                  <a:pt x="1395" y="465"/>
                </a:cubicBezTo>
                <a:cubicBezTo>
                  <a:pt x="1395" y="464"/>
                  <a:pt x="1395" y="464"/>
                  <a:pt x="1395" y="463"/>
                </a:cubicBezTo>
                <a:cubicBezTo>
                  <a:pt x="1395" y="463"/>
                  <a:pt x="1395" y="462"/>
                  <a:pt x="1395" y="462"/>
                </a:cubicBezTo>
                <a:cubicBezTo>
                  <a:pt x="1395" y="462"/>
                  <a:pt x="1395" y="462"/>
                  <a:pt x="1395" y="461"/>
                </a:cubicBezTo>
                <a:cubicBezTo>
                  <a:pt x="1394" y="461"/>
                  <a:pt x="1394" y="461"/>
                  <a:pt x="1394" y="460"/>
                </a:cubicBezTo>
                <a:cubicBezTo>
                  <a:pt x="1394" y="461"/>
                  <a:pt x="1394" y="461"/>
                  <a:pt x="1394" y="461"/>
                </a:cubicBezTo>
                <a:cubicBezTo>
                  <a:pt x="1393" y="461"/>
                  <a:pt x="1393" y="461"/>
                  <a:pt x="1393" y="462"/>
                </a:cubicBezTo>
                <a:cubicBezTo>
                  <a:pt x="1393" y="461"/>
                  <a:pt x="1393" y="461"/>
                  <a:pt x="1393" y="461"/>
                </a:cubicBezTo>
                <a:cubicBezTo>
                  <a:pt x="1393" y="461"/>
                  <a:pt x="1393" y="460"/>
                  <a:pt x="1393" y="460"/>
                </a:cubicBezTo>
                <a:cubicBezTo>
                  <a:pt x="1393" y="460"/>
                  <a:pt x="1394" y="459"/>
                  <a:pt x="1394" y="459"/>
                </a:cubicBezTo>
                <a:cubicBezTo>
                  <a:pt x="1394" y="458"/>
                  <a:pt x="1393" y="458"/>
                  <a:pt x="1393" y="458"/>
                </a:cubicBezTo>
                <a:cubicBezTo>
                  <a:pt x="1393" y="458"/>
                  <a:pt x="1393" y="457"/>
                  <a:pt x="1393" y="457"/>
                </a:cubicBezTo>
                <a:cubicBezTo>
                  <a:pt x="1394" y="457"/>
                  <a:pt x="1394" y="457"/>
                  <a:pt x="1394" y="457"/>
                </a:cubicBezTo>
                <a:cubicBezTo>
                  <a:pt x="1393" y="457"/>
                  <a:pt x="1393" y="456"/>
                  <a:pt x="1393" y="456"/>
                </a:cubicBezTo>
                <a:cubicBezTo>
                  <a:pt x="1393" y="456"/>
                  <a:pt x="1393" y="455"/>
                  <a:pt x="1393" y="455"/>
                </a:cubicBezTo>
                <a:cubicBezTo>
                  <a:pt x="1393" y="455"/>
                  <a:pt x="1393" y="455"/>
                  <a:pt x="1393" y="455"/>
                </a:cubicBezTo>
                <a:cubicBezTo>
                  <a:pt x="1393" y="454"/>
                  <a:pt x="1393" y="453"/>
                  <a:pt x="1393" y="452"/>
                </a:cubicBezTo>
                <a:cubicBezTo>
                  <a:pt x="1393" y="452"/>
                  <a:pt x="1393" y="452"/>
                  <a:pt x="1393" y="451"/>
                </a:cubicBezTo>
                <a:cubicBezTo>
                  <a:pt x="1393" y="451"/>
                  <a:pt x="1393" y="451"/>
                  <a:pt x="1393" y="451"/>
                </a:cubicBezTo>
                <a:cubicBezTo>
                  <a:pt x="1393" y="451"/>
                  <a:pt x="1393" y="451"/>
                  <a:pt x="1393" y="451"/>
                </a:cubicBezTo>
                <a:cubicBezTo>
                  <a:pt x="1393" y="451"/>
                  <a:pt x="1393" y="450"/>
                  <a:pt x="1393" y="450"/>
                </a:cubicBezTo>
                <a:cubicBezTo>
                  <a:pt x="1393" y="450"/>
                  <a:pt x="1393" y="450"/>
                  <a:pt x="1393" y="449"/>
                </a:cubicBezTo>
                <a:cubicBezTo>
                  <a:pt x="1393" y="449"/>
                  <a:pt x="1393" y="449"/>
                  <a:pt x="1393" y="449"/>
                </a:cubicBezTo>
                <a:cubicBezTo>
                  <a:pt x="1393" y="449"/>
                  <a:pt x="1393" y="449"/>
                  <a:pt x="1393" y="449"/>
                </a:cubicBezTo>
                <a:cubicBezTo>
                  <a:pt x="1393" y="449"/>
                  <a:pt x="1393" y="449"/>
                  <a:pt x="1393" y="449"/>
                </a:cubicBezTo>
                <a:cubicBezTo>
                  <a:pt x="1393" y="449"/>
                  <a:pt x="1392" y="449"/>
                  <a:pt x="1392" y="449"/>
                </a:cubicBezTo>
                <a:cubicBezTo>
                  <a:pt x="1392" y="449"/>
                  <a:pt x="1392" y="449"/>
                  <a:pt x="1391" y="449"/>
                </a:cubicBezTo>
                <a:cubicBezTo>
                  <a:pt x="1391" y="448"/>
                  <a:pt x="1391" y="448"/>
                  <a:pt x="1391" y="448"/>
                </a:cubicBezTo>
                <a:cubicBezTo>
                  <a:pt x="1391" y="448"/>
                  <a:pt x="1391" y="448"/>
                  <a:pt x="1391" y="447"/>
                </a:cubicBezTo>
                <a:cubicBezTo>
                  <a:pt x="1391" y="447"/>
                  <a:pt x="1391" y="446"/>
                  <a:pt x="1390" y="446"/>
                </a:cubicBezTo>
                <a:cubicBezTo>
                  <a:pt x="1390" y="446"/>
                  <a:pt x="1390" y="445"/>
                  <a:pt x="1390" y="445"/>
                </a:cubicBezTo>
                <a:cubicBezTo>
                  <a:pt x="1390" y="445"/>
                  <a:pt x="1390" y="445"/>
                  <a:pt x="1390" y="445"/>
                </a:cubicBezTo>
                <a:cubicBezTo>
                  <a:pt x="1390" y="445"/>
                  <a:pt x="1390" y="445"/>
                  <a:pt x="1390" y="445"/>
                </a:cubicBezTo>
                <a:cubicBezTo>
                  <a:pt x="1390" y="445"/>
                  <a:pt x="1389" y="444"/>
                  <a:pt x="1389" y="444"/>
                </a:cubicBezTo>
                <a:cubicBezTo>
                  <a:pt x="1389" y="444"/>
                  <a:pt x="1390" y="445"/>
                  <a:pt x="1390" y="445"/>
                </a:cubicBezTo>
                <a:cubicBezTo>
                  <a:pt x="1390" y="445"/>
                  <a:pt x="1389" y="445"/>
                  <a:pt x="1389" y="445"/>
                </a:cubicBezTo>
                <a:cubicBezTo>
                  <a:pt x="1389" y="445"/>
                  <a:pt x="1389" y="445"/>
                  <a:pt x="1389" y="445"/>
                </a:cubicBezTo>
                <a:cubicBezTo>
                  <a:pt x="1389" y="445"/>
                  <a:pt x="1390" y="446"/>
                  <a:pt x="1390" y="446"/>
                </a:cubicBezTo>
                <a:cubicBezTo>
                  <a:pt x="1390" y="446"/>
                  <a:pt x="1389" y="446"/>
                  <a:pt x="1389" y="446"/>
                </a:cubicBezTo>
                <a:cubicBezTo>
                  <a:pt x="1389" y="447"/>
                  <a:pt x="1389" y="447"/>
                  <a:pt x="1389" y="447"/>
                </a:cubicBezTo>
                <a:cubicBezTo>
                  <a:pt x="1389" y="447"/>
                  <a:pt x="1389" y="447"/>
                  <a:pt x="1389" y="447"/>
                </a:cubicBezTo>
                <a:cubicBezTo>
                  <a:pt x="1388" y="447"/>
                  <a:pt x="1388" y="447"/>
                  <a:pt x="1387" y="448"/>
                </a:cubicBezTo>
                <a:cubicBezTo>
                  <a:pt x="1387" y="447"/>
                  <a:pt x="1387" y="447"/>
                  <a:pt x="1387" y="447"/>
                </a:cubicBezTo>
                <a:cubicBezTo>
                  <a:pt x="1386" y="447"/>
                  <a:pt x="1386" y="447"/>
                  <a:pt x="1386" y="447"/>
                </a:cubicBezTo>
                <a:cubicBezTo>
                  <a:pt x="1386" y="447"/>
                  <a:pt x="1386" y="447"/>
                  <a:pt x="1386" y="446"/>
                </a:cubicBezTo>
                <a:cubicBezTo>
                  <a:pt x="1386" y="447"/>
                  <a:pt x="1386" y="447"/>
                  <a:pt x="1386" y="447"/>
                </a:cubicBezTo>
                <a:cubicBezTo>
                  <a:pt x="1386" y="447"/>
                  <a:pt x="1386" y="447"/>
                  <a:pt x="1386" y="447"/>
                </a:cubicBezTo>
                <a:cubicBezTo>
                  <a:pt x="1386" y="448"/>
                  <a:pt x="1386" y="448"/>
                  <a:pt x="1387" y="448"/>
                </a:cubicBezTo>
                <a:cubicBezTo>
                  <a:pt x="1386" y="448"/>
                  <a:pt x="1386" y="448"/>
                  <a:pt x="1385" y="448"/>
                </a:cubicBezTo>
                <a:cubicBezTo>
                  <a:pt x="1385" y="448"/>
                  <a:pt x="1385" y="448"/>
                  <a:pt x="1385" y="448"/>
                </a:cubicBezTo>
                <a:cubicBezTo>
                  <a:pt x="1385" y="448"/>
                  <a:pt x="1384" y="447"/>
                  <a:pt x="1384" y="447"/>
                </a:cubicBezTo>
                <a:cubicBezTo>
                  <a:pt x="1384" y="448"/>
                  <a:pt x="1384" y="448"/>
                  <a:pt x="1384" y="448"/>
                </a:cubicBezTo>
                <a:cubicBezTo>
                  <a:pt x="1383" y="448"/>
                  <a:pt x="1382" y="448"/>
                  <a:pt x="1382" y="448"/>
                </a:cubicBezTo>
                <a:cubicBezTo>
                  <a:pt x="1381" y="448"/>
                  <a:pt x="1381" y="448"/>
                  <a:pt x="1381" y="448"/>
                </a:cubicBezTo>
                <a:cubicBezTo>
                  <a:pt x="1381" y="448"/>
                  <a:pt x="1381" y="448"/>
                  <a:pt x="1381" y="448"/>
                </a:cubicBezTo>
                <a:cubicBezTo>
                  <a:pt x="1380" y="448"/>
                  <a:pt x="1380" y="448"/>
                  <a:pt x="1380" y="448"/>
                </a:cubicBezTo>
                <a:cubicBezTo>
                  <a:pt x="1380" y="448"/>
                  <a:pt x="1380" y="448"/>
                  <a:pt x="1380" y="448"/>
                </a:cubicBezTo>
                <a:cubicBezTo>
                  <a:pt x="1380" y="448"/>
                  <a:pt x="1380" y="448"/>
                  <a:pt x="1380" y="448"/>
                </a:cubicBezTo>
                <a:cubicBezTo>
                  <a:pt x="1380" y="448"/>
                  <a:pt x="1379" y="448"/>
                  <a:pt x="1379" y="448"/>
                </a:cubicBezTo>
                <a:cubicBezTo>
                  <a:pt x="1379" y="448"/>
                  <a:pt x="1379" y="448"/>
                  <a:pt x="1379" y="447"/>
                </a:cubicBezTo>
                <a:cubicBezTo>
                  <a:pt x="1378" y="447"/>
                  <a:pt x="1378" y="448"/>
                  <a:pt x="1377" y="448"/>
                </a:cubicBezTo>
                <a:cubicBezTo>
                  <a:pt x="1377" y="448"/>
                  <a:pt x="1377" y="448"/>
                  <a:pt x="1377" y="448"/>
                </a:cubicBezTo>
                <a:cubicBezTo>
                  <a:pt x="1377" y="448"/>
                  <a:pt x="1377" y="448"/>
                  <a:pt x="1377" y="448"/>
                </a:cubicBezTo>
                <a:cubicBezTo>
                  <a:pt x="1377" y="448"/>
                  <a:pt x="1377" y="447"/>
                  <a:pt x="1377" y="447"/>
                </a:cubicBezTo>
                <a:cubicBezTo>
                  <a:pt x="1377" y="447"/>
                  <a:pt x="1378" y="447"/>
                  <a:pt x="1378" y="446"/>
                </a:cubicBezTo>
                <a:cubicBezTo>
                  <a:pt x="1379" y="446"/>
                  <a:pt x="1379" y="446"/>
                  <a:pt x="1379" y="445"/>
                </a:cubicBezTo>
                <a:cubicBezTo>
                  <a:pt x="1378" y="446"/>
                  <a:pt x="1378" y="446"/>
                  <a:pt x="1378" y="446"/>
                </a:cubicBezTo>
                <a:cubicBezTo>
                  <a:pt x="1377" y="446"/>
                  <a:pt x="1377" y="446"/>
                  <a:pt x="1377" y="447"/>
                </a:cubicBezTo>
                <a:cubicBezTo>
                  <a:pt x="1376" y="447"/>
                  <a:pt x="1376" y="447"/>
                  <a:pt x="1376" y="447"/>
                </a:cubicBezTo>
                <a:cubicBezTo>
                  <a:pt x="1376" y="447"/>
                  <a:pt x="1376" y="447"/>
                  <a:pt x="1376" y="447"/>
                </a:cubicBezTo>
                <a:cubicBezTo>
                  <a:pt x="1376" y="447"/>
                  <a:pt x="1376" y="447"/>
                  <a:pt x="1376" y="447"/>
                </a:cubicBezTo>
                <a:cubicBezTo>
                  <a:pt x="1376" y="446"/>
                  <a:pt x="1376" y="446"/>
                  <a:pt x="1376" y="446"/>
                </a:cubicBezTo>
                <a:cubicBezTo>
                  <a:pt x="1376" y="445"/>
                  <a:pt x="1377" y="444"/>
                  <a:pt x="1378" y="442"/>
                </a:cubicBezTo>
                <a:cubicBezTo>
                  <a:pt x="1378" y="442"/>
                  <a:pt x="1378" y="442"/>
                  <a:pt x="1379" y="442"/>
                </a:cubicBezTo>
                <a:cubicBezTo>
                  <a:pt x="1379" y="442"/>
                  <a:pt x="1379" y="442"/>
                  <a:pt x="1379" y="442"/>
                </a:cubicBezTo>
                <a:cubicBezTo>
                  <a:pt x="1378" y="441"/>
                  <a:pt x="1378" y="441"/>
                  <a:pt x="1378" y="440"/>
                </a:cubicBezTo>
                <a:cubicBezTo>
                  <a:pt x="1378" y="440"/>
                  <a:pt x="1378" y="439"/>
                  <a:pt x="1378" y="439"/>
                </a:cubicBezTo>
                <a:cubicBezTo>
                  <a:pt x="1378" y="438"/>
                  <a:pt x="1378" y="438"/>
                  <a:pt x="1378" y="438"/>
                </a:cubicBezTo>
                <a:cubicBezTo>
                  <a:pt x="1378" y="438"/>
                  <a:pt x="1378" y="438"/>
                  <a:pt x="1378" y="438"/>
                </a:cubicBezTo>
                <a:cubicBezTo>
                  <a:pt x="1378" y="438"/>
                  <a:pt x="1378" y="438"/>
                  <a:pt x="1378" y="438"/>
                </a:cubicBezTo>
                <a:cubicBezTo>
                  <a:pt x="1378" y="438"/>
                  <a:pt x="1378" y="437"/>
                  <a:pt x="1377" y="437"/>
                </a:cubicBezTo>
                <a:cubicBezTo>
                  <a:pt x="1377" y="437"/>
                  <a:pt x="1377" y="436"/>
                  <a:pt x="1377" y="436"/>
                </a:cubicBezTo>
                <a:cubicBezTo>
                  <a:pt x="1377" y="436"/>
                  <a:pt x="1377" y="436"/>
                  <a:pt x="1377" y="435"/>
                </a:cubicBezTo>
                <a:cubicBezTo>
                  <a:pt x="1377" y="435"/>
                  <a:pt x="1377" y="435"/>
                  <a:pt x="1377" y="435"/>
                </a:cubicBezTo>
                <a:cubicBezTo>
                  <a:pt x="1377" y="434"/>
                  <a:pt x="1377" y="434"/>
                  <a:pt x="1377" y="434"/>
                </a:cubicBezTo>
                <a:cubicBezTo>
                  <a:pt x="1377" y="434"/>
                  <a:pt x="1376" y="434"/>
                  <a:pt x="1376" y="433"/>
                </a:cubicBezTo>
                <a:cubicBezTo>
                  <a:pt x="1376" y="433"/>
                  <a:pt x="1376" y="434"/>
                  <a:pt x="1376" y="434"/>
                </a:cubicBezTo>
                <a:cubicBezTo>
                  <a:pt x="1376" y="434"/>
                  <a:pt x="1376" y="435"/>
                  <a:pt x="1376" y="435"/>
                </a:cubicBezTo>
                <a:cubicBezTo>
                  <a:pt x="1375" y="435"/>
                  <a:pt x="1375" y="435"/>
                  <a:pt x="1374" y="434"/>
                </a:cubicBezTo>
                <a:cubicBezTo>
                  <a:pt x="1374" y="434"/>
                  <a:pt x="1374" y="434"/>
                  <a:pt x="1374" y="433"/>
                </a:cubicBezTo>
                <a:cubicBezTo>
                  <a:pt x="1374" y="433"/>
                  <a:pt x="1374" y="433"/>
                  <a:pt x="1374" y="433"/>
                </a:cubicBezTo>
                <a:cubicBezTo>
                  <a:pt x="1373" y="433"/>
                  <a:pt x="1373" y="432"/>
                  <a:pt x="1373" y="432"/>
                </a:cubicBezTo>
                <a:cubicBezTo>
                  <a:pt x="1373" y="432"/>
                  <a:pt x="1373" y="432"/>
                  <a:pt x="1373" y="432"/>
                </a:cubicBezTo>
                <a:cubicBezTo>
                  <a:pt x="1373" y="432"/>
                  <a:pt x="1374" y="432"/>
                  <a:pt x="1374" y="432"/>
                </a:cubicBezTo>
                <a:cubicBezTo>
                  <a:pt x="1374" y="432"/>
                  <a:pt x="1374" y="432"/>
                  <a:pt x="1374" y="433"/>
                </a:cubicBezTo>
                <a:cubicBezTo>
                  <a:pt x="1374" y="433"/>
                  <a:pt x="1374" y="433"/>
                  <a:pt x="1375" y="433"/>
                </a:cubicBezTo>
                <a:cubicBezTo>
                  <a:pt x="1375" y="433"/>
                  <a:pt x="1375" y="433"/>
                  <a:pt x="1375" y="433"/>
                </a:cubicBezTo>
                <a:cubicBezTo>
                  <a:pt x="1375" y="433"/>
                  <a:pt x="1375" y="433"/>
                  <a:pt x="1375" y="433"/>
                </a:cubicBezTo>
                <a:cubicBezTo>
                  <a:pt x="1375" y="433"/>
                  <a:pt x="1374" y="432"/>
                  <a:pt x="1374" y="432"/>
                </a:cubicBezTo>
                <a:cubicBezTo>
                  <a:pt x="1374" y="432"/>
                  <a:pt x="1375" y="432"/>
                  <a:pt x="1375" y="432"/>
                </a:cubicBezTo>
                <a:cubicBezTo>
                  <a:pt x="1375" y="432"/>
                  <a:pt x="1375" y="432"/>
                  <a:pt x="1375" y="432"/>
                </a:cubicBezTo>
                <a:cubicBezTo>
                  <a:pt x="1376" y="432"/>
                  <a:pt x="1376" y="432"/>
                  <a:pt x="1376" y="432"/>
                </a:cubicBezTo>
                <a:cubicBezTo>
                  <a:pt x="1376" y="432"/>
                  <a:pt x="1376" y="432"/>
                  <a:pt x="1376" y="432"/>
                </a:cubicBezTo>
                <a:cubicBezTo>
                  <a:pt x="1376" y="431"/>
                  <a:pt x="1376" y="431"/>
                  <a:pt x="1376" y="431"/>
                </a:cubicBezTo>
                <a:cubicBezTo>
                  <a:pt x="1375" y="430"/>
                  <a:pt x="1375" y="430"/>
                  <a:pt x="1374" y="430"/>
                </a:cubicBezTo>
                <a:cubicBezTo>
                  <a:pt x="1374" y="430"/>
                  <a:pt x="1374" y="430"/>
                  <a:pt x="1374" y="429"/>
                </a:cubicBezTo>
                <a:cubicBezTo>
                  <a:pt x="1374" y="429"/>
                  <a:pt x="1373" y="429"/>
                  <a:pt x="1373" y="429"/>
                </a:cubicBezTo>
                <a:cubicBezTo>
                  <a:pt x="1373" y="429"/>
                  <a:pt x="1373" y="429"/>
                  <a:pt x="1373" y="429"/>
                </a:cubicBezTo>
                <a:cubicBezTo>
                  <a:pt x="1373" y="429"/>
                  <a:pt x="1373" y="429"/>
                  <a:pt x="1373" y="429"/>
                </a:cubicBezTo>
                <a:cubicBezTo>
                  <a:pt x="1372" y="429"/>
                  <a:pt x="1372" y="429"/>
                  <a:pt x="1372" y="429"/>
                </a:cubicBezTo>
                <a:cubicBezTo>
                  <a:pt x="1372" y="429"/>
                  <a:pt x="1372" y="429"/>
                  <a:pt x="1372" y="429"/>
                </a:cubicBezTo>
                <a:cubicBezTo>
                  <a:pt x="1372" y="428"/>
                  <a:pt x="1372" y="428"/>
                  <a:pt x="1373" y="428"/>
                </a:cubicBezTo>
                <a:cubicBezTo>
                  <a:pt x="1372" y="428"/>
                  <a:pt x="1372" y="428"/>
                  <a:pt x="1372" y="428"/>
                </a:cubicBezTo>
                <a:cubicBezTo>
                  <a:pt x="1371" y="428"/>
                  <a:pt x="1371" y="427"/>
                  <a:pt x="1371" y="427"/>
                </a:cubicBezTo>
                <a:cubicBezTo>
                  <a:pt x="1371" y="427"/>
                  <a:pt x="1371" y="427"/>
                  <a:pt x="1371" y="428"/>
                </a:cubicBezTo>
                <a:cubicBezTo>
                  <a:pt x="1371" y="428"/>
                  <a:pt x="1371" y="428"/>
                  <a:pt x="1371" y="428"/>
                </a:cubicBezTo>
                <a:cubicBezTo>
                  <a:pt x="1371" y="428"/>
                  <a:pt x="1370" y="427"/>
                  <a:pt x="1369" y="426"/>
                </a:cubicBezTo>
                <a:cubicBezTo>
                  <a:pt x="1369" y="426"/>
                  <a:pt x="1369" y="426"/>
                  <a:pt x="1369" y="425"/>
                </a:cubicBezTo>
                <a:cubicBezTo>
                  <a:pt x="1369" y="425"/>
                  <a:pt x="1369" y="425"/>
                  <a:pt x="1369" y="424"/>
                </a:cubicBezTo>
                <a:cubicBezTo>
                  <a:pt x="1369" y="424"/>
                  <a:pt x="1369" y="424"/>
                  <a:pt x="1369" y="424"/>
                </a:cubicBezTo>
                <a:cubicBezTo>
                  <a:pt x="1369" y="424"/>
                  <a:pt x="1369" y="424"/>
                  <a:pt x="1369" y="425"/>
                </a:cubicBezTo>
                <a:cubicBezTo>
                  <a:pt x="1369" y="425"/>
                  <a:pt x="1369" y="425"/>
                  <a:pt x="1369" y="425"/>
                </a:cubicBezTo>
                <a:cubicBezTo>
                  <a:pt x="1369" y="425"/>
                  <a:pt x="1369" y="425"/>
                  <a:pt x="1369" y="425"/>
                </a:cubicBezTo>
                <a:cubicBezTo>
                  <a:pt x="1369" y="425"/>
                  <a:pt x="1368" y="425"/>
                  <a:pt x="1368" y="424"/>
                </a:cubicBezTo>
                <a:cubicBezTo>
                  <a:pt x="1368" y="424"/>
                  <a:pt x="1368" y="423"/>
                  <a:pt x="1368" y="423"/>
                </a:cubicBezTo>
                <a:cubicBezTo>
                  <a:pt x="1368" y="423"/>
                  <a:pt x="1367" y="423"/>
                  <a:pt x="1367" y="422"/>
                </a:cubicBezTo>
                <a:cubicBezTo>
                  <a:pt x="1368" y="422"/>
                  <a:pt x="1368" y="422"/>
                  <a:pt x="1368" y="422"/>
                </a:cubicBezTo>
                <a:cubicBezTo>
                  <a:pt x="1368" y="422"/>
                  <a:pt x="1368" y="422"/>
                  <a:pt x="1368" y="421"/>
                </a:cubicBezTo>
                <a:cubicBezTo>
                  <a:pt x="1368" y="422"/>
                  <a:pt x="1368" y="422"/>
                  <a:pt x="1368" y="422"/>
                </a:cubicBezTo>
                <a:cubicBezTo>
                  <a:pt x="1367" y="422"/>
                  <a:pt x="1367" y="422"/>
                  <a:pt x="1367" y="422"/>
                </a:cubicBezTo>
                <a:cubicBezTo>
                  <a:pt x="1367" y="422"/>
                  <a:pt x="1367" y="422"/>
                  <a:pt x="1367" y="422"/>
                </a:cubicBezTo>
                <a:cubicBezTo>
                  <a:pt x="1367" y="421"/>
                  <a:pt x="1367" y="421"/>
                  <a:pt x="1367" y="421"/>
                </a:cubicBezTo>
                <a:cubicBezTo>
                  <a:pt x="1367" y="421"/>
                  <a:pt x="1367" y="421"/>
                  <a:pt x="1367" y="420"/>
                </a:cubicBezTo>
                <a:cubicBezTo>
                  <a:pt x="1367" y="420"/>
                  <a:pt x="1367" y="420"/>
                  <a:pt x="1368" y="420"/>
                </a:cubicBezTo>
                <a:cubicBezTo>
                  <a:pt x="1368" y="420"/>
                  <a:pt x="1368" y="419"/>
                  <a:pt x="1368" y="419"/>
                </a:cubicBezTo>
                <a:cubicBezTo>
                  <a:pt x="1368" y="419"/>
                  <a:pt x="1367" y="419"/>
                  <a:pt x="1367" y="419"/>
                </a:cubicBezTo>
                <a:cubicBezTo>
                  <a:pt x="1367" y="418"/>
                  <a:pt x="1367" y="417"/>
                  <a:pt x="1366" y="416"/>
                </a:cubicBezTo>
                <a:cubicBezTo>
                  <a:pt x="1366" y="416"/>
                  <a:pt x="1366" y="416"/>
                  <a:pt x="1366" y="416"/>
                </a:cubicBezTo>
                <a:cubicBezTo>
                  <a:pt x="1366" y="416"/>
                  <a:pt x="1366" y="416"/>
                  <a:pt x="1366" y="416"/>
                </a:cubicBezTo>
                <a:cubicBezTo>
                  <a:pt x="1366" y="416"/>
                  <a:pt x="1366" y="416"/>
                  <a:pt x="1366" y="416"/>
                </a:cubicBezTo>
                <a:cubicBezTo>
                  <a:pt x="1365" y="416"/>
                  <a:pt x="1365" y="416"/>
                  <a:pt x="1365" y="416"/>
                </a:cubicBezTo>
                <a:cubicBezTo>
                  <a:pt x="1364" y="416"/>
                  <a:pt x="1363" y="415"/>
                  <a:pt x="1363" y="415"/>
                </a:cubicBezTo>
                <a:cubicBezTo>
                  <a:pt x="1363" y="415"/>
                  <a:pt x="1363" y="415"/>
                  <a:pt x="1363" y="415"/>
                </a:cubicBezTo>
                <a:cubicBezTo>
                  <a:pt x="1363" y="415"/>
                  <a:pt x="1362" y="415"/>
                  <a:pt x="1362" y="415"/>
                </a:cubicBezTo>
                <a:cubicBezTo>
                  <a:pt x="1362" y="414"/>
                  <a:pt x="1362" y="414"/>
                  <a:pt x="1361" y="414"/>
                </a:cubicBezTo>
                <a:cubicBezTo>
                  <a:pt x="1361" y="413"/>
                  <a:pt x="1361" y="413"/>
                  <a:pt x="1361" y="413"/>
                </a:cubicBezTo>
                <a:cubicBezTo>
                  <a:pt x="1361" y="413"/>
                  <a:pt x="1361" y="413"/>
                  <a:pt x="1361" y="414"/>
                </a:cubicBezTo>
                <a:cubicBezTo>
                  <a:pt x="1361" y="414"/>
                  <a:pt x="1362" y="414"/>
                  <a:pt x="1362" y="415"/>
                </a:cubicBezTo>
                <a:cubicBezTo>
                  <a:pt x="1362" y="415"/>
                  <a:pt x="1362" y="415"/>
                  <a:pt x="1361" y="415"/>
                </a:cubicBezTo>
                <a:cubicBezTo>
                  <a:pt x="1361" y="415"/>
                  <a:pt x="1361" y="415"/>
                  <a:pt x="1360" y="415"/>
                </a:cubicBezTo>
                <a:cubicBezTo>
                  <a:pt x="1361" y="415"/>
                  <a:pt x="1361" y="415"/>
                  <a:pt x="1361" y="415"/>
                </a:cubicBezTo>
                <a:cubicBezTo>
                  <a:pt x="1361" y="416"/>
                  <a:pt x="1361" y="416"/>
                  <a:pt x="1361" y="416"/>
                </a:cubicBezTo>
                <a:cubicBezTo>
                  <a:pt x="1361" y="417"/>
                  <a:pt x="1361" y="417"/>
                  <a:pt x="1361" y="417"/>
                </a:cubicBezTo>
                <a:cubicBezTo>
                  <a:pt x="1361" y="417"/>
                  <a:pt x="1360" y="417"/>
                  <a:pt x="1360" y="417"/>
                </a:cubicBezTo>
                <a:cubicBezTo>
                  <a:pt x="1360" y="418"/>
                  <a:pt x="1359" y="418"/>
                  <a:pt x="1359" y="418"/>
                </a:cubicBezTo>
                <a:cubicBezTo>
                  <a:pt x="1359" y="418"/>
                  <a:pt x="1358" y="418"/>
                  <a:pt x="1358" y="418"/>
                </a:cubicBezTo>
                <a:cubicBezTo>
                  <a:pt x="1358" y="418"/>
                  <a:pt x="1359" y="417"/>
                  <a:pt x="1359" y="417"/>
                </a:cubicBezTo>
                <a:cubicBezTo>
                  <a:pt x="1359" y="417"/>
                  <a:pt x="1359" y="417"/>
                  <a:pt x="1359" y="417"/>
                </a:cubicBezTo>
                <a:cubicBezTo>
                  <a:pt x="1359" y="417"/>
                  <a:pt x="1360" y="417"/>
                  <a:pt x="1360" y="417"/>
                </a:cubicBezTo>
                <a:cubicBezTo>
                  <a:pt x="1359" y="417"/>
                  <a:pt x="1359" y="417"/>
                  <a:pt x="1359" y="417"/>
                </a:cubicBezTo>
                <a:cubicBezTo>
                  <a:pt x="1359" y="417"/>
                  <a:pt x="1358" y="417"/>
                  <a:pt x="1358" y="418"/>
                </a:cubicBezTo>
                <a:cubicBezTo>
                  <a:pt x="1358" y="417"/>
                  <a:pt x="1358" y="417"/>
                  <a:pt x="1358" y="417"/>
                </a:cubicBezTo>
                <a:cubicBezTo>
                  <a:pt x="1358" y="416"/>
                  <a:pt x="1358" y="416"/>
                  <a:pt x="1358" y="416"/>
                </a:cubicBezTo>
                <a:cubicBezTo>
                  <a:pt x="1358" y="416"/>
                  <a:pt x="1358" y="415"/>
                  <a:pt x="1358" y="415"/>
                </a:cubicBezTo>
                <a:cubicBezTo>
                  <a:pt x="1358" y="415"/>
                  <a:pt x="1358" y="415"/>
                  <a:pt x="1358" y="415"/>
                </a:cubicBezTo>
                <a:cubicBezTo>
                  <a:pt x="1358" y="415"/>
                  <a:pt x="1358" y="415"/>
                  <a:pt x="1358" y="415"/>
                </a:cubicBezTo>
                <a:cubicBezTo>
                  <a:pt x="1358" y="416"/>
                  <a:pt x="1358" y="416"/>
                  <a:pt x="1358" y="416"/>
                </a:cubicBezTo>
                <a:cubicBezTo>
                  <a:pt x="1358" y="416"/>
                  <a:pt x="1358" y="416"/>
                  <a:pt x="1357" y="416"/>
                </a:cubicBezTo>
                <a:cubicBezTo>
                  <a:pt x="1357" y="416"/>
                  <a:pt x="1357" y="416"/>
                  <a:pt x="1357" y="416"/>
                </a:cubicBezTo>
                <a:cubicBezTo>
                  <a:pt x="1357" y="417"/>
                  <a:pt x="1357" y="417"/>
                  <a:pt x="1358" y="417"/>
                </a:cubicBezTo>
                <a:cubicBezTo>
                  <a:pt x="1357" y="418"/>
                  <a:pt x="1357" y="418"/>
                  <a:pt x="1357" y="418"/>
                </a:cubicBezTo>
                <a:cubicBezTo>
                  <a:pt x="1357" y="418"/>
                  <a:pt x="1357" y="418"/>
                  <a:pt x="1357" y="418"/>
                </a:cubicBezTo>
                <a:cubicBezTo>
                  <a:pt x="1357" y="418"/>
                  <a:pt x="1357" y="418"/>
                  <a:pt x="1357" y="418"/>
                </a:cubicBezTo>
                <a:cubicBezTo>
                  <a:pt x="1356" y="418"/>
                  <a:pt x="1356" y="418"/>
                  <a:pt x="1356" y="417"/>
                </a:cubicBezTo>
                <a:cubicBezTo>
                  <a:pt x="1356" y="417"/>
                  <a:pt x="1356" y="417"/>
                  <a:pt x="1356" y="418"/>
                </a:cubicBezTo>
                <a:cubicBezTo>
                  <a:pt x="1356" y="418"/>
                  <a:pt x="1355" y="418"/>
                  <a:pt x="1355" y="418"/>
                </a:cubicBezTo>
                <a:cubicBezTo>
                  <a:pt x="1355" y="418"/>
                  <a:pt x="1355" y="418"/>
                  <a:pt x="1355" y="418"/>
                </a:cubicBezTo>
                <a:cubicBezTo>
                  <a:pt x="1355" y="418"/>
                  <a:pt x="1355" y="418"/>
                  <a:pt x="1355" y="417"/>
                </a:cubicBezTo>
                <a:cubicBezTo>
                  <a:pt x="1355" y="417"/>
                  <a:pt x="1354" y="417"/>
                  <a:pt x="1354" y="417"/>
                </a:cubicBezTo>
                <a:cubicBezTo>
                  <a:pt x="1354" y="417"/>
                  <a:pt x="1354" y="417"/>
                  <a:pt x="1354" y="417"/>
                </a:cubicBezTo>
                <a:cubicBezTo>
                  <a:pt x="1354" y="417"/>
                  <a:pt x="1354" y="417"/>
                  <a:pt x="1354" y="417"/>
                </a:cubicBezTo>
                <a:cubicBezTo>
                  <a:pt x="1354" y="417"/>
                  <a:pt x="1354" y="417"/>
                  <a:pt x="1354" y="418"/>
                </a:cubicBezTo>
                <a:cubicBezTo>
                  <a:pt x="1354" y="418"/>
                  <a:pt x="1353" y="418"/>
                  <a:pt x="1353" y="418"/>
                </a:cubicBezTo>
                <a:cubicBezTo>
                  <a:pt x="1353" y="418"/>
                  <a:pt x="1353" y="418"/>
                  <a:pt x="1353" y="417"/>
                </a:cubicBezTo>
                <a:cubicBezTo>
                  <a:pt x="1353" y="417"/>
                  <a:pt x="1353" y="418"/>
                  <a:pt x="1353" y="418"/>
                </a:cubicBezTo>
                <a:cubicBezTo>
                  <a:pt x="1352" y="418"/>
                  <a:pt x="1352" y="418"/>
                  <a:pt x="1352" y="417"/>
                </a:cubicBezTo>
                <a:cubicBezTo>
                  <a:pt x="1352" y="417"/>
                  <a:pt x="1352" y="417"/>
                  <a:pt x="1352" y="416"/>
                </a:cubicBezTo>
                <a:cubicBezTo>
                  <a:pt x="1352" y="416"/>
                  <a:pt x="1352" y="416"/>
                  <a:pt x="1352" y="416"/>
                </a:cubicBezTo>
                <a:cubicBezTo>
                  <a:pt x="1352" y="416"/>
                  <a:pt x="1352" y="416"/>
                  <a:pt x="1352" y="416"/>
                </a:cubicBezTo>
                <a:cubicBezTo>
                  <a:pt x="1352" y="416"/>
                  <a:pt x="1351" y="417"/>
                  <a:pt x="1351" y="417"/>
                </a:cubicBezTo>
                <a:cubicBezTo>
                  <a:pt x="1351" y="417"/>
                  <a:pt x="1351" y="417"/>
                  <a:pt x="1351" y="416"/>
                </a:cubicBezTo>
                <a:cubicBezTo>
                  <a:pt x="1351" y="417"/>
                  <a:pt x="1351" y="417"/>
                  <a:pt x="1351" y="417"/>
                </a:cubicBezTo>
                <a:cubicBezTo>
                  <a:pt x="1351" y="417"/>
                  <a:pt x="1351" y="417"/>
                  <a:pt x="1350" y="416"/>
                </a:cubicBezTo>
                <a:cubicBezTo>
                  <a:pt x="1350" y="417"/>
                  <a:pt x="1350" y="417"/>
                  <a:pt x="1350" y="417"/>
                </a:cubicBezTo>
                <a:cubicBezTo>
                  <a:pt x="1350" y="416"/>
                  <a:pt x="1350" y="416"/>
                  <a:pt x="1349" y="416"/>
                </a:cubicBezTo>
                <a:cubicBezTo>
                  <a:pt x="1349" y="416"/>
                  <a:pt x="1349" y="416"/>
                  <a:pt x="1349" y="415"/>
                </a:cubicBezTo>
                <a:cubicBezTo>
                  <a:pt x="1349" y="415"/>
                  <a:pt x="1350" y="415"/>
                  <a:pt x="1350" y="415"/>
                </a:cubicBezTo>
                <a:cubicBezTo>
                  <a:pt x="1349" y="415"/>
                  <a:pt x="1349" y="414"/>
                  <a:pt x="1349" y="414"/>
                </a:cubicBezTo>
                <a:cubicBezTo>
                  <a:pt x="1349" y="414"/>
                  <a:pt x="1348" y="414"/>
                  <a:pt x="1348" y="414"/>
                </a:cubicBezTo>
                <a:cubicBezTo>
                  <a:pt x="1348" y="414"/>
                  <a:pt x="1348" y="414"/>
                  <a:pt x="1348" y="414"/>
                </a:cubicBezTo>
                <a:cubicBezTo>
                  <a:pt x="1348" y="414"/>
                  <a:pt x="1349" y="414"/>
                  <a:pt x="1349" y="414"/>
                </a:cubicBezTo>
                <a:cubicBezTo>
                  <a:pt x="1349" y="414"/>
                  <a:pt x="1349" y="415"/>
                  <a:pt x="1349" y="415"/>
                </a:cubicBezTo>
                <a:cubicBezTo>
                  <a:pt x="1349" y="415"/>
                  <a:pt x="1349" y="415"/>
                  <a:pt x="1349" y="415"/>
                </a:cubicBezTo>
                <a:cubicBezTo>
                  <a:pt x="1349" y="415"/>
                  <a:pt x="1348" y="415"/>
                  <a:pt x="1348" y="415"/>
                </a:cubicBezTo>
                <a:cubicBezTo>
                  <a:pt x="1348" y="415"/>
                  <a:pt x="1348" y="416"/>
                  <a:pt x="1348" y="416"/>
                </a:cubicBezTo>
                <a:cubicBezTo>
                  <a:pt x="1348" y="416"/>
                  <a:pt x="1347" y="416"/>
                  <a:pt x="1347" y="416"/>
                </a:cubicBezTo>
                <a:cubicBezTo>
                  <a:pt x="1346" y="416"/>
                  <a:pt x="1345" y="416"/>
                  <a:pt x="1344" y="416"/>
                </a:cubicBezTo>
                <a:cubicBezTo>
                  <a:pt x="1344" y="416"/>
                  <a:pt x="1343" y="416"/>
                  <a:pt x="1343" y="417"/>
                </a:cubicBezTo>
                <a:cubicBezTo>
                  <a:pt x="1343" y="417"/>
                  <a:pt x="1343" y="417"/>
                  <a:pt x="1343" y="417"/>
                </a:cubicBezTo>
                <a:cubicBezTo>
                  <a:pt x="1343" y="417"/>
                  <a:pt x="1342" y="417"/>
                  <a:pt x="1342" y="418"/>
                </a:cubicBezTo>
                <a:cubicBezTo>
                  <a:pt x="1342" y="418"/>
                  <a:pt x="1342" y="418"/>
                  <a:pt x="1342" y="418"/>
                </a:cubicBezTo>
                <a:cubicBezTo>
                  <a:pt x="1342" y="418"/>
                  <a:pt x="1343" y="419"/>
                  <a:pt x="1343" y="419"/>
                </a:cubicBezTo>
                <a:cubicBezTo>
                  <a:pt x="1343" y="419"/>
                  <a:pt x="1343" y="419"/>
                  <a:pt x="1343" y="419"/>
                </a:cubicBezTo>
                <a:cubicBezTo>
                  <a:pt x="1343" y="419"/>
                  <a:pt x="1343" y="419"/>
                  <a:pt x="1343" y="419"/>
                </a:cubicBezTo>
                <a:cubicBezTo>
                  <a:pt x="1342" y="419"/>
                  <a:pt x="1342" y="420"/>
                  <a:pt x="1342" y="420"/>
                </a:cubicBezTo>
                <a:cubicBezTo>
                  <a:pt x="1341" y="420"/>
                  <a:pt x="1341" y="420"/>
                  <a:pt x="1341" y="420"/>
                </a:cubicBezTo>
                <a:cubicBezTo>
                  <a:pt x="1341" y="420"/>
                  <a:pt x="1341" y="420"/>
                  <a:pt x="1341" y="420"/>
                </a:cubicBezTo>
                <a:cubicBezTo>
                  <a:pt x="1341" y="420"/>
                  <a:pt x="1341" y="421"/>
                  <a:pt x="1341" y="421"/>
                </a:cubicBezTo>
                <a:cubicBezTo>
                  <a:pt x="1340" y="421"/>
                  <a:pt x="1339" y="421"/>
                  <a:pt x="1339" y="421"/>
                </a:cubicBezTo>
                <a:cubicBezTo>
                  <a:pt x="1339" y="421"/>
                  <a:pt x="1338" y="422"/>
                  <a:pt x="1338" y="422"/>
                </a:cubicBezTo>
                <a:cubicBezTo>
                  <a:pt x="1337" y="422"/>
                  <a:pt x="1336" y="422"/>
                  <a:pt x="1335" y="422"/>
                </a:cubicBezTo>
                <a:cubicBezTo>
                  <a:pt x="1335" y="422"/>
                  <a:pt x="1335" y="422"/>
                  <a:pt x="1335" y="422"/>
                </a:cubicBezTo>
                <a:cubicBezTo>
                  <a:pt x="1335" y="422"/>
                  <a:pt x="1335" y="422"/>
                  <a:pt x="1335" y="421"/>
                </a:cubicBezTo>
                <a:cubicBezTo>
                  <a:pt x="1335" y="421"/>
                  <a:pt x="1335" y="421"/>
                  <a:pt x="1335" y="421"/>
                </a:cubicBezTo>
                <a:cubicBezTo>
                  <a:pt x="1335" y="421"/>
                  <a:pt x="1335" y="421"/>
                  <a:pt x="1335" y="421"/>
                </a:cubicBezTo>
                <a:cubicBezTo>
                  <a:pt x="1334" y="421"/>
                  <a:pt x="1334" y="421"/>
                  <a:pt x="1334" y="421"/>
                </a:cubicBezTo>
                <a:cubicBezTo>
                  <a:pt x="1334" y="421"/>
                  <a:pt x="1333" y="421"/>
                  <a:pt x="1333" y="421"/>
                </a:cubicBezTo>
                <a:cubicBezTo>
                  <a:pt x="1333" y="422"/>
                  <a:pt x="1333" y="422"/>
                  <a:pt x="1333" y="422"/>
                </a:cubicBezTo>
                <a:cubicBezTo>
                  <a:pt x="1333" y="422"/>
                  <a:pt x="1333" y="422"/>
                  <a:pt x="1334" y="422"/>
                </a:cubicBezTo>
                <a:cubicBezTo>
                  <a:pt x="1334" y="422"/>
                  <a:pt x="1334" y="422"/>
                  <a:pt x="1334" y="422"/>
                </a:cubicBezTo>
                <a:cubicBezTo>
                  <a:pt x="1334" y="422"/>
                  <a:pt x="1334" y="422"/>
                  <a:pt x="1334" y="422"/>
                </a:cubicBezTo>
                <a:cubicBezTo>
                  <a:pt x="1333" y="423"/>
                  <a:pt x="1332" y="423"/>
                  <a:pt x="1330" y="424"/>
                </a:cubicBezTo>
                <a:cubicBezTo>
                  <a:pt x="1330" y="424"/>
                  <a:pt x="1330" y="425"/>
                  <a:pt x="1329" y="425"/>
                </a:cubicBezTo>
                <a:cubicBezTo>
                  <a:pt x="1327" y="426"/>
                  <a:pt x="1326" y="426"/>
                  <a:pt x="1324" y="427"/>
                </a:cubicBezTo>
                <a:cubicBezTo>
                  <a:pt x="1324" y="427"/>
                  <a:pt x="1323" y="427"/>
                  <a:pt x="1323" y="427"/>
                </a:cubicBezTo>
                <a:cubicBezTo>
                  <a:pt x="1323" y="428"/>
                  <a:pt x="1322" y="428"/>
                  <a:pt x="1322" y="428"/>
                </a:cubicBezTo>
                <a:cubicBezTo>
                  <a:pt x="1321" y="428"/>
                  <a:pt x="1321" y="428"/>
                  <a:pt x="1320" y="428"/>
                </a:cubicBezTo>
                <a:cubicBezTo>
                  <a:pt x="1319" y="428"/>
                  <a:pt x="1319" y="428"/>
                  <a:pt x="1318" y="429"/>
                </a:cubicBezTo>
                <a:cubicBezTo>
                  <a:pt x="1318" y="429"/>
                  <a:pt x="1318" y="429"/>
                  <a:pt x="1318" y="429"/>
                </a:cubicBezTo>
                <a:cubicBezTo>
                  <a:pt x="1318" y="430"/>
                  <a:pt x="1318" y="430"/>
                  <a:pt x="1318" y="430"/>
                </a:cubicBezTo>
                <a:cubicBezTo>
                  <a:pt x="1318" y="430"/>
                  <a:pt x="1317" y="431"/>
                  <a:pt x="1317" y="431"/>
                </a:cubicBezTo>
                <a:cubicBezTo>
                  <a:pt x="1317" y="431"/>
                  <a:pt x="1316" y="431"/>
                  <a:pt x="1316" y="431"/>
                </a:cubicBezTo>
                <a:cubicBezTo>
                  <a:pt x="1315" y="431"/>
                  <a:pt x="1314" y="431"/>
                  <a:pt x="1314" y="430"/>
                </a:cubicBezTo>
                <a:cubicBezTo>
                  <a:pt x="1313" y="431"/>
                  <a:pt x="1313" y="431"/>
                  <a:pt x="1313" y="431"/>
                </a:cubicBezTo>
                <a:cubicBezTo>
                  <a:pt x="1312" y="431"/>
                  <a:pt x="1312" y="431"/>
                  <a:pt x="1312" y="432"/>
                </a:cubicBezTo>
                <a:cubicBezTo>
                  <a:pt x="1312" y="432"/>
                  <a:pt x="1311" y="432"/>
                  <a:pt x="1311" y="433"/>
                </a:cubicBezTo>
                <a:cubicBezTo>
                  <a:pt x="1310" y="432"/>
                  <a:pt x="1310" y="432"/>
                  <a:pt x="1310" y="432"/>
                </a:cubicBezTo>
                <a:cubicBezTo>
                  <a:pt x="1310" y="432"/>
                  <a:pt x="1310" y="432"/>
                  <a:pt x="1310" y="432"/>
                </a:cubicBezTo>
                <a:cubicBezTo>
                  <a:pt x="1309" y="432"/>
                  <a:pt x="1309" y="432"/>
                  <a:pt x="1309" y="432"/>
                </a:cubicBezTo>
                <a:cubicBezTo>
                  <a:pt x="1309" y="432"/>
                  <a:pt x="1308" y="432"/>
                  <a:pt x="1307" y="432"/>
                </a:cubicBezTo>
                <a:cubicBezTo>
                  <a:pt x="1307" y="433"/>
                  <a:pt x="1307" y="433"/>
                  <a:pt x="1307" y="433"/>
                </a:cubicBezTo>
                <a:cubicBezTo>
                  <a:pt x="1306" y="433"/>
                  <a:pt x="1306" y="434"/>
                  <a:pt x="1306" y="434"/>
                </a:cubicBezTo>
                <a:cubicBezTo>
                  <a:pt x="1306" y="435"/>
                  <a:pt x="1307" y="436"/>
                  <a:pt x="1307" y="436"/>
                </a:cubicBezTo>
                <a:cubicBezTo>
                  <a:pt x="1306" y="436"/>
                  <a:pt x="1306" y="437"/>
                  <a:pt x="1306" y="437"/>
                </a:cubicBezTo>
                <a:cubicBezTo>
                  <a:pt x="1306" y="437"/>
                  <a:pt x="1306" y="437"/>
                  <a:pt x="1306" y="438"/>
                </a:cubicBezTo>
                <a:cubicBezTo>
                  <a:pt x="1305" y="439"/>
                  <a:pt x="1305" y="440"/>
                  <a:pt x="1305" y="440"/>
                </a:cubicBezTo>
                <a:cubicBezTo>
                  <a:pt x="1305" y="441"/>
                  <a:pt x="1306" y="441"/>
                  <a:pt x="1306" y="441"/>
                </a:cubicBezTo>
                <a:cubicBezTo>
                  <a:pt x="1306" y="442"/>
                  <a:pt x="1306" y="442"/>
                  <a:pt x="1306" y="443"/>
                </a:cubicBezTo>
                <a:cubicBezTo>
                  <a:pt x="1305" y="444"/>
                  <a:pt x="1305" y="444"/>
                  <a:pt x="1304" y="445"/>
                </a:cubicBezTo>
                <a:cubicBezTo>
                  <a:pt x="1304" y="445"/>
                  <a:pt x="1303" y="446"/>
                  <a:pt x="1303" y="446"/>
                </a:cubicBezTo>
                <a:cubicBezTo>
                  <a:pt x="1303" y="447"/>
                  <a:pt x="1302" y="447"/>
                  <a:pt x="1302" y="448"/>
                </a:cubicBezTo>
                <a:cubicBezTo>
                  <a:pt x="1302" y="448"/>
                  <a:pt x="1303" y="448"/>
                  <a:pt x="1303" y="448"/>
                </a:cubicBezTo>
                <a:cubicBezTo>
                  <a:pt x="1303" y="449"/>
                  <a:pt x="1302" y="450"/>
                  <a:pt x="1302" y="451"/>
                </a:cubicBezTo>
                <a:cubicBezTo>
                  <a:pt x="1302" y="452"/>
                  <a:pt x="1302" y="452"/>
                  <a:pt x="1302" y="452"/>
                </a:cubicBezTo>
                <a:cubicBezTo>
                  <a:pt x="1302" y="452"/>
                  <a:pt x="1301" y="452"/>
                  <a:pt x="1301" y="452"/>
                </a:cubicBezTo>
                <a:cubicBezTo>
                  <a:pt x="1301" y="452"/>
                  <a:pt x="1301" y="452"/>
                  <a:pt x="1301" y="452"/>
                </a:cubicBezTo>
                <a:cubicBezTo>
                  <a:pt x="1300" y="452"/>
                  <a:pt x="1300" y="452"/>
                  <a:pt x="1299" y="452"/>
                </a:cubicBezTo>
                <a:cubicBezTo>
                  <a:pt x="1299" y="452"/>
                  <a:pt x="1299" y="452"/>
                  <a:pt x="1299" y="453"/>
                </a:cubicBezTo>
                <a:cubicBezTo>
                  <a:pt x="1299" y="453"/>
                  <a:pt x="1299" y="453"/>
                  <a:pt x="1299" y="453"/>
                </a:cubicBezTo>
                <a:cubicBezTo>
                  <a:pt x="1298" y="453"/>
                  <a:pt x="1298" y="454"/>
                  <a:pt x="1297" y="454"/>
                </a:cubicBezTo>
                <a:cubicBezTo>
                  <a:pt x="1297" y="454"/>
                  <a:pt x="1297" y="454"/>
                  <a:pt x="1297" y="454"/>
                </a:cubicBezTo>
                <a:cubicBezTo>
                  <a:pt x="1297" y="454"/>
                  <a:pt x="1297" y="455"/>
                  <a:pt x="1297" y="455"/>
                </a:cubicBezTo>
                <a:cubicBezTo>
                  <a:pt x="1297" y="455"/>
                  <a:pt x="1298" y="455"/>
                  <a:pt x="1298" y="456"/>
                </a:cubicBezTo>
                <a:cubicBezTo>
                  <a:pt x="1298" y="456"/>
                  <a:pt x="1298" y="456"/>
                  <a:pt x="1298" y="456"/>
                </a:cubicBezTo>
                <a:cubicBezTo>
                  <a:pt x="1298" y="456"/>
                  <a:pt x="1298" y="456"/>
                  <a:pt x="1298" y="456"/>
                </a:cubicBezTo>
                <a:cubicBezTo>
                  <a:pt x="1298" y="456"/>
                  <a:pt x="1298" y="456"/>
                  <a:pt x="1298" y="456"/>
                </a:cubicBezTo>
                <a:cubicBezTo>
                  <a:pt x="1298" y="456"/>
                  <a:pt x="1298" y="456"/>
                  <a:pt x="1298" y="455"/>
                </a:cubicBezTo>
                <a:cubicBezTo>
                  <a:pt x="1297" y="455"/>
                  <a:pt x="1296" y="455"/>
                  <a:pt x="1295" y="455"/>
                </a:cubicBezTo>
                <a:cubicBezTo>
                  <a:pt x="1295" y="455"/>
                  <a:pt x="1295" y="455"/>
                  <a:pt x="1295" y="455"/>
                </a:cubicBezTo>
                <a:cubicBezTo>
                  <a:pt x="1294" y="455"/>
                  <a:pt x="1294" y="456"/>
                  <a:pt x="1293" y="456"/>
                </a:cubicBezTo>
                <a:cubicBezTo>
                  <a:pt x="1293" y="456"/>
                  <a:pt x="1293" y="456"/>
                  <a:pt x="1292" y="456"/>
                </a:cubicBezTo>
                <a:cubicBezTo>
                  <a:pt x="1292" y="456"/>
                  <a:pt x="1292" y="456"/>
                  <a:pt x="1292" y="456"/>
                </a:cubicBezTo>
                <a:cubicBezTo>
                  <a:pt x="1292" y="457"/>
                  <a:pt x="1292" y="457"/>
                  <a:pt x="1292" y="457"/>
                </a:cubicBezTo>
                <a:cubicBezTo>
                  <a:pt x="1292" y="457"/>
                  <a:pt x="1292" y="457"/>
                  <a:pt x="1292" y="457"/>
                </a:cubicBezTo>
                <a:cubicBezTo>
                  <a:pt x="1292" y="457"/>
                  <a:pt x="1292" y="457"/>
                  <a:pt x="1292" y="458"/>
                </a:cubicBezTo>
                <a:cubicBezTo>
                  <a:pt x="1291" y="458"/>
                  <a:pt x="1290" y="458"/>
                  <a:pt x="1289" y="458"/>
                </a:cubicBezTo>
                <a:cubicBezTo>
                  <a:pt x="1289" y="458"/>
                  <a:pt x="1288" y="458"/>
                  <a:pt x="1288" y="458"/>
                </a:cubicBezTo>
                <a:cubicBezTo>
                  <a:pt x="1287" y="457"/>
                  <a:pt x="1287" y="457"/>
                  <a:pt x="1287" y="457"/>
                </a:cubicBezTo>
                <a:cubicBezTo>
                  <a:pt x="1286" y="456"/>
                  <a:pt x="1286" y="456"/>
                  <a:pt x="1285" y="455"/>
                </a:cubicBezTo>
                <a:cubicBezTo>
                  <a:pt x="1285" y="454"/>
                  <a:pt x="1285" y="453"/>
                  <a:pt x="1284" y="452"/>
                </a:cubicBezTo>
                <a:cubicBezTo>
                  <a:pt x="1284" y="452"/>
                  <a:pt x="1284" y="451"/>
                  <a:pt x="1285" y="451"/>
                </a:cubicBezTo>
                <a:cubicBezTo>
                  <a:pt x="1284" y="450"/>
                  <a:pt x="1284" y="450"/>
                  <a:pt x="1284" y="449"/>
                </a:cubicBezTo>
                <a:cubicBezTo>
                  <a:pt x="1284" y="449"/>
                  <a:pt x="1284" y="448"/>
                  <a:pt x="1284" y="447"/>
                </a:cubicBezTo>
                <a:cubicBezTo>
                  <a:pt x="1284" y="447"/>
                  <a:pt x="1284" y="447"/>
                  <a:pt x="1284" y="447"/>
                </a:cubicBezTo>
                <a:cubicBezTo>
                  <a:pt x="1284" y="447"/>
                  <a:pt x="1283" y="447"/>
                  <a:pt x="1283" y="447"/>
                </a:cubicBezTo>
                <a:cubicBezTo>
                  <a:pt x="1283" y="446"/>
                  <a:pt x="1283" y="446"/>
                  <a:pt x="1283" y="445"/>
                </a:cubicBezTo>
                <a:cubicBezTo>
                  <a:pt x="1283" y="445"/>
                  <a:pt x="1283" y="445"/>
                  <a:pt x="1283" y="444"/>
                </a:cubicBezTo>
                <a:cubicBezTo>
                  <a:pt x="1282" y="444"/>
                  <a:pt x="1282" y="443"/>
                  <a:pt x="1282" y="443"/>
                </a:cubicBezTo>
                <a:cubicBezTo>
                  <a:pt x="1282" y="442"/>
                  <a:pt x="1281" y="442"/>
                  <a:pt x="1281" y="441"/>
                </a:cubicBezTo>
                <a:cubicBezTo>
                  <a:pt x="1281" y="441"/>
                  <a:pt x="1281" y="441"/>
                  <a:pt x="1281" y="441"/>
                </a:cubicBezTo>
                <a:cubicBezTo>
                  <a:pt x="1280" y="441"/>
                  <a:pt x="1280" y="440"/>
                  <a:pt x="1280" y="440"/>
                </a:cubicBezTo>
                <a:cubicBezTo>
                  <a:pt x="1279" y="440"/>
                  <a:pt x="1279" y="439"/>
                  <a:pt x="1279" y="439"/>
                </a:cubicBezTo>
                <a:cubicBezTo>
                  <a:pt x="1279" y="439"/>
                  <a:pt x="1279" y="439"/>
                  <a:pt x="1279" y="439"/>
                </a:cubicBezTo>
                <a:cubicBezTo>
                  <a:pt x="1279" y="438"/>
                  <a:pt x="1279" y="438"/>
                  <a:pt x="1279" y="437"/>
                </a:cubicBezTo>
                <a:cubicBezTo>
                  <a:pt x="1279" y="437"/>
                  <a:pt x="1279" y="437"/>
                  <a:pt x="1279" y="436"/>
                </a:cubicBezTo>
                <a:cubicBezTo>
                  <a:pt x="1278" y="436"/>
                  <a:pt x="1278" y="435"/>
                  <a:pt x="1278" y="435"/>
                </a:cubicBezTo>
                <a:cubicBezTo>
                  <a:pt x="1278" y="434"/>
                  <a:pt x="1278" y="434"/>
                  <a:pt x="1278" y="433"/>
                </a:cubicBezTo>
                <a:cubicBezTo>
                  <a:pt x="1278" y="433"/>
                  <a:pt x="1278" y="433"/>
                  <a:pt x="1278" y="432"/>
                </a:cubicBezTo>
                <a:cubicBezTo>
                  <a:pt x="1278" y="432"/>
                  <a:pt x="1277" y="432"/>
                  <a:pt x="1277" y="432"/>
                </a:cubicBezTo>
                <a:cubicBezTo>
                  <a:pt x="1277" y="431"/>
                  <a:pt x="1277" y="431"/>
                  <a:pt x="1278" y="430"/>
                </a:cubicBezTo>
                <a:cubicBezTo>
                  <a:pt x="1277" y="430"/>
                  <a:pt x="1277" y="430"/>
                  <a:pt x="1277" y="430"/>
                </a:cubicBezTo>
                <a:cubicBezTo>
                  <a:pt x="1277" y="430"/>
                  <a:pt x="1277" y="429"/>
                  <a:pt x="1276" y="429"/>
                </a:cubicBezTo>
                <a:cubicBezTo>
                  <a:pt x="1276" y="429"/>
                  <a:pt x="1276" y="429"/>
                  <a:pt x="1276" y="429"/>
                </a:cubicBezTo>
                <a:cubicBezTo>
                  <a:pt x="1276" y="429"/>
                  <a:pt x="1276" y="428"/>
                  <a:pt x="1276" y="428"/>
                </a:cubicBezTo>
                <a:cubicBezTo>
                  <a:pt x="1276" y="428"/>
                  <a:pt x="1275" y="427"/>
                  <a:pt x="1275" y="427"/>
                </a:cubicBezTo>
                <a:cubicBezTo>
                  <a:pt x="1275" y="427"/>
                  <a:pt x="1275" y="426"/>
                  <a:pt x="1275" y="426"/>
                </a:cubicBezTo>
                <a:cubicBezTo>
                  <a:pt x="1275" y="426"/>
                  <a:pt x="1275" y="426"/>
                  <a:pt x="1275" y="426"/>
                </a:cubicBezTo>
                <a:cubicBezTo>
                  <a:pt x="1275" y="425"/>
                  <a:pt x="1275" y="425"/>
                  <a:pt x="1274" y="425"/>
                </a:cubicBezTo>
                <a:cubicBezTo>
                  <a:pt x="1274" y="424"/>
                  <a:pt x="1274" y="424"/>
                  <a:pt x="1274" y="424"/>
                </a:cubicBezTo>
                <a:cubicBezTo>
                  <a:pt x="1274" y="424"/>
                  <a:pt x="1273" y="423"/>
                  <a:pt x="1273" y="422"/>
                </a:cubicBezTo>
                <a:cubicBezTo>
                  <a:pt x="1273" y="422"/>
                  <a:pt x="1274" y="421"/>
                  <a:pt x="1274" y="420"/>
                </a:cubicBezTo>
                <a:cubicBezTo>
                  <a:pt x="1273" y="419"/>
                  <a:pt x="1273" y="418"/>
                  <a:pt x="1272" y="417"/>
                </a:cubicBezTo>
                <a:cubicBezTo>
                  <a:pt x="1272" y="417"/>
                  <a:pt x="1272" y="416"/>
                  <a:pt x="1272" y="416"/>
                </a:cubicBezTo>
                <a:cubicBezTo>
                  <a:pt x="1272" y="416"/>
                  <a:pt x="1272" y="415"/>
                  <a:pt x="1272" y="415"/>
                </a:cubicBezTo>
                <a:cubicBezTo>
                  <a:pt x="1272" y="415"/>
                  <a:pt x="1272" y="415"/>
                  <a:pt x="1273" y="415"/>
                </a:cubicBezTo>
                <a:cubicBezTo>
                  <a:pt x="1272" y="414"/>
                  <a:pt x="1272" y="414"/>
                  <a:pt x="1272" y="413"/>
                </a:cubicBezTo>
                <a:cubicBezTo>
                  <a:pt x="1272" y="413"/>
                  <a:pt x="1272" y="413"/>
                  <a:pt x="1272" y="412"/>
                </a:cubicBezTo>
                <a:cubicBezTo>
                  <a:pt x="1272" y="412"/>
                  <a:pt x="1272" y="413"/>
                  <a:pt x="1272" y="413"/>
                </a:cubicBezTo>
                <a:cubicBezTo>
                  <a:pt x="1272" y="412"/>
                  <a:pt x="1272" y="412"/>
                  <a:pt x="1272" y="412"/>
                </a:cubicBezTo>
                <a:cubicBezTo>
                  <a:pt x="1272" y="412"/>
                  <a:pt x="1272" y="411"/>
                  <a:pt x="1272" y="411"/>
                </a:cubicBezTo>
                <a:cubicBezTo>
                  <a:pt x="1272" y="410"/>
                  <a:pt x="1271" y="410"/>
                  <a:pt x="1271" y="409"/>
                </a:cubicBezTo>
                <a:cubicBezTo>
                  <a:pt x="1271" y="409"/>
                  <a:pt x="1271" y="408"/>
                  <a:pt x="1271" y="408"/>
                </a:cubicBezTo>
                <a:cubicBezTo>
                  <a:pt x="1271" y="408"/>
                  <a:pt x="1272" y="408"/>
                  <a:pt x="1272" y="408"/>
                </a:cubicBezTo>
                <a:cubicBezTo>
                  <a:pt x="1272" y="407"/>
                  <a:pt x="1272" y="407"/>
                  <a:pt x="1271" y="407"/>
                </a:cubicBezTo>
                <a:cubicBezTo>
                  <a:pt x="1271" y="407"/>
                  <a:pt x="1271" y="407"/>
                  <a:pt x="1271" y="406"/>
                </a:cubicBezTo>
                <a:cubicBezTo>
                  <a:pt x="1272" y="406"/>
                  <a:pt x="1272" y="406"/>
                  <a:pt x="1272" y="406"/>
                </a:cubicBezTo>
                <a:cubicBezTo>
                  <a:pt x="1272" y="405"/>
                  <a:pt x="1272" y="405"/>
                  <a:pt x="1272" y="405"/>
                </a:cubicBezTo>
                <a:cubicBezTo>
                  <a:pt x="1272" y="404"/>
                  <a:pt x="1272" y="404"/>
                  <a:pt x="1272" y="403"/>
                </a:cubicBezTo>
                <a:cubicBezTo>
                  <a:pt x="1272" y="403"/>
                  <a:pt x="1272" y="403"/>
                  <a:pt x="1271" y="403"/>
                </a:cubicBezTo>
                <a:cubicBezTo>
                  <a:pt x="1271" y="402"/>
                  <a:pt x="1271" y="402"/>
                  <a:pt x="1271" y="401"/>
                </a:cubicBezTo>
                <a:cubicBezTo>
                  <a:pt x="1272" y="401"/>
                  <a:pt x="1272" y="401"/>
                  <a:pt x="1273" y="401"/>
                </a:cubicBezTo>
                <a:cubicBezTo>
                  <a:pt x="1273" y="401"/>
                  <a:pt x="1273" y="401"/>
                  <a:pt x="1273" y="401"/>
                </a:cubicBezTo>
                <a:cubicBezTo>
                  <a:pt x="1273" y="401"/>
                  <a:pt x="1274" y="401"/>
                  <a:pt x="1274" y="401"/>
                </a:cubicBezTo>
                <a:cubicBezTo>
                  <a:pt x="1274" y="401"/>
                  <a:pt x="1273" y="401"/>
                  <a:pt x="1273" y="401"/>
                </a:cubicBezTo>
                <a:cubicBezTo>
                  <a:pt x="1273" y="401"/>
                  <a:pt x="1272" y="400"/>
                  <a:pt x="1272" y="400"/>
                </a:cubicBezTo>
                <a:cubicBezTo>
                  <a:pt x="1272" y="400"/>
                  <a:pt x="1271" y="400"/>
                  <a:pt x="1271" y="400"/>
                </a:cubicBezTo>
                <a:cubicBezTo>
                  <a:pt x="1271" y="400"/>
                  <a:pt x="1271" y="400"/>
                  <a:pt x="1271" y="400"/>
                </a:cubicBezTo>
                <a:cubicBezTo>
                  <a:pt x="1271" y="399"/>
                  <a:pt x="1271" y="399"/>
                  <a:pt x="1271" y="399"/>
                </a:cubicBezTo>
                <a:cubicBezTo>
                  <a:pt x="1271" y="399"/>
                  <a:pt x="1271" y="398"/>
                  <a:pt x="1271" y="398"/>
                </a:cubicBezTo>
                <a:cubicBezTo>
                  <a:pt x="1271" y="398"/>
                  <a:pt x="1272" y="398"/>
                  <a:pt x="1272" y="398"/>
                </a:cubicBezTo>
                <a:cubicBezTo>
                  <a:pt x="1272" y="398"/>
                  <a:pt x="1272" y="398"/>
                  <a:pt x="1272" y="398"/>
                </a:cubicBezTo>
                <a:cubicBezTo>
                  <a:pt x="1273" y="398"/>
                  <a:pt x="1273" y="398"/>
                  <a:pt x="1273" y="398"/>
                </a:cubicBezTo>
                <a:cubicBezTo>
                  <a:pt x="1273" y="398"/>
                  <a:pt x="1274" y="398"/>
                  <a:pt x="1274" y="398"/>
                </a:cubicBezTo>
                <a:cubicBezTo>
                  <a:pt x="1273" y="398"/>
                  <a:pt x="1273" y="398"/>
                  <a:pt x="1273" y="398"/>
                </a:cubicBezTo>
                <a:cubicBezTo>
                  <a:pt x="1273" y="398"/>
                  <a:pt x="1272" y="398"/>
                  <a:pt x="1272" y="397"/>
                </a:cubicBezTo>
                <a:cubicBezTo>
                  <a:pt x="1272" y="397"/>
                  <a:pt x="1271" y="397"/>
                  <a:pt x="1271" y="397"/>
                </a:cubicBezTo>
                <a:cubicBezTo>
                  <a:pt x="1271" y="397"/>
                  <a:pt x="1271" y="397"/>
                  <a:pt x="1271" y="397"/>
                </a:cubicBezTo>
                <a:cubicBezTo>
                  <a:pt x="1271" y="397"/>
                  <a:pt x="1271" y="397"/>
                  <a:pt x="1271" y="397"/>
                </a:cubicBezTo>
                <a:cubicBezTo>
                  <a:pt x="1270" y="397"/>
                  <a:pt x="1270" y="398"/>
                  <a:pt x="1270" y="398"/>
                </a:cubicBezTo>
                <a:cubicBezTo>
                  <a:pt x="1270" y="398"/>
                  <a:pt x="1270" y="399"/>
                  <a:pt x="1269" y="399"/>
                </a:cubicBezTo>
                <a:cubicBezTo>
                  <a:pt x="1270" y="399"/>
                  <a:pt x="1270" y="400"/>
                  <a:pt x="1270" y="400"/>
                </a:cubicBezTo>
                <a:cubicBezTo>
                  <a:pt x="1270" y="400"/>
                  <a:pt x="1270" y="401"/>
                  <a:pt x="1269" y="401"/>
                </a:cubicBezTo>
                <a:cubicBezTo>
                  <a:pt x="1269" y="401"/>
                  <a:pt x="1269" y="401"/>
                  <a:pt x="1269" y="402"/>
                </a:cubicBezTo>
                <a:cubicBezTo>
                  <a:pt x="1269" y="402"/>
                  <a:pt x="1268" y="402"/>
                  <a:pt x="1268" y="402"/>
                </a:cubicBezTo>
                <a:cubicBezTo>
                  <a:pt x="1268" y="402"/>
                  <a:pt x="1267" y="402"/>
                  <a:pt x="1267" y="402"/>
                </a:cubicBezTo>
                <a:cubicBezTo>
                  <a:pt x="1266" y="402"/>
                  <a:pt x="1265" y="403"/>
                  <a:pt x="1264" y="403"/>
                </a:cubicBezTo>
                <a:cubicBezTo>
                  <a:pt x="1263" y="403"/>
                  <a:pt x="1263" y="403"/>
                  <a:pt x="1263" y="403"/>
                </a:cubicBezTo>
                <a:cubicBezTo>
                  <a:pt x="1262" y="403"/>
                  <a:pt x="1261" y="403"/>
                  <a:pt x="1261" y="402"/>
                </a:cubicBezTo>
                <a:cubicBezTo>
                  <a:pt x="1260" y="401"/>
                  <a:pt x="1258" y="400"/>
                  <a:pt x="1257" y="399"/>
                </a:cubicBezTo>
                <a:cubicBezTo>
                  <a:pt x="1257" y="399"/>
                  <a:pt x="1256" y="398"/>
                  <a:pt x="1256" y="398"/>
                </a:cubicBezTo>
                <a:cubicBezTo>
                  <a:pt x="1256" y="398"/>
                  <a:pt x="1256" y="397"/>
                  <a:pt x="1256" y="397"/>
                </a:cubicBezTo>
                <a:cubicBezTo>
                  <a:pt x="1256" y="397"/>
                  <a:pt x="1256" y="397"/>
                  <a:pt x="1256" y="397"/>
                </a:cubicBezTo>
                <a:cubicBezTo>
                  <a:pt x="1255" y="397"/>
                  <a:pt x="1255" y="397"/>
                  <a:pt x="1255" y="397"/>
                </a:cubicBezTo>
                <a:cubicBezTo>
                  <a:pt x="1254" y="396"/>
                  <a:pt x="1254" y="396"/>
                  <a:pt x="1253" y="395"/>
                </a:cubicBezTo>
                <a:cubicBezTo>
                  <a:pt x="1253" y="395"/>
                  <a:pt x="1253" y="395"/>
                  <a:pt x="1253" y="394"/>
                </a:cubicBezTo>
                <a:cubicBezTo>
                  <a:pt x="1253" y="394"/>
                  <a:pt x="1253" y="394"/>
                  <a:pt x="1253" y="394"/>
                </a:cubicBezTo>
                <a:cubicBezTo>
                  <a:pt x="1253" y="394"/>
                  <a:pt x="1254" y="394"/>
                  <a:pt x="1254" y="394"/>
                </a:cubicBezTo>
                <a:cubicBezTo>
                  <a:pt x="1254" y="394"/>
                  <a:pt x="1254" y="394"/>
                  <a:pt x="1254" y="394"/>
                </a:cubicBezTo>
                <a:cubicBezTo>
                  <a:pt x="1254" y="394"/>
                  <a:pt x="1254" y="394"/>
                  <a:pt x="1255" y="394"/>
                </a:cubicBezTo>
                <a:cubicBezTo>
                  <a:pt x="1255" y="395"/>
                  <a:pt x="1255" y="395"/>
                  <a:pt x="1254" y="395"/>
                </a:cubicBezTo>
                <a:cubicBezTo>
                  <a:pt x="1255" y="395"/>
                  <a:pt x="1255" y="395"/>
                  <a:pt x="1255" y="395"/>
                </a:cubicBezTo>
                <a:cubicBezTo>
                  <a:pt x="1256" y="395"/>
                  <a:pt x="1256" y="395"/>
                  <a:pt x="1256" y="395"/>
                </a:cubicBezTo>
                <a:cubicBezTo>
                  <a:pt x="1256" y="395"/>
                  <a:pt x="1256" y="395"/>
                  <a:pt x="1256" y="395"/>
                </a:cubicBezTo>
                <a:cubicBezTo>
                  <a:pt x="1256" y="395"/>
                  <a:pt x="1257" y="395"/>
                  <a:pt x="1257" y="395"/>
                </a:cubicBezTo>
                <a:cubicBezTo>
                  <a:pt x="1257" y="395"/>
                  <a:pt x="1257" y="395"/>
                  <a:pt x="1257" y="395"/>
                </a:cubicBezTo>
                <a:cubicBezTo>
                  <a:pt x="1258" y="395"/>
                  <a:pt x="1258" y="395"/>
                  <a:pt x="1259" y="394"/>
                </a:cubicBezTo>
                <a:cubicBezTo>
                  <a:pt x="1259" y="394"/>
                  <a:pt x="1260" y="394"/>
                  <a:pt x="1260" y="395"/>
                </a:cubicBezTo>
                <a:cubicBezTo>
                  <a:pt x="1260" y="394"/>
                  <a:pt x="1261" y="394"/>
                  <a:pt x="1261" y="394"/>
                </a:cubicBezTo>
                <a:cubicBezTo>
                  <a:pt x="1261" y="394"/>
                  <a:pt x="1261" y="394"/>
                  <a:pt x="1261" y="394"/>
                </a:cubicBezTo>
                <a:cubicBezTo>
                  <a:pt x="1262" y="394"/>
                  <a:pt x="1262" y="393"/>
                  <a:pt x="1262" y="393"/>
                </a:cubicBezTo>
                <a:cubicBezTo>
                  <a:pt x="1262" y="393"/>
                  <a:pt x="1261" y="393"/>
                  <a:pt x="1261" y="393"/>
                </a:cubicBezTo>
                <a:cubicBezTo>
                  <a:pt x="1261" y="393"/>
                  <a:pt x="1261" y="393"/>
                  <a:pt x="1261" y="393"/>
                </a:cubicBezTo>
                <a:cubicBezTo>
                  <a:pt x="1261" y="393"/>
                  <a:pt x="1261" y="393"/>
                  <a:pt x="1261" y="393"/>
                </a:cubicBezTo>
                <a:cubicBezTo>
                  <a:pt x="1261" y="393"/>
                  <a:pt x="1261" y="393"/>
                  <a:pt x="1261" y="393"/>
                </a:cubicBezTo>
                <a:cubicBezTo>
                  <a:pt x="1260" y="393"/>
                  <a:pt x="1259" y="393"/>
                  <a:pt x="1258" y="393"/>
                </a:cubicBezTo>
                <a:cubicBezTo>
                  <a:pt x="1258" y="393"/>
                  <a:pt x="1257" y="393"/>
                  <a:pt x="1257" y="393"/>
                </a:cubicBezTo>
                <a:cubicBezTo>
                  <a:pt x="1257" y="393"/>
                  <a:pt x="1256" y="393"/>
                  <a:pt x="1256" y="393"/>
                </a:cubicBezTo>
                <a:cubicBezTo>
                  <a:pt x="1255" y="393"/>
                  <a:pt x="1254" y="392"/>
                  <a:pt x="1253" y="392"/>
                </a:cubicBezTo>
                <a:cubicBezTo>
                  <a:pt x="1253" y="391"/>
                  <a:pt x="1252" y="391"/>
                  <a:pt x="1252" y="390"/>
                </a:cubicBezTo>
                <a:cubicBezTo>
                  <a:pt x="1251" y="390"/>
                  <a:pt x="1251" y="390"/>
                  <a:pt x="1251" y="390"/>
                </a:cubicBezTo>
                <a:cubicBezTo>
                  <a:pt x="1251" y="390"/>
                  <a:pt x="1251" y="390"/>
                  <a:pt x="1251" y="389"/>
                </a:cubicBezTo>
                <a:cubicBezTo>
                  <a:pt x="1252" y="389"/>
                  <a:pt x="1252" y="389"/>
                  <a:pt x="1252" y="389"/>
                </a:cubicBezTo>
                <a:cubicBezTo>
                  <a:pt x="1253" y="389"/>
                  <a:pt x="1253" y="388"/>
                  <a:pt x="1254" y="388"/>
                </a:cubicBezTo>
                <a:cubicBezTo>
                  <a:pt x="1253" y="388"/>
                  <a:pt x="1253" y="388"/>
                  <a:pt x="1252" y="388"/>
                </a:cubicBezTo>
                <a:cubicBezTo>
                  <a:pt x="1252" y="388"/>
                  <a:pt x="1251" y="389"/>
                  <a:pt x="1251" y="389"/>
                </a:cubicBezTo>
                <a:cubicBezTo>
                  <a:pt x="1250" y="389"/>
                  <a:pt x="1250" y="389"/>
                  <a:pt x="1250" y="389"/>
                </a:cubicBezTo>
                <a:cubicBezTo>
                  <a:pt x="1250" y="389"/>
                  <a:pt x="1250" y="389"/>
                  <a:pt x="1250" y="388"/>
                </a:cubicBezTo>
                <a:cubicBezTo>
                  <a:pt x="1249" y="388"/>
                  <a:pt x="1249" y="388"/>
                  <a:pt x="1248" y="388"/>
                </a:cubicBezTo>
                <a:cubicBezTo>
                  <a:pt x="1248" y="387"/>
                  <a:pt x="1247" y="387"/>
                  <a:pt x="1247" y="387"/>
                </a:cubicBezTo>
                <a:cubicBezTo>
                  <a:pt x="1247" y="387"/>
                  <a:pt x="1246" y="387"/>
                  <a:pt x="1246" y="387"/>
                </a:cubicBezTo>
                <a:cubicBezTo>
                  <a:pt x="1246" y="387"/>
                  <a:pt x="1246" y="387"/>
                  <a:pt x="1246" y="386"/>
                </a:cubicBezTo>
                <a:cubicBezTo>
                  <a:pt x="1246" y="386"/>
                  <a:pt x="1245" y="386"/>
                  <a:pt x="1245" y="386"/>
                </a:cubicBezTo>
                <a:cubicBezTo>
                  <a:pt x="1245" y="386"/>
                  <a:pt x="1245" y="386"/>
                  <a:pt x="1245" y="386"/>
                </a:cubicBezTo>
                <a:cubicBezTo>
                  <a:pt x="1245" y="386"/>
                  <a:pt x="1245" y="386"/>
                  <a:pt x="1245" y="386"/>
                </a:cubicBezTo>
                <a:cubicBezTo>
                  <a:pt x="1245" y="386"/>
                  <a:pt x="1245" y="386"/>
                  <a:pt x="1246" y="386"/>
                </a:cubicBezTo>
                <a:cubicBezTo>
                  <a:pt x="1245" y="385"/>
                  <a:pt x="1245" y="385"/>
                  <a:pt x="1245" y="385"/>
                </a:cubicBezTo>
                <a:cubicBezTo>
                  <a:pt x="1245" y="385"/>
                  <a:pt x="1245" y="384"/>
                  <a:pt x="1245" y="384"/>
                </a:cubicBezTo>
                <a:cubicBezTo>
                  <a:pt x="1245" y="384"/>
                  <a:pt x="1245" y="383"/>
                  <a:pt x="1244" y="383"/>
                </a:cubicBezTo>
                <a:cubicBezTo>
                  <a:pt x="1244" y="383"/>
                  <a:pt x="1244" y="382"/>
                  <a:pt x="1245" y="382"/>
                </a:cubicBezTo>
                <a:cubicBezTo>
                  <a:pt x="1244" y="382"/>
                  <a:pt x="1243" y="382"/>
                  <a:pt x="1243" y="382"/>
                </a:cubicBezTo>
                <a:cubicBezTo>
                  <a:pt x="1243" y="382"/>
                  <a:pt x="1242" y="382"/>
                  <a:pt x="1242" y="382"/>
                </a:cubicBezTo>
                <a:cubicBezTo>
                  <a:pt x="1242" y="382"/>
                  <a:pt x="1242" y="382"/>
                  <a:pt x="1242" y="382"/>
                </a:cubicBezTo>
                <a:cubicBezTo>
                  <a:pt x="1242" y="382"/>
                  <a:pt x="1242" y="382"/>
                  <a:pt x="1242" y="382"/>
                </a:cubicBezTo>
                <a:cubicBezTo>
                  <a:pt x="1242" y="382"/>
                  <a:pt x="1242" y="382"/>
                  <a:pt x="1242" y="382"/>
                </a:cubicBezTo>
                <a:cubicBezTo>
                  <a:pt x="1242" y="382"/>
                  <a:pt x="1242" y="381"/>
                  <a:pt x="1243" y="381"/>
                </a:cubicBezTo>
                <a:cubicBezTo>
                  <a:pt x="1242" y="381"/>
                  <a:pt x="1242" y="381"/>
                  <a:pt x="1242" y="380"/>
                </a:cubicBezTo>
                <a:cubicBezTo>
                  <a:pt x="1242" y="380"/>
                  <a:pt x="1242" y="380"/>
                  <a:pt x="1241" y="380"/>
                </a:cubicBezTo>
                <a:cubicBezTo>
                  <a:pt x="1241" y="379"/>
                  <a:pt x="1240" y="379"/>
                  <a:pt x="1240" y="379"/>
                </a:cubicBezTo>
                <a:cubicBezTo>
                  <a:pt x="1239" y="379"/>
                  <a:pt x="1239" y="379"/>
                  <a:pt x="1239" y="379"/>
                </a:cubicBezTo>
                <a:cubicBezTo>
                  <a:pt x="1238" y="379"/>
                  <a:pt x="1238" y="379"/>
                  <a:pt x="1237" y="379"/>
                </a:cubicBezTo>
                <a:cubicBezTo>
                  <a:pt x="1237" y="379"/>
                  <a:pt x="1237" y="379"/>
                  <a:pt x="1237" y="379"/>
                </a:cubicBezTo>
                <a:cubicBezTo>
                  <a:pt x="1237" y="379"/>
                  <a:pt x="1237" y="379"/>
                  <a:pt x="1237" y="379"/>
                </a:cubicBezTo>
                <a:cubicBezTo>
                  <a:pt x="1236" y="379"/>
                  <a:pt x="1236" y="379"/>
                  <a:pt x="1236" y="379"/>
                </a:cubicBezTo>
                <a:cubicBezTo>
                  <a:pt x="1235" y="379"/>
                  <a:pt x="1235" y="379"/>
                  <a:pt x="1235" y="379"/>
                </a:cubicBezTo>
                <a:cubicBezTo>
                  <a:pt x="1235" y="379"/>
                  <a:pt x="1234" y="379"/>
                  <a:pt x="1234" y="379"/>
                </a:cubicBezTo>
                <a:cubicBezTo>
                  <a:pt x="1234" y="379"/>
                  <a:pt x="1233" y="379"/>
                  <a:pt x="1233" y="379"/>
                </a:cubicBezTo>
                <a:cubicBezTo>
                  <a:pt x="1232" y="379"/>
                  <a:pt x="1232" y="379"/>
                  <a:pt x="1231" y="379"/>
                </a:cubicBezTo>
                <a:cubicBezTo>
                  <a:pt x="1231" y="379"/>
                  <a:pt x="1231" y="379"/>
                  <a:pt x="1231" y="379"/>
                </a:cubicBezTo>
                <a:cubicBezTo>
                  <a:pt x="1230" y="379"/>
                  <a:pt x="1230" y="379"/>
                  <a:pt x="1230" y="379"/>
                </a:cubicBezTo>
                <a:cubicBezTo>
                  <a:pt x="1230" y="379"/>
                  <a:pt x="1229" y="378"/>
                  <a:pt x="1229" y="378"/>
                </a:cubicBezTo>
                <a:cubicBezTo>
                  <a:pt x="1229" y="378"/>
                  <a:pt x="1229" y="378"/>
                  <a:pt x="1229" y="378"/>
                </a:cubicBezTo>
                <a:cubicBezTo>
                  <a:pt x="1229" y="378"/>
                  <a:pt x="1229" y="378"/>
                  <a:pt x="1228" y="378"/>
                </a:cubicBezTo>
                <a:cubicBezTo>
                  <a:pt x="1228" y="378"/>
                  <a:pt x="1228" y="378"/>
                  <a:pt x="1228" y="378"/>
                </a:cubicBezTo>
                <a:cubicBezTo>
                  <a:pt x="1228" y="378"/>
                  <a:pt x="1228" y="378"/>
                  <a:pt x="1228" y="378"/>
                </a:cubicBezTo>
                <a:cubicBezTo>
                  <a:pt x="1227" y="378"/>
                  <a:pt x="1227" y="378"/>
                  <a:pt x="1227" y="377"/>
                </a:cubicBezTo>
                <a:cubicBezTo>
                  <a:pt x="1226" y="377"/>
                  <a:pt x="1226" y="378"/>
                  <a:pt x="1226" y="378"/>
                </a:cubicBezTo>
                <a:cubicBezTo>
                  <a:pt x="1226" y="378"/>
                  <a:pt x="1226" y="378"/>
                  <a:pt x="1226" y="378"/>
                </a:cubicBezTo>
                <a:cubicBezTo>
                  <a:pt x="1226" y="378"/>
                  <a:pt x="1226" y="378"/>
                  <a:pt x="1225" y="378"/>
                </a:cubicBezTo>
                <a:cubicBezTo>
                  <a:pt x="1225" y="378"/>
                  <a:pt x="1225" y="378"/>
                  <a:pt x="1225" y="378"/>
                </a:cubicBezTo>
                <a:cubicBezTo>
                  <a:pt x="1225" y="378"/>
                  <a:pt x="1224" y="378"/>
                  <a:pt x="1224" y="378"/>
                </a:cubicBezTo>
                <a:cubicBezTo>
                  <a:pt x="1224" y="378"/>
                  <a:pt x="1224" y="378"/>
                  <a:pt x="1223" y="378"/>
                </a:cubicBezTo>
                <a:cubicBezTo>
                  <a:pt x="1223" y="378"/>
                  <a:pt x="1223" y="377"/>
                  <a:pt x="1222" y="377"/>
                </a:cubicBezTo>
                <a:cubicBezTo>
                  <a:pt x="1222" y="377"/>
                  <a:pt x="1222" y="378"/>
                  <a:pt x="1222" y="378"/>
                </a:cubicBezTo>
                <a:cubicBezTo>
                  <a:pt x="1221" y="378"/>
                  <a:pt x="1221" y="378"/>
                  <a:pt x="1221" y="378"/>
                </a:cubicBezTo>
                <a:cubicBezTo>
                  <a:pt x="1221" y="378"/>
                  <a:pt x="1221" y="378"/>
                  <a:pt x="1221" y="377"/>
                </a:cubicBezTo>
                <a:cubicBezTo>
                  <a:pt x="1221" y="377"/>
                  <a:pt x="1220" y="377"/>
                  <a:pt x="1220" y="377"/>
                </a:cubicBezTo>
                <a:cubicBezTo>
                  <a:pt x="1219" y="377"/>
                  <a:pt x="1219" y="378"/>
                  <a:pt x="1218" y="378"/>
                </a:cubicBezTo>
                <a:cubicBezTo>
                  <a:pt x="1218" y="378"/>
                  <a:pt x="1218" y="378"/>
                  <a:pt x="1218" y="377"/>
                </a:cubicBezTo>
                <a:cubicBezTo>
                  <a:pt x="1218" y="377"/>
                  <a:pt x="1218" y="377"/>
                  <a:pt x="1218" y="377"/>
                </a:cubicBezTo>
                <a:cubicBezTo>
                  <a:pt x="1218" y="377"/>
                  <a:pt x="1218" y="377"/>
                  <a:pt x="1217" y="377"/>
                </a:cubicBezTo>
                <a:cubicBezTo>
                  <a:pt x="1217" y="377"/>
                  <a:pt x="1217" y="377"/>
                  <a:pt x="1217" y="377"/>
                </a:cubicBezTo>
                <a:cubicBezTo>
                  <a:pt x="1217" y="377"/>
                  <a:pt x="1217" y="377"/>
                  <a:pt x="1217" y="377"/>
                </a:cubicBezTo>
                <a:cubicBezTo>
                  <a:pt x="1217" y="377"/>
                  <a:pt x="1216" y="377"/>
                  <a:pt x="1216" y="377"/>
                </a:cubicBezTo>
                <a:cubicBezTo>
                  <a:pt x="1215" y="377"/>
                  <a:pt x="1215" y="377"/>
                  <a:pt x="1214" y="377"/>
                </a:cubicBezTo>
                <a:cubicBezTo>
                  <a:pt x="1214" y="376"/>
                  <a:pt x="1214" y="376"/>
                  <a:pt x="1213" y="376"/>
                </a:cubicBezTo>
                <a:cubicBezTo>
                  <a:pt x="1213" y="376"/>
                  <a:pt x="1213" y="376"/>
                  <a:pt x="1213" y="375"/>
                </a:cubicBezTo>
                <a:cubicBezTo>
                  <a:pt x="1213" y="375"/>
                  <a:pt x="1212" y="375"/>
                  <a:pt x="1212" y="375"/>
                </a:cubicBezTo>
                <a:cubicBezTo>
                  <a:pt x="1212" y="375"/>
                  <a:pt x="1212" y="376"/>
                  <a:pt x="1212" y="376"/>
                </a:cubicBezTo>
                <a:cubicBezTo>
                  <a:pt x="1212" y="376"/>
                  <a:pt x="1212" y="376"/>
                  <a:pt x="1211" y="376"/>
                </a:cubicBezTo>
                <a:cubicBezTo>
                  <a:pt x="1211" y="376"/>
                  <a:pt x="1211" y="375"/>
                  <a:pt x="1211" y="375"/>
                </a:cubicBezTo>
                <a:cubicBezTo>
                  <a:pt x="1211" y="375"/>
                  <a:pt x="1210" y="375"/>
                  <a:pt x="1210" y="375"/>
                </a:cubicBezTo>
                <a:cubicBezTo>
                  <a:pt x="1210" y="375"/>
                  <a:pt x="1210" y="375"/>
                  <a:pt x="1209" y="375"/>
                </a:cubicBezTo>
                <a:cubicBezTo>
                  <a:pt x="1209" y="375"/>
                  <a:pt x="1208" y="375"/>
                  <a:pt x="1207" y="375"/>
                </a:cubicBezTo>
                <a:cubicBezTo>
                  <a:pt x="1207" y="374"/>
                  <a:pt x="1206" y="374"/>
                  <a:pt x="1206" y="374"/>
                </a:cubicBezTo>
                <a:cubicBezTo>
                  <a:pt x="1205" y="374"/>
                  <a:pt x="1204" y="374"/>
                  <a:pt x="1203" y="374"/>
                </a:cubicBezTo>
                <a:cubicBezTo>
                  <a:pt x="1203" y="373"/>
                  <a:pt x="1202" y="373"/>
                  <a:pt x="1202" y="372"/>
                </a:cubicBezTo>
                <a:cubicBezTo>
                  <a:pt x="1202" y="372"/>
                  <a:pt x="1201" y="372"/>
                  <a:pt x="1201" y="372"/>
                </a:cubicBezTo>
                <a:cubicBezTo>
                  <a:pt x="1201" y="373"/>
                  <a:pt x="1200" y="373"/>
                  <a:pt x="1200" y="373"/>
                </a:cubicBezTo>
                <a:cubicBezTo>
                  <a:pt x="1200" y="373"/>
                  <a:pt x="1199" y="372"/>
                  <a:pt x="1199" y="372"/>
                </a:cubicBezTo>
                <a:cubicBezTo>
                  <a:pt x="1199" y="372"/>
                  <a:pt x="1198" y="372"/>
                  <a:pt x="1198" y="372"/>
                </a:cubicBezTo>
                <a:cubicBezTo>
                  <a:pt x="1197" y="372"/>
                  <a:pt x="1196" y="372"/>
                  <a:pt x="1195" y="372"/>
                </a:cubicBezTo>
                <a:cubicBezTo>
                  <a:pt x="1195" y="372"/>
                  <a:pt x="1195" y="371"/>
                  <a:pt x="1195" y="371"/>
                </a:cubicBezTo>
                <a:cubicBezTo>
                  <a:pt x="1195" y="371"/>
                  <a:pt x="1195" y="371"/>
                  <a:pt x="1195" y="371"/>
                </a:cubicBezTo>
                <a:cubicBezTo>
                  <a:pt x="1195" y="371"/>
                  <a:pt x="1195" y="370"/>
                  <a:pt x="1195" y="370"/>
                </a:cubicBezTo>
                <a:cubicBezTo>
                  <a:pt x="1194" y="369"/>
                  <a:pt x="1194" y="369"/>
                  <a:pt x="1194" y="368"/>
                </a:cubicBezTo>
                <a:cubicBezTo>
                  <a:pt x="1194" y="368"/>
                  <a:pt x="1194" y="368"/>
                  <a:pt x="1194" y="367"/>
                </a:cubicBezTo>
                <a:cubicBezTo>
                  <a:pt x="1193" y="367"/>
                  <a:pt x="1193" y="366"/>
                  <a:pt x="1193" y="366"/>
                </a:cubicBezTo>
                <a:cubicBezTo>
                  <a:pt x="1193" y="366"/>
                  <a:pt x="1193" y="366"/>
                  <a:pt x="1193" y="366"/>
                </a:cubicBezTo>
                <a:cubicBezTo>
                  <a:pt x="1193" y="366"/>
                  <a:pt x="1192" y="366"/>
                  <a:pt x="1192" y="366"/>
                </a:cubicBezTo>
                <a:cubicBezTo>
                  <a:pt x="1192" y="365"/>
                  <a:pt x="1192" y="365"/>
                  <a:pt x="1192" y="365"/>
                </a:cubicBezTo>
                <a:cubicBezTo>
                  <a:pt x="1192" y="365"/>
                  <a:pt x="1191" y="365"/>
                  <a:pt x="1191" y="365"/>
                </a:cubicBezTo>
                <a:cubicBezTo>
                  <a:pt x="1190" y="365"/>
                  <a:pt x="1190" y="365"/>
                  <a:pt x="1189" y="365"/>
                </a:cubicBezTo>
                <a:cubicBezTo>
                  <a:pt x="1189" y="365"/>
                  <a:pt x="1188" y="365"/>
                  <a:pt x="1188" y="365"/>
                </a:cubicBezTo>
                <a:cubicBezTo>
                  <a:pt x="1188" y="365"/>
                  <a:pt x="1187" y="365"/>
                  <a:pt x="1187" y="365"/>
                </a:cubicBezTo>
                <a:cubicBezTo>
                  <a:pt x="1187" y="365"/>
                  <a:pt x="1187" y="365"/>
                  <a:pt x="1187" y="365"/>
                </a:cubicBezTo>
                <a:cubicBezTo>
                  <a:pt x="1187" y="365"/>
                  <a:pt x="1187" y="365"/>
                  <a:pt x="1187" y="365"/>
                </a:cubicBezTo>
                <a:cubicBezTo>
                  <a:pt x="1186" y="366"/>
                  <a:pt x="1185" y="366"/>
                  <a:pt x="1185" y="366"/>
                </a:cubicBezTo>
                <a:cubicBezTo>
                  <a:pt x="1184" y="366"/>
                  <a:pt x="1183" y="367"/>
                  <a:pt x="1183" y="367"/>
                </a:cubicBezTo>
                <a:cubicBezTo>
                  <a:pt x="1182" y="366"/>
                  <a:pt x="1181" y="366"/>
                  <a:pt x="1181" y="366"/>
                </a:cubicBezTo>
                <a:cubicBezTo>
                  <a:pt x="1180" y="365"/>
                  <a:pt x="1180" y="365"/>
                  <a:pt x="1179" y="365"/>
                </a:cubicBezTo>
                <a:cubicBezTo>
                  <a:pt x="1179" y="365"/>
                  <a:pt x="1178" y="365"/>
                  <a:pt x="1178" y="365"/>
                </a:cubicBezTo>
                <a:cubicBezTo>
                  <a:pt x="1178" y="365"/>
                  <a:pt x="1177" y="365"/>
                  <a:pt x="1177" y="365"/>
                </a:cubicBezTo>
                <a:cubicBezTo>
                  <a:pt x="1177" y="365"/>
                  <a:pt x="1176" y="364"/>
                  <a:pt x="1176" y="364"/>
                </a:cubicBezTo>
                <a:cubicBezTo>
                  <a:pt x="1175" y="364"/>
                  <a:pt x="1175" y="364"/>
                  <a:pt x="1175" y="364"/>
                </a:cubicBezTo>
                <a:cubicBezTo>
                  <a:pt x="1175" y="363"/>
                  <a:pt x="1174" y="363"/>
                  <a:pt x="1174" y="363"/>
                </a:cubicBezTo>
                <a:cubicBezTo>
                  <a:pt x="1174" y="363"/>
                  <a:pt x="1173" y="363"/>
                  <a:pt x="1173" y="363"/>
                </a:cubicBezTo>
                <a:cubicBezTo>
                  <a:pt x="1172" y="362"/>
                  <a:pt x="1172" y="362"/>
                  <a:pt x="1171" y="361"/>
                </a:cubicBezTo>
                <a:cubicBezTo>
                  <a:pt x="1172" y="361"/>
                  <a:pt x="1172" y="361"/>
                  <a:pt x="1172" y="361"/>
                </a:cubicBezTo>
                <a:cubicBezTo>
                  <a:pt x="1172" y="361"/>
                  <a:pt x="1172" y="361"/>
                  <a:pt x="1172" y="361"/>
                </a:cubicBezTo>
                <a:cubicBezTo>
                  <a:pt x="1172" y="361"/>
                  <a:pt x="1171" y="361"/>
                  <a:pt x="1171" y="361"/>
                </a:cubicBezTo>
                <a:cubicBezTo>
                  <a:pt x="1171" y="360"/>
                  <a:pt x="1171" y="360"/>
                  <a:pt x="1171" y="360"/>
                </a:cubicBezTo>
                <a:cubicBezTo>
                  <a:pt x="1170" y="360"/>
                  <a:pt x="1170" y="360"/>
                  <a:pt x="1169" y="360"/>
                </a:cubicBezTo>
                <a:cubicBezTo>
                  <a:pt x="1169" y="360"/>
                  <a:pt x="1169" y="360"/>
                  <a:pt x="1169" y="360"/>
                </a:cubicBezTo>
                <a:cubicBezTo>
                  <a:pt x="1168" y="359"/>
                  <a:pt x="1168" y="359"/>
                  <a:pt x="1167" y="359"/>
                </a:cubicBezTo>
                <a:cubicBezTo>
                  <a:pt x="1167" y="359"/>
                  <a:pt x="1166" y="359"/>
                  <a:pt x="1166" y="359"/>
                </a:cubicBezTo>
                <a:cubicBezTo>
                  <a:pt x="1165" y="359"/>
                  <a:pt x="1165" y="359"/>
                  <a:pt x="1165" y="358"/>
                </a:cubicBezTo>
                <a:cubicBezTo>
                  <a:pt x="1164" y="357"/>
                  <a:pt x="1164" y="357"/>
                  <a:pt x="1163" y="356"/>
                </a:cubicBezTo>
                <a:cubicBezTo>
                  <a:pt x="1163" y="356"/>
                  <a:pt x="1163" y="355"/>
                  <a:pt x="1163" y="355"/>
                </a:cubicBezTo>
                <a:cubicBezTo>
                  <a:pt x="1163" y="355"/>
                  <a:pt x="1163" y="355"/>
                  <a:pt x="1163" y="355"/>
                </a:cubicBezTo>
                <a:cubicBezTo>
                  <a:pt x="1163" y="355"/>
                  <a:pt x="1162" y="355"/>
                  <a:pt x="1162" y="354"/>
                </a:cubicBezTo>
                <a:cubicBezTo>
                  <a:pt x="1162" y="354"/>
                  <a:pt x="1162" y="354"/>
                  <a:pt x="1162" y="354"/>
                </a:cubicBezTo>
                <a:cubicBezTo>
                  <a:pt x="1162" y="354"/>
                  <a:pt x="1162" y="354"/>
                  <a:pt x="1163" y="355"/>
                </a:cubicBezTo>
                <a:cubicBezTo>
                  <a:pt x="1163" y="355"/>
                  <a:pt x="1163" y="355"/>
                  <a:pt x="1163" y="355"/>
                </a:cubicBezTo>
                <a:cubicBezTo>
                  <a:pt x="1163" y="354"/>
                  <a:pt x="1163" y="354"/>
                  <a:pt x="1162" y="354"/>
                </a:cubicBezTo>
                <a:cubicBezTo>
                  <a:pt x="1162" y="354"/>
                  <a:pt x="1162" y="354"/>
                  <a:pt x="1162" y="354"/>
                </a:cubicBezTo>
                <a:cubicBezTo>
                  <a:pt x="1161" y="354"/>
                  <a:pt x="1161" y="354"/>
                  <a:pt x="1161" y="354"/>
                </a:cubicBezTo>
                <a:cubicBezTo>
                  <a:pt x="1161" y="353"/>
                  <a:pt x="1161" y="353"/>
                  <a:pt x="1161" y="352"/>
                </a:cubicBezTo>
                <a:cubicBezTo>
                  <a:pt x="1161" y="352"/>
                  <a:pt x="1160" y="351"/>
                  <a:pt x="1159" y="351"/>
                </a:cubicBezTo>
                <a:cubicBezTo>
                  <a:pt x="1159" y="350"/>
                  <a:pt x="1159" y="350"/>
                  <a:pt x="1159" y="350"/>
                </a:cubicBezTo>
                <a:cubicBezTo>
                  <a:pt x="1159" y="349"/>
                  <a:pt x="1159" y="349"/>
                  <a:pt x="1159" y="349"/>
                </a:cubicBezTo>
                <a:cubicBezTo>
                  <a:pt x="1158" y="349"/>
                  <a:pt x="1158" y="348"/>
                  <a:pt x="1158" y="348"/>
                </a:cubicBezTo>
                <a:cubicBezTo>
                  <a:pt x="1157" y="349"/>
                  <a:pt x="1157" y="349"/>
                  <a:pt x="1156" y="349"/>
                </a:cubicBezTo>
                <a:cubicBezTo>
                  <a:pt x="1156" y="349"/>
                  <a:pt x="1156" y="349"/>
                  <a:pt x="1156" y="349"/>
                </a:cubicBezTo>
                <a:cubicBezTo>
                  <a:pt x="1156" y="349"/>
                  <a:pt x="1155" y="349"/>
                  <a:pt x="1155" y="348"/>
                </a:cubicBezTo>
                <a:cubicBezTo>
                  <a:pt x="1155" y="348"/>
                  <a:pt x="1155" y="348"/>
                  <a:pt x="1155" y="348"/>
                </a:cubicBezTo>
                <a:cubicBezTo>
                  <a:pt x="1154" y="348"/>
                  <a:pt x="1154" y="348"/>
                  <a:pt x="1154" y="348"/>
                </a:cubicBezTo>
                <a:cubicBezTo>
                  <a:pt x="1154" y="348"/>
                  <a:pt x="1154" y="348"/>
                  <a:pt x="1154" y="347"/>
                </a:cubicBezTo>
                <a:cubicBezTo>
                  <a:pt x="1154" y="347"/>
                  <a:pt x="1154" y="347"/>
                  <a:pt x="1154" y="347"/>
                </a:cubicBezTo>
                <a:cubicBezTo>
                  <a:pt x="1154" y="347"/>
                  <a:pt x="1154" y="347"/>
                  <a:pt x="1154" y="347"/>
                </a:cubicBezTo>
                <a:cubicBezTo>
                  <a:pt x="1154" y="347"/>
                  <a:pt x="1153" y="347"/>
                  <a:pt x="1153" y="347"/>
                </a:cubicBezTo>
                <a:cubicBezTo>
                  <a:pt x="1153" y="347"/>
                  <a:pt x="1153" y="347"/>
                  <a:pt x="1153" y="347"/>
                </a:cubicBezTo>
                <a:cubicBezTo>
                  <a:pt x="1153" y="347"/>
                  <a:pt x="1153" y="347"/>
                  <a:pt x="1153" y="348"/>
                </a:cubicBezTo>
                <a:cubicBezTo>
                  <a:pt x="1153" y="348"/>
                  <a:pt x="1153" y="348"/>
                  <a:pt x="1153" y="348"/>
                </a:cubicBezTo>
                <a:cubicBezTo>
                  <a:pt x="1153" y="348"/>
                  <a:pt x="1153" y="349"/>
                  <a:pt x="1152" y="349"/>
                </a:cubicBezTo>
                <a:cubicBezTo>
                  <a:pt x="1152" y="349"/>
                  <a:pt x="1152" y="349"/>
                  <a:pt x="1152" y="349"/>
                </a:cubicBezTo>
                <a:cubicBezTo>
                  <a:pt x="1152" y="348"/>
                  <a:pt x="1151" y="348"/>
                  <a:pt x="1151" y="348"/>
                </a:cubicBezTo>
                <a:cubicBezTo>
                  <a:pt x="1151" y="348"/>
                  <a:pt x="1151" y="348"/>
                  <a:pt x="1151" y="348"/>
                </a:cubicBezTo>
                <a:cubicBezTo>
                  <a:pt x="1151" y="348"/>
                  <a:pt x="1151" y="348"/>
                  <a:pt x="1151" y="348"/>
                </a:cubicBezTo>
                <a:cubicBezTo>
                  <a:pt x="1151" y="348"/>
                  <a:pt x="1150" y="348"/>
                  <a:pt x="1150" y="348"/>
                </a:cubicBezTo>
                <a:cubicBezTo>
                  <a:pt x="1150" y="348"/>
                  <a:pt x="1150" y="348"/>
                  <a:pt x="1150" y="349"/>
                </a:cubicBezTo>
                <a:cubicBezTo>
                  <a:pt x="1149" y="349"/>
                  <a:pt x="1149" y="349"/>
                  <a:pt x="1149" y="349"/>
                </a:cubicBezTo>
                <a:cubicBezTo>
                  <a:pt x="1149" y="349"/>
                  <a:pt x="1150" y="350"/>
                  <a:pt x="1150" y="350"/>
                </a:cubicBezTo>
                <a:cubicBezTo>
                  <a:pt x="1149" y="350"/>
                  <a:pt x="1148" y="350"/>
                  <a:pt x="1147" y="350"/>
                </a:cubicBezTo>
                <a:cubicBezTo>
                  <a:pt x="1147" y="351"/>
                  <a:pt x="1148" y="351"/>
                  <a:pt x="1149" y="352"/>
                </a:cubicBezTo>
                <a:cubicBezTo>
                  <a:pt x="1149" y="352"/>
                  <a:pt x="1149" y="351"/>
                  <a:pt x="1149" y="351"/>
                </a:cubicBezTo>
                <a:cubicBezTo>
                  <a:pt x="1149" y="352"/>
                  <a:pt x="1149" y="352"/>
                  <a:pt x="1149" y="352"/>
                </a:cubicBezTo>
                <a:cubicBezTo>
                  <a:pt x="1149" y="352"/>
                  <a:pt x="1149" y="352"/>
                  <a:pt x="1149" y="353"/>
                </a:cubicBezTo>
                <a:cubicBezTo>
                  <a:pt x="1149" y="353"/>
                  <a:pt x="1149" y="353"/>
                  <a:pt x="1150" y="353"/>
                </a:cubicBezTo>
                <a:cubicBezTo>
                  <a:pt x="1150" y="353"/>
                  <a:pt x="1149" y="353"/>
                  <a:pt x="1149" y="353"/>
                </a:cubicBezTo>
                <a:cubicBezTo>
                  <a:pt x="1149" y="353"/>
                  <a:pt x="1149" y="353"/>
                  <a:pt x="1149" y="353"/>
                </a:cubicBezTo>
                <a:cubicBezTo>
                  <a:pt x="1149" y="353"/>
                  <a:pt x="1150" y="353"/>
                  <a:pt x="1150" y="354"/>
                </a:cubicBezTo>
                <a:cubicBezTo>
                  <a:pt x="1150" y="354"/>
                  <a:pt x="1150" y="354"/>
                  <a:pt x="1150" y="354"/>
                </a:cubicBezTo>
                <a:cubicBezTo>
                  <a:pt x="1150" y="354"/>
                  <a:pt x="1150" y="354"/>
                  <a:pt x="1150" y="354"/>
                </a:cubicBezTo>
                <a:cubicBezTo>
                  <a:pt x="1150" y="354"/>
                  <a:pt x="1150" y="354"/>
                  <a:pt x="1150" y="355"/>
                </a:cubicBezTo>
                <a:cubicBezTo>
                  <a:pt x="1151" y="355"/>
                  <a:pt x="1151" y="355"/>
                  <a:pt x="1151" y="355"/>
                </a:cubicBezTo>
                <a:cubicBezTo>
                  <a:pt x="1151" y="355"/>
                  <a:pt x="1151" y="356"/>
                  <a:pt x="1151" y="356"/>
                </a:cubicBezTo>
                <a:cubicBezTo>
                  <a:pt x="1152" y="357"/>
                  <a:pt x="1152" y="357"/>
                  <a:pt x="1152" y="358"/>
                </a:cubicBezTo>
                <a:cubicBezTo>
                  <a:pt x="1153" y="358"/>
                  <a:pt x="1153" y="358"/>
                  <a:pt x="1154" y="358"/>
                </a:cubicBezTo>
                <a:cubicBezTo>
                  <a:pt x="1154" y="358"/>
                  <a:pt x="1154" y="358"/>
                  <a:pt x="1155" y="359"/>
                </a:cubicBezTo>
                <a:cubicBezTo>
                  <a:pt x="1155" y="359"/>
                  <a:pt x="1155" y="359"/>
                  <a:pt x="1155" y="359"/>
                </a:cubicBezTo>
                <a:cubicBezTo>
                  <a:pt x="1155" y="359"/>
                  <a:pt x="1155" y="359"/>
                  <a:pt x="1155" y="359"/>
                </a:cubicBezTo>
                <a:cubicBezTo>
                  <a:pt x="1155" y="359"/>
                  <a:pt x="1154" y="359"/>
                  <a:pt x="1154" y="359"/>
                </a:cubicBezTo>
                <a:cubicBezTo>
                  <a:pt x="1154" y="359"/>
                  <a:pt x="1154" y="359"/>
                  <a:pt x="1154" y="359"/>
                </a:cubicBezTo>
                <a:cubicBezTo>
                  <a:pt x="1154" y="359"/>
                  <a:pt x="1155" y="360"/>
                  <a:pt x="1155" y="360"/>
                </a:cubicBezTo>
                <a:cubicBezTo>
                  <a:pt x="1155" y="360"/>
                  <a:pt x="1155" y="360"/>
                  <a:pt x="1156" y="360"/>
                </a:cubicBezTo>
                <a:cubicBezTo>
                  <a:pt x="1156" y="360"/>
                  <a:pt x="1156" y="361"/>
                  <a:pt x="1157" y="362"/>
                </a:cubicBezTo>
                <a:cubicBezTo>
                  <a:pt x="1157" y="362"/>
                  <a:pt x="1157" y="362"/>
                  <a:pt x="1157" y="362"/>
                </a:cubicBezTo>
                <a:cubicBezTo>
                  <a:pt x="1158" y="362"/>
                  <a:pt x="1158" y="362"/>
                  <a:pt x="1158" y="363"/>
                </a:cubicBezTo>
                <a:cubicBezTo>
                  <a:pt x="1158" y="363"/>
                  <a:pt x="1158" y="363"/>
                  <a:pt x="1158" y="363"/>
                </a:cubicBezTo>
                <a:cubicBezTo>
                  <a:pt x="1158" y="364"/>
                  <a:pt x="1158" y="364"/>
                  <a:pt x="1159" y="365"/>
                </a:cubicBezTo>
                <a:cubicBezTo>
                  <a:pt x="1159" y="365"/>
                  <a:pt x="1159" y="365"/>
                  <a:pt x="1159" y="365"/>
                </a:cubicBezTo>
                <a:cubicBezTo>
                  <a:pt x="1158" y="365"/>
                  <a:pt x="1158" y="365"/>
                  <a:pt x="1158" y="365"/>
                </a:cubicBezTo>
                <a:cubicBezTo>
                  <a:pt x="1158" y="365"/>
                  <a:pt x="1158" y="366"/>
                  <a:pt x="1159" y="366"/>
                </a:cubicBezTo>
                <a:cubicBezTo>
                  <a:pt x="1159" y="367"/>
                  <a:pt x="1160" y="368"/>
                  <a:pt x="1161" y="369"/>
                </a:cubicBezTo>
                <a:cubicBezTo>
                  <a:pt x="1161" y="369"/>
                  <a:pt x="1161" y="369"/>
                  <a:pt x="1161" y="370"/>
                </a:cubicBezTo>
                <a:cubicBezTo>
                  <a:pt x="1161" y="370"/>
                  <a:pt x="1161" y="370"/>
                  <a:pt x="1162" y="371"/>
                </a:cubicBezTo>
                <a:cubicBezTo>
                  <a:pt x="1162" y="371"/>
                  <a:pt x="1162" y="371"/>
                  <a:pt x="1162" y="371"/>
                </a:cubicBezTo>
                <a:cubicBezTo>
                  <a:pt x="1162" y="371"/>
                  <a:pt x="1162" y="371"/>
                  <a:pt x="1162" y="371"/>
                </a:cubicBezTo>
                <a:cubicBezTo>
                  <a:pt x="1162" y="370"/>
                  <a:pt x="1162" y="370"/>
                  <a:pt x="1162" y="370"/>
                </a:cubicBezTo>
                <a:cubicBezTo>
                  <a:pt x="1162" y="370"/>
                  <a:pt x="1162" y="370"/>
                  <a:pt x="1162" y="369"/>
                </a:cubicBezTo>
                <a:cubicBezTo>
                  <a:pt x="1162" y="369"/>
                  <a:pt x="1162" y="369"/>
                  <a:pt x="1162" y="369"/>
                </a:cubicBezTo>
                <a:cubicBezTo>
                  <a:pt x="1162" y="369"/>
                  <a:pt x="1162" y="368"/>
                  <a:pt x="1162" y="368"/>
                </a:cubicBezTo>
                <a:cubicBezTo>
                  <a:pt x="1162" y="368"/>
                  <a:pt x="1162" y="368"/>
                  <a:pt x="1163" y="368"/>
                </a:cubicBezTo>
                <a:cubicBezTo>
                  <a:pt x="1163" y="368"/>
                  <a:pt x="1163" y="368"/>
                  <a:pt x="1163" y="368"/>
                </a:cubicBezTo>
                <a:cubicBezTo>
                  <a:pt x="1163" y="368"/>
                  <a:pt x="1163" y="367"/>
                  <a:pt x="1163" y="367"/>
                </a:cubicBezTo>
                <a:cubicBezTo>
                  <a:pt x="1163" y="367"/>
                  <a:pt x="1163" y="367"/>
                  <a:pt x="1163" y="367"/>
                </a:cubicBezTo>
                <a:cubicBezTo>
                  <a:pt x="1163" y="367"/>
                  <a:pt x="1163" y="367"/>
                  <a:pt x="1163" y="366"/>
                </a:cubicBezTo>
                <a:cubicBezTo>
                  <a:pt x="1163" y="366"/>
                  <a:pt x="1163" y="366"/>
                  <a:pt x="1163" y="366"/>
                </a:cubicBezTo>
                <a:cubicBezTo>
                  <a:pt x="1163" y="366"/>
                  <a:pt x="1163" y="366"/>
                  <a:pt x="1163" y="366"/>
                </a:cubicBezTo>
                <a:cubicBezTo>
                  <a:pt x="1163" y="366"/>
                  <a:pt x="1164" y="366"/>
                  <a:pt x="1164" y="366"/>
                </a:cubicBezTo>
                <a:cubicBezTo>
                  <a:pt x="1164" y="366"/>
                  <a:pt x="1164" y="366"/>
                  <a:pt x="1164" y="366"/>
                </a:cubicBezTo>
                <a:cubicBezTo>
                  <a:pt x="1164" y="366"/>
                  <a:pt x="1164" y="366"/>
                  <a:pt x="1164" y="366"/>
                </a:cubicBezTo>
                <a:cubicBezTo>
                  <a:pt x="1165" y="366"/>
                  <a:pt x="1165" y="366"/>
                  <a:pt x="1165" y="366"/>
                </a:cubicBezTo>
                <a:cubicBezTo>
                  <a:pt x="1165" y="366"/>
                  <a:pt x="1165" y="366"/>
                  <a:pt x="1165" y="367"/>
                </a:cubicBezTo>
                <a:cubicBezTo>
                  <a:pt x="1165" y="367"/>
                  <a:pt x="1165" y="367"/>
                  <a:pt x="1166" y="367"/>
                </a:cubicBezTo>
                <a:cubicBezTo>
                  <a:pt x="1166" y="367"/>
                  <a:pt x="1166" y="367"/>
                  <a:pt x="1166" y="367"/>
                </a:cubicBezTo>
                <a:cubicBezTo>
                  <a:pt x="1166" y="367"/>
                  <a:pt x="1165" y="368"/>
                  <a:pt x="1165" y="368"/>
                </a:cubicBezTo>
                <a:cubicBezTo>
                  <a:pt x="1165" y="368"/>
                  <a:pt x="1165" y="368"/>
                  <a:pt x="1165" y="368"/>
                </a:cubicBezTo>
                <a:cubicBezTo>
                  <a:pt x="1165" y="368"/>
                  <a:pt x="1165" y="369"/>
                  <a:pt x="1165" y="369"/>
                </a:cubicBezTo>
                <a:cubicBezTo>
                  <a:pt x="1165" y="369"/>
                  <a:pt x="1165" y="369"/>
                  <a:pt x="1165" y="369"/>
                </a:cubicBezTo>
                <a:cubicBezTo>
                  <a:pt x="1165" y="370"/>
                  <a:pt x="1166" y="370"/>
                  <a:pt x="1166" y="370"/>
                </a:cubicBezTo>
                <a:cubicBezTo>
                  <a:pt x="1166" y="371"/>
                  <a:pt x="1165" y="371"/>
                  <a:pt x="1165" y="372"/>
                </a:cubicBezTo>
                <a:cubicBezTo>
                  <a:pt x="1165" y="372"/>
                  <a:pt x="1165" y="372"/>
                  <a:pt x="1165" y="372"/>
                </a:cubicBezTo>
                <a:cubicBezTo>
                  <a:pt x="1165" y="372"/>
                  <a:pt x="1165" y="372"/>
                  <a:pt x="1165" y="372"/>
                </a:cubicBezTo>
                <a:cubicBezTo>
                  <a:pt x="1165" y="372"/>
                  <a:pt x="1165" y="372"/>
                  <a:pt x="1165" y="372"/>
                </a:cubicBezTo>
                <a:cubicBezTo>
                  <a:pt x="1165" y="372"/>
                  <a:pt x="1165" y="372"/>
                  <a:pt x="1166" y="372"/>
                </a:cubicBezTo>
                <a:cubicBezTo>
                  <a:pt x="1165" y="372"/>
                  <a:pt x="1165" y="372"/>
                  <a:pt x="1165" y="373"/>
                </a:cubicBezTo>
                <a:cubicBezTo>
                  <a:pt x="1165" y="373"/>
                  <a:pt x="1165" y="373"/>
                  <a:pt x="1165" y="373"/>
                </a:cubicBezTo>
                <a:cubicBezTo>
                  <a:pt x="1165" y="373"/>
                  <a:pt x="1165" y="373"/>
                  <a:pt x="1165" y="374"/>
                </a:cubicBezTo>
                <a:cubicBezTo>
                  <a:pt x="1165" y="374"/>
                  <a:pt x="1165" y="374"/>
                  <a:pt x="1166" y="374"/>
                </a:cubicBezTo>
                <a:cubicBezTo>
                  <a:pt x="1166" y="374"/>
                  <a:pt x="1166" y="374"/>
                  <a:pt x="1166" y="374"/>
                </a:cubicBezTo>
                <a:cubicBezTo>
                  <a:pt x="1166" y="374"/>
                  <a:pt x="1166" y="374"/>
                  <a:pt x="1166" y="374"/>
                </a:cubicBezTo>
                <a:cubicBezTo>
                  <a:pt x="1166" y="374"/>
                  <a:pt x="1166" y="374"/>
                  <a:pt x="1166" y="373"/>
                </a:cubicBezTo>
                <a:cubicBezTo>
                  <a:pt x="1166" y="374"/>
                  <a:pt x="1167" y="375"/>
                  <a:pt x="1167" y="375"/>
                </a:cubicBezTo>
                <a:cubicBezTo>
                  <a:pt x="1167" y="375"/>
                  <a:pt x="1167" y="375"/>
                  <a:pt x="1167" y="375"/>
                </a:cubicBezTo>
                <a:cubicBezTo>
                  <a:pt x="1168" y="375"/>
                  <a:pt x="1168" y="375"/>
                  <a:pt x="1168" y="375"/>
                </a:cubicBezTo>
                <a:cubicBezTo>
                  <a:pt x="1168" y="375"/>
                  <a:pt x="1169" y="375"/>
                  <a:pt x="1169" y="375"/>
                </a:cubicBezTo>
                <a:cubicBezTo>
                  <a:pt x="1170" y="375"/>
                  <a:pt x="1170" y="375"/>
                  <a:pt x="1171" y="375"/>
                </a:cubicBezTo>
                <a:cubicBezTo>
                  <a:pt x="1172" y="375"/>
                  <a:pt x="1172" y="375"/>
                  <a:pt x="1173" y="375"/>
                </a:cubicBezTo>
                <a:cubicBezTo>
                  <a:pt x="1173" y="375"/>
                  <a:pt x="1173" y="375"/>
                  <a:pt x="1174" y="375"/>
                </a:cubicBezTo>
                <a:cubicBezTo>
                  <a:pt x="1174" y="375"/>
                  <a:pt x="1174" y="375"/>
                  <a:pt x="1174" y="375"/>
                </a:cubicBezTo>
                <a:cubicBezTo>
                  <a:pt x="1174" y="375"/>
                  <a:pt x="1175" y="375"/>
                  <a:pt x="1175" y="375"/>
                </a:cubicBezTo>
                <a:cubicBezTo>
                  <a:pt x="1175" y="376"/>
                  <a:pt x="1175" y="376"/>
                  <a:pt x="1175" y="376"/>
                </a:cubicBezTo>
                <a:cubicBezTo>
                  <a:pt x="1176" y="376"/>
                  <a:pt x="1176" y="376"/>
                  <a:pt x="1177" y="376"/>
                </a:cubicBezTo>
                <a:cubicBezTo>
                  <a:pt x="1177" y="376"/>
                  <a:pt x="1178" y="376"/>
                  <a:pt x="1178" y="376"/>
                </a:cubicBezTo>
                <a:cubicBezTo>
                  <a:pt x="1178" y="376"/>
                  <a:pt x="1178" y="376"/>
                  <a:pt x="1178" y="376"/>
                </a:cubicBezTo>
                <a:cubicBezTo>
                  <a:pt x="1178" y="376"/>
                  <a:pt x="1179" y="376"/>
                  <a:pt x="1179" y="376"/>
                </a:cubicBezTo>
                <a:cubicBezTo>
                  <a:pt x="1179" y="375"/>
                  <a:pt x="1179" y="375"/>
                  <a:pt x="1179" y="375"/>
                </a:cubicBezTo>
                <a:cubicBezTo>
                  <a:pt x="1179" y="375"/>
                  <a:pt x="1179" y="375"/>
                  <a:pt x="1179" y="375"/>
                </a:cubicBezTo>
                <a:cubicBezTo>
                  <a:pt x="1179" y="375"/>
                  <a:pt x="1180" y="375"/>
                  <a:pt x="1180" y="375"/>
                </a:cubicBezTo>
                <a:cubicBezTo>
                  <a:pt x="1180" y="375"/>
                  <a:pt x="1180" y="375"/>
                  <a:pt x="1180" y="375"/>
                </a:cubicBezTo>
                <a:cubicBezTo>
                  <a:pt x="1181" y="375"/>
                  <a:pt x="1181" y="375"/>
                  <a:pt x="1182" y="375"/>
                </a:cubicBezTo>
                <a:cubicBezTo>
                  <a:pt x="1182" y="374"/>
                  <a:pt x="1181" y="374"/>
                  <a:pt x="1181" y="374"/>
                </a:cubicBezTo>
                <a:cubicBezTo>
                  <a:pt x="1181" y="374"/>
                  <a:pt x="1181" y="374"/>
                  <a:pt x="1181" y="374"/>
                </a:cubicBezTo>
                <a:cubicBezTo>
                  <a:pt x="1181" y="374"/>
                  <a:pt x="1181" y="374"/>
                  <a:pt x="1182" y="374"/>
                </a:cubicBezTo>
                <a:cubicBezTo>
                  <a:pt x="1183" y="373"/>
                  <a:pt x="1184" y="373"/>
                  <a:pt x="1185" y="372"/>
                </a:cubicBezTo>
                <a:cubicBezTo>
                  <a:pt x="1185" y="372"/>
                  <a:pt x="1185" y="371"/>
                  <a:pt x="1185" y="371"/>
                </a:cubicBezTo>
                <a:cubicBezTo>
                  <a:pt x="1186" y="371"/>
                  <a:pt x="1187" y="371"/>
                  <a:pt x="1188" y="370"/>
                </a:cubicBezTo>
                <a:cubicBezTo>
                  <a:pt x="1188" y="370"/>
                  <a:pt x="1188" y="370"/>
                  <a:pt x="1189" y="370"/>
                </a:cubicBezTo>
                <a:cubicBezTo>
                  <a:pt x="1189" y="370"/>
                  <a:pt x="1189" y="370"/>
                  <a:pt x="1189" y="369"/>
                </a:cubicBezTo>
                <a:cubicBezTo>
                  <a:pt x="1189" y="369"/>
                  <a:pt x="1189" y="369"/>
                  <a:pt x="1189" y="369"/>
                </a:cubicBezTo>
                <a:cubicBezTo>
                  <a:pt x="1189" y="369"/>
                  <a:pt x="1189" y="369"/>
                  <a:pt x="1189" y="369"/>
                </a:cubicBezTo>
                <a:cubicBezTo>
                  <a:pt x="1189" y="369"/>
                  <a:pt x="1189" y="369"/>
                  <a:pt x="1189" y="369"/>
                </a:cubicBezTo>
                <a:cubicBezTo>
                  <a:pt x="1189" y="369"/>
                  <a:pt x="1189" y="369"/>
                  <a:pt x="1190" y="369"/>
                </a:cubicBezTo>
                <a:cubicBezTo>
                  <a:pt x="1190" y="368"/>
                  <a:pt x="1190" y="368"/>
                  <a:pt x="1190" y="368"/>
                </a:cubicBezTo>
                <a:cubicBezTo>
                  <a:pt x="1190" y="368"/>
                  <a:pt x="1190" y="368"/>
                  <a:pt x="1190" y="368"/>
                </a:cubicBezTo>
                <a:cubicBezTo>
                  <a:pt x="1190" y="368"/>
                  <a:pt x="1191" y="368"/>
                  <a:pt x="1191" y="368"/>
                </a:cubicBezTo>
                <a:cubicBezTo>
                  <a:pt x="1191" y="368"/>
                  <a:pt x="1191" y="368"/>
                  <a:pt x="1191" y="368"/>
                </a:cubicBezTo>
                <a:cubicBezTo>
                  <a:pt x="1191" y="368"/>
                  <a:pt x="1191" y="368"/>
                  <a:pt x="1191" y="368"/>
                </a:cubicBezTo>
                <a:cubicBezTo>
                  <a:pt x="1191" y="368"/>
                  <a:pt x="1191" y="368"/>
                  <a:pt x="1190" y="368"/>
                </a:cubicBezTo>
                <a:cubicBezTo>
                  <a:pt x="1191" y="368"/>
                  <a:pt x="1191" y="368"/>
                  <a:pt x="1191" y="369"/>
                </a:cubicBezTo>
                <a:cubicBezTo>
                  <a:pt x="1191" y="369"/>
                  <a:pt x="1190" y="369"/>
                  <a:pt x="1190" y="369"/>
                </a:cubicBezTo>
                <a:cubicBezTo>
                  <a:pt x="1190" y="369"/>
                  <a:pt x="1191" y="369"/>
                  <a:pt x="1191" y="369"/>
                </a:cubicBezTo>
                <a:cubicBezTo>
                  <a:pt x="1191" y="369"/>
                  <a:pt x="1190" y="370"/>
                  <a:pt x="1190" y="370"/>
                </a:cubicBezTo>
                <a:cubicBezTo>
                  <a:pt x="1190" y="370"/>
                  <a:pt x="1190" y="370"/>
                  <a:pt x="1190" y="371"/>
                </a:cubicBezTo>
                <a:cubicBezTo>
                  <a:pt x="1190" y="371"/>
                  <a:pt x="1190" y="371"/>
                  <a:pt x="1190" y="371"/>
                </a:cubicBezTo>
                <a:cubicBezTo>
                  <a:pt x="1190" y="371"/>
                  <a:pt x="1190" y="371"/>
                  <a:pt x="1190" y="371"/>
                </a:cubicBezTo>
                <a:cubicBezTo>
                  <a:pt x="1190" y="371"/>
                  <a:pt x="1190" y="371"/>
                  <a:pt x="1190" y="371"/>
                </a:cubicBezTo>
                <a:cubicBezTo>
                  <a:pt x="1190" y="371"/>
                  <a:pt x="1190" y="371"/>
                  <a:pt x="1190" y="371"/>
                </a:cubicBezTo>
                <a:cubicBezTo>
                  <a:pt x="1190" y="371"/>
                  <a:pt x="1190" y="372"/>
                  <a:pt x="1191" y="372"/>
                </a:cubicBezTo>
                <a:cubicBezTo>
                  <a:pt x="1191" y="372"/>
                  <a:pt x="1190" y="372"/>
                  <a:pt x="1190" y="373"/>
                </a:cubicBezTo>
                <a:cubicBezTo>
                  <a:pt x="1190" y="373"/>
                  <a:pt x="1190" y="374"/>
                  <a:pt x="1190" y="375"/>
                </a:cubicBezTo>
                <a:cubicBezTo>
                  <a:pt x="1191" y="376"/>
                  <a:pt x="1191" y="376"/>
                  <a:pt x="1192" y="377"/>
                </a:cubicBezTo>
                <a:cubicBezTo>
                  <a:pt x="1192" y="377"/>
                  <a:pt x="1192" y="377"/>
                  <a:pt x="1192" y="377"/>
                </a:cubicBezTo>
                <a:cubicBezTo>
                  <a:pt x="1193" y="378"/>
                  <a:pt x="1194" y="379"/>
                  <a:pt x="1195" y="379"/>
                </a:cubicBezTo>
                <a:cubicBezTo>
                  <a:pt x="1195" y="379"/>
                  <a:pt x="1195" y="380"/>
                  <a:pt x="1196" y="380"/>
                </a:cubicBezTo>
                <a:cubicBezTo>
                  <a:pt x="1196" y="380"/>
                  <a:pt x="1196" y="380"/>
                  <a:pt x="1196" y="380"/>
                </a:cubicBezTo>
                <a:cubicBezTo>
                  <a:pt x="1197" y="380"/>
                  <a:pt x="1197" y="380"/>
                  <a:pt x="1197" y="380"/>
                </a:cubicBezTo>
                <a:cubicBezTo>
                  <a:pt x="1198" y="380"/>
                  <a:pt x="1199" y="380"/>
                  <a:pt x="1200" y="380"/>
                </a:cubicBezTo>
                <a:cubicBezTo>
                  <a:pt x="1200" y="380"/>
                  <a:pt x="1201" y="380"/>
                  <a:pt x="1201" y="380"/>
                </a:cubicBezTo>
                <a:cubicBezTo>
                  <a:pt x="1201" y="380"/>
                  <a:pt x="1201" y="380"/>
                  <a:pt x="1202" y="381"/>
                </a:cubicBezTo>
                <a:cubicBezTo>
                  <a:pt x="1202" y="381"/>
                  <a:pt x="1202" y="382"/>
                  <a:pt x="1203" y="382"/>
                </a:cubicBezTo>
                <a:cubicBezTo>
                  <a:pt x="1203" y="382"/>
                  <a:pt x="1203" y="383"/>
                  <a:pt x="1203" y="383"/>
                </a:cubicBezTo>
                <a:cubicBezTo>
                  <a:pt x="1203" y="383"/>
                  <a:pt x="1204" y="384"/>
                  <a:pt x="1204" y="384"/>
                </a:cubicBezTo>
                <a:cubicBezTo>
                  <a:pt x="1204" y="384"/>
                  <a:pt x="1204" y="384"/>
                  <a:pt x="1204" y="385"/>
                </a:cubicBezTo>
                <a:cubicBezTo>
                  <a:pt x="1205" y="385"/>
                  <a:pt x="1205" y="385"/>
                  <a:pt x="1206" y="386"/>
                </a:cubicBezTo>
                <a:cubicBezTo>
                  <a:pt x="1206" y="386"/>
                  <a:pt x="1207" y="386"/>
                  <a:pt x="1207" y="386"/>
                </a:cubicBezTo>
                <a:cubicBezTo>
                  <a:pt x="1207" y="386"/>
                  <a:pt x="1207" y="386"/>
                  <a:pt x="1207" y="387"/>
                </a:cubicBezTo>
                <a:cubicBezTo>
                  <a:pt x="1207" y="387"/>
                  <a:pt x="1207" y="387"/>
                  <a:pt x="1207" y="387"/>
                </a:cubicBezTo>
                <a:cubicBezTo>
                  <a:pt x="1207" y="387"/>
                  <a:pt x="1206" y="388"/>
                  <a:pt x="1206" y="388"/>
                </a:cubicBezTo>
                <a:cubicBezTo>
                  <a:pt x="1206" y="388"/>
                  <a:pt x="1206" y="388"/>
                  <a:pt x="1206" y="388"/>
                </a:cubicBezTo>
                <a:cubicBezTo>
                  <a:pt x="1206" y="389"/>
                  <a:pt x="1206" y="389"/>
                  <a:pt x="1206" y="389"/>
                </a:cubicBezTo>
                <a:cubicBezTo>
                  <a:pt x="1205" y="390"/>
                  <a:pt x="1204" y="390"/>
                  <a:pt x="1204" y="391"/>
                </a:cubicBezTo>
                <a:cubicBezTo>
                  <a:pt x="1203" y="391"/>
                  <a:pt x="1203" y="391"/>
                  <a:pt x="1202" y="391"/>
                </a:cubicBezTo>
                <a:cubicBezTo>
                  <a:pt x="1202" y="392"/>
                  <a:pt x="1202" y="392"/>
                  <a:pt x="1202" y="392"/>
                </a:cubicBezTo>
                <a:cubicBezTo>
                  <a:pt x="1201" y="392"/>
                  <a:pt x="1201" y="392"/>
                  <a:pt x="1201" y="392"/>
                </a:cubicBezTo>
                <a:cubicBezTo>
                  <a:pt x="1201" y="393"/>
                  <a:pt x="1200" y="393"/>
                  <a:pt x="1200" y="394"/>
                </a:cubicBezTo>
                <a:cubicBezTo>
                  <a:pt x="1200" y="394"/>
                  <a:pt x="1200" y="394"/>
                  <a:pt x="1200" y="394"/>
                </a:cubicBezTo>
                <a:cubicBezTo>
                  <a:pt x="1199" y="394"/>
                  <a:pt x="1199" y="393"/>
                  <a:pt x="1199" y="393"/>
                </a:cubicBezTo>
                <a:cubicBezTo>
                  <a:pt x="1199" y="393"/>
                  <a:pt x="1199" y="393"/>
                  <a:pt x="1199" y="393"/>
                </a:cubicBezTo>
                <a:cubicBezTo>
                  <a:pt x="1199" y="393"/>
                  <a:pt x="1199" y="393"/>
                  <a:pt x="1200" y="393"/>
                </a:cubicBezTo>
                <a:cubicBezTo>
                  <a:pt x="1199" y="393"/>
                  <a:pt x="1199" y="392"/>
                  <a:pt x="1199" y="392"/>
                </a:cubicBezTo>
                <a:cubicBezTo>
                  <a:pt x="1199" y="393"/>
                  <a:pt x="1199" y="393"/>
                  <a:pt x="1199" y="393"/>
                </a:cubicBezTo>
                <a:cubicBezTo>
                  <a:pt x="1198" y="393"/>
                  <a:pt x="1198" y="393"/>
                  <a:pt x="1198" y="393"/>
                </a:cubicBezTo>
                <a:cubicBezTo>
                  <a:pt x="1198" y="393"/>
                  <a:pt x="1198" y="393"/>
                  <a:pt x="1198" y="393"/>
                </a:cubicBezTo>
                <a:cubicBezTo>
                  <a:pt x="1198" y="394"/>
                  <a:pt x="1198" y="394"/>
                  <a:pt x="1198" y="394"/>
                </a:cubicBezTo>
                <a:cubicBezTo>
                  <a:pt x="1198" y="394"/>
                  <a:pt x="1198" y="394"/>
                  <a:pt x="1197" y="394"/>
                </a:cubicBezTo>
                <a:cubicBezTo>
                  <a:pt x="1197" y="394"/>
                  <a:pt x="1197" y="395"/>
                  <a:pt x="1196" y="395"/>
                </a:cubicBezTo>
                <a:cubicBezTo>
                  <a:pt x="1196" y="395"/>
                  <a:pt x="1196" y="395"/>
                  <a:pt x="1196" y="396"/>
                </a:cubicBezTo>
                <a:cubicBezTo>
                  <a:pt x="1196" y="396"/>
                  <a:pt x="1196" y="396"/>
                  <a:pt x="1196" y="396"/>
                </a:cubicBezTo>
                <a:cubicBezTo>
                  <a:pt x="1196" y="396"/>
                  <a:pt x="1196" y="396"/>
                  <a:pt x="1196" y="396"/>
                </a:cubicBezTo>
                <a:cubicBezTo>
                  <a:pt x="1196" y="396"/>
                  <a:pt x="1196" y="397"/>
                  <a:pt x="1196" y="397"/>
                </a:cubicBezTo>
                <a:cubicBezTo>
                  <a:pt x="1196" y="397"/>
                  <a:pt x="1196" y="397"/>
                  <a:pt x="1196" y="397"/>
                </a:cubicBezTo>
                <a:cubicBezTo>
                  <a:pt x="1196" y="397"/>
                  <a:pt x="1196" y="398"/>
                  <a:pt x="1196" y="398"/>
                </a:cubicBezTo>
                <a:cubicBezTo>
                  <a:pt x="1197" y="398"/>
                  <a:pt x="1197" y="399"/>
                  <a:pt x="1197" y="399"/>
                </a:cubicBezTo>
                <a:cubicBezTo>
                  <a:pt x="1197" y="399"/>
                  <a:pt x="1197" y="399"/>
                  <a:pt x="1197" y="399"/>
                </a:cubicBezTo>
                <a:cubicBezTo>
                  <a:pt x="1196" y="399"/>
                  <a:pt x="1195" y="399"/>
                  <a:pt x="1194" y="399"/>
                </a:cubicBezTo>
                <a:cubicBezTo>
                  <a:pt x="1194" y="399"/>
                  <a:pt x="1194" y="399"/>
                  <a:pt x="1194" y="399"/>
                </a:cubicBezTo>
                <a:cubicBezTo>
                  <a:pt x="1193" y="399"/>
                  <a:pt x="1193" y="399"/>
                  <a:pt x="1193" y="399"/>
                </a:cubicBezTo>
                <a:cubicBezTo>
                  <a:pt x="1192" y="399"/>
                  <a:pt x="1192" y="399"/>
                  <a:pt x="1192" y="399"/>
                </a:cubicBezTo>
                <a:cubicBezTo>
                  <a:pt x="1191" y="399"/>
                  <a:pt x="1190" y="400"/>
                  <a:pt x="1190" y="400"/>
                </a:cubicBezTo>
                <a:cubicBezTo>
                  <a:pt x="1190" y="400"/>
                  <a:pt x="1189" y="401"/>
                  <a:pt x="1189" y="401"/>
                </a:cubicBezTo>
                <a:cubicBezTo>
                  <a:pt x="1189" y="401"/>
                  <a:pt x="1189" y="401"/>
                  <a:pt x="1189" y="401"/>
                </a:cubicBezTo>
                <a:cubicBezTo>
                  <a:pt x="1189" y="402"/>
                  <a:pt x="1188" y="402"/>
                  <a:pt x="1188" y="402"/>
                </a:cubicBezTo>
                <a:cubicBezTo>
                  <a:pt x="1188" y="402"/>
                  <a:pt x="1187" y="402"/>
                  <a:pt x="1187" y="402"/>
                </a:cubicBezTo>
                <a:cubicBezTo>
                  <a:pt x="1187" y="402"/>
                  <a:pt x="1186" y="402"/>
                  <a:pt x="1186" y="402"/>
                </a:cubicBezTo>
                <a:cubicBezTo>
                  <a:pt x="1185" y="402"/>
                  <a:pt x="1185" y="402"/>
                  <a:pt x="1184" y="401"/>
                </a:cubicBezTo>
                <a:cubicBezTo>
                  <a:pt x="1184" y="402"/>
                  <a:pt x="1184" y="402"/>
                  <a:pt x="1184" y="402"/>
                </a:cubicBezTo>
                <a:cubicBezTo>
                  <a:pt x="1183" y="402"/>
                  <a:pt x="1183" y="402"/>
                  <a:pt x="1183" y="402"/>
                </a:cubicBezTo>
                <a:cubicBezTo>
                  <a:pt x="1183" y="402"/>
                  <a:pt x="1183" y="402"/>
                  <a:pt x="1183" y="402"/>
                </a:cubicBezTo>
                <a:cubicBezTo>
                  <a:pt x="1183" y="403"/>
                  <a:pt x="1183" y="403"/>
                  <a:pt x="1183" y="403"/>
                </a:cubicBezTo>
                <a:cubicBezTo>
                  <a:pt x="1183" y="403"/>
                  <a:pt x="1183" y="403"/>
                  <a:pt x="1183" y="403"/>
                </a:cubicBezTo>
                <a:cubicBezTo>
                  <a:pt x="1183" y="403"/>
                  <a:pt x="1183" y="403"/>
                  <a:pt x="1183" y="404"/>
                </a:cubicBezTo>
                <a:cubicBezTo>
                  <a:pt x="1183" y="404"/>
                  <a:pt x="1183" y="404"/>
                  <a:pt x="1183" y="404"/>
                </a:cubicBezTo>
                <a:cubicBezTo>
                  <a:pt x="1183" y="404"/>
                  <a:pt x="1183" y="404"/>
                  <a:pt x="1183" y="404"/>
                </a:cubicBezTo>
                <a:cubicBezTo>
                  <a:pt x="1183" y="404"/>
                  <a:pt x="1182" y="405"/>
                  <a:pt x="1182" y="405"/>
                </a:cubicBezTo>
                <a:cubicBezTo>
                  <a:pt x="1181" y="405"/>
                  <a:pt x="1181" y="405"/>
                  <a:pt x="1181" y="405"/>
                </a:cubicBezTo>
                <a:cubicBezTo>
                  <a:pt x="1181" y="405"/>
                  <a:pt x="1180" y="405"/>
                  <a:pt x="1180" y="404"/>
                </a:cubicBezTo>
                <a:cubicBezTo>
                  <a:pt x="1180" y="404"/>
                  <a:pt x="1180" y="404"/>
                  <a:pt x="1179" y="404"/>
                </a:cubicBezTo>
                <a:cubicBezTo>
                  <a:pt x="1179" y="404"/>
                  <a:pt x="1179" y="404"/>
                  <a:pt x="1178" y="404"/>
                </a:cubicBezTo>
                <a:cubicBezTo>
                  <a:pt x="1178" y="404"/>
                  <a:pt x="1177" y="405"/>
                  <a:pt x="1177" y="405"/>
                </a:cubicBezTo>
                <a:cubicBezTo>
                  <a:pt x="1176" y="405"/>
                  <a:pt x="1176" y="405"/>
                  <a:pt x="1175" y="404"/>
                </a:cubicBezTo>
                <a:cubicBezTo>
                  <a:pt x="1175" y="405"/>
                  <a:pt x="1175" y="405"/>
                  <a:pt x="1175" y="405"/>
                </a:cubicBezTo>
                <a:cubicBezTo>
                  <a:pt x="1174" y="405"/>
                  <a:pt x="1174" y="405"/>
                  <a:pt x="1174" y="405"/>
                </a:cubicBezTo>
                <a:cubicBezTo>
                  <a:pt x="1174" y="405"/>
                  <a:pt x="1174" y="405"/>
                  <a:pt x="1173" y="405"/>
                </a:cubicBezTo>
                <a:cubicBezTo>
                  <a:pt x="1173" y="405"/>
                  <a:pt x="1173" y="405"/>
                  <a:pt x="1173" y="405"/>
                </a:cubicBezTo>
                <a:cubicBezTo>
                  <a:pt x="1172" y="405"/>
                  <a:pt x="1172" y="405"/>
                  <a:pt x="1172" y="405"/>
                </a:cubicBezTo>
                <a:cubicBezTo>
                  <a:pt x="1171" y="405"/>
                  <a:pt x="1170" y="405"/>
                  <a:pt x="1170" y="405"/>
                </a:cubicBezTo>
                <a:cubicBezTo>
                  <a:pt x="1169" y="405"/>
                  <a:pt x="1168" y="406"/>
                  <a:pt x="1168" y="406"/>
                </a:cubicBezTo>
                <a:cubicBezTo>
                  <a:pt x="1168" y="407"/>
                  <a:pt x="1168" y="407"/>
                  <a:pt x="1167" y="407"/>
                </a:cubicBezTo>
                <a:cubicBezTo>
                  <a:pt x="1168" y="407"/>
                  <a:pt x="1168" y="407"/>
                  <a:pt x="1168" y="408"/>
                </a:cubicBezTo>
                <a:cubicBezTo>
                  <a:pt x="1168" y="408"/>
                  <a:pt x="1168" y="408"/>
                  <a:pt x="1168" y="408"/>
                </a:cubicBezTo>
                <a:cubicBezTo>
                  <a:pt x="1168" y="408"/>
                  <a:pt x="1168" y="408"/>
                  <a:pt x="1168" y="408"/>
                </a:cubicBezTo>
                <a:cubicBezTo>
                  <a:pt x="1167" y="408"/>
                  <a:pt x="1166" y="408"/>
                  <a:pt x="1166" y="408"/>
                </a:cubicBezTo>
                <a:cubicBezTo>
                  <a:pt x="1165" y="408"/>
                  <a:pt x="1165" y="409"/>
                  <a:pt x="1164" y="409"/>
                </a:cubicBezTo>
                <a:cubicBezTo>
                  <a:pt x="1164" y="409"/>
                  <a:pt x="1163" y="409"/>
                  <a:pt x="1162" y="409"/>
                </a:cubicBezTo>
                <a:cubicBezTo>
                  <a:pt x="1161" y="409"/>
                  <a:pt x="1160" y="409"/>
                  <a:pt x="1159" y="409"/>
                </a:cubicBezTo>
                <a:cubicBezTo>
                  <a:pt x="1159" y="409"/>
                  <a:pt x="1159" y="410"/>
                  <a:pt x="1159" y="410"/>
                </a:cubicBezTo>
                <a:cubicBezTo>
                  <a:pt x="1157" y="410"/>
                  <a:pt x="1155" y="410"/>
                  <a:pt x="1153" y="410"/>
                </a:cubicBezTo>
                <a:cubicBezTo>
                  <a:pt x="1153" y="410"/>
                  <a:pt x="1153" y="410"/>
                  <a:pt x="1153" y="410"/>
                </a:cubicBezTo>
                <a:cubicBezTo>
                  <a:pt x="1152" y="410"/>
                  <a:pt x="1152" y="410"/>
                  <a:pt x="1152" y="410"/>
                </a:cubicBezTo>
                <a:cubicBezTo>
                  <a:pt x="1151" y="411"/>
                  <a:pt x="1151" y="411"/>
                  <a:pt x="1150" y="411"/>
                </a:cubicBezTo>
                <a:cubicBezTo>
                  <a:pt x="1150" y="412"/>
                  <a:pt x="1149" y="412"/>
                  <a:pt x="1149" y="412"/>
                </a:cubicBezTo>
                <a:cubicBezTo>
                  <a:pt x="1149" y="412"/>
                  <a:pt x="1148" y="412"/>
                  <a:pt x="1148" y="412"/>
                </a:cubicBezTo>
                <a:cubicBezTo>
                  <a:pt x="1148" y="412"/>
                  <a:pt x="1148" y="412"/>
                  <a:pt x="1148" y="412"/>
                </a:cubicBezTo>
                <a:cubicBezTo>
                  <a:pt x="1148" y="412"/>
                  <a:pt x="1148" y="412"/>
                  <a:pt x="1147" y="412"/>
                </a:cubicBezTo>
                <a:cubicBezTo>
                  <a:pt x="1147" y="412"/>
                  <a:pt x="1147" y="412"/>
                  <a:pt x="1147" y="412"/>
                </a:cubicBezTo>
                <a:cubicBezTo>
                  <a:pt x="1146" y="412"/>
                  <a:pt x="1146" y="412"/>
                  <a:pt x="1146" y="412"/>
                </a:cubicBezTo>
                <a:cubicBezTo>
                  <a:pt x="1146" y="412"/>
                  <a:pt x="1146" y="412"/>
                  <a:pt x="1145" y="411"/>
                </a:cubicBezTo>
                <a:cubicBezTo>
                  <a:pt x="1145" y="412"/>
                  <a:pt x="1144" y="412"/>
                  <a:pt x="1143" y="412"/>
                </a:cubicBezTo>
                <a:cubicBezTo>
                  <a:pt x="1143" y="412"/>
                  <a:pt x="1143" y="413"/>
                  <a:pt x="1143" y="413"/>
                </a:cubicBezTo>
                <a:cubicBezTo>
                  <a:pt x="1143" y="413"/>
                  <a:pt x="1143" y="413"/>
                  <a:pt x="1143" y="413"/>
                </a:cubicBezTo>
                <a:cubicBezTo>
                  <a:pt x="1142" y="413"/>
                  <a:pt x="1141" y="413"/>
                  <a:pt x="1141" y="413"/>
                </a:cubicBezTo>
                <a:cubicBezTo>
                  <a:pt x="1140" y="413"/>
                  <a:pt x="1139" y="413"/>
                  <a:pt x="1138" y="413"/>
                </a:cubicBezTo>
                <a:cubicBezTo>
                  <a:pt x="1138" y="413"/>
                  <a:pt x="1138" y="413"/>
                  <a:pt x="1137" y="413"/>
                </a:cubicBezTo>
                <a:cubicBezTo>
                  <a:pt x="1137" y="413"/>
                  <a:pt x="1137" y="413"/>
                  <a:pt x="1137" y="413"/>
                </a:cubicBezTo>
                <a:cubicBezTo>
                  <a:pt x="1136" y="413"/>
                  <a:pt x="1136" y="413"/>
                  <a:pt x="1136" y="413"/>
                </a:cubicBezTo>
                <a:cubicBezTo>
                  <a:pt x="1135" y="413"/>
                  <a:pt x="1135" y="413"/>
                  <a:pt x="1135" y="412"/>
                </a:cubicBezTo>
                <a:cubicBezTo>
                  <a:pt x="1135" y="412"/>
                  <a:pt x="1135" y="412"/>
                  <a:pt x="1135" y="412"/>
                </a:cubicBezTo>
                <a:cubicBezTo>
                  <a:pt x="1134" y="412"/>
                  <a:pt x="1134" y="412"/>
                  <a:pt x="1134" y="412"/>
                </a:cubicBezTo>
                <a:cubicBezTo>
                  <a:pt x="1133" y="413"/>
                  <a:pt x="1133" y="413"/>
                  <a:pt x="1133" y="413"/>
                </a:cubicBezTo>
                <a:cubicBezTo>
                  <a:pt x="1132" y="413"/>
                  <a:pt x="1132" y="413"/>
                  <a:pt x="1132" y="414"/>
                </a:cubicBezTo>
                <a:cubicBezTo>
                  <a:pt x="1132" y="414"/>
                  <a:pt x="1132" y="414"/>
                  <a:pt x="1131" y="414"/>
                </a:cubicBezTo>
                <a:cubicBezTo>
                  <a:pt x="1131" y="414"/>
                  <a:pt x="1131" y="414"/>
                  <a:pt x="1130" y="415"/>
                </a:cubicBezTo>
                <a:cubicBezTo>
                  <a:pt x="1130" y="415"/>
                  <a:pt x="1130" y="415"/>
                  <a:pt x="1129" y="415"/>
                </a:cubicBezTo>
                <a:cubicBezTo>
                  <a:pt x="1129" y="415"/>
                  <a:pt x="1129" y="414"/>
                  <a:pt x="1129" y="414"/>
                </a:cubicBezTo>
                <a:cubicBezTo>
                  <a:pt x="1129" y="414"/>
                  <a:pt x="1128" y="414"/>
                  <a:pt x="1128" y="414"/>
                </a:cubicBezTo>
                <a:cubicBezTo>
                  <a:pt x="1128" y="414"/>
                  <a:pt x="1127" y="415"/>
                  <a:pt x="1127" y="415"/>
                </a:cubicBezTo>
                <a:cubicBezTo>
                  <a:pt x="1127" y="415"/>
                  <a:pt x="1126" y="415"/>
                  <a:pt x="1126" y="415"/>
                </a:cubicBezTo>
                <a:cubicBezTo>
                  <a:pt x="1126" y="415"/>
                  <a:pt x="1125" y="414"/>
                  <a:pt x="1125" y="414"/>
                </a:cubicBezTo>
                <a:cubicBezTo>
                  <a:pt x="1125" y="414"/>
                  <a:pt x="1124" y="414"/>
                  <a:pt x="1124" y="415"/>
                </a:cubicBezTo>
                <a:cubicBezTo>
                  <a:pt x="1124" y="415"/>
                  <a:pt x="1124" y="415"/>
                  <a:pt x="1123" y="415"/>
                </a:cubicBezTo>
                <a:cubicBezTo>
                  <a:pt x="1123" y="414"/>
                  <a:pt x="1123" y="414"/>
                  <a:pt x="1123" y="414"/>
                </a:cubicBezTo>
                <a:cubicBezTo>
                  <a:pt x="1123" y="414"/>
                  <a:pt x="1123" y="413"/>
                  <a:pt x="1123" y="413"/>
                </a:cubicBezTo>
                <a:cubicBezTo>
                  <a:pt x="1123" y="413"/>
                  <a:pt x="1122" y="412"/>
                  <a:pt x="1122" y="412"/>
                </a:cubicBezTo>
                <a:cubicBezTo>
                  <a:pt x="1122" y="412"/>
                  <a:pt x="1122" y="411"/>
                  <a:pt x="1122" y="411"/>
                </a:cubicBezTo>
                <a:cubicBezTo>
                  <a:pt x="1122" y="411"/>
                  <a:pt x="1122" y="411"/>
                  <a:pt x="1122" y="411"/>
                </a:cubicBezTo>
                <a:cubicBezTo>
                  <a:pt x="1122" y="410"/>
                  <a:pt x="1122" y="410"/>
                  <a:pt x="1122" y="410"/>
                </a:cubicBezTo>
                <a:cubicBezTo>
                  <a:pt x="1122" y="409"/>
                  <a:pt x="1121" y="409"/>
                  <a:pt x="1121" y="409"/>
                </a:cubicBezTo>
                <a:cubicBezTo>
                  <a:pt x="1121" y="408"/>
                  <a:pt x="1121" y="406"/>
                  <a:pt x="1121" y="405"/>
                </a:cubicBezTo>
                <a:cubicBezTo>
                  <a:pt x="1120" y="405"/>
                  <a:pt x="1120" y="404"/>
                  <a:pt x="1120" y="404"/>
                </a:cubicBezTo>
                <a:cubicBezTo>
                  <a:pt x="1120" y="404"/>
                  <a:pt x="1120" y="404"/>
                  <a:pt x="1120" y="403"/>
                </a:cubicBezTo>
                <a:cubicBezTo>
                  <a:pt x="1119" y="403"/>
                  <a:pt x="1119" y="403"/>
                  <a:pt x="1119" y="403"/>
                </a:cubicBezTo>
                <a:cubicBezTo>
                  <a:pt x="1119" y="403"/>
                  <a:pt x="1119" y="403"/>
                  <a:pt x="1119" y="403"/>
                </a:cubicBezTo>
                <a:cubicBezTo>
                  <a:pt x="1119" y="403"/>
                  <a:pt x="1119" y="403"/>
                  <a:pt x="1120" y="403"/>
                </a:cubicBezTo>
                <a:cubicBezTo>
                  <a:pt x="1120" y="403"/>
                  <a:pt x="1120" y="403"/>
                  <a:pt x="1120" y="403"/>
                </a:cubicBezTo>
                <a:cubicBezTo>
                  <a:pt x="1120" y="403"/>
                  <a:pt x="1120" y="403"/>
                  <a:pt x="1120" y="403"/>
                </a:cubicBezTo>
                <a:cubicBezTo>
                  <a:pt x="1120" y="402"/>
                  <a:pt x="1120" y="402"/>
                  <a:pt x="1120" y="402"/>
                </a:cubicBezTo>
                <a:cubicBezTo>
                  <a:pt x="1120" y="401"/>
                  <a:pt x="1120" y="400"/>
                  <a:pt x="1120" y="400"/>
                </a:cubicBezTo>
                <a:cubicBezTo>
                  <a:pt x="1120" y="399"/>
                  <a:pt x="1120" y="399"/>
                  <a:pt x="1120" y="399"/>
                </a:cubicBezTo>
                <a:cubicBezTo>
                  <a:pt x="1120" y="398"/>
                  <a:pt x="1119" y="398"/>
                  <a:pt x="1119" y="397"/>
                </a:cubicBezTo>
                <a:cubicBezTo>
                  <a:pt x="1119" y="397"/>
                  <a:pt x="1118" y="397"/>
                  <a:pt x="1118" y="396"/>
                </a:cubicBezTo>
                <a:cubicBezTo>
                  <a:pt x="1118" y="396"/>
                  <a:pt x="1118" y="395"/>
                  <a:pt x="1118" y="395"/>
                </a:cubicBezTo>
                <a:cubicBezTo>
                  <a:pt x="1117" y="395"/>
                  <a:pt x="1117" y="395"/>
                  <a:pt x="1117" y="395"/>
                </a:cubicBezTo>
                <a:cubicBezTo>
                  <a:pt x="1116" y="394"/>
                  <a:pt x="1115" y="393"/>
                  <a:pt x="1113" y="392"/>
                </a:cubicBezTo>
                <a:cubicBezTo>
                  <a:pt x="1113" y="391"/>
                  <a:pt x="1113" y="391"/>
                  <a:pt x="1113" y="391"/>
                </a:cubicBezTo>
                <a:cubicBezTo>
                  <a:pt x="1113" y="390"/>
                  <a:pt x="1113" y="390"/>
                  <a:pt x="1112" y="390"/>
                </a:cubicBezTo>
                <a:cubicBezTo>
                  <a:pt x="1112" y="389"/>
                  <a:pt x="1112" y="388"/>
                  <a:pt x="1112" y="387"/>
                </a:cubicBezTo>
                <a:cubicBezTo>
                  <a:pt x="1111" y="387"/>
                  <a:pt x="1111" y="387"/>
                  <a:pt x="1111" y="387"/>
                </a:cubicBezTo>
                <a:cubicBezTo>
                  <a:pt x="1111" y="386"/>
                  <a:pt x="1111" y="386"/>
                  <a:pt x="1111" y="386"/>
                </a:cubicBezTo>
                <a:cubicBezTo>
                  <a:pt x="1111" y="386"/>
                  <a:pt x="1110" y="386"/>
                  <a:pt x="1110" y="386"/>
                </a:cubicBezTo>
                <a:cubicBezTo>
                  <a:pt x="1110" y="386"/>
                  <a:pt x="1110" y="385"/>
                  <a:pt x="1110" y="385"/>
                </a:cubicBezTo>
                <a:cubicBezTo>
                  <a:pt x="1110" y="385"/>
                  <a:pt x="1109" y="384"/>
                  <a:pt x="1109" y="384"/>
                </a:cubicBezTo>
                <a:cubicBezTo>
                  <a:pt x="1108" y="384"/>
                  <a:pt x="1108" y="384"/>
                  <a:pt x="1108" y="384"/>
                </a:cubicBezTo>
                <a:cubicBezTo>
                  <a:pt x="1108" y="384"/>
                  <a:pt x="1108" y="384"/>
                  <a:pt x="1107" y="383"/>
                </a:cubicBezTo>
                <a:cubicBezTo>
                  <a:pt x="1107" y="383"/>
                  <a:pt x="1107" y="383"/>
                  <a:pt x="1106" y="383"/>
                </a:cubicBezTo>
                <a:cubicBezTo>
                  <a:pt x="1106" y="383"/>
                  <a:pt x="1106" y="383"/>
                  <a:pt x="1106" y="383"/>
                </a:cubicBezTo>
                <a:cubicBezTo>
                  <a:pt x="1105" y="382"/>
                  <a:pt x="1104" y="381"/>
                  <a:pt x="1103" y="381"/>
                </a:cubicBezTo>
                <a:cubicBezTo>
                  <a:pt x="1103" y="380"/>
                  <a:pt x="1103" y="380"/>
                  <a:pt x="1103" y="380"/>
                </a:cubicBezTo>
                <a:cubicBezTo>
                  <a:pt x="1103" y="380"/>
                  <a:pt x="1103" y="380"/>
                  <a:pt x="1102" y="379"/>
                </a:cubicBezTo>
                <a:cubicBezTo>
                  <a:pt x="1102" y="379"/>
                  <a:pt x="1102" y="378"/>
                  <a:pt x="1102" y="378"/>
                </a:cubicBezTo>
                <a:cubicBezTo>
                  <a:pt x="1102" y="377"/>
                  <a:pt x="1102" y="377"/>
                  <a:pt x="1102" y="377"/>
                </a:cubicBezTo>
                <a:cubicBezTo>
                  <a:pt x="1102" y="376"/>
                  <a:pt x="1102" y="376"/>
                  <a:pt x="1102" y="376"/>
                </a:cubicBezTo>
                <a:cubicBezTo>
                  <a:pt x="1102" y="376"/>
                  <a:pt x="1102" y="376"/>
                  <a:pt x="1102" y="376"/>
                </a:cubicBezTo>
                <a:cubicBezTo>
                  <a:pt x="1102" y="375"/>
                  <a:pt x="1102" y="375"/>
                  <a:pt x="1102" y="375"/>
                </a:cubicBezTo>
                <a:cubicBezTo>
                  <a:pt x="1102" y="374"/>
                  <a:pt x="1102" y="374"/>
                  <a:pt x="1102" y="374"/>
                </a:cubicBezTo>
                <a:cubicBezTo>
                  <a:pt x="1102" y="374"/>
                  <a:pt x="1102" y="373"/>
                  <a:pt x="1102" y="373"/>
                </a:cubicBezTo>
                <a:cubicBezTo>
                  <a:pt x="1102" y="373"/>
                  <a:pt x="1101" y="372"/>
                  <a:pt x="1101" y="372"/>
                </a:cubicBezTo>
                <a:cubicBezTo>
                  <a:pt x="1101" y="372"/>
                  <a:pt x="1101" y="371"/>
                  <a:pt x="1101" y="371"/>
                </a:cubicBezTo>
                <a:cubicBezTo>
                  <a:pt x="1101" y="371"/>
                  <a:pt x="1100" y="371"/>
                  <a:pt x="1100" y="370"/>
                </a:cubicBezTo>
                <a:cubicBezTo>
                  <a:pt x="1100" y="370"/>
                  <a:pt x="1100" y="370"/>
                  <a:pt x="1100" y="369"/>
                </a:cubicBezTo>
                <a:cubicBezTo>
                  <a:pt x="1100" y="369"/>
                  <a:pt x="1100" y="369"/>
                  <a:pt x="1100" y="369"/>
                </a:cubicBezTo>
                <a:cubicBezTo>
                  <a:pt x="1100" y="369"/>
                  <a:pt x="1100" y="369"/>
                  <a:pt x="1099" y="369"/>
                </a:cubicBezTo>
                <a:cubicBezTo>
                  <a:pt x="1099" y="368"/>
                  <a:pt x="1099" y="368"/>
                  <a:pt x="1098" y="367"/>
                </a:cubicBezTo>
                <a:cubicBezTo>
                  <a:pt x="1098" y="367"/>
                  <a:pt x="1097" y="367"/>
                  <a:pt x="1097" y="367"/>
                </a:cubicBezTo>
                <a:cubicBezTo>
                  <a:pt x="1096" y="367"/>
                  <a:pt x="1096" y="366"/>
                  <a:pt x="1096" y="366"/>
                </a:cubicBezTo>
                <a:cubicBezTo>
                  <a:pt x="1095" y="366"/>
                  <a:pt x="1095" y="366"/>
                  <a:pt x="1095" y="367"/>
                </a:cubicBezTo>
                <a:cubicBezTo>
                  <a:pt x="1095" y="366"/>
                  <a:pt x="1094" y="366"/>
                  <a:pt x="1094" y="366"/>
                </a:cubicBezTo>
                <a:cubicBezTo>
                  <a:pt x="1094" y="366"/>
                  <a:pt x="1094" y="366"/>
                  <a:pt x="1094" y="366"/>
                </a:cubicBezTo>
                <a:cubicBezTo>
                  <a:pt x="1094" y="365"/>
                  <a:pt x="1094" y="365"/>
                  <a:pt x="1093" y="365"/>
                </a:cubicBezTo>
                <a:cubicBezTo>
                  <a:pt x="1093" y="365"/>
                  <a:pt x="1093" y="365"/>
                  <a:pt x="1093" y="364"/>
                </a:cubicBezTo>
                <a:cubicBezTo>
                  <a:pt x="1093" y="364"/>
                  <a:pt x="1093" y="364"/>
                  <a:pt x="1094" y="364"/>
                </a:cubicBezTo>
                <a:cubicBezTo>
                  <a:pt x="1094" y="364"/>
                  <a:pt x="1093" y="363"/>
                  <a:pt x="1093" y="363"/>
                </a:cubicBezTo>
                <a:cubicBezTo>
                  <a:pt x="1093" y="363"/>
                  <a:pt x="1093" y="363"/>
                  <a:pt x="1093" y="362"/>
                </a:cubicBezTo>
                <a:cubicBezTo>
                  <a:pt x="1092" y="362"/>
                  <a:pt x="1092" y="361"/>
                  <a:pt x="1092" y="361"/>
                </a:cubicBezTo>
                <a:cubicBezTo>
                  <a:pt x="1092" y="360"/>
                  <a:pt x="1091" y="360"/>
                  <a:pt x="1091" y="360"/>
                </a:cubicBezTo>
                <a:cubicBezTo>
                  <a:pt x="1091" y="360"/>
                  <a:pt x="1090" y="360"/>
                  <a:pt x="1090" y="360"/>
                </a:cubicBezTo>
                <a:cubicBezTo>
                  <a:pt x="1090" y="359"/>
                  <a:pt x="1090" y="359"/>
                  <a:pt x="1090" y="359"/>
                </a:cubicBezTo>
                <a:cubicBezTo>
                  <a:pt x="1090" y="359"/>
                  <a:pt x="1090" y="358"/>
                  <a:pt x="1089" y="358"/>
                </a:cubicBezTo>
                <a:cubicBezTo>
                  <a:pt x="1089" y="358"/>
                  <a:pt x="1089" y="358"/>
                  <a:pt x="1089" y="358"/>
                </a:cubicBezTo>
                <a:cubicBezTo>
                  <a:pt x="1089" y="358"/>
                  <a:pt x="1089" y="357"/>
                  <a:pt x="1089" y="357"/>
                </a:cubicBezTo>
                <a:cubicBezTo>
                  <a:pt x="1089" y="357"/>
                  <a:pt x="1088" y="356"/>
                  <a:pt x="1088" y="355"/>
                </a:cubicBezTo>
                <a:cubicBezTo>
                  <a:pt x="1088" y="355"/>
                  <a:pt x="1087" y="355"/>
                  <a:pt x="1087" y="355"/>
                </a:cubicBezTo>
                <a:cubicBezTo>
                  <a:pt x="1087" y="355"/>
                  <a:pt x="1086" y="355"/>
                  <a:pt x="1086" y="354"/>
                </a:cubicBezTo>
                <a:cubicBezTo>
                  <a:pt x="1086" y="354"/>
                  <a:pt x="1086" y="354"/>
                  <a:pt x="1086" y="354"/>
                </a:cubicBezTo>
                <a:cubicBezTo>
                  <a:pt x="1086" y="354"/>
                  <a:pt x="1086" y="353"/>
                  <a:pt x="1086" y="353"/>
                </a:cubicBezTo>
                <a:cubicBezTo>
                  <a:pt x="1085" y="353"/>
                  <a:pt x="1085" y="353"/>
                  <a:pt x="1085" y="353"/>
                </a:cubicBezTo>
                <a:cubicBezTo>
                  <a:pt x="1085" y="352"/>
                  <a:pt x="1084" y="351"/>
                  <a:pt x="1083" y="351"/>
                </a:cubicBezTo>
                <a:cubicBezTo>
                  <a:pt x="1083" y="351"/>
                  <a:pt x="1083" y="351"/>
                  <a:pt x="1084" y="350"/>
                </a:cubicBezTo>
                <a:cubicBezTo>
                  <a:pt x="1083" y="350"/>
                  <a:pt x="1083" y="350"/>
                  <a:pt x="1082" y="350"/>
                </a:cubicBezTo>
                <a:cubicBezTo>
                  <a:pt x="1082" y="350"/>
                  <a:pt x="1082" y="350"/>
                  <a:pt x="1082" y="350"/>
                </a:cubicBezTo>
                <a:cubicBezTo>
                  <a:pt x="1082" y="350"/>
                  <a:pt x="1082" y="350"/>
                  <a:pt x="1082" y="350"/>
                </a:cubicBezTo>
                <a:cubicBezTo>
                  <a:pt x="1081" y="350"/>
                  <a:pt x="1081" y="350"/>
                  <a:pt x="1081" y="350"/>
                </a:cubicBezTo>
                <a:cubicBezTo>
                  <a:pt x="1081" y="350"/>
                  <a:pt x="1081" y="350"/>
                  <a:pt x="1081" y="350"/>
                </a:cubicBezTo>
                <a:cubicBezTo>
                  <a:pt x="1081" y="349"/>
                  <a:pt x="1081" y="349"/>
                  <a:pt x="1081" y="349"/>
                </a:cubicBezTo>
                <a:cubicBezTo>
                  <a:pt x="1081" y="348"/>
                  <a:pt x="1081" y="348"/>
                  <a:pt x="1081" y="347"/>
                </a:cubicBezTo>
                <a:cubicBezTo>
                  <a:pt x="1081" y="347"/>
                  <a:pt x="1082" y="346"/>
                  <a:pt x="1082" y="346"/>
                </a:cubicBezTo>
                <a:cubicBezTo>
                  <a:pt x="1082" y="346"/>
                  <a:pt x="1082" y="346"/>
                  <a:pt x="1082" y="346"/>
                </a:cubicBezTo>
                <a:cubicBezTo>
                  <a:pt x="1082" y="345"/>
                  <a:pt x="1082" y="345"/>
                  <a:pt x="1082" y="345"/>
                </a:cubicBezTo>
                <a:cubicBezTo>
                  <a:pt x="1082" y="345"/>
                  <a:pt x="1082" y="344"/>
                  <a:pt x="1082" y="344"/>
                </a:cubicBezTo>
                <a:cubicBezTo>
                  <a:pt x="1082" y="344"/>
                  <a:pt x="1082" y="344"/>
                  <a:pt x="1082" y="344"/>
                </a:cubicBezTo>
                <a:cubicBezTo>
                  <a:pt x="1082" y="345"/>
                  <a:pt x="1082" y="345"/>
                  <a:pt x="1081" y="345"/>
                </a:cubicBezTo>
                <a:cubicBezTo>
                  <a:pt x="1081" y="345"/>
                  <a:pt x="1081" y="345"/>
                  <a:pt x="1081" y="345"/>
                </a:cubicBezTo>
                <a:cubicBezTo>
                  <a:pt x="1081" y="346"/>
                  <a:pt x="1081" y="346"/>
                  <a:pt x="1080" y="347"/>
                </a:cubicBezTo>
                <a:cubicBezTo>
                  <a:pt x="1080" y="347"/>
                  <a:pt x="1080" y="348"/>
                  <a:pt x="1080" y="348"/>
                </a:cubicBezTo>
                <a:cubicBezTo>
                  <a:pt x="1080" y="348"/>
                  <a:pt x="1080" y="349"/>
                  <a:pt x="1079" y="349"/>
                </a:cubicBezTo>
                <a:cubicBezTo>
                  <a:pt x="1080" y="349"/>
                  <a:pt x="1080" y="349"/>
                  <a:pt x="1080" y="349"/>
                </a:cubicBezTo>
                <a:cubicBezTo>
                  <a:pt x="1080" y="350"/>
                  <a:pt x="1079" y="350"/>
                  <a:pt x="1079" y="351"/>
                </a:cubicBezTo>
                <a:cubicBezTo>
                  <a:pt x="1079" y="351"/>
                  <a:pt x="1079" y="351"/>
                  <a:pt x="1079" y="351"/>
                </a:cubicBezTo>
                <a:cubicBezTo>
                  <a:pt x="1079" y="351"/>
                  <a:pt x="1078" y="351"/>
                  <a:pt x="1078" y="351"/>
                </a:cubicBezTo>
                <a:cubicBezTo>
                  <a:pt x="1078" y="351"/>
                  <a:pt x="1078" y="351"/>
                  <a:pt x="1078" y="351"/>
                </a:cubicBezTo>
                <a:cubicBezTo>
                  <a:pt x="1078" y="351"/>
                  <a:pt x="1077" y="351"/>
                  <a:pt x="1077" y="351"/>
                </a:cubicBezTo>
                <a:cubicBezTo>
                  <a:pt x="1076" y="350"/>
                  <a:pt x="1075" y="349"/>
                  <a:pt x="1075" y="349"/>
                </a:cubicBezTo>
                <a:cubicBezTo>
                  <a:pt x="1074" y="348"/>
                  <a:pt x="1074" y="348"/>
                  <a:pt x="1074" y="348"/>
                </a:cubicBezTo>
                <a:cubicBezTo>
                  <a:pt x="1074" y="348"/>
                  <a:pt x="1073" y="347"/>
                  <a:pt x="1073" y="347"/>
                </a:cubicBezTo>
                <a:cubicBezTo>
                  <a:pt x="1073" y="347"/>
                  <a:pt x="1073" y="347"/>
                  <a:pt x="1073" y="347"/>
                </a:cubicBezTo>
                <a:cubicBezTo>
                  <a:pt x="1073" y="346"/>
                  <a:pt x="1073" y="346"/>
                  <a:pt x="1073" y="346"/>
                </a:cubicBezTo>
                <a:cubicBezTo>
                  <a:pt x="1072" y="345"/>
                  <a:pt x="1071" y="345"/>
                  <a:pt x="1071" y="344"/>
                </a:cubicBezTo>
                <a:cubicBezTo>
                  <a:pt x="1071" y="344"/>
                  <a:pt x="1071" y="344"/>
                  <a:pt x="1071" y="344"/>
                </a:cubicBezTo>
                <a:cubicBezTo>
                  <a:pt x="1070" y="344"/>
                  <a:pt x="1070" y="344"/>
                  <a:pt x="1070" y="344"/>
                </a:cubicBezTo>
                <a:cubicBezTo>
                  <a:pt x="1070" y="343"/>
                  <a:pt x="1070" y="343"/>
                  <a:pt x="1070" y="343"/>
                </a:cubicBezTo>
                <a:cubicBezTo>
                  <a:pt x="1070" y="343"/>
                  <a:pt x="1070" y="343"/>
                  <a:pt x="1069" y="343"/>
                </a:cubicBezTo>
                <a:cubicBezTo>
                  <a:pt x="1069" y="342"/>
                  <a:pt x="1069" y="342"/>
                  <a:pt x="1069" y="342"/>
                </a:cubicBezTo>
                <a:cubicBezTo>
                  <a:pt x="1069" y="342"/>
                  <a:pt x="1069" y="342"/>
                  <a:pt x="1069" y="343"/>
                </a:cubicBezTo>
                <a:cubicBezTo>
                  <a:pt x="1069" y="343"/>
                  <a:pt x="1069" y="343"/>
                  <a:pt x="1069" y="343"/>
                </a:cubicBezTo>
                <a:cubicBezTo>
                  <a:pt x="1069" y="343"/>
                  <a:pt x="1069" y="343"/>
                  <a:pt x="1069" y="344"/>
                </a:cubicBezTo>
                <a:cubicBezTo>
                  <a:pt x="1069" y="344"/>
                  <a:pt x="1070" y="344"/>
                  <a:pt x="1070" y="345"/>
                </a:cubicBezTo>
                <a:cubicBezTo>
                  <a:pt x="1070" y="345"/>
                  <a:pt x="1070" y="345"/>
                  <a:pt x="1070" y="345"/>
                </a:cubicBezTo>
                <a:cubicBezTo>
                  <a:pt x="1070" y="346"/>
                  <a:pt x="1071" y="347"/>
                  <a:pt x="1072" y="347"/>
                </a:cubicBezTo>
                <a:cubicBezTo>
                  <a:pt x="1072" y="347"/>
                  <a:pt x="1072" y="348"/>
                  <a:pt x="1072" y="348"/>
                </a:cubicBezTo>
                <a:cubicBezTo>
                  <a:pt x="1073" y="349"/>
                  <a:pt x="1074" y="349"/>
                  <a:pt x="1075" y="350"/>
                </a:cubicBezTo>
                <a:cubicBezTo>
                  <a:pt x="1075" y="350"/>
                  <a:pt x="1075" y="350"/>
                  <a:pt x="1075" y="350"/>
                </a:cubicBezTo>
                <a:cubicBezTo>
                  <a:pt x="1075" y="351"/>
                  <a:pt x="1075" y="351"/>
                  <a:pt x="1075" y="351"/>
                </a:cubicBezTo>
                <a:cubicBezTo>
                  <a:pt x="1075" y="351"/>
                  <a:pt x="1075" y="351"/>
                  <a:pt x="1075" y="352"/>
                </a:cubicBezTo>
                <a:cubicBezTo>
                  <a:pt x="1075" y="352"/>
                  <a:pt x="1076" y="353"/>
                  <a:pt x="1076" y="353"/>
                </a:cubicBezTo>
                <a:cubicBezTo>
                  <a:pt x="1076" y="353"/>
                  <a:pt x="1076" y="353"/>
                  <a:pt x="1076" y="354"/>
                </a:cubicBezTo>
                <a:cubicBezTo>
                  <a:pt x="1077" y="354"/>
                  <a:pt x="1077" y="354"/>
                  <a:pt x="1077" y="354"/>
                </a:cubicBezTo>
                <a:cubicBezTo>
                  <a:pt x="1077" y="354"/>
                  <a:pt x="1077" y="355"/>
                  <a:pt x="1077" y="355"/>
                </a:cubicBezTo>
                <a:cubicBezTo>
                  <a:pt x="1077" y="356"/>
                  <a:pt x="1077" y="356"/>
                  <a:pt x="1078" y="356"/>
                </a:cubicBezTo>
                <a:cubicBezTo>
                  <a:pt x="1077" y="356"/>
                  <a:pt x="1077" y="357"/>
                  <a:pt x="1077" y="357"/>
                </a:cubicBezTo>
                <a:cubicBezTo>
                  <a:pt x="1078" y="358"/>
                  <a:pt x="1079" y="359"/>
                  <a:pt x="1080" y="361"/>
                </a:cubicBezTo>
                <a:cubicBezTo>
                  <a:pt x="1080" y="361"/>
                  <a:pt x="1080" y="361"/>
                  <a:pt x="1080" y="362"/>
                </a:cubicBezTo>
                <a:cubicBezTo>
                  <a:pt x="1081" y="362"/>
                  <a:pt x="1081" y="362"/>
                  <a:pt x="1081" y="362"/>
                </a:cubicBezTo>
                <a:cubicBezTo>
                  <a:pt x="1082" y="363"/>
                  <a:pt x="1083" y="364"/>
                  <a:pt x="1083" y="364"/>
                </a:cubicBezTo>
                <a:cubicBezTo>
                  <a:pt x="1083" y="365"/>
                  <a:pt x="1083" y="365"/>
                  <a:pt x="1084" y="365"/>
                </a:cubicBezTo>
                <a:cubicBezTo>
                  <a:pt x="1084" y="366"/>
                  <a:pt x="1084" y="366"/>
                  <a:pt x="1084" y="366"/>
                </a:cubicBezTo>
                <a:cubicBezTo>
                  <a:pt x="1084" y="366"/>
                  <a:pt x="1084" y="366"/>
                  <a:pt x="1084" y="366"/>
                </a:cubicBezTo>
                <a:cubicBezTo>
                  <a:pt x="1084" y="366"/>
                  <a:pt x="1084" y="366"/>
                  <a:pt x="1084" y="366"/>
                </a:cubicBezTo>
                <a:cubicBezTo>
                  <a:pt x="1085" y="366"/>
                  <a:pt x="1085" y="367"/>
                  <a:pt x="1085" y="367"/>
                </a:cubicBezTo>
                <a:cubicBezTo>
                  <a:pt x="1085" y="367"/>
                  <a:pt x="1086" y="367"/>
                  <a:pt x="1086" y="367"/>
                </a:cubicBezTo>
                <a:cubicBezTo>
                  <a:pt x="1086" y="367"/>
                  <a:pt x="1086" y="367"/>
                  <a:pt x="1086" y="367"/>
                </a:cubicBezTo>
                <a:cubicBezTo>
                  <a:pt x="1086" y="367"/>
                  <a:pt x="1085" y="367"/>
                  <a:pt x="1085" y="367"/>
                </a:cubicBezTo>
                <a:cubicBezTo>
                  <a:pt x="1085" y="367"/>
                  <a:pt x="1084" y="367"/>
                  <a:pt x="1084" y="367"/>
                </a:cubicBezTo>
                <a:cubicBezTo>
                  <a:pt x="1084" y="367"/>
                  <a:pt x="1084" y="367"/>
                  <a:pt x="1084" y="367"/>
                </a:cubicBezTo>
                <a:cubicBezTo>
                  <a:pt x="1084" y="368"/>
                  <a:pt x="1084" y="368"/>
                  <a:pt x="1085" y="368"/>
                </a:cubicBezTo>
                <a:cubicBezTo>
                  <a:pt x="1085" y="368"/>
                  <a:pt x="1085" y="368"/>
                  <a:pt x="1085" y="369"/>
                </a:cubicBezTo>
                <a:cubicBezTo>
                  <a:pt x="1084" y="369"/>
                  <a:pt x="1084" y="369"/>
                  <a:pt x="1084" y="369"/>
                </a:cubicBezTo>
                <a:cubicBezTo>
                  <a:pt x="1084" y="370"/>
                  <a:pt x="1085" y="371"/>
                  <a:pt x="1085" y="371"/>
                </a:cubicBezTo>
                <a:cubicBezTo>
                  <a:pt x="1085" y="372"/>
                  <a:pt x="1086" y="372"/>
                  <a:pt x="1086" y="372"/>
                </a:cubicBezTo>
                <a:cubicBezTo>
                  <a:pt x="1087" y="372"/>
                  <a:pt x="1087" y="372"/>
                  <a:pt x="1087" y="372"/>
                </a:cubicBezTo>
                <a:cubicBezTo>
                  <a:pt x="1088" y="372"/>
                  <a:pt x="1088" y="372"/>
                  <a:pt x="1088" y="372"/>
                </a:cubicBezTo>
                <a:cubicBezTo>
                  <a:pt x="1088" y="372"/>
                  <a:pt x="1088" y="373"/>
                  <a:pt x="1089" y="373"/>
                </a:cubicBezTo>
                <a:cubicBezTo>
                  <a:pt x="1089" y="373"/>
                  <a:pt x="1089" y="373"/>
                  <a:pt x="1090" y="373"/>
                </a:cubicBezTo>
                <a:cubicBezTo>
                  <a:pt x="1090" y="374"/>
                  <a:pt x="1090" y="374"/>
                  <a:pt x="1090" y="374"/>
                </a:cubicBezTo>
                <a:cubicBezTo>
                  <a:pt x="1090" y="374"/>
                  <a:pt x="1091" y="375"/>
                  <a:pt x="1091" y="375"/>
                </a:cubicBezTo>
                <a:cubicBezTo>
                  <a:pt x="1091" y="375"/>
                  <a:pt x="1092" y="375"/>
                  <a:pt x="1092" y="375"/>
                </a:cubicBezTo>
                <a:cubicBezTo>
                  <a:pt x="1092" y="375"/>
                  <a:pt x="1092" y="375"/>
                  <a:pt x="1092" y="375"/>
                </a:cubicBezTo>
                <a:cubicBezTo>
                  <a:pt x="1092" y="375"/>
                  <a:pt x="1092" y="375"/>
                  <a:pt x="1092" y="376"/>
                </a:cubicBezTo>
                <a:cubicBezTo>
                  <a:pt x="1092" y="376"/>
                  <a:pt x="1092" y="376"/>
                  <a:pt x="1092" y="376"/>
                </a:cubicBezTo>
                <a:cubicBezTo>
                  <a:pt x="1092" y="376"/>
                  <a:pt x="1092" y="376"/>
                  <a:pt x="1092" y="376"/>
                </a:cubicBezTo>
                <a:cubicBezTo>
                  <a:pt x="1092" y="376"/>
                  <a:pt x="1092" y="376"/>
                  <a:pt x="1092" y="376"/>
                </a:cubicBezTo>
                <a:cubicBezTo>
                  <a:pt x="1092" y="376"/>
                  <a:pt x="1092" y="377"/>
                  <a:pt x="1092" y="377"/>
                </a:cubicBezTo>
                <a:cubicBezTo>
                  <a:pt x="1092" y="377"/>
                  <a:pt x="1092" y="377"/>
                  <a:pt x="1092" y="377"/>
                </a:cubicBezTo>
                <a:cubicBezTo>
                  <a:pt x="1092" y="377"/>
                  <a:pt x="1092" y="377"/>
                  <a:pt x="1092" y="377"/>
                </a:cubicBezTo>
                <a:cubicBezTo>
                  <a:pt x="1092" y="377"/>
                  <a:pt x="1092" y="378"/>
                  <a:pt x="1092" y="378"/>
                </a:cubicBezTo>
                <a:cubicBezTo>
                  <a:pt x="1093" y="378"/>
                  <a:pt x="1093" y="379"/>
                  <a:pt x="1093" y="379"/>
                </a:cubicBezTo>
                <a:cubicBezTo>
                  <a:pt x="1093" y="379"/>
                  <a:pt x="1093" y="379"/>
                  <a:pt x="1093" y="379"/>
                </a:cubicBezTo>
                <a:cubicBezTo>
                  <a:pt x="1093" y="379"/>
                  <a:pt x="1093" y="379"/>
                  <a:pt x="1093" y="379"/>
                </a:cubicBezTo>
                <a:cubicBezTo>
                  <a:pt x="1093" y="379"/>
                  <a:pt x="1093" y="379"/>
                  <a:pt x="1093" y="379"/>
                </a:cubicBezTo>
                <a:cubicBezTo>
                  <a:pt x="1093" y="379"/>
                  <a:pt x="1093" y="379"/>
                  <a:pt x="1092" y="379"/>
                </a:cubicBezTo>
                <a:cubicBezTo>
                  <a:pt x="1092" y="379"/>
                  <a:pt x="1092" y="379"/>
                  <a:pt x="1092" y="379"/>
                </a:cubicBezTo>
                <a:cubicBezTo>
                  <a:pt x="1092" y="379"/>
                  <a:pt x="1092" y="379"/>
                  <a:pt x="1092" y="379"/>
                </a:cubicBezTo>
                <a:cubicBezTo>
                  <a:pt x="1093" y="380"/>
                  <a:pt x="1093" y="381"/>
                  <a:pt x="1093" y="382"/>
                </a:cubicBezTo>
                <a:cubicBezTo>
                  <a:pt x="1093" y="383"/>
                  <a:pt x="1093" y="383"/>
                  <a:pt x="1093" y="384"/>
                </a:cubicBezTo>
                <a:cubicBezTo>
                  <a:pt x="1093" y="384"/>
                  <a:pt x="1093" y="385"/>
                  <a:pt x="1093" y="385"/>
                </a:cubicBezTo>
                <a:cubicBezTo>
                  <a:pt x="1093" y="386"/>
                  <a:pt x="1093" y="386"/>
                  <a:pt x="1094" y="387"/>
                </a:cubicBezTo>
                <a:cubicBezTo>
                  <a:pt x="1094" y="387"/>
                  <a:pt x="1094" y="388"/>
                  <a:pt x="1094" y="388"/>
                </a:cubicBezTo>
                <a:cubicBezTo>
                  <a:pt x="1095" y="388"/>
                  <a:pt x="1095" y="388"/>
                  <a:pt x="1095" y="388"/>
                </a:cubicBezTo>
                <a:cubicBezTo>
                  <a:pt x="1096" y="389"/>
                  <a:pt x="1097" y="389"/>
                  <a:pt x="1097" y="389"/>
                </a:cubicBezTo>
                <a:cubicBezTo>
                  <a:pt x="1097" y="390"/>
                  <a:pt x="1097" y="390"/>
                  <a:pt x="1097" y="390"/>
                </a:cubicBezTo>
                <a:cubicBezTo>
                  <a:pt x="1098" y="390"/>
                  <a:pt x="1098" y="390"/>
                  <a:pt x="1098" y="390"/>
                </a:cubicBezTo>
                <a:cubicBezTo>
                  <a:pt x="1099" y="390"/>
                  <a:pt x="1099" y="391"/>
                  <a:pt x="1099" y="391"/>
                </a:cubicBezTo>
                <a:cubicBezTo>
                  <a:pt x="1099" y="391"/>
                  <a:pt x="1099" y="391"/>
                  <a:pt x="1099" y="391"/>
                </a:cubicBezTo>
                <a:cubicBezTo>
                  <a:pt x="1099" y="391"/>
                  <a:pt x="1099" y="391"/>
                  <a:pt x="1100" y="391"/>
                </a:cubicBezTo>
                <a:cubicBezTo>
                  <a:pt x="1100" y="391"/>
                  <a:pt x="1100" y="391"/>
                  <a:pt x="1100" y="391"/>
                </a:cubicBezTo>
                <a:cubicBezTo>
                  <a:pt x="1100" y="392"/>
                  <a:pt x="1100" y="392"/>
                  <a:pt x="1101" y="392"/>
                </a:cubicBezTo>
                <a:cubicBezTo>
                  <a:pt x="1101" y="394"/>
                  <a:pt x="1102" y="395"/>
                  <a:pt x="1102" y="397"/>
                </a:cubicBezTo>
                <a:cubicBezTo>
                  <a:pt x="1103" y="398"/>
                  <a:pt x="1103" y="398"/>
                  <a:pt x="1103" y="399"/>
                </a:cubicBezTo>
                <a:cubicBezTo>
                  <a:pt x="1103" y="399"/>
                  <a:pt x="1103" y="399"/>
                  <a:pt x="1103" y="399"/>
                </a:cubicBezTo>
                <a:cubicBezTo>
                  <a:pt x="1103" y="400"/>
                  <a:pt x="1103" y="400"/>
                  <a:pt x="1103" y="400"/>
                </a:cubicBezTo>
                <a:cubicBezTo>
                  <a:pt x="1103" y="401"/>
                  <a:pt x="1103" y="401"/>
                  <a:pt x="1103" y="401"/>
                </a:cubicBezTo>
                <a:cubicBezTo>
                  <a:pt x="1104" y="401"/>
                  <a:pt x="1104" y="401"/>
                  <a:pt x="1104" y="401"/>
                </a:cubicBezTo>
                <a:cubicBezTo>
                  <a:pt x="1104" y="401"/>
                  <a:pt x="1104" y="402"/>
                  <a:pt x="1104" y="402"/>
                </a:cubicBezTo>
                <a:cubicBezTo>
                  <a:pt x="1104" y="402"/>
                  <a:pt x="1104" y="403"/>
                  <a:pt x="1104" y="403"/>
                </a:cubicBezTo>
                <a:cubicBezTo>
                  <a:pt x="1105" y="403"/>
                  <a:pt x="1105" y="403"/>
                  <a:pt x="1105" y="403"/>
                </a:cubicBezTo>
                <a:cubicBezTo>
                  <a:pt x="1105" y="403"/>
                  <a:pt x="1105" y="403"/>
                  <a:pt x="1105" y="402"/>
                </a:cubicBezTo>
                <a:cubicBezTo>
                  <a:pt x="1105" y="402"/>
                  <a:pt x="1105" y="402"/>
                  <a:pt x="1105" y="402"/>
                </a:cubicBezTo>
                <a:cubicBezTo>
                  <a:pt x="1105" y="402"/>
                  <a:pt x="1105" y="402"/>
                  <a:pt x="1105" y="401"/>
                </a:cubicBezTo>
                <a:cubicBezTo>
                  <a:pt x="1105" y="401"/>
                  <a:pt x="1106" y="401"/>
                  <a:pt x="1106" y="401"/>
                </a:cubicBezTo>
                <a:cubicBezTo>
                  <a:pt x="1106" y="402"/>
                  <a:pt x="1106" y="402"/>
                  <a:pt x="1106" y="402"/>
                </a:cubicBezTo>
                <a:cubicBezTo>
                  <a:pt x="1106" y="402"/>
                  <a:pt x="1106" y="403"/>
                  <a:pt x="1106" y="403"/>
                </a:cubicBezTo>
                <a:cubicBezTo>
                  <a:pt x="1106" y="403"/>
                  <a:pt x="1107" y="403"/>
                  <a:pt x="1107" y="404"/>
                </a:cubicBezTo>
                <a:cubicBezTo>
                  <a:pt x="1107" y="404"/>
                  <a:pt x="1107" y="404"/>
                  <a:pt x="1107" y="404"/>
                </a:cubicBezTo>
                <a:cubicBezTo>
                  <a:pt x="1108" y="404"/>
                  <a:pt x="1108" y="404"/>
                  <a:pt x="1108" y="404"/>
                </a:cubicBezTo>
                <a:cubicBezTo>
                  <a:pt x="1108" y="404"/>
                  <a:pt x="1108" y="404"/>
                  <a:pt x="1109" y="404"/>
                </a:cubicBezTo>
                <a:cubicBezTo>
                  <a:pt x="1109" y="404"/>
                  <a:pt x="1109" y="404"/>
                  <a:pt x="1109" y="404"/>
                </a:cubicBezTo>
                <a:cubicBezTo>
                  <a:pt x="1109" y="404"/>
                  <a:pt x="1109" y="404"/>
                  <a:pt x="1110" y="404"/>
                </a:cubicBezTo>
                <a:cubicBezTo>
                  <a:pt x="1110" y="404"/>
                  <a:pt x="1110" y="405"/>
                  <a:pt x="1110" y="405"/>
                </a:cubicBezTo>
                <a:cubicBezTo>
                  <a:pt x="1111" y="405"/>
                  <a:pt x="1111" y="405"/>
                  <a:pt x="1111" y="405"/>
                </a:cubicBezTo>
                <a:cubicBezTo>
                  <a:pt x="1111" y="405"/>
                  <a:pt x="1112" y="406"/>
                  <a:pt x="1112" y="406"/>
                </a:cubicBezTo>
                <a:cubicBezTo>
                  <a:pt x="1112" y="406"/>
                  <a:pt x="1112" y="406"/>
                  <a:pt x="1112" y="406"/>
                </a:cubicBezTo>
                <a:cubicBezTo>
                  <a:pt x="1113" y="407"/>
                  <a:pt x="1114" y="407"/>
                  <a:pt x="1114" y="408"/>
                </a:cubicBezTo>
                <a:cubicBezTo>
                  <a:pt x="1114" y="408"/>
                  <a:pt x="1114" y="408"/>
                  <a:pt x="1115" y="409"/>
                </a:cubicBezTo>
                <a:cubicBezTo>
                  <a:pt x="1115" y="409"/>
                  <a:pt x="1115" y="409"/>
                  <a:pt x="1116" y="409"/>
                </a:cubicBezTo>
                <a:cubicBezTo>
                  <a:pt x="1116" y="409"/>
                  <a:pt x="1116" y="410"/>
                  <a:pt x="1116" y="410"/>
                </a:cubicBezTo>
                <a:cubicBezTo>
                  <a:pt x="1116" y="410"/>
                  <a:pt x="1117" y="410"/>
                  <a:pt x="1117" y="410"/>
                </a:cubicBezTo>
                <a:cubicBezTo>
                  <a:pt x="1117" y="410"/>
                  <a:pt x="1117" y="410"/>
                  <a:pt x="1117" y="410"/>
                </a:cubicBezTo>
                <a:cubicBezTo>
                  <a:pt x="1117" y="410"/>
                  <a:pt x="1117" y="410"/>
                  <a:pt x="1117" y="410"/>
                </a:cubicBezTo>
                <a:cubicBezTo>
                  <a:pt x="1117" y="411"/>
                  <a:pt x="1118" y="411"/>
                  <a:pt x="1118" y="412"/>
                </a:cubicBezTo>
                <a:cubicBezTo>
                  <a:pt x="1118" y="412"/>
                  <a:pt x="1118" y="412"/>
                  <a:pt x="1118" y="412"/>
                </a:cubicBezTo>
                <a:cubicBezTo>
                  <a:pt x="1119" y="412"/>
                  <a:pt x="1119" y="412"/>
                  <a:pt x="1119" y="413"/>
                </a:cubicBezTo>
                <a:cubicBezTo>
                  <a:pt x="1119" y="413"/>
                  <a:pt x="1119" y="413"/>
                  <a:pt x="1119" y="413"/>
                </a:cubicBezTo>
                <a:cubicBezTo>
                  <a:pt x="1119" y="413"/>
                  <a:pt x="1119" y="413"/>
                  <a:pt x="1119" y="414"/>
                </a:cubicBezTo>
                <a:cubicBezTo>
                  <a:pt x="1119" y="414"/>
                  <a:pt x="1119" y="414"/>
                  <a:pt x="1120" y="414"/>
                </a:cubicBezTo>
                <a:cubicBezTo>
                  <a:pt x="1120" y="414"/>
                  <a:pt x="1120" y="414"/>
                  <a:pt x="1120" y="414"/>
                </a:cubicBezTo>
                <a:cubicBezTo>
                  <a:pt x="1120" y="414"/>
                  <a:pt x="1120" y="414"/>
                  <a:pt x="1121" y="414"/>
                </a:cubicBezTo>
                <a:cubicBezTo>
                  <a:pt x="1121" y="414"/>
                  <a:pt x="1121" y="414"/>
                  <a:pt x="1121" y="414"/>
                </a:cubicBezTo>
                <a:cubicBezTo>
                  <a:pt x="1121" y="414"/>
                  <a:pt x="1121" y="414"/>
                  <a:pt x="1121" y="414"/>
                </a:cubicBezTo>
                <a:cubicBezTo>
                  <a:pt x="1121" y="414"/>
                  <a:pt x="1121" y="414"/>
                  <a:pt x="1121" y="414"/>
                </a:cubicBezTo>
                <a:cubicBezTo>
                  <a:pt x="1121" y="414"/>
                  <a:pt x="1121" y="414"/>
                  <a:pt x="1121" y="414"/>
                </a:cubicBezTo>
                <a:cubicBezTo>
                  <a:pt x="1121" y="415"/>
                  <a:pt x="1122" y="415"/>
                  <a:pt x="1122" y="415"/>
                </a:cubicBezTo>
                <a:cubicBezTo>
                  <a:pt x="1122" y="415"/>
                  <a:pt x="1122" y="415"/>
                  <a:pt x="1122" y="415"/>
                </a:cubicBezTo>
                <a:cubicBezTo>
                  <a:pt x="1122" y="415"/>
                  <a:pt x="1122" y="416"/>
                  <a:pt x="1122" y="416"/>
                </a:cubicBezTo>
                <a:cubicBezTo>
                  <a:pt x="1122" y="416"/>
                  <a:pt x="1122" y="416"/>
                  <a:pt x="1122" y="417"/>
                </a:cubicBezTo>
                <a:cubicBezTo>
                  <a:pt x="1122" y="417"/>
                  <a:pt x="1122" y="417"/>
                  <a:pt x="1122" y="417"/>
                </a:cubicBezTo>
                <a:cubicBezTo>
                  <a:pt x="1121" y="417"/>
                  <a:pt x="1121" y="417"/>
                  <a:pt x="1121" y="418"/>
                </a:cubicBezTo>
                <a:cubicBezTo>
                  <a:pt x="1120" y="418"/>
                  <a:pt x="1120" y="418"/>
                  <a:pt x="1120" y="417"/>
                </a:cubicBezTo>
                <a:cubicBezTo>
                  <a:pt x="1120" y="418"/>
                  <a:pt x="1120" y="418"/>
                  <a:pt x="1119" y="418"/>
                </a:cubicBezTo>
                <a:cubicBezTo>
                  <a:pt x="1119" y="418"/>
                  <a:pt x="1119" y="418"/>
                  <a:pt x="1118" y="418"/>
                </a:cubicBezTo>
                <a:cubicBezTo>
                  <a:pt x="1118" y="418"/>
                  <a:pt x="1119" y="418"/>
                  <a:pt x="1119" y="418"/>
                </a:cubicBezTo>
                <a:cubicBezTo>
                  <a:pt x="1119" y="418"/>
                  <a:pt x="1119" y="418"/>
                  <a:pt x="1119" y="419"/>
                </a:cubicBezTo>
                <a:cubicBezTo>
                  <a:pt x="1119" y="418"/>
                  <a:pt x="1120" y="418"/>
                  <a:pt x="1120" y="418"/>
                </a:cubicBezTo>
                <a:cubicBezTo>
                  <a:pt x="1120" y="418"/>
                  <a:pt x="1121" y="418"/>
                  <a:pt x="1121" y="418"/>
                </a:cubicBezTo>
                <a:cubicBezTo>
                  <a:pt x="1121" y="419"/>
                  <a:pt x="1121" y="419"/>
                  <a:pt x="1121" y="419"/>
                </a:cubicBezTo>
                <a:cubicBezTo>
                  <a:pt x="1121" y="419"/>
                  <a:pt x="1122" y="419"/>
                  <a:pt x="1122" y="419"/>
                </a:cubicBezTo>
                <a:cubicBezTo>
                  <a:pt x="1122" y="419"/>
                  <a:pt x="1122" y="419"/>
                  <a:pt x="1122" y="419"/>
                </a:cubicBezTo>
                <a:cubicBezTo>
                  <a:pt x="1123" y="420"/>
                  <a:pt x="1124" y="421"/>
                  <a:pt x="1125" y="422"/>
                </a:cubicBezTo>
                <a:cubicBezTo>
                  <a:pt x="1125" y="422"/>
                  <a:pt x="1125" y="423"/>
                  <a:pt x="1125" y="423"/>
                </a:cubicBezTo>
                <a:cubicBezTo>
                  <a:pt x="1125" y="423"/>
                  <a:pt x="1125" y="423"/>
                  <a:pt x="1125" y="423"/>
                </a:cubicBezTo>
                <a:cubicBezTo>
                  <a:pt x="1126" y="423"/>
                  <a:pt x="1126" y="423"/>
                  <a:pt x="1127" y="424"/>
                </a:cubicBezTo>
                <a:cubicBezTo>
                  <a:pt x="1127" y="424"/>
                  <a:pt x="1127" y="424"/>
                  <a:pt x="1128" y="424"/>
                </a:cubicBezTo>
                <a:cubicBezTo>
                  <a:pt x="1128" y="424"/>
                  <a:pt x="1129" y="424"/>
                  <a:pt x="1129" y="424"/>
                </a:cubicBezTo>
                <a:cubicBezTo>
                  <a:pt x="1129" y="424"/>
                  <a:pt x="1129" y="424"/>
                  <a:pt x="1130" y="424"/>
                </a:cubicBezTo>
                <a:cubicBezTo>
                  <a:pt x="1130" y="424"/>
                  <a:pt x="1131" y="424"/>
                  <a:pt x="1131" y="423"/>
                </a:cubicBezTo>
                <a:cubicBezTo>
                  <a:pt x="1131" y="423"/>
                  <a:pt x="1132" y="423"/>
                  <a:pt x="1132" y="423"/>
                </a:cubicBezTo>
                <a:cubicBezTo>
                  <a:pt x="1132" y="423"/>
                  <a:pt x="1133" y="423"/>
                  <a:pt x="1134" y="423"/>
                </a:cubicBezTo>
                <a:cubicBezTo>
                  <a:pt x="1134" y="423"/>
                  <a:pt x="1134" y="423"/>
                  <a:pt x="1134" y="423"/>
                </a:cubicBezTo>
                <a:cubicBezTo>
                  <a:pt x="1134" y="423"/>
                  <a:pt x="1134" y="423"/>
                  <a:pt x="1134" y="423"/>
                </a:cubicBezTo>
                <a:cubicBezTo>
                  <a:pt x="1135" y="423"/>
                  <a:pt x="1135" y="423"/>
                  <a:pt x="1136" y="423"/>
                </a:cubicBezTo>
                <a:cubicBezTo>
                  <a:pt x="1136" y="423"/>
                  <a:pt x="1136" y="423"/>
                  <a:pt x="1136" y="423"/>
                </a:cubicBezTo>
                <a:cubicBezTo>
                  <a:pt x="1136" y="423"/>
                  <a:pt x="1137" y="423"/>
                  <a:pt x="1137" y="423"/>
                </a:cubicBezTo>
                <a:cubicBezTo>
                  <a:pt x="1138" y="423"/>
                  <a:pt x="1138" y="423"/>
                  <a:pt x="1139" y="423"/>
                </a:cubicBezTo>
                <a:cubicBezTo>
                  <a:pt x="1140" y="423"/>
                  <a:pt x="1141" y="423"/>
                  <a:pt x="1142" y="422"/>
                </a:cubicBezTo>
                <a:cubicBezTo>
                  <a:pt x="1142" y="422"/>
                  <a:pt x="1142" y="422"/>
                  <a:pt x="1143" y="422"/>
                </a:cubicBezTo>
                <a:cubicBezTo>
                  <a:pt x="1143" y="423"/>
                  <a:pt x="1143" y="423"/>
                  <a:pt x="1144" y="423"/>
                </a:cubicBezTo>
                <a:cubicBezTo>
                  <a:pt x="1144" y="423"/>
                  <a:pt x="1144" y="423"/>
                  <a:pt x="1144" y="423"/>
                </a:cubicBezTo>
                <a:cubicBezTo>
                  <a:pt x="1145" y="423"/>
                  <a:pt x="1145" y="423"/>
                  <a:pt x="1146" y="423"/>
                </a:cubicBezTo>
                <a:cubicBezTo>
                  <a:pt x="1146" y="423"/>
                  <a:pt x="1147" y="423"/>
                  <a:pt x="1147" y="423"/>
                </a:cubicBezTo>
                <a:cubicBezTo>
                  <a:pt x="1148" y="423"/>
                  <a:pt x="1148" y="423"/>
                  <a:pt x="1149" y="423"/>
                </a:cubicBezTo>
                <a:cubicBezTo>
                  <a:pt x="1149" y="423"/>
                  <a:pt x="1149" y="423"/>
                  <a:pt x="1149" y="423"/>
                </a:cubicBezTo>
                <a:cubicBezTo>
                  <a:pt x="1149" y="423"/>
                  <a:pt x="1150" y="423"/>
                  <a:pt x="1150" y="423"/>
                </a:cubicBezTo>
                <a:cubicBezTo>
                  <a:pt x="1151" y="423"/>
                  <a:pt x="1151" y="423"/>
                  <a:pt x="1152" y="423"/>
                </a:cubicBezTo>
                <a:cubicBezTo>
                  <a:pt x="1153" y="423"/>
                  <a:pt x="1153" y="423"/>
                  <a:pt x="1153" y="423"/>
                </a:cubicBezTo>
                <a:cubicBezTo>
                  <a:pt x="1154" y="423"/>
                  <a:pt x="1154" y="423"/>
                  <a:pt x="1155" y="423"/>
                </a:cubicBezTo>
                <a:cubicBezTo>
                  <a:pt x="1155" y="423"/>
                  <a:pt x="1155" y="423"/>
                  <a:pt x="1155" y="423"/>
                </a:cubicBezTo>
                <a:cubicBezTo>
                  <a:pt x="1155" y="423"/>
                  <a:pt x="1155" y="423"/>
                  <a:pt x="1155" y="423"/>
                </a:cubicBezTo>
                <a:cubicBezTo>
                  <a:pt x="1156" y="423"/>
                  <a:pt x="1156" y="423"/>
                  <a:pt x="1157" y="423"/>
                </a:cubicBezTo>
                <a:cubicBezTo>
                  <a:pt x="1157" y="423"/>
                  <a:pt x="1157" y="422"/>
                  <a:pt x="1158" y="422"/>
                </a:cubicBezTo>
                <a:cubicBezTo>
                  <a:pt x="1158" y="422"/>
                  <a:pt x="1158" y="422"/>
                  <a:pt x="1158" y="422"/>
                </a:cubicBezTo>
                <a:cubicBezTo>
                  <a:pt x="1158" y="422"/>
                  <a:pt x="1158" y="422"/>
                  <a:pt x="1158" y="422"/>
                </a:cubicBezTo>
                <a:cubicBezTo>
                  <a:pt x="1158" y="422"/>
                  <a:pt x="1158" y="422"/>
                  <a:pt x="1158" y="422"/>
                </a:cubicBezTo>
                <a:cubicBezTo>
                  <a:pt x="1158" y="422"/>
                  <a:pt x="1159" y="421"/>
                  <a:pt x="1159" y="421"/>
                </a:cubicBezTo>
                <a:cubicBezTo>
                  <a:pt x="1159" y="421"/>
                  <a:pt x="1159" y="421"/>
                  <a:pt x="1159" y="421"/>
                </a:cubicBezTo>
                <a:cubicBezTo>
                  <a:pt x="1159" y="421"/>
                  <a:pt x="1159" y="421"/>
                  <a:pt x="1159" y="421"/>
                </a:cubicBezTo>
                <a:cubicBezTo>
                  <a:pt x="1159" y="421"/>
                  <a:pt x="1160" y="422"/>
                  <a:pt x="1160" y="422"/>
                </a:cubicBezTo>
                <a:cubicBezTo>
                  <a:pt x="1160" y="422"/>
                  <a:pt x="1161" y="422"/>
                  <a:pt x="1161" y="422"/>
                </a:cubicBezTo>
                <a:cubicBezTo>
                  <a:pt x="1161" y="422"/>
                  <a:pt x="1161" y="422"/>
                  <a:pt x="1162" y="422"/>
                </a:cubicBezTo>
                <a:cubicBezTo>
                  <a:pt x="1162" y="422"/>
                  <a:pt x="1162" y="422"/>
                  <a:pt x="1162" y="422"/>
                </a:cubicBezTo>
                <a:cubicBezTo>
                  <a:pt x="1162" y="423"/>
                  <a:pt x="1161" y="423"/>
                  <a:pt x="1161" y="423"/>
                </a:cubicBezTo>
                <a:cubicBezTo>
                  <a:pt x="1161" y="423"/>
                  <a:pt x="1161" y="423"/>
                  <a:pt x="1161" y="423"/>
                </a:cubicBezTo>
                <a:cubicBezTo>
                  <a:pt x="1161" y="424"/>
                  <a:pt x="1161" y="424"/>
                  <a:pt x="1161" y="424"/>
                </a:cubicBezTo>
                <a:cubicBezTo>
                  <a:pt x="1161" y="424"/>
                  <a:pt x="1160" y="424"/>
                  <a:pt x="1160" y="424"/>
                </a:cubicBezTo>
                <a:cubicBezTo>
                  <a:pt x="1160" y="424"/>
                  <a:pt x="1160" y="425"/>
                  <a:pt x="1161" y="425"/>
                </a:cubicBezTo>
                <a:cubicBezTo>
                  <a:pt x="1161" y="425"/>
                  <a:pt x="1161" y="425"/>
                  <a:pt x="1161" y="425"/>
                </a:cubicBezTo>
                <a:cubicBezTo>
                  <a:pt x="1161" y="425"/>
                  <a:pt x="1161" y="425"/>
                  <a:pt x="1161" y="425"/>
                </a:cubicBezTo>
                <a:cubicBezTo>
                  <a:pt x="1161" y="425"/>
                  <a:pt x="1161" y="425"/>
                  <a:pt x="1161" y="425"/>
                </a:cubicBezTo>
                <a:cubicBezTo>
                  <a:pt x="1160" y="425"/>
                  <a:pt x="1160" y="426"/>
                  <a:pt x="1160" y="426"/>
                </a:cubicBezTo>
                <a:cubicBezTo>
                  <a:pt x="1160" y="426"/>
                  <a:pt x="1160" y="426"/>
                  <a:pt x="1160" y="426"/>
                </a:cubicBezTo>
                <a:cubicBezTo>
                  <a:pt x="1160" y="427"/>
                  <a:pt x="1160" y="427"/>
                  <a:pt x="1161" y="427"/>
                </a:cubicBezTo>
                <a:cubicBezTo>
                  <a:pt x="1160" y="427"/>
                  <a:pt x="1160" y="427"/>
                  <a:pt x="1160" y="428"/>
                </a:cubicBezTo>
                <a:cubicBezTo>
                  <a:pt x="1160" y="428"/>
                  <a:pt x="1161" y="428"/>
                  <a:pt x="1161" y="428"/>
                </a:cubicBezTo>
                <a:cubicBezTo>
                  <a:pt x="1161" y="428"/>
                  <a:pt x="1161" y="427"/>
                  <a:pt x="1161" y="427"/>
                </a:cubicBezTo>
                <a:cubicBezTo>
                  <a:pt x="1161" y="427"/>
                  <a:pt x="1161" y="428"/>
                  <a:pt x="1161" y="428"/>
                </a:cubicBezTo>
                <a:cubicBezTo>
                  <a:pt x="1161" y="428"/>
                  <a:pt x="1161" y="428"/>
                  <a:pt x="1161" y="428"/>
                </a:cubicBezTo>
                <a:cubicBezTo>
                  <a:pt x="1161" y="428"/>
                  <a:pt x="1161" y="428"/>
                  <a:pt x="1161" y="428"/>
                </a:cubicBezTo>
                <a:cubicBezTo>
                  <a:pt x="1161" y="428"/>
                  <a:pt x="1161" y="428"/>
                  <a:pt x="1161" y="428"/>
                </a:cubicBezTo>
                <a:cubicBezTo>
                  <a:pt x="1161" y="428"/>
                  <a:pt x="1160" y="428"/>
                  <a:pt x="1160" y="428"/>
                </a:cubicBezTo>
                <a:cubicBezTo>
                  <a:pt x="1160" y="428"/>
                  <a:pt x="1160" y="428"/>
                  <a:pt x="1160" y="428"/>
                </a:cubicBezTo>
                <a:cubicBezTo>
                  <a:pt x="1159" y="428"/>
                  <a:pt x="1159" y="428"/>
                  <a:pt x="1159" y="429"/>
                </a:cubicBezTo>
                <a:cubicBezTo>
                  <a:pt x="1159" y="429"/>
                  <a:pt x="1159" y="429"/>
                  <a:pt x="1159" y="429"/>
                </a:cubicBezTo>
                <a:cubicBezTo>
                  <a:pt x="1159" y="430"/>
                  <a:pt x="1159" y="430"/>
                  <a:pt x="1159" y="430"/>
                </a:cubicBezTo>
                <a:cubicBezTo>
                  <a:pt x="1159" y="430"/>
                  <a:pt x="1159" y="430"/>
                  <a:pt x="1159" y="430"/>
                </a:cubicBezTo>
                <a:cubicBezTo>
                  <a:pt x="1159" y="431"/>
                  <a:pt x="1159" y="431"/>
                  <a:pt x="1158" y="431"/>
                </a:cubicBezTo>
                <a:cubicBezTo>
                  <a:pt x="1158" y="432"/>
                  <a:pt x="1157" y="432"/>
                  <a:pt x="1157" y="433"/>
                </a:cubicBezTo>
                <a:cubicBezTo>
                  <a:pt x="1156" y="434"/>
                  <a:pt x="1156" y="434"/>
                  <a:pt x="1155" y="435"/>
                </a:cubicBezTo>
                <a:cubicBezTo>
                  <a:pt x="1155" y="435"/>
                  <a:pt x="1155" y="435"/>
                  <a:pt x="1154" y="435"/>
                </a:cubicBezTo>
                <a:cubicBezTo>
                  <a:pt x="1154" y="435"/>
                  <a:pt x="1154" y="435"/>
                  <a:pt x="1154" y="435"/>
                </a:cubicBezTo>
                <a:cubicBezTo>
                  <a:pt x="1154" y="435"/>
                  <a:pt x="1153" y="436"/>
                  <a:pt x="1153" y="436"/>
                </a:cubicBezTo>
                <a:cubicBezTo>
                  <a:pt x="1153" y="436"/>
                  <a:pt x="1153" y="436"/>
                  <a:pt x="1153" y="436"/>
                </a:cubicBezTo>
                <a:cubicBezTo>
                  <a:pt x="1153" y="436"/>
                  <a:pt x="1153" y="437"/>
                  <a:pt x="1153" y="437"/>
                </a:cubicBezTo>
                <a:cubicBezTo>
                  <a:pt x="1153" y="437"/>
                  <a:pt x="1153" y="437"/>
                  <a:pt x="1152" y="437"/>
                </a:cubicBezTo>
                <a:cubicBezTo>
                  <a:pt x="1151" y="438"/>
                  <a:pt x="1150" y="440"/>
                  <a:pt x="1149" y="441"/>
                </a:cubicBezTo>
                <a:cubicBezTo>
                  <a:pt x="1149" y="441"/>
                  <a:pt x="1149" y="442"/>
                  <a:pt x="1149" y="442"/>
                </a:cubicBezTo>
                <a:cubicBezTo>
                  <a:pt x="1148" y="442"/>
                  <a:pt x="1147" y="443"/>
                  <a:pt x="1147" y="444"/>
                </a:cubicBezTo>
                <a:cubicBezTo>
                  <a:pt x="1147" y="444"/>
                  <a:pt x="1147" y="444"/>
                  <a:pt x="1147" y="444"/>
                </a:cubicBezTo>
                <a:cubicBezTo>
                  <a:pt x="1145" y="445"/>
                  <a:pt x="1144" y="446"/>
                  <a:pt x="1143" y="447"/>
                </a:cubicBezTo>
                <a:cubicBezTo>
                  <a:pt x="1143" y="447"/>
                  <a:pt x="1143" y="448"/>
                  <a:pt x="1142" y="448"/>
                </a:cubicBezTo>
                <a:cubicBezTo>
                  <a:pt x="1142" y="448"/>
                  <a:pt x="1141" y="449"/>
                  <a:pt x="1141" y="449"/>
                </a:cubicBezTo>
                <a:cubicBezTo>
                  <a:pt x="1140" y="450"/>
                  <a:pt x="1139" y="450"/>
                  <a:pt x="1138" y="451"/>
                </a:cubicBezTo>
                <a:cubicBezTo>
                  <a:pt x="1136" y="452"/>
                  <a:pt x="1134" y="453"/>
                  <a:pt x="1132" y="454"/>
                </a:cubicBezTo>
                <a:cubicBezTo>
                  <a:pt x="1131" y="454"/>
                  <a:pt x="1130" y="455"/>
                  <a:pt x="1130" y="455"/>
                </a:cubicBezTo>
                <a:cubicBezTo>
                  <a:pt x="1129" y="455"/>
                  <a:pt x="1129" y="455"/>
                  <a:pt x="1128" y="455"/>
                </a:cubicBezTo>
                <a:cubicBezTo>
                  <a:pt x="1127" y="455"/>
                  <a:pt x="1127" y="456"/>
                  <a:pt x="1127" y="456"/>
                </a:cubicBezTo>
                <a:cubicBezTo>
                  <a:pt x="1126" y="456"/>
                  <a:pt x="1125" y="456"/>
                  <a:pt x="1125" y="457"/>
                </a:cubicBezTo>
                <a:cubicBezTo>
                  <a:pt x="1123" y="457"/>
                  <a:pt x="1122" y="458"/>
                  <a:pt x="1121" y="459"/>
                </a:cubicBezTo>
                <a:cubicBezTo>
                  <a:pt x="1121" y="459"/>
                  <a:pt x="1121" y="459"/>
                  <a:pt x="1120" y="459"/>
                </a:cubicBezTo>
                <a:cubicBezTo>
                  <a:pt x="1119" y="460"/>
                  <a:pt x="1118" y="460"/>
                  <a:pt x="1117" y="461"/>
                </a:cubicBezTo>
                <a:cubicBezTo>
                  <a:pt x="1117" y="461"/>
                  <a:pt x="1117" y="461"/>
                  <a:pt x="1117" y="461"/>
                </a:cubicBezTo>
                <a:cubicBezTo>
                  <a:pt x="1117" y="461"/>
                  <a:pt x="1117" y="461"/>
                  <a:pt x="1116" y="462"/>
                </a:cubicBezTo>
                <a:cubicBezTo>
                  <a:pt x="1116" y="462"/>
                  <a:pt x="1116" y="462"/>
                  <a:pt x="1115" y="462"/>
                </a:cubicBezTo>
                <a:cubicBezTo>
                  <a:pt x="1115" y="462"/>
                  <a:pt x="1115" y="462"/>
                  <a:pt x="1114" y="462"/>
                </a:cubicBezTo>
                <a:cubicBezTo>
                  <a:pt x="1114" y="463"/>
                  <a:pt x="1114" y="463"/>
                  <a:pt x="1114" y="463"/>
                </a:cubicBezTo>
                <a:cubicBezTo>
                  <a:pt x="1112" y="464"/>
                  <a:pt x="1111" y="465"/>
                  <a:pt x="1109" y="466"/>
                </a:cubicBezTo>
                <a:cubicBezTo>
                  <a:pt x="1109" y="466"/>
                  <a:pt x="1109" y="466"/>
                  <a:pt x="1109" y="466"/>
                </a:cubicBezTo>
                <a:cubicBezTo>
                  <a:pt x="1109" y="466"/>
                  <a:pt x="1109" y="466"/>
                  <a:pt x="1109" y="466"/>
                </a:cubicBezTo>
                <a:cubicBezTo>
                  <a:pt x="1109" y="467"/>
                  <a:pt x="1108" y="467"/>
                  <a:pt x="1108" y="468"/>
                </a:cubicBezTo>
                <a:cubicBezTo>
                  <a:pt x="1107" y="468"/>
                  <a:pt x="1107" y="468"/>
                  <a:pt x="1107" y="468"/>
                </a:cubicBezTo>
                <a:cubicBezTo>
                  <a:pt x="1107" y="468"/>
                  <a:pt x="1107" y="468"/>
                  <a:pt x="1107" y="468"/>
                </a:cubicBezTo>
                <a:cubicBezTo>
                  <a:pt x="1107" y="468"/>
                  <a:pt x="1107" y="468"/>
                  <a:pt x="1107" y="469"/>
                </a:cubicBezTo>
                <a:cubicBezTo>
                  <a:pt x="1106" y="469"/>
                  <a:pt x="1106" y="469"/>
                  <a:pt x="1105" y="469"/>
                </a:cubicBezTo>
                <a:cubicBezTo>
                  <a:pt x="1105" y="469"/>
                  <a:pt x="1104" y="469"/>
                  <a:pt x="1104" y="470"/>
                </a:cubicBezTo>
                <a:cubicBezTo>
                  <a:pt x="1104" y="470"/>
                  <a:pt x="1103" y="470"/>
                  <a:pt x="1103" y="470"/>
                </a:cubicBezTo>
                <a:cubicBezTo>
                  <a:pt x="1103" y="470"/>
                  <a:pt x="1102" y="470"/>
                  <a:pt x="1102" y="470"/>
                </a:cubicBezTo>
                <a:cubicBezTo>
                  <a:pt x="1102" y="470"/>
                  <a:pt x="1102" y="470"/>
                  <a:pt x="1102" y="470"/>
                </a:cubicBezTo>
                <a:cubicBezTo>
                  <a:pt x="1102" y="470"/>
                  <a:pt x="1101" y="470"/>
                  <a:pt x="1101" y="470"/>
                </a:cubicBezTo>
                <a:cubicBezTo>
                  <a:pt x="1101" y="471"/>
                  <a:pt x="1101" y="471"/>
                  <a:pt x="1101" y="471"/>
                </a:cubicBezTo>
                <a:cubicBezTo>
                  <a:pt x="1101" y="471"/>
                  <a:pt x="1101" y="471"/>
                  <a:pt x="1101" y="471"/>
                </a:cubicBezTo>
                <a:cubicBezTo>
                  <a:pt x="1101" y="471"/>
                  <a:pt x="1101" y="472"/>
                  <a:pt x="1101" y="472"/>
                </a:cubicBezTo>
                <a:cubicBezTo>
                  <a:pt x="1100" y="472"/>
                  <a:pt x="1100" y="472"/>
                  <a:pt x="1100" y="473"/>
                </a:cubicBezTo>
                <a:cubicBezTo>
                  <a:pt x="1100" y="473"/>
                  <a:pt x="1100" y="473"/>
                  <a:pt x="1100" y="473"/>
                </a:cubicBezTo>
                <a:cubicBezTo>
                  <a:pt x="1099" y="474"/>
                  <a:pt x="1099" y="474"/>
                  <a:pt x="1099" y="475"/>
                </a:cubicBezTo>
                <a:cubicBezTo>
                  <a:pt x="1098" y="475"/>
                  <a:pt x="1098" y="476"/>
                  <a:pt x="1097" y="476"/>
                </a:cubicBezTo>
                <a:cubicBezTo>
                  <a:pt x="1097" y="476"/>
                  <a:pt x="1096" y="476"/>
                  <a:pt x="1096" y="477"/>
                </a:cubicBezTo>
                <a:cubicBezTo>
                  <a:pt x="1096" y="477"/>
                  <a:pt x="1096" y="477"/>
                  <a:pt x="1095" y="476"/>
                </a:cubicBezTo>
                <a:cubicBezTo>
                  <a:pt x="1095" y="476"/>
                  <a:pt x="1095" y="476"/>
                  <a:pt x="1095" y="476"/>
                </a:cubicBezTo>
                <a:cubicBezTo>
                  <a:pt x="1095" y="477"/>
                  <a:pt x="1095" y="477"/>
                  <a:pt x="1095" y="477"/>
                </a:cubicBezTo>
                <a:cubicBezTo>
                  <a:pt x="1095" y="477"/>
                  <a:pt x="1095" y="477"/>
                  <a:pt x="1095" y="477"/>
                </a:cubicBezTo>
                <a:cubicBezTo>
                  <a:pt x="1095" y="477"/>
                  <a:pt x="1095" y="477"/>
                  <a:pt x="1095" y="478"/>
                </a:cubicBezTo>
                <a:cubicBezTo>
                  <a:pt x="1095" y="478"/>
                  <a:pt x="1094" y="479"/>
                  <a:pt x="1094" y="480"/>
                </a:cubicBezTo>
                <a:cubicBezTo>
                  <a:pt x="1094" y="480"/>
                  <a:pt x="1093" y="481"/>
                  <a:pt x="1093" y="481"/>
                </a:cubicBezTo>
                <a:cubicBezTo>
                  <a:pt x="1093" y="482"/>
                  <a:pt x="1093" y="482"/>
                  <a:pt x="1093" y="482"/>
                </a:cubicBezTo>
                <a:cubicBezTo>
                  <a:pt x="1093" y="483"/>
                  <a:pt x="1094" y="483"/>
                  <a:pt x="1094" y="483"/>
                </a:cubicBezTo>
                <a:cubicBezTo>
                  <a:pt x="1094" y="484"/>
                  <a:pt x="1095" y="484"/>
                  <a:pt x="1095" y="484"/>
                </a:cubicBezTo>
                <a:cubicBezTo>
                  <a:pt x="1095" y="484"/>
                  <a:pt x="1095" y="484"/>
                  <a:pt x="1096" y="484"/>
                </a:cubicBezTo>
                <a:cubicBezTo>
                  <a:pt x="1096" y="485"/>
                  <a:pt x="1096" y="485"/>
                  <a:pt x="1096" y="486"/>
                </a:cubicBezTo>
                <a:cubicBezTo>
                  <a:pt x="1096" y="486"/>
                  <a:pt x="1096" y="486"/>
                  <a:pt x="1096" y="486"/>
                </a:cubicBezTo>
                <a:cubicBezTo>
                  <a:pt x="1096" y="486"/>
                  <a:pt x="1096" y="486"/>
                  <a:pt x="1095" y="486"/>
                </a:cubicBezTo>
                <a:cubicBezTo>
                  <a:pt x="1095" y="486"/>
                  <a:pt x="1095" y="486"/>
                  <a:pt x="1095" y="486"/>
                </a:cubicBezTo>
                <a:cubicBezTo>
                  <a:pt x="1095" y="486"/>
                  <a:pt x="1095" y="487"/>
                  <a:pt x="1095" y="487"/>
                </a:cubicBezTo>
                <a:cubicBezTo>
                  <a:pt x="1094" y="488"/>
                  <a:pt x="1094" y="488"/>
                  <a:pt x="1094" y="488"/>
                </a:cubicBezTo>
                <a:cubicBezTo>
                  <a:pt x="1095" y="489"/>
                  <a:pt x="1095" y="489"/>
                  <a:pt x="1095" y="489"/>
                </a:cubicBezTo>
                <a:cubicBezTo>
                  <a:pt x="1095" y="489"/>
                  <a:pt x="1095" y="490"/>
                  <a:pt x="1095" y="490"/>
                </a:cubicBezTo>
                <a:cubicBezTo>
                  <a:pt x="1095" y="490"/>
                  <a:pt x="1094" y="490"/>
                  <a:pt x="1094" y="490"/>
                </a:cubicBezTo>
                <a:cubicBezTo>
                  <a:pt x="1094" y="491"/>
                  <a:pt x="1094" y="491"/>
                  <a:pt x="1094" y="491"/>
                </a:cubicBezTo>
                <a:cubicBezTo>
                  <a:pt x="1094" y="491"/>
                  <a:pt x="1095" y="492"/>
                  <a:pt x="1095" y="492"/>
                </a:cubicBezTo>
                <a:cubicBezTo>
                  <a:pt x="1095" y="492"/>
                  <a:pt x="1095" y="492"/>
                  <a:pt x="1094" y="492"/>
                </a:cubicBezTo>
                <a:cubicBezTo>
                  <a:pt x="1095" y="492"/>
                  <a:pt x="1095" y="492"/>
                  <a:pt x="1095" y="493"/>
                </a:cubicBezTo>
                <a:cubicBezTo>
                  <a:pt x="1095" y="493"/>
                  <a:pt x="1095" y="493"/>
                  <a:pt x="1095" y="493"/>
                </a:cubicBezTo>
                <a:cubicBezTo>
                  <a:pt x="1095" y="493"/>
                  <a:pt x="1095" y="494"/>
                  <a:pt x="1095" y="494"/>
                </a:cubicBezTo>
                <a:cubicBezTo>
                  <a:pt x="1095" y="494"/>
                  <a:pt x="1095" y="494"/>
                  <a:pt x="1095" y="494"/>
                </a:cubicBezTo>
                <a:cubicBezTo>
                  <a:pt x="1095" y="494"/>
                  <a:pt x="1095" y="495"/>
                  <a:pt x="1095" y="495"/>
                </a:cubicBezTo>
                <a:cubicBezTo>
                  <a:pt x="1095" y="495"/>
                  <a:pt x="1095" y="496"/>
                  <a:pt x="1096" y="496"/>
                </a:cubicBezTo>
                <a:cubicBezTo>
                  <a:pt x="1095" y="496"/>
                  <a:pt x="1095" y="496"/>
                  <a:pt x="1095" y="496"/>
                </a:cubicBezTo>
                <a:cubicBezTo>
                  <a:pt x="1096" y="497"/>
                  <a:pt x="1096" y="497"/>
                  <a:pt x="1097" y="498"/>
                </a:cubicBezTo>
                <a:cubicBezTo>
                  <a:pt x="1097" y="498"/>
                  <a:pt x="1098" y="498"/>
                  <a:pt x="1098" y="498"/>
                </a:cubicBezTo>
                <a:cubicBezTo>
                  <a:pt x="1098" y="498"/>
                  <a:pt x="1099" y="499"/>
                  <a:pt x="1099" y="499"/>
                </a:cubicBezTo>
                <a:cubicBezTo>
                  <a:pt x="1099" y="499"/>
                  <a:pt x="1099" y="499"/>
                  <a:pt x="1099" y="499"/>
                </a:cubicBezTo>
                <a:cubicBezTo>
                  <a:pt x="1099" y="499"/>
                  <a:pt x="1099" y="499"/>
                  <a:pt x="1099" y="499"/>
                </a:cubicBezTo>
                <a:cubicBezTo>
                  <a:pt x="1099" y="499"/>
                  <a:pt x="1099" y="499"/>
                  <a:pt x="1099" y="500"/>
                </a:cubicBezTo>
                <a:cubicBezTo>
                  <a:pt x="1099" y="500"/>
                  <a:pt x="1099" y="500"/>
                  <a:pt x="1099" y="500"/>
                </a:cubicBezTo>
                <a:cubicBezTo>
                  <a:pt x="1099" y="501"/>
                  <a:pt x="1099" y="501"/>
                  <a:pt x="1099" y="501"/>
                </a:cubicBezTo>
                <a:cubicBezTo>
                  <a:pt x="1099" y="501"/>
                  <a:pt x="1099" y="501"/>
                  <a:pt x="1099" y="501"/>
                </a:cubicBezTo>
                <a:cubicBezTo>
                  <a:pt x="1099" y="501"/>
                  <a:pt x="1098" y="502"/>
                  <a:pt x="1098" y="502"/>
                </a:cubicBezTo>
                <a:cubicBezTo>
                  <a:pt x="1098" y="502"/>
                  <a:pt x="1098" y="502"/>
                  <a:pt x="1098" y="502"/>
                </a:cubicBezTo>
                <a:cubicBezTo>
                  <a:pt x="1098" y="502"/>
                  <a:pt x="1098" y="503"/>
                  <a:pt x="1098" y="503"/>
                </a:cubicBezTo>
                <a:cubicBezTo>
                  <a:pt x="1098" y="503"/>
                  <a:pt x="1098" y="503"/>
                  <a:pt x="1098" y="503"/>
                </a:cubicBezTo>
                <a:cubicBezTo>
                  <a:pt x="1098" y="503"/>
                  <a:pt x="1098" y="503"/>
                  <a:pt x="1098" y="503"/>
                </a:cubicBezTo>
                <a:cubicBezTo>
                  <a:pt x="1098" y="504"/>
                  <a:pt x="1098" y="504"/>
                  <a:pt x="1098" y="504"/>
                </a:cubicBezTo>
                <a:cubicBezTo>
                  <a:pt x="1098" y="505"/>
                  <a:pt x="1098" y="505"/>
                  <a:pt x="1098" y="505"/>
                </a:cubicBezTo>
                <a:cubicBezTo>
                  <a:pt x="1098" y="505"/>
                  <a:pt x="1098" y="505"/>
                  <a:pt x="1098" y="505"/>
                </a:cubicBezTo>
                <a:cubicBezTo>
                  <a:pt x="1098" y="506"/>
                  <a:pt x="1098" y="506"/>
                  <a:pt x="1098" y="506"/>
                </a:cubicBezTo>
                <a:cubicBezTo>
                  <a:pt x="1098" y="507"/>
                  <a:pt x="1098" y="507"/>
                  <a:pt x="1098" y="507"/>
                </a:cubicBezTo>
                <a:cubicBezTo>
                  <a:pt x="1098" y="507"/>
                  <a:pt x="1098" y="507"/>
                  <a:pt x="1098" y="508"/>
                </a:cubicBezTo>
                <a:cubicBezTo>
                  <a:pt x="1098" y="508"/>
                  <a:pt x="1098" y="508"/>
                  <a:pt x="1097" y="508"/>
                </a:cubicBezTo>
                <a:cubicBezTo>
                  <a:pt x="1097" y="508"/>
                  <a:pt x="1098" y="509"/>
                  <a:pt x="1098" y="509"/>
                </a:cubicBezTo>
                <a:cubicBezTo>
                  <a:pt x="1097" y="510"/>
                  <a:pt x="1097" y="510"/>
                  <a:pt x="1097" y="511"/>
                </a:cubicBezTo>
                <a:cubicBezTo>
                  <a:pt x="1097" y="511"/>
                  <a:pt x="1097" y="511"/>
                  <a:pt x="1097" y="511"/>
                </a:cubicBezTo>
                <a:cubicBezTo>
                  <a:pt x="1097" y="511"/>
                  <a:pt x="1097" y="511"/>
                  <a:pt x="1097" y="511"/>
                </a:cubicBezTo>
                <a:cubicBezTo>
                  <a:pt x="1097" y="512"/>
                  <a:pt x="1097" y="512"/>
                  <a:pt x="1097" y="513"/>
                </a:cubicBezTo>
                <a:cubicBezTo>
                  <a:pt x="1097" y="513"/>
                  <a:pt x="1096" y="513"/>
                  <a:pt x="1096" y="513"/>
                </a:cubicBezTo>
                <a:cubicBezTo>
                  <a:pt x="1096" y="513"/>
                  <a:pt x="1096" y="513"/>
                  <a:pt x="1096" y="513"/>
                </a:cubicBezTo>
                <a:cubicBezTo>
                  <a:pt x="1096" y="513"/>
                  <a:pt x="1096" y="513"/>
                  <a:pt x="1096" y="513"/>
                </a:cubicBezTo>
                <a:cubicBezTo>
                  <a:pt x="1097" y="513"/>
                  <a:pt x="1097" y="513"/>
                  <a:pt x="1097" y="513"/>
                </a:cubicBezTo>
                <a:cubicBezTo>
                  <a:pt x="1097" y="513"/>
                  <a:pt x="1097" y="513"/>
                  <a:pt x="1098" y="514"/>
                </a:cubicBezTo>
                <a:cubicBezTo>
                  <a:pt x="1098" y="514"/>
                  <a:pt x="1098" y="514"/>
                  <a:pt x="1098" y="515"/>
                </a:cubicBezTo>
                <a:cubicBezTo>
                  <a:pt x="1097" y="515"/>
                  <a:pt x="1097" y="515"/>
                  <a:pt x="1097" y="515"/>
                </a:cubicBezTo>
                <a:cubicBezTo>
                  <a:pt x="1097" y="515"/>
                  <a:pt x="1097" y="516"/>
                  <a:pt x="1097" y="516"/>
                </a:cubicBezTo>
                <a:cubicBezTo>
                  <a:pt x="1097" y="516"/>
                  <a:pt x="1097" y="516"/>
                  <a:pt x="1097" y="516"/>
                </a:cubicBezTo>
                <a:cubicBezTo>
                  <a:pt x="1097" y="516"/>
                  <a:pt x="1097" y="516"/>
                  <a:pt x="1097" y="516"/>
                </a:cubicBezTo>
                <a:cubicBezTo>
                  <a:pt x="1096" y="516"/>
                  <a:pt x="1096" y="516"/>
                  <a:pt x="1096" y="516"/>
                </a:cubicBezTo>
                <a:cubicBezTo>
                  <a:pt x="1096" y="516"/>
                  <a:pt x="1096" y="517"/>
                  <a:pt x="1095" y="517"/>
                </a:cubicBezTo>
                <a:cubicBezTo>
                  <a:pt x="1095" y="517"/>
                  <a:pt x="1095" y="517"/>
                  <a:pt x="1095" y="517"/>
                </a:cubicBezTo>
                <a:cubicBezTo>
                  <a:pt x="1096" y="517"/>
                  <a:pt x="1096" y="517"/>
                  <a:pt x="1096" y="517"/>
                </a:cubicBezTo>
                <a:cubicBezTo>
                  <a:pt x="1096" y="517"/>
                  <a:pt x="1096" y="517"/>
                  <a:pt x="1096" y="517"/>
                </a:cubicBezTo>
                <a:cubicBezTo>
                  <a:pt x="1096" y="517"/>
                  <a:pt x="1096" y="517"/>
                  <a:pt x="1096" y="517"/>
                </a:cubicBezTo>
                <a:cubicBezTo>
                  <a:pt x="1096" y="518"/>
                  <a:pt x="1096" y="518"/>
                  <a:pt x="1096" y="518"/>
                </a:cubicBezTo>
                <a:cubicBezTo>
                  <a:pt x="1095" y="518"/>
                  <a:pt x="1095" y="518"/>
                  <a:pt x="1095" y="518"/>
                </a:cubicBezTo>
                <a:cubicBezTo>
                  <a:pt x="1095" y="518"/>
                  <a:pt x="1094" y="519"/>
                  <a:pt x="1094" y="519"/>
                </a:cubicBezTo>
                <a:cubicBezTo>
                  <a:pt x="1094" y="519"/>
                  <a:pt x="1094" y="519"/>
                  <a:pt x="1094" y="519"/>
                </a:cubicBezTo>
                <a:cubicBezTo>
                  <a:pt x="1093" y="520"/>
                  <a:pt x="1093" y="520"/>
                  <a:pt x="1093" y="520"/>
                </a:cubicBezTo>
                <a:cubicBezTo>
                  <a:pt x="1093" y="520"/>
                  <a:pt x="1092" y="520"/>
                  <a:pt x="1092" y="520"/>
                </a:cubicBezTo>
                <a:cubicBezTo>
                  <a:pt x="1092" y="521"/>
                  <a:pt x="1092" y="521"/>
                  <a:pt x="1092" y="521"/>
                </a:cubicBezTo>
                <a:cubicBezTo>
                  <a:pt x="1091" y="521"/>
                  <a:pt x="1090" y="522"/>
                  <a:pt x="1089" y="522"/>
                </a:cubicBezTo>
                <a:cubicBezTo>
                  <a:pt x="1089" y="522"/>
                  <a:pt x="1089" y="522"/>
                  <a:pt x="1088" y="522"/>
                </a:cubicBezTo>
                <a:cubicBezTo>
                  <a:pt x="1088" y="522"/>
                  <a:pt x="1088" y="522"/>
                  <a:pt x="1088" y="523"/>
                </a:cubicBezTo>
                <a:cubicBezTo>
                  <a:pt x="1087" y="523"/>
                  <a:pt x="1086" y="523"/>
                  <a:pt x="1085" y="524"/>
                </a:cubicBezTo>
                <a:cubicBezTo>
                  <a:pt x="1085" y="524"/>
                  <a:pt x="1084" y="524"/>
                  <a:pt x="1084" y="523"/>
                </a:cubicBezTo>
                <a:cubicBezTo>
                  <a:pt x="1084" y="523"/>
                  <a:pt x="1084" y="524"/>
                  <a:pt x="1084" y="524"/>
                </a:cubicBezTo>
                <a:cubicBezTo>
                  <a:pt x="1083" y="524"/>
                  <a:pt x="1083" y="524"/>
                  <a:pt x="1082" y="524"/>
                </a:cubicBezTo>
                <a:cubicBezTo>
                  <a:pt x="1082" y="524"/>
                  <a:pt x="1081" y="525"/>
                  <a:pt x="1080" y="525"/>
                </a:cubicBezTo>
                <a:cubicBezTo>
                  <a:pt x="1080" y="525"/>
                  <a:pt x="1080" y="525"/>
                  <a:pt x="1080" y="525"/>
                </a:cubicBezTo>
                <a:cubicBezTo>
                  <a:pt x="1080" y="525"/>
                  <a:pt x="1080" y="525"/>
                  <a:pt x="1080" y="525"/>
                </a:cubicBezTo>
                <a:cubicBezTo>
                  <a:pt x="1080" y="525"/>
                  <a:pt x="1079" y="526"/>
                  <a:pt x="1079" y="526"/>
                </a:cubicBezTo>
                <a:cubicBezTo>
                  <a:pt x="1079" y="526"/>
                  <a:pt x="1078" y="526"/>
                  <a:pt x="1078" y="526"/>
                </a:cubicBezTo>
                <a:cubicBezTo>
                  <a:pt x="1078" y="526"/>
                  <a:pt x="1078" y="526"/>
                  <a:pt x="1078" y="526"/>
                </a:cubicBezTo>
                <a:cubicBezTo>
                  <a:pt x="1078" y="526"/>
                  <a:pt x="1078" y="526"/>
                  <a:pt x="1078" y="526"/>
                </a:cubicBezTo>
                <a:cubicBezTo>
                  <a:pt x="1077" y="526"/>
                  <a:pt x="1077" y="527"/>
                  <a:pt x="1077" y="527"/>
                </a:cubicBezTo>
                <a:cubicBezTo>
                  <a:pt x="1077" y="527"/>
                  <a:pt x="1077" y="527"/>
                  <a:pt x="1077" y="527"/>
                </a:cubicBezTo>
                <a:cubicBezTo>
                  <a:pt x="1076" y="527"/>
                  <a:pt x="1076" y="528"/>
                  <a:pt x="1075" y="528"/>
                </a:cubicBezTo>
                <a:cubicBezTo>
                  <a:pt x="1075" y="528"/>
                  <a:pt x="1075" y="528"/>
                  <a:pt x="1075" y="528"/>
                </a:cubicBezTo>
                <a:cubicBezTo>
                  <a:pt x="1075" y="528"/>
                  <a:pt x="1075" y="528"/>
                  <a:pt x="1074" y="528"/>
                </a:cubicBezTo>
                <a:cubicBezTo>
                  <a:pt x="1074" y="528"/>
                  <a:pt x="1074" y="529"/>
                  <a:pt x="1074" y="529"/>
                </a:cubicBezTo>
                <a:cubicBezTo>
                  <a:pt x="1074" y="529"/>
                  <a:pt x="1074" y="529"/>
                  <a:pt x="1074" y="529"/>
                </a:cubicBezTo>
                <a:cubicBezTo>
                  <a:pt x="1074" y="529"/>
                  <a:pt x="1073" y="529"/>
                  <a:pt x="1073" y="529"/>
                </a:cubicBezTo>
                <a:cubicBezTo>
                  <a:pt x="1072" y="529"/>
                  <a:pt x="1071" y="530"/>
                  <a:pt x="1070" y="530"/>
                </a:cubicBezTo>
                <a:cubicBezTo>
                  <a:pt x="1070" y="530"/>
                  <a:pt x="1070" y="531"/>
                  <a:pt x="1070" y="531"/>
                </a:cubicBezTo>
                <a:cubicBezTo>
                  <a:pt x="1070" y="531"/>
                  <a:pt x="1070" y="531"/>
                  <a:pt x="1069" y="531"/>
                </a:cubicBezTo>
                <a:cubicBezTo>
                  <a:pt x="1069" y="531"/>
                  <a:pt x="1069" y="531"/>
                  <a:pt x="1068" y="531"/>
                </a:cubicBezTo>
                <a:cubicBezTo>
                  <a:pt x="1068" y="531"/>
                  <a:pt x="1068" y="532"/>
                  <a:pt x="1068" y="532"/>
                </a:cubicBezTo>
                <a:cubicBezTo>
                  <a:pt x="1068" y="532"/>
                  <a:pt x="1067" y="531"/>
                  <a:pt x="1067" y="531"/>
                </a:cubicBezTo>
                <a:cubicBezTo>
                  <a:pt x="1067" y="531"/>
                  <a:pt x="1067" y="531"/>
                  <a:pt x="1067" y="531"/>
                </a:cubicBezTo>
                <a:cubicBezTo>
                  <a:pt x="1067" y="531"/>
                  <a:pt x="1067" y="531"/>
                  <a:pt x="1067" y="532"/>
                </a:cubicBezTo>
                <a:cubicBezTo>
                  <a:pt x="1067" y="532"/>
                  <a:pt x="1067" y="532"/>
                  <a:pt x="1067" y="532"/>
                </a:cubicBezTo>
                <a:cubicBezTo>
                  <a:pt x="1067" y="532"/>
                  <a:pt x="1067" y="532"/>
                  <a:pt x="1067" y="533"/>
                </a:cubicBezTo>
                <a:cubicBezTo>
                  <a:pt x="1067" y="533"/>
                  <a:pt x="1067" y="533"/>
                  <a:pt x="1066" y="533"/>
                </a:cubicBezTo>
                <a:cubicBezTo>
                  <a:pt x="1067" y="533"/>
                  <a:pt x="1067" y="533"/>
                  <a:pt x="1067" y="533"/>
                </a:cubicBezTo>
                <a:cubicBezTo>
                  <a:pt x="1066" y="534"/>
                  <a:pt x="1066" y="534"/>
                  <a:pt x="1066" y="534"/>
                </a:cubicBezTo>
                <a:cubicBezTo>
                  <a:pt x="1066" y="535"/>
                  <a:pt x="1067" y="535"/>
                  <a:pt x="1067" y="536"/>
                </a:cubicBezTo>
                <a:cubicBezTo>
                  <a:pt x="1067" y="536"/>
                  <a:pt x="1067" y="536"/>
                  <a:pt x="1067" y="536"/>
                </a:cubicBezTo>
                <a:cubicBezTo>
                  <a:pt x="1067" y="536"/>
                  <a:pt x="1067" y="536"/>
                  <a:pt x="1067" y="536"/>
                </a:cubicBezTo>
                <a:cubicBezTo>
                  <a:pt x="1067" y="536"/>
                  <a:pt x="1067" y="537"/>
                  <a:pt x="1067" y="537"/>
                </a:cubicBezTo>
                <a:cubicBezTo>
                  <a:pt x="1067" y="537"/>
                  <a:pt x="1067" y="537"/>
                  <a:pt x="1067" y="537"/>
                </a:cubicBezTo>
                <a:cubicBezTo>
                  <a:pt x="1067" y="538"/>
                  <a:pt x="1067" y="538"/>
                  <a:pt x="1067" y="538"/>
                </a:cubicBezTo>
                <a:cubicBezTo>
                  <a:pt x="1068" y="538"/>
                  <a:pt x="1068" y="539"/>
                  <a:pt x="1068" y="539"/>
                </a:cubicBezTo>
                <a:cubicBezTo>
                  <a:pt x="1068" y="540"/>
                  <a:pt x="1068" y="541"/>
                  <a:pt x="1067" y="541"/>
                </a:cubicBezTo>
                <a:cubicBezTo>
                  <a:pt x="1068" y="542"/>
                  <a:pt x="1068" y="542"/>
                  <a:pt x="1068" y="542"/>
                </a:cubicBezTo>
                <a:cubicBezTo>
                  <a:pt x="1068" y="542"/>
                  <a:pt x="1068" y="542"/>
                  <a:pt x="1068" y="542"/>
                </a:cubicBezTo>
                <a:cubicBezTo>
                  <a:pt x="1068" y="542"/>
                  <a:pt x="1068" y="542"/>
                  <a:pt x="1068" y="541"/>
                </a:cubicBezTo>
                <a:cubicBezTo>
                  <a:pt x="1068" y="541"/>
                  <a:pt x="1068" y="541"/>
                  <a:pt x="1069" y="541"/>
                </a:cubicBezTo>
                <a:cubicBezTo>
                  <a:pt x="1069" y="541"/>
                  <a:pt x="1069" y="541"/>
                  <a:pt x="1069" y="541"/>
                </a:cubicBezTo>
                <a:cubicBezTo>
                  <a:pt x="1069" y="541"/>
                  <a:pt x="1069" y="541"/>
                  <a:pt x="1069" y="541"/>
                </a:cubicBezTo>
                <a:cubicBezTo>
                  <a:pt x="1069" y="542"/>
                  <a:pt x="1069" y="542"/>
                  <a:pt x="1069" y="542"/>
                </a:cubicBezTo>
                <a:cubicBezTo>
                  <a:pt x="1069" y="542"/>
                  <a:pt x="1068" y="543"/>
                  <a:pt x="1068" y="543"/>
                </a:cubicBezTo>
                <a:cubicBezTo>
                  <a:pt x="1068" y="543"/>
                  <a:pt x="1068" y="543"/>
                  <a:pt x="1068" y="544"/>
                </a:cubicBezTo>
                <a:cubicBezTo>
                  <a:pt x="1068" y="544"/>
                  <a:pt x="1068" y="544"/>
                  <a:pt x="1068" y="544"/>
                </a:cubicBezTo>
                <a:cubicBezTo>
                  <a:pt x="1068" y="544"/>
                  <a:pt x="1068" y="545"/>
                  <a:pt x="1068" y="545"/>
                </a:cubicBezTo>
                <a:cubicBezTo>
                  <a:pt x="1068" y="545"/>
                  <a:pt x="1068" y="545"/>
                  <a:pt x="1068" y="546"/>
                </a:cubicBezTo>
                <a:cubicBezTo>
                  <a:pt x="1067" y="546"/>
                  <a:pt x="1067" y="546"/>
                  <a:pt x="1067" y="546"/>
                </a:cubicBezTo>
                <a:cubicBezTo>
                  <a:pt x="1067" y="546"/>
                  <a:pt x="1067" y="547"/>
                  <a:pt x="1067" y="547"/>
                </a:cubicBezTo>
                <a:cubicBezTo>
                  <a:pt x="1067" y="547"/>
                  <a:pt x="1067" y="547"/>
                  <a:pt x="1067" y="547"/>
                </a:cubicBezTo>
                <a:cubicBezTo>
                  <a:pt x="1067" y="547"/>
                  <a:pt x="1067" y="547"/>
                  <a:pt x="1067" y="547"/>
                </a:cubicBezTo>
                <a:cubicBezTo>
                  <a:pt x="1067" y="547"/>
                  <a:pt x="1067" y="547"/>
                  <a:pt x="1068" y="547"/>
                </a:cubicBezTo>
                <a:cubicBezTo>
                  <a:pt x="1068" y="547"/>
                  <a:pt x="1068" y="547"/>
                  <a:pt x="1068" y="548"/>
                </a:cubicBezTo>
                <a:cubicBezTo>
                  <a:pt x="1068" y="548"/>
                  <a:pt x="1067" y="548"/>
                  <a:pt x="1067" y="548"/>
                </a:cubicBezTo>
                <a:cubicBezTo>
                  <a:pt x="1067" y="549"/>
                  <a:pt x="1067" y="549"/>
                  <a:pt x="1067" y="549"/>
                </a:cubicBezTo>
                <a:cubicBezTo>
                  <a:pt x="1066" y="550"/>
                  <a:pt x="1066" y="550"/>
                  <a:pt x="1065" y="550"/>
                </a:cubicBezTo>
                <a:cubicBezTo>
                  <a:pt x="1064" y="551"/>
                  <a:pt x="1063" y="551"/>
                  <a:pt x="1062" y="551"/>
                </a:cubicBezTo>
                <a:cubicBezTo>
                  <a:pt x="1061" y="551"/>
                  <a:pt x="1059" y="552"/>
                  <a:pt x="1058" y="552"/>
                </a:cubicBezTo>
                <a:cubicBezTo>
                  <a:pt x="1057" y="552"/>
                  <a:pt x="1057" y="552"/>
                  <a:pt x="1056" y="553"/>
                </a:cubicBezTo>
                <a:cubicBezTo>
                  <a:pt x="1056" y="553"/>
                  <a:pt x="1056" y="553"/>
                  <a:pt x="1055" y="553"/>
                </a:cubicBezTo>
                <a:cubicBezTo>
                  <a:pt x="1055" y="553"/>
                  <a:pt x="1055" y="553"/>
                  <a:pt x="1055" y="553"/>
                </a:cubicBezTo>
                <a:cubicBezTo>
                  <a:pt x="1055" y="553"/>
                  <a:pt x="1054" y="553"/>
                  <a:pt x="1054" y="554"/>
                </a:cubicBezTo>
                <a:cubicBezTo>
                  <a:pt x="1054" y="554"/>
                  <a:pt x="1054" y="554"/>
                  <a:pt x="1054" y="554"/>
                </a:cubicBezTo>
                <a:cubicBezTo>
                  <a:pt x="1054" y="554"/>
                  <a:pt x="1053" y="554"/>
                  <a:pt x="1053" y="554"/>
                </a:cubicBezTo>
                <a:cubicBezTo>
                  <a:pt x="1053" y="555"/>
                  <a:pt x="1053" y="555"/>
                  <a:pt x="1053" y="555"/>
                </a:cubicBezTo>
                <a:cubicBezTo>
                  <a:pt x="1053" y="555"/>
                  <a:pt x="1053" y="555"/>
                  <a:pt x="1053" y="555"/>
                </a:cubicBezTo>
                <a:cubicBezTo>
                  <a:pt x="1053" y="555"/>
                  <a:pt x="1053" y="555"/>
                  <a:pt x="1053" y="556"/>
                </a:cubicBezTo>
                <a:cubicBezTo>
                  <a:pt x="1053" y="556"/>
                  <a:pt x="1053" y="556"/>
                  <a:pt x="1053" y="556"/>
                </a:cubicBezTo>
                <a:cubicBezTo>
                  <a:pt x="1053" y="556"/>
                  <a:pt x="1054" y="556"/>
                  <a:pt x="1054" y="556"/>
                </a:cubicBezTo>
                <a:cubicBezTo>
                  <a:pt x="1054" y="556"/>
                  <a:pt x="1054" y="556"/>
                  <a:pt x="1054" y="556"/>
                </a:cubicBezTo>
                <a:cubicBezTo>
                  <a:pt x="1055" y="556"/>
                  <a:pt x="1055" y="556"/>
                  <a:pt x="1055" y="555"/>
                </a:cubicBezTo>
                <a:cubicBezTo>
                  <a:pt x="1055" y="555"/>
                  <a:pt x="1055" y="555"/>
                  <a:pt x="1055" y="555"/>
                </a:cubicBezTo>
                <a:cubicBezTo>
                  <a:pt x="1055" y="556"/>
                  <a:pt x="1055" y="556"/>
                  <a:pt x="1055" y="556"/>
                </a:cubicBezTo>
                <a:cubicBezTo>
                  <a:pt x="1055" y="556"/>
                  <a:pt x="1055" y="556"/>
                  <a:pt x="1055" y="557"/>
                </a:cubicBezTo>
                <a:cubicBezTo>
                  <a:pt x="1055" y="557"/>
                  <a:pt x="1054" y="557"/>
                  <a:pt x="1054" y="557"/>
                </a:cubicBezTo>
                <a:cubicBezTo>
                  <a:pt x="1054" y="558"/>
                  <a:pt x="1054" y="558"/>
                  <a:pt x="1054" y="558"/>
                </a:cubicBezTo>
                <a:cubicBezTo>
                  <a:pt x="1054" y="558"/>
                  <a:pt x="1054" y="558"/>
                  <a:pt x="1054" y="558"/>
                </a:cubicBezTo>
                <a:cubicBezTo>
                  <a:pt x="1054" y="558"/>
                  <a:pt x="1054" y="558"/>
                  <a:pt x="1054" y="559"/>
                </a:cubicBezTo>
                <a:cubicBezTo>
                  <a:pt x="1054" y="559"/>
                  <a:pt x="1054" y="559"/>
                  <a:pt x="1054" y="559"/>
                </a:cubicBezTo>
                <a:cubicBezTo>
                  <a:pt x="1054" y="559"/>
                  <a:pt x="1053" y="560"/>
                  <a:pt x="1053" y="560"/>
                </a:cubicBezTo>
                <a:cubicBezTo>
                  <a:pt x="1053" y="560"/>
                  <a:pt x="1053" y="561"/>
                  <a:pt x="1053" y="561"/>
                </a:cubicBezTo>
                <a:cubicBezTo>
                  <a:pt x="1053" y="562"/>
                  <a:pt x="1052" y="562"/>
                  <a:pt x="1052" y="562"/>
                </a:cubicBezTo>
                <a:cubicBezTo>
                  <a:pt x="1052" y="563"/>
                  <a:pt x="1052" y="563"/>
                  <a:pt x="1052" y="564"/>
                </a:cubicBezTo>
                <a:cubicBezTo>
                  <a:pt x="1051" y="564"/>
                  <a:pt x="1051" y="564"/>
                  <a:pt x="1051" y="564"/>
                </a:cubicBezTo>
                <a:cubicBezTo>
                  <a:pt x="1051" y="564"/>
                  <a:pt x="1051" y="565"/>
                  <a:pt x="1051" y="565"/>
                </a:cubicBezTo>
                <a:cubicBezTo>
                  <a:pt x="1050" y="565"/>
                  <a:pt x="1050" y="566"/>
                  <a:pt x="1049" y="566"/>
                </a:cubicBezTo>
                <a:cubicBezTo>
                  <a:pt x="1049" y="566"/>
                  <a:pt x="1049" y="566"/>
                  <a:pt x="1049" y="566"/>
                </a:cubicBezTo>
                <a:cubicBezTo>
                  <a:pt x="1049" y="566"/>
                  <a:pt x="1049" y="566"/>
                  <a:pt x="1049" y="566"/>
                </a:cubicBezTo>
                <a:cubicBezTo>
                  <a:pt x="1048" y="566"/>
                  <a:pt x="1048" y="566"/>
                  <a:pt x="1048" y="567"/>
                </a:cubicBezTo>
                <a:cubicBezTo>
                  <a:pt x="1048" y="567"/>
                  <a:pt x="1047" y="567"/>
                  <a:pt x="1047" y="567"/>
                </a:cubicBezTo>
                <a:cubicBezTo>
                  <a:pt x="1047" y="567"/>
                  <a:pt x="1047" y="567"/>
                  <a:pt x="1046" y="567"/>
                </a:cubicBezTo>
                <a:cubicBezTo>
                  <a:pt x="1046" y="568"/>
                  <a:pt x="1046" y="568"/>
                  <a:pt x="1046" y="568"/>
                </a:cubicBezTo>
                <a:cubicBezTo>
                  <a:pt x="1045" y="569"/>
                  <a:pt x="1045" y="569"/>
                  <a:pt x="1045" y="569"/>
                </a:cubicBezTo>
                <a:cubicBezTo>
                  <a:pt x="1045" y="569"/>
                  <a:pt x="1045" y="569"/>
                  <a:pt x="1045" y="569"/>
                </a:cubicBezTo>
                <a:cubicBezTo>
                  <a:pt x="1044" y="570"/>
                  <a:pt x="1044" y="570"/>
                  <a:pt x="1044" y="570"/>
                </a:cubicBezTo>
                <a:cubicBezTo>
                  <a:pt x="1044" y="570"/>
                  <a:pt x="1043" y="570"/>
                  <a:pt x="1043" y="570"/>
                </a:cubicBezTo>
                <a:cubicBezTo>
                  <a:pt x="1043" y="570"/>
                  <a:pt x="1043" y="571"/>
                  <a:pt x="1042" y="571"/>
                </a:cubicBezTo>
                <a:cubicBezTo>
                  <a:pt x="1042" y="572"/>
                  <a:pt x="1041" y="573"/>
                  <a:pt x="1040" y="574"/>
                </a:cubicBezTo>
                <a:cubicBezTo>
                  <a:pt x="1040" y="574"/>
                  <a:pt x="1039" y="574"/>
                  <a:pt x="1039" y="575"/>
                </a:cubicBezTo>
                <a:cubicBezTo>
                  <a:pt x="1039" y="575"/>
                  <a:pt x="1039" y="575"/>
                  <a:pt x="1039" y="576"/>
                </a:cubicBezTo>
                <a:cubicBezTo>
                  <a:pt x="1038" y="576"/>
                  <a:pt x="1038" y="576"/>
                  <a:pt x="1038" y="576"/>
                </a:cubicBezTo>
                <a:cubicBezTo>
                  <a:pt x="1037" y="576"/>
                  <a:pt x="1037" y="576"/>
                  <a:pt x="1037" y="577"/>
                </a:cubicBezTo>
                <a:cubicBezTo>
                  <a:pt x="1037" y="577"/>
                  <a:pt x="1037" y="577"/>
                  <a:pt x="1036" y="577"/>
                </a:cubicBezTo>
                <a:cubicBezTo>
                  <a:pt x="1036" y="577"/>
                  <a:pt x="1036" y="577"/>
                  <a:pt x="1036" y="577"/>
                </a:cubicBezTo>
                <a:cubicBezTo>
                  <a:pt x="1035" y="578"/>
                  <a:pt x="1033" y="579"/>
                  <a:pt x="1031" y="580"/>
                </a:cubicBezTo>
                <a:cubicBezTo>
                  <a:pt x="1031" y="580"/>
                  <a:pt x="1031" y="580"/>
                  <a:pt x="1031" y="581"/>
                </a:cubicBezTo>
                <a:cubicBezTo>
                  <a:pt x="1031" y="581"/>
                  <a:pt x="1031" y="581"/>
                  <a:pt x="1031" y="581"/>
                </a:cubicBezTo>
                <a:cubicBezTo>
                  <a:pt x="1031" y="581"/>
                  <a:pt x="1030" y="581"/>
                  <a:pt x="1030" y="581"/>
                </a:cubicBezTo>
                <a:cubicBezTo>
                  <a:pt x="1029" y="582"/>
                  <a:pt x="1028" y="582"/>
                  <a:pt x="1027" y="583"/>
                </a:cubicBezTo>
                <a:cubicBezTo>
                  <a:pt x="1027" y="583"/>
                  <a:pt x="1026" y="583"/>
                  <a:pt x="1026" y="583"/>
                </a:cubicBezTo>
                <a:cubicBezTo>
                  <a:pt x="1026" y="583"/>
                  <a:pt x="1025" y="584"/>
                  <a:pt x="1025" y="584"/>
                </a:cubicBezTo>
                <a:cubicBezTo>
                  <a:pt x="1025" y="584"/>
                  <a:pt x="1025" y="584"/>
                  <a:pt x="1025" y="584"/>
                </a:cubicBezTo>
                <a:cubicBezTo>
                  <a:pt x="1024" y="584"/>
                  <a:pt x="1024" y="584"/>
                  <a:pt x="1023" y="584"/>
                </a:cubicBezTo>
                <a:cubicBezTo>
                  <a:pt x="1023" y="584"/>
                  <a:pt x="1023" y="584"/>
                  <a:pt x="1022" y="585"/>
                </a:cubicBezTo>
                <a:cubicBezTo>
                  <a:pt x="1022" y="585"/>
                  <a:pt x="1022" y="585"/>
                  <a:pt x="1021" y="585"/>
                </a:cubicBezTo>
                <a:cubicBezTo>
                  <a:pt x="1021" y="584"/>
                  <a:pt x="1021" y="584"/>
                  <a:pt x="1021" y="584"/>
                </a:cubicBezTo>
                <a:cubicBezTo>
                  <a:pt x="1020" y="584"/>
                  <a:pt x="1020" y="584"/>
                  <a:pt x="1020" y="584"/>
                </a:cubicBezTo>
                <a:cubicBezTo>
                  <a:pt x="1019" y="584"/>
                  <a:pt x="1019" y="584"/>
                  <a:pt x="1018" y="584"/>
                </a:cubicBezTo>
                <a:cubicBezTo>
                  <a:pt x="1018" y="585"/>
                  <a:pt x="1018" y="585"/>
                  <a:pt x="1018" y="585"/>
                </a:cubicBezTo>
                <a:cubicBezTo>
                  <a:pt x="1018" y="585"/>
                  <a:pt x="1018" y="585"/>
                  <a:pt x="1019" y="586"/>
                </a:cubicBezTo>
                <a:cubicBezTo>
                  <a:pt x="1019" y="586"/>
                  <a:pt x="1018" y="586"/>
                  <a:pt x="1018" y="586"/>
                </a:cubicBezTo>
                <a:cubicBezTo>
                  <a:pt x="1018" y="586"/>
                  <a:pt x="1017" y="586"/>
                  <a:pt x="1017" y="586"/>
                </a:cubicBezTo>
                <a:cubicBezTo>
                  <a:pt x="1017" y="586"/>
                  <a:pt x="1016" y="585"/>
                  <a:pt x="1016" y="585"/>
                </a:cubicBezTo>
                <a:cubicBezTo>
                  <a:pt x="1016" y="585"/>
                  <a:pt x="1016" y="585"/>
                  <a:pt x="1015" y="585"/>
                </a:cubicBezTo>
                <a:cubicBezTo>
                  <a:pt x="1015" y="585"/>
                  <a:pt x="1015" y="586"/>
                  <a:pt x="1015" y="586"/>
                </a:cubicBezTo>
                <a:cubicBezTo>
                  <a:pt x="1015" y="586"/>
                  <a:pt x="1015" y="586"/>
                  <a:pt x="1015" y="586"/>
                </a:cubicBezTo>
                <a:cubicBezTo>
                  <a:pt x="1015" y="586"/>
                  <a:pt x="1015" y="586"/>
                  <a:pt x="1015" y="586"/>
                </a:cubicBezTo>
                <a:cubicBezTo>
                  <a:pt x="1014" y="586"/>
                  <a:pt x="1013" y="586"/>
                  <a:pt x="1013" y="586"/>
                </a:cubicBezTo>
                <a:cubicBezTo>
                  <a:pt x="1012" y="586"/>
                  <a:pt x="1012" y="586"/>
                  <a:pt x="1012" y="586"/>
                </a:cubicBezTo>
                <a:cubicBezTo>
                  <a:pt x="1011" y="585"/>
                  <a:pt x="1011" y="585"/>
                  <a:pt x="1010" y="585"/>
                </a:cubicBezTo>
                <a:cubicBezTo>
                  <a:pt x="1009" y="585"/>
                  <a:pt x="1009" y="585"/>
                  <a:pt x="1009" y="585"/>
                </a:cubicBezTo>
                <a:cubicBezTo>
                  <a:pt x="1009" y="585"/>
                  <a:pt x="1009" y="585"/>
                  <a:pt x="1009" y="585"/>
                </a:cubicBezTo>
                <a:cubicBezTo>
                  <a:pt x="1008" y="585"/>
                  <a:pt x="1008" y="586"/>
                  <a:pt x="1008" y="586"/>
                </a:cubicBezTo>
                <a:cubicBezTo>
                  <a:pt x="1008" y="585"/>
                  <a:pt x="1007" y="585"/>
                  <a:pt x="1007" y="585"/>
                </a:cubicBezTo>
                <a:cubicBezTo>
                  <a:pt x="1006" y="585"/>
                  <a:pt x="1005" y="585"/>
                  <a:pt x="1004" y="585"/>
                </a:cubicBezTo>
                <a:cubicBezTo>
                  <a:pt x="1004" y="585"/>
                  <a:pt x="1004" y="585"/>
                  <a:pt x="1004" y="585"/>
                </a:cubicBezTo>
                <a:cubicBezTo>
                  <a:pt x="1004" y="585"/>
                  <a:pt x="1004" y="586"/>
                  <a:pt x="1004" y="586"/>
                </a:cubicBezTo>
                <a:cubicBezTo>
                  <a:pt x="1003" y="586"/>
                  <a:pt x="1003" y="586"/>
                  <a:pt x="1003" y="586"/>
                </a:cubicBezTo>
                <a:cubicBezTo>
                  <a:pt x="1003" y="586"/>
                  <a:pt x="1003" y="586"/>
                  <a:pt x="1002" y="586"/>
                </a:cubicBezTo>
                <a:cubicBezTo>
                  <a:pt x="1002" y="586"/>
                  <a:pt x="1002" y="586"/>
                  <a:pt x="1002" y="586"/>
                </a:cubicBezTo>
                <a:cubicBezTo>
                  <a:pt x="1002" y="586"/>
                  <a:pt x="1002" y="586"/>
                  <a:pt x="1002" y="586"/>
                </a:cubicBezTo>
                <a:cubicBezTo>
                  <a:pt x="1001" y="586"/>
                  <a:pt x="1001" y="586"/>
                  <a:pt x="1001" y="586"/>
                </a:cubicBezTo>
                <a:cubicBezTo>
                  <a:pt x="1000" y="586"/>
                  <a:pt x="1000" y="586"/>
                  <a:pt x="1000" y="587"/>
                </a:cubicBezTo>
                <a:cubicBezTo>
                  <a:pt x="1000" y="586"/>
                  <a:pt x="999" y="586"/>
                  <a:pt x="999" y="586"/>
                </a:cubicBezTo>
                <a:cubicBezTo>
                  <a:pt x="998" y="586"/>
                  <a:pt x="998" y="586"/>
                  <a:pt x="998" y="586"/>
                </a:cubicBezTo>
                <a:cubicBezTo>
                  <a:pt x="998" y="586"/>
                  <a:pt x="997" y="586"/>
                  <a:pt x="997" y="586"/>
                </a:cubicBezTo>
                <a:cubicBezTo>
                  <a:pt x="997" y="586"/>
                  <a:pt x="997" y="586"/>
                  <a:pt x="996" y="586"/>
                </a:cubicBezTo>
                <a:cubicBezTo>
                  <a:pt x="996" y="586"/>
                  <a:pt x="996" y="587"/>
                  <a:pt x="995" y="587"/>
                </a:cubicBezTo>
                <a:cubicBezTo>
                  <a:pt x="995" y="587"/>
                  <a:pt x="995" y="587"/>
                  <a:pt x="995" y="587"/>
                </a:cubicBezTo>
                <a:cubicBezTo>
                  <a:pt x="994" y="587"/>
                  <a:pt x="994" y="587"/>
                  <a:pt x="994" y="588"/>
                </a:cubicBezTo>
                <a:cubicBezTo>
                  <a:pt x="994" y="588"/>
                  <a:pt x="994" y="588"/>
                  <a:pt x="994" y="588"/>
                </a:cubicBezTo>
                <a:cubicBezTo>
                  <a:pt x="994" y="588"/>
                  <a:pt x="993" y="588"/>
                  <a:pt x="993" y="588"/>
                </a:cubicBezTo>
                <a:cubicBezTo>
                  <a:pt x="993" y="587"/>
                  <a:pt x="992" y="587"/>
                  <a:pt x="991" y="587"/>
                </a:cubicBezTo>
                <a:cubicBezTo>
                  <a:pt x="991" y="587"/>
                  <a:pt x="991" y="587"/>
                  <a:pt x="991" y="587"/>
                </a:cubicBezTo>
                <a:cubicBezTo>
                  <a:pt x="991" y="587"/>
                  <a:pt x="991" y="586"/>
                  <a:pt x="991" y="586"/>
                </a:cubicBezTo>
                <a:cubicBezTo>
                  <a:pt x="990" y="586"/>
                  <a:pt x="990" y="586"/>
                  <a:pt x="990" y="586"/>
                </a:cubicBezTo>
                <a:cubicBezTo>
                  <a:pt x="990" y="586"/>
                  <a:pt x="989" y="586"/>
                  <a:pt x="989" y="586"/>
                </a:cubicBezTo>
                <a:cubicBezTo>
                  <a:pt x="989" y="586"/>
                  <a:pt x="989" y="586"/>
                  <a:pt x="989" y="586"/>
                </a:cubicBezTo>
                <a:cubicBezTo>
                  <a:pt x="989" y="586"/>
                  <a:pt x="989" y="586"/>
                  <a:pt x="989" y="586"/>
                </a:cubicBezTo>
                <a:cubicBezTo>
                  <a:pt x="989" y="585"/>
                  <a:pt x="989" y="585"/>
                  <a:pt x="989" y="585"/>
                </a:cubicBezTo>
                <a:cubicBezTo>
                  <a:pt x="989" y="585"/>
                  <a:pt x="988" y="585"/>
                  <a:pt x="988" y="585"/>
                </a:cubicBezTo>
                <a:cubicBezTo>
                  <a:pt x="988" y="585"/>
                  <a:pt x="987" y="585"/>
                  <a:pt x="987" y="585"/>
                </a:cubicBezTo>
                <a:cubicBezTo>
                  <a:pt x="987" y="585"/>
                  <a:pt x="987" y="586"/>
                  <a:pt x="987" y="586"/>
                </a:cubicBezTo>
                <a:cubicBezTo>
                  <a:pt x="987" y="586"/>
                  <a:pt x="987" y="586"/>
                  <a:pt x="987" y="585"/>
                </a:cubicBezTo>
                <a:cubicBezTo>
                  <a:pt x="987" y="585"/>
                  <a:pt x="987" y="585"/>
                  <a:pt x="987" y="585"/>
                </a:cubicBezTo>
                <a:cubicBezTo>
                  <a:pt x="987" y="584"/>
                  <a:pt x="987" y="584"/>
                  <a:pt x="987" y="584"/>
                </a:cubicBezTo>
                <a:cubicBezTo>
                  <a:pt x="987" y="584"/>
                  <a:pt x="987" y="583"/>
                  <a:pt x="987" y="583"/>
                </a:cubicBezTo>
                <a:cubicBezTo>
                  <a:pt x="987" y="583"/>
                  <a:pt x="987" y="583"/>
                  <a:pt x="987" y="582"/>
                </a:cubicBezTo>
                <a:cubicBezTo>
                  <a:pt x="987" y="582"/>
                  <a:pt x="987" y="581"/>
                  <a:pt x="987" y="581"/>
                </a:cubicBezTo>
                <a:cubicBezTo>
                  <a:pt x="986" y="581"/>
                  <a:pt x="986" y="581"/>
                  <a:pt x="986" y="580"/>
                </a:cubicBezTo>
                <a:cubicBezTo>
                  <a:pt x="986" y="580"/>
                  <a:pt x="986" y="580"/>
                  <a:pt x="985" y="579"/>
                </a:cubicBezTo>
                <a:cubicBezTo>
                  <a:pt x="985" y="579"/>
                  <a:pt x="985" y="579"/>
                  <a:pt x="985" y="579"/>
                </a:cubicBezTo>
                <a:cubicBezTo>
                  <a:pt x="985" y="578"/>
                  <a:pt x="986" y="578"/>
                  <a:pt x="986" y="578"/>
                </a:cubicBezTo>
                <a:cubicBezTo>
                  <a:pt x="986" y="578"/>
                  <a:pt x="986" y="578"/>
                  <a:pt x="986" y="579"/>
                </a:cubicBezTo>
                <a:cubicBezTo>
                  <a:pt x="986" y="579"/>
                  <a:pt x="986" y="579"/>
                  <a:pt x="987" y="579"/>
                </a:cubicBezTo>
                <a:cubicBezTo>
                  <a:pt x="987" y="578"/>
                  <a:pt x="987" y="578"/>
                  <a:pt x="987" y="578"/>
                </a:cubicBezTo>
                <a:cubicBezTo>
                  <a:pt x="987" y="578"/>
                  <a:pt x="987" y="577"/>
                  <a:pt x="987" y="577"/>
                </a:cubicBezTo>
                <a:cubicBezTo>
                  <a:pt x="987" y="577"/>
                  <a:pt x="987" y="576"/>
                  <a:pt x="987" y="576"/>
                </a:cubicBezTo>
                <a:cubicBezTo>
                  <a:pt x="987" y="576"/>
                  <a:pt x="987" y="575"/>
                  <a:pt x="987" y="575"/>
                </a:cubicBezTo>
                <a:cubicBezTo>
                  <a:pt x="987" y="575"/>
                  <a:pt x="986" y="574"/>
                  <a:pt x="986" y="573"/>
                </a:cubicBezTo>
                <a:cubicBezTo>
                  <a:pt x="986" y="573"/>
                  <a:pt x="986" y="573"/>
                  <a:pt x="986" y="573"/>
                </a:cubicBezTo>
                <a:cubicBezTo>
                  <a:pt x="985" y="572"/>
                  <a:pt x="985" y="572"/>
                  <a:pt x="985" y="571"/>
                </a:cubicBezTo>
                <a:cubicBezTo>
                  <a:pt x="984" y="570"/>
                  <a:pt x="984" y="570"/>
                  <a:pt x="984" y="569"/>
                </a:cubicBezTo>
                <a:cubicBezTo>
                  <a:pt x="984" y="568"/>
                  <a:pt x="984" y="568"/>
                  <a:pt x="983" y="567"/>
                </a:cubicBezTo>
                <a:cubicBezTo>
                  <a:pt x="983" y="567"/>
                  <a:pt x="983" y="566"/>
                  <a:pt x="983" y="566"/>
                </a:cubicBezTo>
                <a:cubicBezTo>
                  <a:pt x="983" y="565"/>
                  <a:pt x="983" y="564"/>
                  <a:pt x="982" y="564"/>
                </a:cubicBezTo>
                <a:cubicBezTo>
                  <a:pt x="982" y="563"/>
                  <a:pt x="981" y="563"/>
                  <a:pt x="981" y="563"/>
                </a:cubicBezTo>
                <a:cubicBezTo>
                  <a:pt x="981" y="562"/>
                  <a:pt x="981" y="562"/>
                  <a:pt x="981" y="562"/>
                </a:cubicBezTo>
                <a:cubicBezTo>
                  <a:pt x="981" y="562"/>
                  <a:pt x="981" y="562"/>
                  <a:pt x="981" y="561"/>
                </a:cubicBezTo>
                <a:cubicBezTo>
                  <a:pt x="980" y="561"/>
                  <a:pt x="980" y="561"/>
                  <a:pt x="979" y="561"/>
                </a:cubicBezTo>
                <a:cubicBezTo>
                  <a:pt x="979" y="560"/>
                  <a:pt x="979" y="560"/>
                  <a:pt x="979" y="560"/>
                </a:cubicBezTo>
                <a:cubicBezTo>
                  <a:pt x="979" y="560"/>
                  <a:pt x="978" y="559"/>
                  <a:pt x="978" y="559"/>
                </a:cubicBezTo>
                <a:cubicBezTo>
                  <a:pt x="978" y="559"/>
                  <a:pt x="977" y="558"/>
                  <a:pt x="977" y="557"/>
                </a:cubicBezTo>
                <a:cubicBezTo>
                  <a:pt x="977" y="557"/>
                  <a:pt x="976" y="557"/>
                  <a:pt x="976" y="556"/>
                </a:cubicBezTo>
                <a:cubicBezTo>
                  <a:pt x="976" y="556"/>
                  <a:pt x="976" y="555"/>
                  <a:pt x="976" y="555"/>
                </a:cubicBezTo>
                <a:cubicBezTo>
                  <a:pt x="976" y="555"/>
                  <a:pt x="976" y="555"/>
                  <a:pt x="975" y="554"/>
                </a:cubicBezTo>
                <a:cubicBezTo>
                  <a:pt x="975" y="554"/>
                  <a:pt x="975" y="554"/>
                  <a:pt x="975" y="554"/>
                </a:cubicBezTo>
                <a:cubicBezTo>
                  <a:pt x="976" y="553"/>
                  <a:pt x="976" y="553"/>
                  <a:pt x="976" y="553"/>
                </a:cubicBezTo>
                <a:cubicBezTo>
                  <a:pt x="976" y="553"/>
                  <a:pt x="976" y="553"/>
                  <a:pt x="975" y="553"/>
                </a:cubicBezTo>
                <a:cubicBezTo>
                  <a:pt x="975" y="553"/>
                  <a:pt x="975" y="552"/>
                  <a:pt x="975" y="552"/>
                </a:cubicBezTo>
                <a:cubicBezTo>
                  <a:pt x="975" y="552"/>
                  <a:pt x="975" y="551"/>
                  <a:pt x="975" y="550"/>
                </a:cubicBezTo>
                <a:cubicBezTo>
                  <a:pt x="974" y="550"/>
                  <a:pt x="974" y="550"/>
                  <a:pt x="974" y="550"/>
                </a:cubicBezTo>
                <a:cubicBezTo>
                  <a:pt x="974" y="550"/>
                  <a:pt x="974" y="550"/>
                  <a:pt x="975" y="549"/>
                </a:cubicBezTo>
                <a:cubicBezTo>
                  <a:pt x="975" y="549"/>
                  <a:pt x="974" y="549"/>
                  <a:pt x="974" y="548"/>
                </a:cubicBezTo>
                <a:cubicBezTo>
                  <a:pt x="974" y="548"/>
                  <a:pt x="974" y="547"/>
                  <a:pt x="974" y="547"/>
                </a:cubicBezTo>
                <a:cubicBezTo>
                  <a:pt x="974" y="546"/>
                  <a:pt x="974" y="545"/>
                  <a:pt x="973" y="544"/>
                </a:cubicBezTo>
                <a:cubicBezTo>
                  <a:pt x="973" y="543"/>
                  <a:pt x="973" y="542"/>
                  <a:pt x="973" y="541"/>
                </a:cubicBezTo>
                <a:cubicBezTo>
                  <a:pt x="973" y="540"/>
                  <a:pt x="973" y="540"/>
                  <a:pt x="972" y="539"/>
                </a:cubicBezTo>
                <a:cubicBezTo>
                  <a:pt x="973" y="539"/>
                  <a:pt x="973" y="539"/>
                  <a:pt x="973" y="539"/>
                </a:cubicBezTo>
                <a:cubicBezTo>
                  <a:pt x="973" y="538"/>
                  <a:pt x="973" y="538"/>
                  <a:pt x="973" y="537"/>
                </a:cubicBezTo>
                <a:cubicBezTo>
                  <a:pt x="972" y="536"/>
                  <a:pt x="972" y="536"/>
                  <a:pt x="971" y="535"/>
                </a:cubicBezTo>
                <a:cubicBezTo>
                  <a:pt x="971" y="534"/>
                  <a:pt x="971" y="534"/>
                  <a:pt x="971" y="534"/>
                </a:cubicBezTo>
                <a:cubicBezTo>
                  <a:pt x="970" y="533"/>
                  <a:pt x="969" y="532"/>
                  <a:pt x="969" y="531"/>
                </a:cubicBezTo>
                <a:cubicBezTo>
                  <a:pt x="968" y="530"/>
                  <a:pt x="968" y="530"/>
                  <a:pt x="968" y="529"/>
                </a:cubicBezTo>
                <a:cubicBezTo>
                  <a:pt x="967" y="528"/>
                  <a:pt x="967" y="526"/>
                  <a:pt x="966" y="525"/>
                </a:cubicBezTo>
                <a:cubicBezTo>
                  <a:pt x="966" y="524"/>
                  <a:pt x="965" y="524"/>
                  <a:pt x="965" y="523"/>
                </a:cubicBezTo>
                <a:cubicBezTo>
                  <a:pt x="964" y="522"/>
                  <a:pt x="963" y="522"/>
                  <a:pt x="962" y="521"/>
                </a:cubicBezTo>
                <a:cubicBezTo>
                  <a:pt x="962" y="520"/>
                  <a:pt x="962" y="519"/>
                  <a:pt x="962" y="518"/>
                </a:cubicBezTo>
                <a:cubicBezTo>
                  <a:pt x="962" y="517"/>
                  <a:pt x="962" y="517"/>
                  <a:pt x="962" y="517"/>
                </a:cubicBezTo>
                <a:cubicBezTo>
                  <a:pt x="962" y="517"/>
                  <a:pt x="962" y="516"/>
                  <a:pt x="962" y="516"/>
                </a:cubicBezTo>
                <a:cubicBezTo>
                  <a:pt x="962" y="515"/>
                  <a:pt x="962" y="515"/>
                  <a:pt x="962" y="514"/>
                </a:cubicBezTo>
                <a:cubicBezTo>
                  <a:pt x="962" y="514"/>
                  <a:pt x="962" y="513"/>
                  <a:pt x="962" y="513"/>
                </a:cubicBezTo>
                <a:cubicBezTo>
                  <a:pt x="962" y="513"/>
                  <a:pt x="962" y="512"/>
                  <a:pt x="962" y="512"/>
                </a:cubicBezTo>
                <a:cubicBezTo>
                  <a:pt x="962" y="511"/>
                  <a:pt x="963" y="511"/>
                  <a:pt x="963" y="511"/>
                </a:cubicBezTo>
                <a:cubicBezTo>
                  <a:pt x="963" y="510"/>
                  <a:pt x="964" y="510"/>
                  <a:pt x="964" y="509"/>
                </a:cubicBezTo>
                <a:cubicBezTo>
                  <a:pt x="964" y="509"/>
                  <a:pt x="964" y="508"/>
                  <a:pt x="965" y="508"/>
                </a:cubicBezTo>
                <a:cubicBezTo>
                  <a:pt x="965" y="507"/>
                  <a:pt x="965" y="506"/>
                  <a:pt x="965" y="505"/>
                </a:cubicBezTo>
                <a:cubicBezTo>
                  <a:pt x="965" y="505"/>
                  <a:pt x="965" y="505"/>
                  <a:pt x="965" y="505"/>
                </a:cubicBezTo>
                <a:cubicBezTo>
                  <a:pt x="965" y="504"/>
                  <a:pt x="965" y="504"/>
                  <a:pt x="965" y="503"/>
                </a:cubicBezTo>
                <a:cubicBezTo>
                  <a:pt x="966" y="503"/>
                  <a:pt x="967" y="502"/>
                  <a:pt x="968" y="502"/>
                </a:cubicBezTo>
                <a:cubicBezTo>
                  <a:pt x="968" y="501"/>
                  <a:pt x="968" y="501"/>
                  <a:pt x="968" y="501"/>
                </a:cubicBezTo>
                <a:cubicBezTo>
                  <a:pt x="969" y="500"/>
                  <a:pt x="969" y="500"/>
                  <a:pt x="970" y="500"/>
                </a:cubicBezTo>
                <a:cubicBezTo>
                  <a:pt x="970" y="500"/>
                  <a:pt x="970" y="500"/>
                  <a:pt x="971" y="500"/>
                </a:cubicBezTo>
                <a:cubicBezTo>
                  <a:pt x="971" y="499"/>
                  <a:pt x="972" y="498"/>
                  <a:pt x="973" y="497"/>
                </a:cubicBezTo>
                <a:cubicBezTo>
                  <a:pt x="973" y="496"/>
                  <a:pt x="973" y="495"/>
                  <a:pt x="973" y="494"/>
                </a:cubicBezTo>
                <a:cubicBezTo>
                  <a:pt x="972" y="493"/>
                  <a:pt x="972" y="493"/>
                  <a:pt x="972" y="493"/>
                </a:cubicBezTo>
                <a:cubicBezTo>
                  <a:pt x="972" y="493"/>
                  <a:pt x="972" y="493"/>
                  <a:pt x="972" y="492"/>
                </a:cubicBezTo>
                <a:cubicBezTo>
                  <a:pt x="972" y="492"/>
                  <a:pt x="971" y="491"/>
                  <a:pt x="970" y="490"/>
                </a:cubicBezTo>
                <a:cubicBezTo>
                  <a:pt x="970" y="490"/>
                  <a:pt x="970" y="490"/>
                  <a:pt x="970" y="489"/>
                </a:cubicBezTo>
                <a:cubicBezTo>
                  <a:pt x="970" y="489"/>
                  <a:pt x="970" y="489"/>
                  <a:pt x="970" y="488"/>
                </a:cubicBezTo>
                <a:cubicBezTo>
                  <a:pt x="970" y="488"/>
                  <a:pt x="970" y="487"/>
                  <a:pt x="970" y="487"/>
                </a:cubicBezTo>
                <a:cubicBezTo>
                  <a:pt x="969" y="487"/>
                  <a:pt x="969" y="487"/>
                  <a:pt x="969" y="487"/>
                </a:cubicBezTo>
                <a:cubicBezTo>
                  <a:pt x="969" y="486"/>
                  <a:pt x="970" y="486"/>
                  <a:pt x="970" y="485"/>
                </a:cubicBezTo>
                <a:cubicBezTo>
                  <a:pt x="970" y="485"/>
                  <a:pt x="971" y="484"/>
                  <a:pt x="971" y="484"/>
                </a:cubicBezTo>
                <a:cubicBezTo>
                  <a:pt x="970" y="483"/>
                  <a:pt x="970" y="483"/>
                  <a:pt x="969" y="482"/>
                </a:cubicBezTo>
                <a:cubicBezTo>
                  <a:pt x="969" y="481"/>
                  <a:pt x="969" y="480"/>
                  <a:pt x="969" y="479"/>
                </a:cubicBezTo>
                <a:cubicBezTo>
                  <a:pt x="968" y="478"/>
                  <a:pt x="967" y="478"/>
                  <a:pt x="967" y="477"/>
                </a:cubicBezTo>
                <a:cubicBezTo>
                  <a:pt x="967" y="477"/>
                  <a:pt x="967" y="476"/>
                  <a:pt x="967" y="476"/>
                </a:cubicBezTo>
                <a:cubicBezTo>
                  <a:pt x="966" y="476"/>
                  <a:pt x="966" y="476"/>
                  <a:pt x="966" y="476"/>
                </a:cubicBezTo>
                <a:cubicBezTo>
                  <a:pt x="967" y="476"/>
                  <a:pt x="967" y="475"/>
                  <a:pt x="967" y="475"/>
                </a:cubicBezTo>
                <a:cubicBezTo>
                  <a:pt x="967" y="475"/>
                  <a:pt x="967" y="475"/>
                  <a:pt x="967" y="475"/>
                </a:cubicBezTo>
                <a:cubicBezTo>
                  <a:pt x="966" y="475"/>
                  <a:pt x="966" y="475"/>
                  <a:pt x="966" y="475"/>
                </a:cubicBezTo>
                <a:cubicBezTo>
                  <a:pt x="965" y="475"/>
                  <a:pt x="965" y="475"/>
                  <a:pt x="965" y="474"/>
                </a:cubicBezTo>
                <a:cubicBezTo>
                  <a:pt x="965" y="474"/>
                  <a:pt x="965" y="474"/>
                  <a:pt x="965" y="474"/>
                </a:cubicBezTo>
                <a:cubicBezTo>
                  <a:pt x="965" y="474"/>
                  <a:pt x="965" y="473"/>
                  <a:pt x="966" y="473"/>
                </a:cubicBezTo>
                <a:cubicBezTo>
                  <a:pt x="965" y="473"/>
                  <a:pt x="965" y="473"/>
                  <a:pt x="965" y="472"/>
                </a:cubicBezTo>
                <a:cubicBezTo>
                  <a:pt x="965" y="472"/>
                  <a:pt x="965" y="472"/>
                  <a:pt x="965" y="472"/>
                </a:cubicBezTo>
                <a:cubicBezTo>
                  <a:pt x="965" y="472"/>
                  <a:pt x="964" y="471"/>
                  <a:pt x="964" y="471"/>
                </a:cubicBezTo>
                <a:cubicBezTo>
                  <a:pt x="964" y="471"/>
                  <a:pt x="964" y="471"/>
                  <a:pt x="964" y="470"/>
                </a:cubicBezTo>
                <a:cubicBezTo>
                  <a:pt x="964" y="470"/>
                  <a:pt x="964" y="470"/>
                  <a:pt x="963" y="470"/>
                </a:cubicBezTo>
                <a:cubicBezTo>
                  <a:pt x="963" y="470"/>
                  <a:pt x="963" y="469"/>
                  <a:pt x="963" y="469"/>
                </a:cubicBezTo>
                <a:cubicBezTo>
                  <a:pt x="963" y="469"/>
                  <a:pt x="962" y="469"/>
                  <a:pt x="962" y="468"/>
                </a:cubicBezTo>
                <a:cubicBezTo>
                  <a:pt x="962" y="468"/>
                  <a:pt x="962" y="468"/>
                  <a:pt x="962" y="468"/>
                </a:cubicBezTo>
                <a:cubicBezTo>
                  <a:pt x="961" y="468"/>
                  <a:pt x="961" y="467"/>
                  <a:pt x="961" y="467"/>
                </a:cubicBezTo>
                <a:cubicBezTo>
                  <a:pt x="961" y="467"/>
                  <a:pt x="961" y="467"/>
                  <a:pt x="961" y="467"/>
                </a:cubicBezTo>
                <a:cubicBezTo>
                  <a:pt x="960" y="467"/>
                  <a:pt x="960" y="467"/>
                  <a:pt x="960" y="467"/>
                </a:cubicBezTo>
                <a:cubicBezTo>
                  <a:pt x="960" y="467"/>
                  <a:pt x="960" y="466"/>
                  <a:pt x="960" y="466"/>
                </a:cubicBezTo>
                <a:cubicBezTo>
                  <a:pt x="959" y="466"/>
                  <a:pt x="958" y="466"/>
                  <a:pt x="958" y="466"/>
                </a:cubicBezTo>
                <a:cubicBezTo>
                  <a:pt x="958" y="465"/>
                  <a:pt x="958" y="465"/>
                  <a:pt x="957" y="465"/>
                </a:cubicBezTo>
                <a:cubicBezTo>
                  <a:pt x="957" y="464"/>
                  <a:pt x="956" y="464"/>
                  <a:pt x="955" y="463"/>
                </a:cubicBezTo>
                <a:cubicBezTo>
                  <a:pt x="955" y="463"/>
                  <a:pt x="954" y="463"/>
                  <a:pt x="954" y="462"/>
                </a:cubicBezTo>
                <a:cubicBezTo>
                  <a:pt x="954" y="462"/>
                  <a:pt x="954" y="462"/>
                  <a:pt x="954" y="462"/>
                </a:cubicBezTo>
                <a:cubicBezTo>
                  <a:pt x="954" y="462"/>
                  <a:pt x="953" y="462"/>
                  <a:pt x="953" y="461"/>
                </a:cubicBezTo>
                <a:cubicBezTo>
                  <a:pt x="953" y="461"/>
                  <a:pt x="953" y="461"/>
                  <a:pt x="953" y="460"/>
                </a:cubicBezTo>
                <a:cubicBezTo>
                  <a:pt x="952" y="460"/>
                  <a:pt x="952" y="460"/>
                  <a:pt x="952" y="460"/>
                </a:cubicBezTo>
                <a:cubicBezTo>
                  <a:pt x="952" y="460"/>
                  <a:pt x="952" y="459"/>
                  <a:pt x="952" y="459"/>
                </a:cubicBezTo>
                <a:cubicBezTo>
                  <a:pt x="952" y="458"/>
                  <a:pt x="951" y="458"/>
                  <a:pt x="951" y="458"/>
                </a:cubicBezTo>
                <a:cubicBezTo>
                  <a:pt x="951" y="458"/>
                  <a:pt x="951" y="457"/>
                  <a:pt x="951" y="457"/>
                </a:cubicBezTo>
                <a:cubicBezTo>
                  <a:pt x="951" y="457"/>
                  <a:pt x="951" y="457"/>
                  <a:pt x="950" y="457"/>
                </a:cubicBezTo>
                <a:cubicBezTo>
                  <a:pt x="950" y="456"/>
                  <a:pt x="950" y="456"/>
                  <a:pt x="949" y="455"/>
                </a:cubicBezTo>
                <a:cubicBezTo>
                  <a:pt x="949" y="455"/>
                  <a:pt x="949" y="455"/>
                  <a:pt x="949" y="455"/>
                </a:cubicBezTo>
                <a:cubicBezTo>
                  <a:pt x="950" y="455"/>
                  <a:pt x="950" y="455"/>
                  <a:pt x="951" y="455"/>
                </a:cubicBezTo>
                <a:cubicBezTo>
                  <a:pt x="951" y="455"/>
                  <a:pt x="951" y="455"/>
                  <a:pt x="952" y="455"/>
                </a:cubicBezTo>
                <a:cubicBezTo>
                  <a:pt x="952" y="454"/>
                  <a:pt x="952" y="453"/>
                  <a:pt x="952" y="453"/>
                </a:cubicBezTo>
                <a:cubicBezTo>
                  <a:pt x="952" y="452"/>
                  <a:pt x="952" y="452"/>
                  <a:pt x="952" y="452"/>
                </a:cubicBezTo>
                <a:cubicBezTo>
                  <a:pt x="952" y="452"/>
                  <a:pt x="952" y="452"/>
                  <a:pt x="952" y="452"/>
                </a:cubicBezTo>
                <a:cubicBezTo>
                  <a:pt x="953" y="452"/>
                  <a:pt x="954" y="452"/>
                  <a:pt x="955" y="452"/>
                </a:cubicBezTo>
                <a:cubicBezTo>
                  <a:pt x="954" y="452"/>
                  <a:pt x="954" y="451"/>
                  <a:pt x="953" y="451"/>
                </a:cubicBezTo>
                <a:cubicBezTo>
                  <a:pt x="953" y="451"/>
                  <a:pt x="952" y="451"/>
                  <a:pt x="952" y="450"/>
                </a:cubicBezTo>
                <a:cubicBezTo>
                  <a:pt x="953" y="450"/>
                  <a:pt x="953" y="450"/>
                  <a:pt x="953" y="450"/>
                </a:cubicBezTo>
                <a:cubicBezTo>
                  <a:pt x="953" y="450"/>
                  <a:pt x="953" y="449"/>
                  <a:pt x="953" y="449"/>
                </a:cubicBezTo>
                <a:cubicBezTo>
                  <a:pt x="953" y="449"/>
                  <a:pt x="953" y="449"/>
                  <a:pt x="953" y="449"/>
                </a:cubicBezTo>
                <a:cubicBezTo>
                  <a:pt x="953" y="449"/>
                  <a:pt x="952" y="449"/>
                  <a:pt x="952" y="448"/>
                </a:cubicBezTo>
                <a:cubicBezTo>
                  <a:pt x="952" y="448"/>
                  <a:pt x="953" y="447"/>
                  <a:pt x="953" y="447"/>
                </a:cubicBezTo>
                <a:cubicBezTo>
                  <a:pt x="954" y="446"/>
                  <a:pt x="954" y="446"/>
                  <a:pt x="955" y="445"/>
                </a:cubicBezTo>
                <a:cubicBezTo>
                  <a:pt x="955" y="445"/>
                  <a:pt x="955" y="445"/>
                  <a:pt x="954" y="445"/>
                </a:cubicBezTo>
                <a:cubicBezTo>
                  <a:pt x="955" y="445"/>
                  <a:pt x="955" y="445"/>
                  <a:pt x="955" y="445"/>
                </a:cubicBezTo>
                <a:cubicBezTo>
                  <a:pt x="955" y="444"/>
                  <a:pt x="955" y="444"/>
                  <a:pt x="955" y="444"/>
                </a:cubicBezTo>
                <a:cubicBezTo>
                  <a:pt x="955" y="444"/>
                  <a:pt x="955" y="444"/>
                  <a:pt x="955" y="443"/>
                </a:cubicBezTo>
                <a:cubicBezTo>
                  <a:pt x="955" y="443"/>
                  <a:pt x="955" y="443"/>
                  <a:pt x="955" y="442"/>
                </a:cubicBezTo>
                <a:cubicBezTo>
                  <a:pt x="955" y="442"/>
                  <a:pt x="955" y="441"/>
                  <a:pt x="955" y="441"/>
                </a:cubicBezTo>
                <a:cubicBezTo>
                  <a:pt x="955" y="440"/>
                  <a:pt x="955" y="440"/>
                  <a:pt x="954" y="440"/>
                </a:cubicBezTo>
                <a:cubicBezTo>
                  <a:pt x="954" y="439"/>
                  <a:pt x="954" y="439"/>
                  <a:pt x="954" y="439"/>
                </a:cubicBezTo>
                <a:cubicBezTo>
                  <a:pt x="954" y="439"/>
                  <a:pt x="955" y="438"/>
                  <a:pt x="955" y="438"/>
                </a:cubicBezTo>
                <a:cubicBezTo>
                  <a:pt x="954" y="438"/>
                  <a:pt x="954" y="438"/>
                  <a:pt x="954" y="437"/>
                </a:cubicBezTo>
                <a:cubicBezTo>
                  <a:pt x="953" y="438"/>
                  <a:pt x="953" y="438"/>
                  <a:pt x="953" y="438"/>
                </a:cubicBezTo>
                <a:cubicBezTo>
                  <a:pt x="952" y="438"/>
                  <a:pt x="952" y="438"/>
                  <a:pt x="952" y="437"/>
                </a:cubicBezTo>
                <a:cubicBezTo>
                  <a:pt x="952" y="437"/>
                  <a:pt x="952" y="437"/>
                  <a:pt x="951" y="437"/>
                </a:cubicBezTo>
                <a:cubicBezTo>
                  <a:pt x="951" y="437"/>
                  <a:pt x="951" y="436"/>
                  <a:pt x="951" y="435"/>
                </a:cubicBezTo>
                <a:cubicBezTo>
                  <a:pt x="950" y="435"/>
                  <a:pt x="950" y="435"/>
                  <a:pt x="950" y="435"/>
                </a:cubicBezTo>
                <a:cubicBezTo>
                  <a:pt x="950" y="435"/>
                  <a:pt x="949" y="435"/>
                  <a:pt x="949" y="435"/>
                </a:cubicBezTo>
                <a:cubicBezTo>
                  <a:pt x="949" y="435"/>
                  <a:pt x="949" y="435"/>
                  <a:pt x="949" y="435"/>
                </a:cubicBezTo>
                <a:cubicBezTo>
                  <a:pt x="949" y="435"/>
                  <a:pt x="949" y="435"/>
                  <a:pt x="949" y="435"/>
                </a:cubicBezTo>
                <a:cubicBezTo>
                  <a:pt x="948" y="435"/>
                  <a:pt x="948" y="435"/>
                  <a:pt x="948" y="435"/>
                </a:cubicBezTo>
                <a:cubicBezTo>
                  <a:pt x="948" y="435"/>
                  <a:pt x="948" y="435"/>
                  <a:pt x="947" y="436"/>
                </a:cubicBezTo>
                <a:cubicBezTo>
                  <a:pt x="947" y="436"/>
                  <a:pt x="947" y="436"/>
                  <a:pt x="946" y="436"/>
                </a:cubicBezTo>
                <a:cubicBezTo>
                  <a:pt x="946" y="436"/>
                  <a:pt x="946" y="436"/>
                  <a:pt x="945" y="436"/>
                </a:cubicBezTo>
                <a:cubicBezTo>
                  <a:pt x="945" y="436"/>
                  <a:pt x="944" y="436"/>
                  <a:pt x="943" y="436"/>
                </a:cubicBezTo>
                <a:cubicBezTo>
                  <a:pt x="943" y="436"/>
                  <a:pt x="943" y="436"/>
                  <a:pt x="942" y="436"/>
                </a:cubicBezTo>
                <a:cubicBezTo>
                  <a:pt x="942" y="436"/>
                  <a:pt x="942" y="436"/>
                  <a:pt x="941" y="436"/>
                </a:cubicBezTo>
                <a:cubicBezTo>
                  <a:pt x="940" y="437"/>
                  <a:pt x="938" y="437"/>
                  <a:pt x="937" y="437"/>
                </a:cubicBezTo>
                <a:cubicBezTo>
                  <a:pt x="936" y="437"/>
                  <a:pt x="936" y="436"/>
                  <a:pt x="935" y="436"/>
                </a:cubicBezTo>
                <a:cubicBezTo>
                  <a:pt x="935" y="436"/>
                  <a:pt x="934" y="436"/>
                  <a:pt x="934" y="435"/>
                </a:cubicBezTo>
                <a:cubicBezTo>
                  <a:pt x="934" y="435"/>
                  <a:pt x="933" y="435"/>
                  <a:pt x="933" y="434"/>
                </a:cubicBezTo>
                <a:cubicBezTo>
                  <a:pt x="933" y="434"/>
                  <a:pt x="933" y="434"/>
                  <a:pt x="932" y="434"/>
                </a:cubicBezTo>
                <a:cubicBezTo>
                  <a:pt x="933" y="434"/>
                  <a:pt x="933" y="433"/>
                  <a:pt x="933" y="433"/>
                </a:cubicBezTo>
                <a:cubicBezTo>
                  <a:pt x="932" y="432"/>
                  <a:pt x="932" y="432"/>
                  <a:pt x="931" y="431"/>
                </a:cubicBezTo>
                <a:cubicBezTo>
                  <a:pt x="931" y="430"/>
                  <a:pt x="930" y="430"/>
                  <a:pt x="929" y="430"/>
                </a:cubicBezTo>
                <a:cubicBezTo>
                  <a:pt x="928" y="429"/>
                  <a:pt x="927" y="429"/>
                  <a:pt x="926" y="428"/>
                </a:cubicBezTo>
                <a:cubicBezTo>
                  <a:pt x="925" y="428"/>
                  <a:pt x="925" y="428"/>
                  <a:pt x="924" y="429"/>
                </a:cubicBezTo>
                <a:cubicBezTo>
                  <a:pt x="923" y="429"/>
                  <a:pt x="923" y="428"/>
                  <a:pt x="922" y="428"/>
                </a:cubicBezTo>
                <a:cubicBezTo>
                  <a:pt x="922" y="428"/>
                  <a:pt x="922" y="428"/>
                  <a:pt x="922" y="428"/>
                </a:cubicBezTo>
                <a:cubicBezTo>
                  <a:pt x="921" y="429"/>
                  <a:pt x="920" y="429"/>
                  <a:pt x="919" y="429"/>
                </a:cubicBezTo>
                <a:cubicBezTo>
                  <a:pt x="918" y="429"/>
                  <a:pt x="917" y="429"/>
                  <a:pt x="917" y="429"/>
                </a:cubicBezTo>
                <a:cubicBezTo>
                  <a:pt x="917" y="429"/>
                  <a:pt x="916" y="429"/>
                  <a:pt x="916" y="429"/>
                </a:cubicBezTo>
                <a:cubicBezTo>
                  <a:pt x="915" y="429"/>
                  <a:pt x="915" y="430"/>
                  <a:pt x="914" y="430"/>
                </a:cubicBezTo>
                <a:cubicBezTo>
                  <a:pt x="914" y="430"/>
                  <a:pt x="913" y="430"/>
                  <a:pt x="913" y="430"/>
                </a:cubicBezTo>
                <a:cubicBezTo>
                  <a:pt x="912" y="430"/>
                  <a:pt x="912" y="431"/>
                  <a:pt x="911" y="431"/>
                </a:cubicBezTo>
                <a:cubicBezTo>
                  <a:pt x="910" y="431"/>
                  <a:pt x="909" y="431"/>
                  <a:pt x="908" y="432"/>
                </a:cubicBezTo>
                <a:cubicBezTo>
                  <a:pt x="907" y="432"/>
                  <a:pt x="907" y="433"/>
                  <a:pt x="906" y="433"/>
                </a:cubicBezTo>
                <a:cubicBezTo>
                  <a:pt x="905" y="433"/>
                  <a:pt x="904" y="433"/>
                  <a:pt x="903" y="434"/>
                </a:cubicBezTo>
                <a:cubicBezTo>
                  <a:pt x="901" y="434"/>
                  <a:pt x="900" y="435"/>
                  <a:pt x="899" y="435"/>
                </a:cubicBezTo>
                <a:cubicBezTo>
                  <a:pt x="898" y="435"/>
                  <a:pt x="897" y="435"/>
                  <a:pt x="897" y="435"/>
                </a:cubicBezTo>
                <a:cubicBezTo>
                  <a:pt x="896" y="435"/>
                  <a:pt x="895" y="434"/>
                  <a:pt x="894" y="434"/>
                </a:cubicBezTo>
                <a:cubicBezTo>
                  <a:pt x="894" y="434"/>
                  <a:pt x="894" y="434"/>
                  <a:pt x="894" y="434"/>
                </a:cubicBezTo>
                <a:cubicBezTo>
                  <a:pt x="894" y="434"/>
                  <a:pt x="893" y="433"/>
                  <a:pt x="893" y="433"/>
                </a:cubicBezTo>
                <a:cubicBezTo>
                  <a:pt x="893" y="433"/>
                  <a:pt x="892" y="433"/>
                  <a:pt x="892" y="433"/>
                </a:cubicBezTo>
                <a:cubicBezTo>
                  <a:pt x="892" y="434"/>
                  <a:pt x="892" y="434"/>
                  <a:pt x="892" y="434"/>
                </a:cubicBezTo>
                <a:cubicBezTo>
                  <a:pt x="891" y="434"/>
                  <a:pt x="890" y="434"/>
                  <a:pt x="890" y="433"/>
                </a:cubicBezTo>
                <a:cubicBezTo>
                  <a:pt x="889" y="434"/>
                  <a:pt x="888" y="434"/>
                  <a:pt x="887" y="434"/>
                </a:cubicBezTo>
                <a:cubicBezTo>
                  <a:pt x="885" y="434"/>
                  <a:pt x="883" y="434"/>
                  <a:pt x="881" y="434"/>
                </a:cubicBezTo>
                <a:cubicBezTo>
                  <a:pt x="880" y="435"/>
                  <a:pt x="880" y="435"/>
                  <a:pt x="879" y="435"/>
                </a:cubicBezTo>
                <a:cubicBezTo>
                  <a:pt x="879" y="435"/>
                  <a:pt x="879" y="435"/>
                  <a:pt x="879" y="435"/>
                </a:cubicBezTo>
                <a:cubicBezTo>
                  <a:pt x="878" y="435"/>
                  <a:pt x="877" y="436"/>
                  <a:pt x="876" y="436"/>
                </a:cubicBezTo>
                <a:cubicBezTo>
                  <a:pt x="875" y="436"/>
                  <a:pt x="875" y="436"/>
                  <a:pt x="875" y="437"/>
                </a:cubicBezTo>
                <a:cubicBezTo>
                  <a:pt x="875" y="437"/>
                  <a:pt x="875" y="437"/>
                  <a:pt x="874" y="437"/>
                </a:cubicBezTo>
                <a:cubicBezTo>
                  <a:pt x="874" y="437"/>
                  <a:pt x="873" y="437"/>
                  <a:pt x="873" y="438"/>
                </a:cubicBezTo>
                <a:cubicBezTo>
                  <a:pt x="872" y="438"/>
                  <a:pt x="872" y="438"/>
                  <a:pt x="872" y="438"/>
                </a:cubicBezTo>
                <a:cubicBezTo>
                  <a:pt x="870" y="437"/>
                  <a:pt x="869" y="437"/>
                  <a:pt x="867" y="437"/>
                </a:cubicBezTo>
                <a:cubicBezTo>
                  <a:pt x="866" y="436"/>
                  <a:pt x="865" y="435"/>
                  <a:pt x="863" y="435"/>
                </a:cubicBezTo>
                <a:cubicBezTo>
                  <a:pt x="863" y="435"/>
                  <a:pt x="863" y="435"/>
                  <a:pt x="862" y="435"/>
                </a:cubicBezTo>
                <a:cubicBezTo>
                  <a:pt x="861" y="434"/>
                  <a:pt x="860" y="433"/>
                  <a:pt x="859" y="432"/>
                </a:cubicBezTo>
                <a:cubicBezTo>
                  <a:pt x="859" y="432"/>
                  <a:pt x="859" y="432"/>
                  <a:pt x="859" y="432"/>
                </a:cubicBezTo>
                <a:cubicBezTo>
                  <a:pt x="858" y="432"/>
                  <a:pt x="858" y="432"/>
                  <a:pt x="857" y="432"/>
                </a:cubicBezTo>
                <a:cubicBezTo>
                  <a:pt x="857" y="432"/>
                  <a:pt x="857" y="432"/>
                  <a:pt x="856" y="432"/>
                </a:cubicBezTo>
                <a:cubicBezTo>
                  <a:pt x="856" y="431"/>
                  <a:pt x="855" y="431"/>
                  <a:pt x="855" y="430"/>
                </a:cubicBezTo>
                <a:cubicBezTo>
                  <a:pt x="855" y="430"/>
                  <a:pt x="854" y="430"/>
                  <a:pt x="854" y="430"/>
                </a:cubicBezTo>
                <a:cubicBezTo>
                  <a:pt x="854" y="430"/>
                  <a:pt x="854" y="430"/>
                  <a:pt x="854" y="429"/>
                </a:cubicBezTo>
                <a:cubicBezTo>
                  <a:pt x="854" y="429"/>
                  <a:pt x="854" y="429"/>
                  <a:pt x="854" y="429"/>
                </a:cubicBezTo>
                <a:cubicBezTo>
                  <a:pt x="854" y="429"/>
                  <a:pt x="854" y="429"/>
                  <a:pt x="854" y="429"/>
                </a:cubicBezTo>
                <a:cubicBezTo>
                  <a:pt x="853" y="429"/>
                  <a:pt x="853" y="429"/>
                  <a:pt x="852" y="429"/>
                </a:cubicBezTo>
                <a:cubicBezTo>
                  <a:pt x="852" y="429"/>
                  <a:pt x="852" y="429"/>
                  <a:pt x="852" y="429"/>
                </a:cubicBezTo>
                <a:cubicBezTo>
                  <a:pt x="851" y="429"/>
                  <a:pt x="850" y="429"/>
                  <a:pt x="849" y="428"/>
                </a:cubicBezTo>
                <a:cubicBezTo>
                  <a:pt x="849" y="428"/>
                  <a:pt x="848" y="428"/>
                  <a:pt x="848" y="428"/>
                </a:cubicBezTo>
                <a:cubicBezTo>
                  <a:pt x="848" y="428"/>
                  <a:pt x="848" y="428"/>
                  <a:pt x="848" y="428"/>
                </a:cubicBezTo>
                <a:cubicBezTo>
                  <a:pt x="848" y="428"/>
                  <a:pt x="848" y="427"/>
                  <a:pt x="847" y="427"/>
                </a:cubicBezTo>
                <a:cubicBezTo>
                  <a:pt x="847" y="427"/>
                  <a:pt x="847" y="427"/>
                  <a:pt x="847" y="427"/>
                </a:cubicBezTo>
                <a:cubicBezTo>
                  <a:pt x="847" y="427"/>
                  <a:pt x="847" y="426"/>
                  <a:pt x="847" y="426"/>
                </a:cubicBezTo>
                <a:cubicBezTo>
                  <a:pt x="847" y="426"/>
                  <a:pt x="847" y="426"/>
                  <a:pt x="847" y="426"/>
                </a:cubicBezTo>
                <a:cubicBezTo>
                  <a:pt x="847" y="426"/>
                  <a:pt x="847" y="426"/>
                  <a:pt x="846" y="426"/>
                </a:cubicBezTo>
                <a:cubicBezTo>
                  <a:pt x="846" y="426"/>
                  <a:pt x="845" y="426"/>
                  <a:pt x="845" y="426"/>
                </a:cubicBezTo>
                <a:cubicBezTo>
                  <a:pt x="845" y="425"/>
                  <a:pt x="845" y="425"/>
                  <a:pt x="845" y="425"/>
                </a:cubicBezTo>
                <a:cubicBezTo>
                  <a:pt x="845" y="424"/>
                  <a:pt x="845" y="424"/>
                  <a:pt x="844" y="424"/>
                </a:cubicBezTo>
                <a:cubicBezTo>
                  <a:pt x="844" y="424"/>
                  <a:pt x="844" y="424"/>
                  <a:pt x="843" y="424"/>
                </a:cubicBezTo>
                <a:cubicBezTo>
                  <a:pt x="843" y="423"/>
                  <a:pt x="843" y="423"/>
                  <a:pt x="843" y="423"/>
                </a:cubicBezTo>
                <a:cubicBezTo>
                  <a:pt x="843" y="423"/>
                  <a:pt x="843" y="422"/>
                  <a:pt x="844" y="422"/>
                </a:cubicBezTo>
                <a:cubicBezTo>
                  <a:pt x="843" y="422"/>
                  <a:pt x="843" y="422"/>
                  <a:pt x="843" y="422"/>
                </a:cubicBezTo>
                <a:cubicBezTo>
                  <a:pt x="843" y="422"/>
                  <a:pt x="843" y="421"/>
                  <a:pt x="843" y="421"/>
                </a:cubicBezTo>
                <a:cubicBezTo>
                  <a:pt x="843" y="421"/>
                  <a:pt x="843" y="421"/>
                  <a:pt x="843" y="420"/>
                </a:cubicBezTo>
                <a:cubicBezTo>
                  <a:pt x="843" y="420"/>
                  <a:pt x="843" y="420"/>
                  <a:pt x="843" y="420"/>
                </a:cubicBezTo>
                <a:cubicBezTo>
                  <a:pt x="843" y="420"/>
                  <a:pt x="843" y="420"/>
                  <a:pt x="843" y="420"/>
                </a:cubicBezTo>
                <a:cubicBezTo>
                  <a:pt x="842" y="420"/>
                  <a:pt x="842" y="420"/>
                  <a:pt x="841" y="420"/>
                </a:cubicBezTo>
                <a:cubicBezTo>
                  <a:pt x="841" y="419"/>
                  <a:pt x="841" y="419"/>
                  <a:pt x="841" y="418"/>
                </a:cubicBezTo>
                <a:cubicBezTo>
                  <a:pt x="840" y="418"/>
                  <a:pt x="840" y="418"/>
                  <a:pt x="840" y="418"/>
                </a:cubicBezTo>
                <a:cubicBezTo>
                  <a:pt x="840" y="418"/>
                  <a:pt x="839" y="418"/>
                  <a:pt x="839" y="418"/>
                </a:cubicBezTo>
                <a:cubicBezTo>
                  <a:pt x="839" y="418"/>
                  <a:pt x="839" y="418"/>
                  <a:pt x="839" y="418"/>
                </a:cubicBezTo>
                <a:cubicBezTo>
                  <a:pt x="839" y="418"/>
                  <a:pt x="840" y="417"/>
                  <a:pt x="840" y="417"/>
                </a:cubicBezTo>
                <a:cubicBezTo>
                  <a:pt x="839" y="417"/>
                  <a:pt x="839" y="417"/>
                  <a:pt x="839" y="417"/>
                </a:cubicBezTo>
                <a:cubicBezTo>
                  <a:pt x="839" y="417"/>
                  <a:pt x="839" y="417"/>
                  <a:pt x="838" y="418"/>
                </a:cubicBezTo>
                <a:cubicBezTo>
                  <a:pt x="838" y="418"/>
                  <a:pt x="838" y="417"/>
                  <a:pt x="838" y="417"/>
                </a:cubicBezTo>
                <a:cubicBezTo>
                  <a:pt x="837" y="417"/>
                  <a:pt x="837" y="417"/>
                  <a:pt x="836" y="417"/>
                </a:cubicBezTo>
                <a:cubicBezTo>
                  <a:pt x="836" y="417"/>
                  <a:pt x="836" y="417"/>
                  <a:pt x="835" y="416"/>
                </a:cubicBezTo>
                <a:cubicBezTo>
                  <a:pt x="835" y="416"/>
                  <a:pt x="836" y="415"/>
                  <a:pt x="836" y="415"/>
                </a:cubicBezTo>
                <a:cubicBezTo>
                  <a:pt x="835" y="415"/>
                  <a:pt x="835" y="415"/>
                  <a:pt x="835" y="414"/>
                </a:cubicBezTo>
                <a:cubicBezTo>
                  <a:pt x="835" y="414"/>
                  <a:pt x="835" y="414"/>
                  <a:pt x="835" y="414"/>
                </a:cubicBezTo>
                <a:cubicBezTo>
                  <a:pt x="834" y="414"/>
                  <a:pt x="834" y="415"/>
                  <a:pt x="834" y="415"/>
                </a:cubicBezTo>
                <a:cubicBezTo>
                  <a:pt x="833" y="415"/>
                  <a:pt x="833" y="415"/>
                  <a:pt x="833" y="415"/>
                </a:cubicBezTo>
                <a:cubicBezTo>
                  <a:pt x="833" y="414"/>
                  <a:pt x="833" y="414"/>
                  <a:pt x="833" y="414"/>
                </a:cubicBezTo>
                <a:cubicBezTo>
                  <a:pt x="833" y="414"/>
                  <a:pt x="832" y="414"/>
                  <a:pt x="831" y="414"/>
                </a:cubicBezTo>
                <a:cubicBezTo>
                  <a:pt x="832" y="414"/>
                  <a:pt x="832" y="414"/>
                  <a:pt x="832" y="413"/>
                </a:cubicBezTo>
                <a:cubicBezTo>
                  <a:pt x="832" y="413"/>
                  <a:pt x="832" y="413"/>
                  <a:pt x="832" y="413"/>
                </a:cubicBezTo>
                <a:cubicBezTo>
                  <a:pt x="832" y="413"/>
                  <a:pt x="832" y="413"/>
                  <a:pt x="832" y="413"/>
                </a:cubicBezTo>
                <a:cubicBezTo>
                  <a:pt x="832" y="413"/>
                  <a:pt x="832" y="413"/>
                  <a:pt x="832" y="412"/>
                </a:cubicBezTo>
                <a:cubicBezTo>
                  <a:pt x="831" y="412"/>
                  <a:pt x="831" y="412"/>
                  <a:pt x="831" y="412"/>
                </a:cubicBezTo>
                <a:cubicBezTo>
                  <a:pt x="831" y="412"/>
                  <a:pt x="831" y="412"/>
                  <a:pt x="830" y="412"/>
                </a:cubicBezTo>
                <a:cubicBezTo>
                  <a:pt x="831" y="412"/>
                  <a:pt x="832" y="412"/>
                  <a:pt x="833" y="412"/>
                </a:cubicBezTo>
                <a:cubicBezTo>
                  <a:pt x="833" y="412"/>
                  <a:pt x="833" y="412"/>
                  <a:pt x="833" y="412"/>
                </a:cubicBezTo>
                <a:cubicBezTo>
                  <a:pt x="833" y="412"/>
                  <a:pt x="832" y="411"/>
                  <a:pt x="832" y="411"/>
                </a:cubicBezTo>
                <a:cubicBezTo>
                  <a:pt x="832" y="411"/>
                  <a:pt x="831" y="411"/>
                  <a:pt x="831" y="412"/>
                </a:cubicBezTo>
                <a:cubicBezTo>
                  <a:pt x="830" y="412"/>
                  <a:pt x="830" y="412"/>
                  <a:pt x="829" y="412"/>
                </a:cubicBezTo>
                <a:cubicBezTo>
                  <a:pt x="829" y="412"/>
                  <a:pt x="829" y="412"/>
                  <a:pt x="829" y="412"/>
                </a:cubicBezTo>
                <a:cubicBezTo>
                  <a:pt x="829" y="412"/>
                  <a:pt x="829" y="412"/>
                  <a:pt x="829" y="412"/>
                </a:cubicBezTo>
                <a:cubicBezTo>
                  <a:pt x="828" y="412"/>
                  <a:pt x="828" y="412"/>
                  <a:pt x="828" y="412"/>
                </a:cubicBezTo>
                <a:cubicBezTo>
                  <a:pt x="827" y="411"/>
                  <a:pt x="827" y="411"/>
                  <a:pt x="827" y="411"/>
                </a:cubicBezTo>
                <a:cubicBezTo>
                  <a:pt x="827" y="411"/>
                  <a:pt x="827" y="411"/>
                  <a:pt x="828" y="410"/>
                </a:cubicBezTo>
                <a:cubicBezTo>
                  <a:pt x="827" y="410"/>
                  <a:pt x="827" y="410"/>
                  <a:pt x="827" y="410"/>
                </a:cubicBezTo>
                <a:cubicBezTo>
                  <a:pt x="826" y="410"/>
                  <a:pt x="826" y="410"/>
                  <a:pt x="825" y="410"/>
                </a:cubicBezTo>
                <a:cubicBezTo>
                  <a:pt x="825" y="410"/>
                  <a:pt x="825" y="410"/>
                  <a:pt x="825" y="410"/>
                </a:cubicBezTo>
                <a:cubicBezTo>
                  <a:pt x="825" y="410"/>
                  <a:pt x="825" y="410"/>
                  <a:pt x="825" y="410"/>
                </a:cubicBezTo>
                <a:cubicBezTo>
                  <a:pt x="825" y="410"/>
                  <a:pt x="825" y="409"/>
                  <a:pt x="825" y="409"/>
                </a:cubicBezTo>
                <a:cubicBezTo>
                  <a:pt x="825" y="409"/>
                  <a:pt x="824" y="409"/>
                  <a:pt x="824" y="409"/>
                </a:cubicBezTo>
                <a:cubicBezTo>
                  <a:pt x="825" y="409"/>
                  <a:pt x="825" y="409"/>
                  <a:pt x="825" y="409"/>
                </a:cubicBezTo>
                <a:cubicBezTo>
                  <a:pt x="825" y="409"/>
                  <a:pt x="825" y="409"/>
                  <a:pt x="826" y="409"/>
                </a:cubicBezTo>
                <a:cubicBezTo>
                  <a:pt x="826" y="409"/>
                  <a:pt x="826" y="409"/>
                  <a:pt x="827" y="409"/>
                </a:cubicBezTo>
                <a:cubicBezTo>
                  <a:pt x="826" y="408"/>
                  <a:pt x="826" y="408"/>
                  <a:pt x="825" y="408"/>
                </a:cubicBezTo>
                <a:cubicBezTo>
                  <a:pt x="825" y="408"/>
                  <a:pt x="824" y="409"/>
                  <a:pt x="824" y="409"/>
                </a:cubicBezTo>
                <a:cubicBezTo>
                  <a:pt x="824" y="409"/>
                  <a:pt x="824" y="409"/>
                  <a:pt x="824" y="409"/>
                </a:cubicBezTo>
                <a:cubicBezTo>
                  <a:pt x="824" y="408"/>
                  <a:pt x="824" y="408"/>
                  <a:pt x="824" y="408"/>
                </a:cubicBezTo>
                <a:cubicBezTo>
                  <a:pt x="824" y="408"/>
                  <a:pt x="824" y="408"/>
                  <a:pt x="824" y="407"/>
                </a:cubicBezTo>
                <a:cubicBezTo>
                  <a:pt x="824" y="407"/>
                  <a:pt x="824" y="407"/>
                  <a:pt x="824" y="407"/>
                </a:cubicBezTo>
                <a:cubicBezTo>
                  <a:pt x="824" y="407"/>
                  <a:pt x="824" y="407"/>
                  <a:pt x="823" y="406"/>
                </a:cubicBezTo>
                <a:cubicBezTo>
                  <a:pt x="824" y="406"/>
                  <a:pt x="824" y="406"/>
                  <a:pt x="824" y="406"/>
                </a:cubicBezTo>
                <a:cubicBezTo>
                  <a:pt x="825" y="406"/>
                  <a:pt x="825" y="406"/>
                  <a:pt x="825" y="407"/>
                </a:cubicBezTo>
                <a:cubicBezTo>
                  <a:pt x="826" y="407"/>
                  <a:pt x="826" y="407"/>
                  <a:pt x="827" y="407"/>
                </a:cubicBezTo>
                <a:cubicBezTo>
                  <a:pt x="827" y="406"/>
                  <a:pt x="827" y="406"/>
                  <a:pt x="827" y="406"/>
                </a:cubicBezTo>
                <a:cubicBezTo>
                  <a:pt x="827" y="406"/>
                  <a:pt x="827" y="406"/>
                  <a:pt x="826" y="406"/>
                </a:cubicBezTo>
                <a:cubicBezTo>
                  <a:pt x="826" y="406"/>
                  <a:pt x="825" y="406"/>
                  <a:pt x="825" y="406"/>
                </a:cubicBezTo>
                <a:cubicBezTo>
                  <a:pt x="825" y="406"/>
                  <a:pt x="825" y="406"/>
                  <a:pt x="825" y="405"/>
                </a:cubicBezTo>
                <a:cubicBezTo>
                  <a:pt x="825" y="405"/>
                  <a:pt x="825" y="405"/>
                  <a:pt x="824" y="405"/>
                </a:cubicBezTo>
                <a:cubicBezTo>
                  <a:pt x="825" y="405"/>
                  <a:pt x="825" y="405"/>
                  <a:pt x="825" y="405"/>
                </a:cubicBezTo>
                <a:cubicBezTo>
                  <a:pt x="825" y="404"/>
                  <a:pt x="824" y="404"/>
                  <a:pt x="824" y="404"/>
                </a:cubicBezTo>
                <a:cubicBezTo>
                  <a:pt x="824" y="404"/>
                  <a:pt x="824" y="404"/>
                  <a:pt x="824" y="404"/>
                </a:cubicBezTo>
                <a:cubicBezTo>
                  <a:pt x="824" y="404"/>
                  <a:pt x="824" y="404"/>
                  <a:pt x="824" y="403"/>
                </a:cubicBezTo>
                <a:cubicBezTo>
                  <a:pt x="824" y="403"/>
                  <a:pt x="824" y="403"/>
                  <a:pt x="823" y="403"/>
                </a:cubicBezTo>
                <a:cubicBezTo>
                  <a:pt x="823" y="403"/>
                  <a:pt x="822" y="402"/>
                  <a:pt x="822" y="402"/>
                </a:cubicBezTo>
                <a:cubicBezTo>
                  <a:pt x="821" y="402"/>
                  <a:pt x="821" y="401"/>
                  <a:pt x="820" y="401"/>
                </a:cubicBezTo>
                <a:cubicBezTo>
                  <a:pt x="821" y="400"/>
                  <a:pt x="822" y="399"/>
                  <a:pt x="823" y="399"/>
                </a:cubicBezTo>
                <a:cubicBezTo>
                  <a:pt x="824" y="398"/>
                  <a:pt x="824" y="397"/>
                  <a:pt x="824" y="397"/>
                </a:cubicBezTo>
                <a:cubicBezTo>
                  <a:pt x="824" y="396"/>
                  <a:pt x="824" y="396"/>
                  <a:pt x="825" y="396"/>
                </a:cubicBezTo>
                <a:cubicBezTo>
                  <a:pt x="825" y="395"/>
                  <a:pt x="825" y="395"/>
                  <a:pt x="825" y="394"/>
                </a:cubicBezTo>
                <a:cubicBezTo>
                  <a:pt x="825" y="393"/>
                  <a:pt x="825" y="393"/>
                  <a:pt x="825" y="392"/>
                </a:cubicBezTo>
                <a:cubicBezTo>
                  <a:pt x="826" y="391"/>
                  <a:pt x="826" y="391"/>
                  <a:pt x="826" y="390"/>
                </a:cubicBezTo>
                <a:cubicBezTo>
                  <a:pt x="826" y="390"/>
                  <a:pt x="827" y="389"/>
                  <a:pt x="827" y="388"/>
                </a:cubicBezTo>
                <a:cubicBezTo>
                  <a:pt x="826" y="387"/>
                  <a:pt x="826" y="385"/>
                  <a:pt x="825" y="384"/>
                </a:cubicBezTo>
                <a:cubicBezTo>
                  <a:pt x="825" y="383"/>
                  <a:pt x="824" y="383"/>
                  <a:pt x="824" y="382"/>
                </a:cubicBezTo>
                <a:cubicBezTo>
                  <a:pt x="824" y="382"/>
                  <a:pt x="824" y="382"/>
                  <a:pt x="824" y="382"/>
                </a:cubicBezTo>
                <a:cubicBezTo>
                  <a:pt x="825" y="382"/>
                  <a:pt x="825" y="382"/>
                  <a:pt x="825" y="382"/>
                </a:cubicBezTo>
                <a:cubicBezTo>
                  <a:pt x="825" y="382"/>
                  <a:pt x="825" y="381"/>
                  <a:pt x="825" y="381"/>
                </a:cubicBezTo>
                <a:cubicBezTo>
                  <a:pt x="825" y="381"/>
                  <a:pt x="825" y="380"/>
                  <a:pt x="825" y="380"/>
                </a:cubicBezTo>
                <a:cubicBezTo>
                  <a:pt x="825" y="380"/>
                  <a:pt x="825" y="380"/>
                  <a:pt x="825" y="380"/>
                </a:cubicBezTo>
                <a:cubicBezTo>
                  <a:pt x="825" y="379"/>
                  <a:pt x="824" y="379"/>
                  <a:pt x="824" y="378"/>
                </a:cubicBezTo>
                <a:cubicBezTo>
                  <a:pt x="824" y="378"/>
                  <a:pt x="823" y="378"/>
                  <a:pt x="823" y="378"/>
                </a:cubicBezTo>
                <a:cubicBezTo>
                  <a:pt x="823" y="378"/>
                  <a:pt x="823" y="378"/>
                  <a:pt x="823" y="378"/>
                </a:cubicBezTo>
                <a:cubicBezTo>
                  <a:pt x="823" y="378"/>
                  <a:pt x="822" y="378"/>
                  <a:pt x="822" y="377"/>
                </a:cubicBezTo>
                <a:cubicBezTo>
                  <a:pt x="822" y="378"/>
                  <a:pt x="822" y="378"/>
                  <a:pt x="821" y="378"/>
                </a:cubicBezTo>
                <a:cubicBezTo>
                  <a:pt x="821" y="378"/>
                  <a:pt x="821" y="378"/>
                  <a:pt x="821" y="377"/>
                </a:cubicBezTo>
                <a:cubicBezTo>
                  <a:pt x="821" y="377"/>
                  <a:pt x="821" y="376"/>
                  <a:pt x="822" y="376"/>
                </a:cubicBezTo>
                <a:cubicBezTo>
                  <a:pt x="822" y="376"/>
                  <a:pt x="821" y="376"/>
                  <a:pt x="821" y="376"/>
                </a:cubicBezTo>
                <a:cubicBezTo>
                  <a:pt x="821" y="376"/>
                  <a:pt x="821" y="375"/>
                  <a:pt x="821" y="375"/>
                </a:cubicBezTo>
                <a:cubicBezTo>
                  <a:pt x="821" y="375"/>
                  <a:pt x="822" y="374"/>
                  <a:pt x="822" y="374"/>
                </a:cubicBezTo>
                <a:cubicBezTo>
                  <a:pt x="822" y="374"/>
                  <a:pt x="822" y="373"/>
                  <a:pt x="822" y="373"/>
                </a:cubicBezTo>
                <a:cubicBezTo>
                  <a:pt x="822" y="373"/>
                  <a:pt x="822" y="373"/>
                  <a:pt x="822" y="372"/>
                </a:cubicBezTo>
                <a:cubicBezTo>
                  <a:pt x="823" y="372"/>
                  <a:pt x="823" y="372"/>
                  <a:pt x="823" y="372"/>
                </a:cubicBezTo>
                <a:cubicBezTo>
                  <a:pt x="823" y="372"/>
                  <a:pt x="824" y="371"/>
                  <a:pt x="824" y="370"/>
                </a:cubicBezTo>
                <a:cubicBezTo>
                  <a:pt x="825" y="370"/>
                  <a:pt x="825" y="370"/>
                  <a:pt x="825" y="370"/>
                </a:cubicBezTo>
                <a:cubicBezTo>
                  <a:pt x="825" y="370"/>
                  <a:pt x="825" y="370"/>
                  <a:pt x="825" y="369"/>
                </a:cubicBezTo>
                <a:cubicBezTo>
                  <a:pt x="825" y="369"/>
                  <a:pt x="825" y="369"/>
                  <a:pt x="825" y="369"/>
                </a:cubicBezTo>
                <a:cubicBezTo>
                  <a:pt x="825" y="368"/>
                  <a:pt x="826" y="368"/>
                  <a:pt x="827" y="367"/>
                </a:cubicBezTo>
                <a:cubicBezTo>
                  <a:pt x="827" y="367"/>
                  <a:pt x="826" y="367"/>
                  <a:pt x="826" y="366"/>
                </a:cubicBezTo>
                <a:cubicBezTo>
                  <a:pt x="827" y="366"/>
                  <a:pt x="827" y="365"/>
                  <a:pt x="828" y="364"/>
                </a:cubicBezTo>
                <a:cubicBezTo>
                  <a:pt x="828" y="364"/>
                  <a:pt x="828" y="364"/>
                  <a:pt x="828" y="364"/>
                </a:cubicBezTo>
                <a:cubicBezTo>
                  <a:pt x="829" y="363"/>
                  <a:pt x="830" y="363"/>
                  <a:pt x="831" y="362"/>
                </a:cubicBezTo>
                <a:cubicBezTo>
                  <a:pt x="831" y="362"/>
                  <a:pt x="831" y="362"/>
                  <a:pt x="831" y="361"/>
                </a:cubicBezTo>
                <a:cubicBezTo>
                  <a:pt x="832" y="360"/>
                  <a:pt x="833" y="359"/>
                  <a:pt x="834" y="358"/>
                </a:cubicBezTo>
                <a:cubicBezTo>
                  <a:pt x="833" y="357"/>
                  <a:pt x="833" y="357"/>
                  <a:pt x="833" y="357"/>
                </a:cubicBezTo>
                <a:cubicBezTo>
                  <a:pt x="834" y="357"/>
                  <a:pt x="834" y="356"/>
                  <a:pt x="834" y="356"/>
                </a:cubicBezTo>
                <a:cubicBezTo>
                  <a:pt x="835" y="356"/>
                  <a:pt x="835" y="356"/>
                  <a:pt x="835" y="355"/>
                </a:cubicBezTo>
                <a:cubicBezTo>
                  <a:pt x="836" y="355"/>
                  <a:pt x="837" y="354"/>
                  <a:pt x="838" y="354"/>
                </a:cubicBezTo>
                <a:cubicBezTo>
                  <a:pt x="839" y="354"/>
                  <a:pt x="839" y="354"/>
                  <a:pt x="839" y="354"/>
                </a:cubicBezTo>
                <a:cubicBezTo>
                  <a:pt x="839" y="353"/>
                  <a:pt x="839" y="353"/>
                  <a:pt x="839" y="352"/>
                </a:cubicBezTo>
                <a:cubicBezTo>
                  <a:pt x="840" y="352"/>
                  <a:pt x="840" y="351"/>
                  <a:pt x="841" y="350"/>
                </a:cubicBezTo>
                <a:cubicBezTo>
                  <a:pt x="841" y="350"/>
                  <a:pt x="842" y="349"/>
                  <a:pt x="842" y="349"/>
                </a:cubicBezTo>
                <a:cubicBezTo>
                  <a:pt x="844" y="348"/>
                  <a:pt x="845" y="348"/>
                  <a:pt x="847" y="348"/>
                </a:cubicBezTo>
                <a:cubicBezTo>
                  <a:pt x="848" y="347"/>
                  <a:pt x="849" y="346"/>
                  <a:pt x="851" y="345"/>
                </a:cubicBezTo>
                <a:cubicBezTo>
                  <a:pt x="851" y="345"/>
                  <a:pt x="852" y="345"/>
                  <a:pt x="852" y="345"/>
                </a:cubicBezTo>
                <a:cubicBezTo>
                  <a:pt x="853" y="345"/>
                  <a:pt x="853" y="344"/>
                  <a:pt x="854" y="344"/>
                </a:cubicBezTo>
                <a:cubicBezTo>
                  <a:pt x="854" y="344"/>
                  <a:pt x="854" y="343"/>
                  <a:pt x="854" y="343"/>
                </a:cubicBezTo>
                <a:cubicBezTo>
                  <a:pt x="855" y="342"/>
                  <a:pt x="856" y="341"/>
                  <a:pt x="857" y="340"/>
                </a:cubicBezTo>
                <a:cubicBezTo>
                  <a:pt x="857" y="340"/>
                  <a:pt x="857" y="339"/>
                  <a:pt x="857" y="339"/>
                </a:cubicBezTo>
                <a:cubicBezTo>
                  <a:pt x="857" y="339"/>
                  <a:pt x="857" y="339"/>
                  <a:pt x="857" y="338"/>
                </a:cubicBezTo>
                <a:cubicBezTo>
                  <a:pt x="857" y="338"/>
                  <a:pt x="856" y="338"/>
                  <a:pt x="856" y="338"/>
                </a:cubicBezTo>
                <a:cubicBezTo>
                  <a:pt x="856" y="338"/>
                  <a:pt x="857" y="337"/>
                  <a:pt x="857" y="337"/>
                </a:cubicBezTo>
                <a:cubicBezTo>
                  <a:pt x="857" y="336"/>
                  <a:pt x="856" y="336"/>
                  <a:pt x="856" y="336"/>
                </a:cubicBezTo>
                <a:cubicBezTo>
                  <a:pt x="856" y="335"/>
                  <a:pt x="856" y="335"/>
                  <a:pt x="856" y="335"/>
                </a:cubicBezTo>
                <a:cubicBezTo>
                  <a:pt x="856" y="334"/>
                  <a:pt x="857" y="333"/>
                  <a:pt x="857" y="333"/>
                </a:cubicBezTo>
                <a:cubicBezTo>
                  <a:pt x="858" y="332"/>
                  <a:pt x="859" y="332"/>
                  <a:pt x="859" y="331"/>
                </a:cubicBezTo>
                <a:cubicBezTo>
                  <a:pt x="859" y="331"/>
                  <a:pt x="859" y="331"/>
                  <a:pt x="859" y="330"/>
                </a:cubicBezTo>
                <a:cubicBezTo>
                  <a:pt x="859" y="330"/>
                  <a:pt x="859" y="330"/>
                  <a:pt x="858" y="329"/>
                </a:cubicBezTo>
                <a:cubicBezTo>
                  <a:pt x="859" y="329"/>
                  <a:pt x="860" y="328"/>
                  <a:pt x="861" y="328"/>
                </a:cubicBezTo>
                <a:cubicBezTo>
                  <a:pt x="861" y="328"/>
                  <a:pt x="861" y="327"/>
                  <a:pt x="861" y="327"/>
                </a:cubicBezTo>
                <a:cubicBezTo>
                  <a:pt x="862" y="327"/>
                  <a:pt x="862" y="327"/>
                  <a:pt x="863" y="327"/>
                </a:cubicBezTo>
                <a:cubicBezTo>
                  <a:pt x="863" y="326"/>
                  <a:pt x="864" y="326"/>
                  <a:pt x="865" y="326"/>
                </a:cubicBezTo>
                <a:cubicBezTo>
                  <a:pt x="865" y="326"/>
                  <a:pt x="865" y="326"/>
                  <a:pt x="865" y="326"/>
                </a:cubicBezTo>
                <a:cubicBezTo>
                  <a:pt x="866" y="325"/>
                  <a:pt x="866" y="325"/>
                  <a:pt x="867" y="324"/>
                </a:cubicBezTo>
                <a:cubicBezTo>
                  <a:pt x="867" y="324"/>
                  <a:pt x="868" y="324"/>
                  <a:pt x="869" y="324"/>
                </a:cubicBezTo>
                <a:cubicBezTo>
                  <a:pt x="869" y="324"/>
                  <a:pt x="869" y="323"/>
                  <a:pt x="870" y="323"/>
                </a:cubicBezTo>
                <a:cubicBezTo>
                  <a:pt x="870" y="323"/>
                  <a:pt x="870" y="323"/>
                  <a:pt x="870" y="323"/>
                </a:cubicBezTo>
                <a:cubicBezTo>
                  <a:pt x="871" y="323"/>
                  <a:pt x="872" y="322"/>
                  <a:pt x="873" y="322"/>
                </a:cubicBezTo>
                <a:cubicBezTo>
                  <a:pt x="873" y="321"/>
                  <a:pt x="873" y="321"/>
                  <a:pt x="873" y="321"/>
                </a:cubicBezTo>
                <a:cubicBezTo>
                  <a:pt x="873" y="320"/>
                  <a:pt x="873" y="320"/>
                  <a:pt x="873" y="319"/>
                </a:cubicBezTo>
                <a:cubicBezTo>
                  <a:pt x="874" y="319"/>
                  <a:pt x="874" y="318"/>
                  <a:pt x="875" y="318"/>
                </a:cubicBezTo>
                <a:cubicBezTo>
                  <a:pt x="875" y="317"/>
                  <a:pt x="875" y="317"/>
                  <a:pt x="875" y="316"/>
                </a:cubicBezTo>
                <a:cubicBezTo>
                  <a:pt x="875" y="316"/>
                  <a:pt x="875" y="315"/>
                  <a:pt x="876" y="315"/>
                </a:cubicBezTo>
                <a:cubicBezTo>
                  <a:pt x="876" y="315"/>
                  <a:pt x="876" y="315"/>
                  <a:pt x="876" y="315"/>
                </a:cubicBezTo>
                <a:cubicBezTo>
                  <a:pt x="877" y="315"/>
                  <a:pt x="877" y="315"/>
                  <a:pt x="877" y="315"/>
                </a:cubicBezTo>
                <a:cubicBezTo>
                  <a:pt x="877" y="315"/>
                  <a:pt x="878" y="315"/>
                  <a:pt x="878" y="315"/>
                </a:cubicBezTo>
                <a:cubicBezTo>
                  <a:pt x="878" y="315"/>
                  <a:pt x="878" y="315"/>
                  <a:pt x="878" y="315"/>
                </a:cubicBezTo>
                <a:cubicBezTo>
                  <a:pt x="878" y="315"/>
                  <a:pt x="878" y="315"/>
                  <a:pt x="878" y="315"/>
                </a:cubicBezTo>
                <a:cubicBezTo>
                  <a:pt x="878" y="315"/>
                  <a:pt x="878" y="315"/>
                  <a:pt x="878" y="315"/>
                </a:cubicBezTo>
                <a:cubicBezTo>
                  <a:pt x="878" y="316"/>
                  <a:pt x="878" y="316"/>
                  <a:pt x="878" y="316"/>
                </a:cubicBezTo>
                <a:cubicBezTo>
                  <a:pt x="879" y="316"/>
                  <a:pt x="879" y="316"/>
                  <a:pt x="879" y="316"/>
                </a:cubicBezTo>
                <a:cubicBezTo>
                  <a:pt x="879" y="317"/>
                  <a:pt x="880" y="317"/>
                  <a:pt x="880" y="317"/>
                </a:cubicBezTo>
                <a:cubicBezTo>
                  <a:pt x="881" y="317"/>
                  <a:pt x="881" y="317"/>
                  <a:pt x="882" y="317"/>
                </a:cubicBezTo>
                <a:cubicBezTo>
                  <a:pt x="882" y="317"/>
                  <a:pt x="883" y="317"/>
                  <a:pt x="883" y="317"/>
                </a:cubicBezTo>
                <a:cubicBezTo>
                  <a:pt x="884" y="317"/>
                  <a:pt x="884" y="317"/>
                  <a:pt x="884" y="317"/>
                </a:cubicBezTo>
                <a:cubicBezTo>
                  <a:pt x="885" y="317"/>
                  <a:pt x="885" y="317"/>
                  <a:pt x="885" y="317"/>
                </a:cubicBezTo>
                <a:cubicBezTo>
                  <a:pt x="886" y="317"/>
                  <a:pt x="886" y="317"/>
                  <a:pt x="887" y="317"/>
                </a:cubicBezTo>
                <a:cubicBezTo>
                  <a:pt x="887" y="317"/>
                  <a:pt x="888" y="317"/>
                  <a:pt x="889" y="317"/>
                </a:cubicBezTo>
                <a:cubicBezTo>
                  <a:pt x="889" y="317"/>
                  <a:pt x="889" y="316"/>
                  <a:pt x="889" y="316"/>
                </a:cubicBezTo>
                <a:cubicBezTo>
                  <a:pt x="889" y="316"/>
                  <a:pt x="889" y="316"/>
                  <a:pt x="889" y="316"/>
                </a:cubicBezTo>
                <a:cubicBezTo>
                  <a:pt x="890" y="316"/>
                  <a:pt x="890" y="316"/>
                  <a:pt x="890" y="316"/>
                </a:cubicBezTo>
                <a:cubicBezTo>
                  <a:pt x="890" y="316"/>
                  <a:pt x="890" y="317"/>
                  <a:pt x="890" y="317"/>
                </a:cubicBezTo>
                <a:cubicBezTo>
                  <a:pt x="890" y="317"/>
                  <a:pt x="891" y="317"/>
                  <a:pt x="891" y="317"/>
                </a:cubicBezTo>
                <a:cubicBezTo>
                  <a:pt x="892" y="317"/>
                  <a:pt x="893" y="317"/>
                  <a:pt x="894" y="317"/>
                </a:cubicBezTo>
                <a:cubicBezTo>
                  <a:pt x="894" y="317"/>
                  <a:pt x="894" y="317"/>
                  <a:pt x="895" y="317"/>
                </a:cubicBezTo>
                <a:cubicBezTo>
                  <a:pt x="895" y="317"/>
                  <a:pt x="895" y="317"/>
                  <a:pt x="896" y="317"/>
                </a:cubicBezTo>
                <a:cubicBezTo>
                  <a:pt x="896" y="317"/>
                  <a:pt x="897" y="317"/>
                  <a:pt x="898" y="317"/>
                </a:cubicBezTo>
                <a:cubicBezTo>
                  <a:pt x="898" y="317"/>
                  <a:pt x="898" y="316"/>
                  <a:pt x="899" y="316"/>
                </a:cubicBezTo>
                <a:cubicBezTo>
                  <a:pt x="899" y="316"/>
                  <a:pt x="899" y="316"/>
                  <a:pt x="899" y="316"/>
                </a:cubicBezTo>
                <a:cubicBezTo>
                  <a:pt x="899" y="315"/>
                  <a:pt x="899" y="315"/>
                  <a:pt x="899" y="315"/>
                </a:cubicBezTo>
                <a:cubicBezTo>
                  <a:pt x="900" y="315"/>
                  <a:pt x="900" y="315"/>
                  <a:pt x="901" y="315"/>
                </a:cubicBezTo>
                <a:cubicBezTo>
                  <a:pt x="901" y="315"/>
                  <a:pt x="902" y="315"/>
                  <a:pt x="902" y="315"/>
                </a:cubicBezTo>
                <a:cubicBezTo>
                  <a:pt x="902" y="314"/>
                  <a:pt x="902" y="314"/>
                  <a:pt x="902" y="314"/>
                </a:cubicBezTo>
                <a:cubicBezTo>
                  <a:pt x="903" y="314"/>
                  <a:pt x="903" y="314"/>
                  <a:pt x="903" y="314"/>
                </a:cubicBezTo>
                <a:cubicBezTo>
                  <a:pt x="903" y="314"/>
                  <a:pt x="903" y="314"/>
                  <a:pt x="904" y="314"/>
                </a:cubicBezTo>
                <a:cubicBezTo>
                  <a:pt x="904" y="314"/>
                  <a:pt x="904" y="314"/>
                  <a:pt x="904" y="314"/>
                </a:cubicBezTo>
                <a:cubicBezTo>
                  <a:pt x="904" y="314"/>
                  <a:pt x="904" y="314"/>
                  <a:pt x="905" y="314"/>
                </a:cubicBezTo>
                <a:cubicBezTo>
                  <a:pt x="905" y="314"/>
                  <a:pt x="905" y="314"/>
                  <a:pt x="905" y="314"/>
                </a:cubicBezTo>
                <a:cubicBezTo>
                  <a:pt x="905" y="313"/>
                  <a:pt x="905" y="313"/>
                  <a:pt x="905" y="313"/>
                </a:cubicBezTo>
                <a:cubicBezTo>
                  <a:pt x="906" y="313"/>
                  <a:pt x="906" y="313"/>
                  <a:pt x="907" y="312"/>
                </a:cubicBezTo>
                <a:cubicBezTo>
                  <a:pt x="907" y="312"/>
                  <a:pt x="907" y="312"/>
                  <a:pt x="907" y="312"/>
                </a:cubicBezTo>
                <a:cubicBezTo>
                  <a:pt x="908" y="312"/>
                  <a:pt x="908" y="312"/>
                  <a:pt x="909" y="312"/>
                </a:cubicBezTo>
                <a:cubicBezTo>
                  <a:pt x="910" y="312"/>
                  <a:pt x="910" y="311"/>
                  <a:pt x="911" y="311"/>
                </a:cubicBezTo>
                <a:cubicBezTo>
                  <a:pt x="912" y="311"/>
                  <a:pt x="912" y="311"/>
                  <a:pt x="912" y="311"/>
                </a:cubicBezTo>
                <a:cubicBezTo>
                  <a:pt x="913" y="311"/>
                  <a:pt x="914" y="311"/>
                  <a:pt x="914" y="311"/>
                </a:cubicBezTo>
                <a:cubicBezTo>
                  <a:pt x="915" y="311"/>
                  <a:pt x="915" y="311"/>
                  <a:pt x="916" y="310"/>
                </a:cubicBezTo>
                <a:cubicBezTo>
                  <a:pt x="916" y="311"/>
                  <a:pt x="916" y="311"/>
                  <a:pt x="917" y="311"/>
                </a:cubicBezTo>
                <a:cubicBezTo>
                  <a:pt x="917" y="311"/>
                  <a:pt x="917" y="311"/>
                  <a:pt x="918" y="311"/>
                </a:cubicBezTo>
                <a:cubicBezTo>
                  <a:pt x="918" y="311"/>
                  <a:pt x="919" y="310"/>
                  <a:pt x="919" y="310"/>
                </a:cubicBezTo>
                <a:cubicBezTo>
                  <a:pt x="919" y="310"/>
                  <a:pt x="920" y="310"/>
                  <a:pt x="920" y="310"/>
                </a:cubicBezTo>
                <a:cubicBezTo>
                  <a:pt x="920" y="310"/>
                  <a:pt x="921" y="310"/>
                  <a:pt x="921" y="310"/>
                </a:cubicBezTo>
                <a:cubicBezTo>
                  <a:pt x="921" y="310"/>
                  <a:pt x="921" y="310"/>
                  <a:pt x="922" y="309"/>
                </a:cubicBezTo>
                <a:cubicBezTo>
                  <a:pt x="922" y="309"/>
                  <a:pt x="922" y="309"/>
                  <a:pt x="922" y="309"/>
                </a:cubicBezTo>
                <a:cubicBezTo>
                  <a:pt x="923" y="309"/>
                  <a:pt x="923" y="309"/>
                  <a:pt x="923" y="310"/>
                </a:cubicBezTo>
                <a:cubicBezTo>
                  <a:pt x="923" y="310"/>
                  <a:pt x="924" y="309"/>
                  <a:pt x="924" y="309"/>
                </a:cubicBezTo>
                <a:cubicBezTo>
                  <a:pt x="924" y="309"/>
                  <a:pt x="925" y="310"/>
                  <a:pt x="925" y="310"/>
                </a:cubicBezTo>
                <a:cubicBezTo>
                  <a:pt x="925" y="309"/>
                  <a:pt x="926" y="309"/>
                  <a:pt x="926" y="309"/>
                </a:cubicBezTo>
                <a:cubicBezTo>
                  <a:pt x="927" y="309"/>
                  <a:pt x="927" y="309"/>
                  <a:pt x="927" y="310"/>
                </a:cubicBezTo>
                <a:cubicBezTo>
                  <a:pt x="927" y="310"/>
                  <a:pt x="928" y="310"/>
                  <a:pt x="928" y="310"/>
                </a:cubicBezTo>
                <a:cubicBezTo>
                  <a:pt x="929" y="310"/>
                  <a:pt x="929" y="310"/>
                  <a:pt x="929" y="310"/>
                </a:cubicBezTo>
                <a:cubicBezTo>
                  <a:pt x="929" y="310"/>
                  <a:pt x="930" y="310"/>
                  <a:pt x="930" y="310"/>
                </a:cubicBezTo>
                <a:cubicBezTo>
                  <a:pt x="931" y="310"/>
                  <a:pt x="931" y="310"/>
                  <a:pt x="931" y="310"/>
                </a:cubicBezTo>
                <a:cubicBezTo>
                  <a:pt x="932" y="310"/>
                  <a:pt x="932" y="310"/>
                  <a:pt x="932" y="310"/>
                </a:cubicBezTo>
                <a:cubicBezTo>
                  <a:pt x="932" y="310"/>
                  <a:pt x="933" y="310"/>
                  <a:pt x="933" y="310"/>
                </a:cubicBezTo>
                <a:cubicBezTo>
                  <a:pt x="933" y="310"/>
                  <a:pt x="933" y="310"/>
                  <a:pt x="933" y="309"/>
                </a:cubicBezTo>
                <a:cubicBezTo>
                  <a:pt x="934" y="309"/>
                  <a:pt x="934" y="309"/>
                  <a:pt x="934" y="309"/>
                </a:cubicBezTo>
                <a:cubicBezTo>
                  <a:pt x="934" y="309"/>
                  <a:pt x="935" y="309"/>
                  <a:pt x="935" y="309"/>
                </a:cubicBezTo>
                <a:cubicBezTo>
                  <a:pt x="935" y="309"/>
                  <a:pt x="935" y="309"/>
                  <a:pt x="936" y="308"/>
                </a:cubicBezTo>
                <a:cubicBezTo>
                  <a:pt x="936" y="309"/>
                  <a:pt x="936" y="309"/>
                  <a:pt x="937" y="309"/>
                </a:cubicBezTo>
                <a:cubicBezTo>
                  <a:pt x="937" y="309"/>
                  <a:pt x="937" y="309"/>
                  <a:pt x="937" y="309"/>
                </a:cubicBezTo>
                <a:cubicBezTo>
                  <a:pt x="937" y="309"/>
                  <a:pt x="938" y="310"/>
                  <a:pt x="938" y="310"/>
                </a:cubicBezTo>
                <a:cubicBezTo>
                  <a:pt x="939" y="309"/>
                  <a:pt x="939" y="309"/>
                  <a:pt x="939" y="309"/>
                </a:cubicBezTo>
                <a:cubicBezTo>
                  <a:pt x="939" y="309"/>
                  <a:pt x="939" y="309"/>
                  <a:pt x="939" y="309"/>
                </a:cubicBezTo>
                <a:cubicBezTo>
                  <a:pt x="940" y="309"/>
                  <a:pt x="940" y="309"/>
                  <a:pt x="941" y="309"/>
                </a:cubicBezTo>
                <a:cubicBezTo>
                  <a:pt x="941" y="309"/>
                  <a:pt x="942" y="309"/>
                  <a:pt x="942" y="310"/>
                </a:cubicBezTo>
                <a:cubicBezTo>
                  <a:pt x="943" y="309"/>
                  <a:pt x="944" y="309"/>
                  <a:pt x="944" y="309"/>
                </a:cubicBezTo>
                <a:cubicBezTo>
                  <a:pt x="945" y="309"/>
                  <a:pt x="945" y="309"/>
                  <a:pt x="945" y="309"/>
                </a:cubicBezTo>
                <a:cubicBezTo>
                  <a:pt x="946" y="309"/>
                  <a:pt x="946" y="309"/>
                  <a:pt x="947" y="309"/>
                </a:cubicBezTo>
                <a:cubicBezTo>
                  <a:pt x="947" y="309"/>
                  <a:pt x="947" y="309"/>
                  <a:pt x="947" y="309"/>
                </a:cubicBezTo>
                <a:cubicBezTo>
                  <a:pt x="947" y="309"/>
                  <a:pt x="948" y="309"/>
                  <a:pt x="948" y="308"/>
                </a:cubicBezTo>
                <a:cubicBezTo>
                  <a:pt x="949" y="308"/>
                  <a:pt x="949" y="308"/>
                  <a:pt x="950" y="308"/>
                </a:cubicBezTo>
                <a:cubicBezTo>
                  <a:pt x="951" y="308"/>
                  <a:pt x="951" y="308"/>
                  <a:pt x="952" y="308"/>
                </a:cubicBezTo>
                <a:cubicBezTo>
                  <a:pt x="952" y="308"/>
                  <a:pt x="952" y="308"/>
                  <a:pt x="952" y="308"/>
                </a:cubicBezTo>
                <a:cubicBezTo>
                  <a:pt x="952" y="308"/>
                  <a:pt x="952" y="308"/>
                  <a:pt x="952" y="308"/>
                </a:cubicBezTo>
                <a:cubicBezTo>
                  <a:pt x="953" y="308"/>
                  <a:pt x="953" y="308"/>
                  <a:pt x="953" y="308"/>
                </a:cubicBezTo>
                <a:cubicBezTo>
                  <a:pt x="954" y="308"/>
                  <a:pt x="954" y="308"/>
                  <a:pt x="954" y="308"/>
                </a:cubicBezTo>
                <a:cubicBezTo>
                  <a:pt x="954" y="308"/>
                  <a:pt x="954" y="308"/>
                  <a:pt x="954" y="309"/>
                </a:cubicBezTo>
                <a:cubicBezTo>
                  <a:pt x="954" y="309"/>
                  <a:pt x="954" y="309"/>
                  <a:pt x="954" y="309"/>
                </a:cubicBezTo>
                <a:cubicBezTo>
                  <a:pt x="955" y="309"/>
                  <a:pt x="955" y="310"/>
                  <a:pt x="955" y="310"/>
                </a:cubicBezTo>
                <a:cubicBezTo>
                  <a:pt x="955" y="310"/>
                  <a:pt x="955" y="310"/>
                  <a:pt x="956" y="310"/>
                </a:cubicBezTo>
                <a:cubicBezTo>
                  <a:pt x="956" y="310"/>
                  <a:pt x="956" y="310"/>
                  <a:pt x="956" y="310"/>
                </a:cubicBezTo>
                <a:cubicBezTo>
                  <a:pt x="957" y="309"/>
                  <a:pt x="958" y="309"/>
                  <a:pt x="958" y="309"/>
                </a:cubicBezTo>
                <a:cubicBezTo>
                  <a:pt x="958" y="309"/>
                  <a:pt x="959" y="309"/>
                  <a:pt x="959" y="309"/>
                </a:cubicBezTo>
                <a:cubicBezTo>
                  <a:pt x="959" y="309"/>
                  <a:pt x="959" y="309"/>
                  <a:pt x="959" y="310"/>
                </a:cubicBezTo>
                <a:cubicBezTo>
                  <a:pt x="958" y="310"/>
                  <a:pt x="958" y="310"/>
                  <a:pt x="958" y="311"/>
                </a:cubicBezTo>
                <a:cubicBezTo>
                  <a:pt x="958" y="311"/>
                  <a:pt x="958" y="311"/>
                  <a:pt x="958" y="311"/>
                </a:cubicBezTo>
                <a:cubicBezTo>
                  <a:pt x="957" y="311"/>
                  <a:pt x="957" y="312"/>
                  <a:pt x="956" y="312"/>
                </a:cubicBezTo>
                <a:cubicBezTo>
                  <a:pt x="956" y="312"/>
                  <a:pt x="956" y="313"/>
                  <a:pt x="956" y="313"/>
                </a:cubicBezTo>
                <a:cubicBezTo>
                  <a:pt x="956" y="313"/>
                  <a:pt x="957" y="314"/>
                  <a:pt x="957" y="314"/>
                </a:cubicBezTo>
                <a:cubicBezTo>
                  <a:pt x="958" y="314"/>
                  <a:pt x="958" y="314"/>
                  <a:pt x="959" y="315"/>
                </a:cubicBezTo>
                <a:cubicBezTo>
                  <a:pt x="959" y="315"/>
                  <a:pt x="959" y="315"/>
                  <a:pt x="959" y="316"/>
                </a:cubicBezTo>
                <a:cubicBezTo>
                  <a:pt x="959" y="316"/>
                  <a:pt x="959" y="316"/>
                  <a:pt x="959" y="316"/>
                </a:cubicBezTo>
                <a:cubicBezTo>
                  <a:pt x="959" y="316"/>
                  <a:pt x="959" y="316"/>
                  <a:pt x="959" y="316"/>
                </a:cubicBezTo>
                <a:cubicBezTo>
                  <a:pt x="959" y="317"/>
                  <a:pt x="959" y="317"/>
                  <a:pt x="959" y="317"/>
                </a:cubicBezTo>
                <a:cubicBezTo>
                  <a:pt x="959" y="317"/>
                  <a:pt x="959" y="317"/>
                  <a:pt x="959" y="317"/>
                </a:cubicBezTo>
                <a:cubicBezTo>
                  <a:pt x="959" y="317"/>
                  <a:pt x="959" y="318"/>
                  <a:pt x="959" y="318"/>
                </a:cubicBezTo>
                <a:cubicBezTo>
                  <a:pt x="958" y="318"/>
                  <a:pt x="958" y="318"/>
                  <a:pt x="957" y="319"/>
                </a:cubicBezTo>
                <a:cubicBezTo>
                  <a:pt x="956" y="319"/>
                  <a:pt x="956" y="320"/>
                  <a:pt x="955" y="320"/>
                </a:cubicBezTo>
                <a:cubicBezTo>
                  <a:pt x="955" y="320"/>
                  <a:pt x="954" y="321"/>
                  <a:pt x="954" y="321"/>
                </a:cubicBezTo>
                <a:cubicBezTo>
                  <a:pt x="954" y="321"/>
                  <a:pt x="955" y="322"/>
                  <a:pt x="955" y="322"/>
                </a:cubicBezTo>
                <a:cubicBezTo>
                  <a:pt x="956" y="322"/>
                  <a:pt x="956" y="323"/>
                  <a:pt x="957" y="323"/>
                </a:cubicBezTo>
                <a:cubicBezTo>
                  <a:pt x="957" y="323"/>
                  <a:pt x="957" y="323"/>
                  <a:pt x="957" y="323"/>
                </a:cubicBezTo>
                <a:cubicBezTo>
                  <a:pt x="957" y="323"/>
                  <a:pt x="958" y="323"/>
                  <a:pt x="958" y="323"/>
                </a:cubicBezTo>
                <a:cubicBezTo>
                  <a:pt x="958" y="323"/>
                  <a:pt x="958" y="324"/>
                  <a:pt x="958" y="324"/>
                </a:cubicBezTo>
                <a:cubicBezTo>
                  <a:pt x="958" y="324"/>
                  <a:pt x="959" y="323"/>
                  <a:pt x="959" y="323"/>
                </a:cubicBezTo>
                <a:cubicBezTo>
                  <a:pt x="959" y="323"/>
                  <a:pt x="959" y="323"/>
                  <a:pt x="959" y="323"/>
                </a:cubicBezTo>
                <a:cubicBezTo>
                  <a:pt x="959" y="323"/>
                  <a:pt x="959" y="323"/>
                  <a:pt x="959" y="323"/>
                </a:cubicBezTo>
                <a:cubicBezTo>
                  <a:pt x="959" y="323"/>
                  <a:pt x="960" y="323"/>
                  <a:pt x="960" y="323"/>
                </a:cubicBezTo>
                <a:cubicBezTo>
                  <a:pt x="960" y="323"/>
                  <a:pt x="960" y="324"/>
                  <a:pt x="960" y="324"/>
                </a:cubicBezTo>
                <a:cubicBezTo>
                  <a:pt x="960" y="324"/>
                  <a:pt x="960" y="324"/>
                  <a:pt x="960" y="324"/>
                </a:cubicBezTo>
                <a:cubicBezTo>
                  <a:pt x="960" y="324"/>
                  <a:pt x="961" y="325"/>
                  <a:pt x="962" y="325"/>
                </a:cubicBezTo>
                <a:cubicBezTo>
                  <a:pt x="962" y="325"/>
                  <a:pt x="962" y="325"/>
                  <a:pt x="962" y="325"/>
                </a:cubicBezTo>
                <a:cubicBezTo>
                  <a:pt x="963" y="325"/>
                  <a:pt x="963" y="325"/>
                  <a:pt x="963" y="325"/>
                </a:cubicBezTo>
                <a:cubicBezTo>
                  <a:pt x="964" y="325"/>
                  <a:pt x="964" y="326"/>
                  <a:pt x="964" y="326"/>
                </a:cubicBezTo>
                <a:cubicBezTo>
                  <a:pt x="965" y="326"/>
                  <a:pt x="966" y="326"/>
                  <a:pt x="967" y="326"/>
                </a:cubicBezTo>
                <a:cubicBezTo>
                  <a:pt x="968" y="326"/>
                  <a:pt x="969" y="326"/>
                  <a:pt x="971" y="326"/>
                </a:cubicBezTo>
                <a:cubicBezTo>
                  <a:pt x="971" y="326"/>
                  <a:pt x="972" y="326"/>
                  <a:pt x="972" y="326"/>
                </a:cubicBezTo>
                <a:cubicBezTo>
                  <a:pt x="973" y="326"/>
                  <a:pt x="974" y="326"/>
                  <a:pt x="975" y="326"/>
                </a:cubicBezTo>
                <a:cubicBezTo>
                  <a:pt x="976" y="327"/>
                  <a:pt x="976" y="327"/>
                  <a:pt x="977" y="327"/>
                </a:cubicBezTo>
                <a:cubicBezTo>
                  <a:pt x="978" y="327"/>
                  <a:pt x="979" y="328"/>
                  <a:pt x="980" y="328"/>
                </a:cubicBezTo>
                <a:cubicBezTo>
                  <a:pt x="981" y="328"/>
                  <a:pt x="981" y="328"/>
                  <a:pt x="982" y="329"/>
                </a:cubicBezTo>
                <a:cubicBezTo>
                  <a:pt x="981" y="329"/>
                  <a:pt x="981" y="330"/>
                  <a:pt x="981" y="330"/>
                </a:cubicBezTo>
                <a:cubicBezTo>
                  <a:pt x="982" y="331"/>
                  <a:pt x="982" y="332"/>
                  <a:pt x="983" y="332"/>
                </a:cubicBezTo>
                <a:cubicBezTo>
                  <a:pt x="984" y="333"/>
                  <a:pt x="984" y="333"/>
                  <a:pt x="985" y="333"/>
                </a:cubicBezTo>
                <a:cubicBezTo>
                  <a:pt x="985" y="333"/>
                  <a:pt x="986" y="333"/>
                  <a:pt x="987" y="333"/>
                </a:cubicBezTo>
                <a:cubicBezTo>
                  <a:pt x="987" y="333"/>
                  <a:pt x="987" y="333"/>
                  <a:pt x="987" y="333"/>
                </a:cubicBezTo>
                <a:cubicBezTo>
                  <a:pt x="988" y="333"/>
                  <a:pt x="988" y="333"/>
                  <a:pt x="989" y="333"/>
                </a:cubicBezTo>
                <a:cubicBezTo>
                  <a:pt x="990" y="333"/>
                  <a:pt x="992" y="334"/>
                  <a:pt x="993" y="334"/>
                </a:cubicBezTo>
                <a:cubicBezTo>
                  <a:pt x="994" y="335"/>
                  <a:pt x="994" y="335"/>
                  <a:pt x="995" y="335"/>
                </a:cubicBezTo>
                <a:cubicBezTo>
                  <a:pt x="996" y="335"/>
                  <a:pt x="996" y="336"/>
                  <a:pt x="997" y="336"/>
                </a:cubicBezTo>
                <a:cubicBezTo>
                  <a:pt x="997" y="337"/>
                  <a:pt x="998" y="337"/>
                  <a:pt x="999" y="337"/>
                </a:cubicBezTo>
                <a:cubicBezTo>
                  <a:pt x="999" y="338"/>
                  <a:pt x="1000" y="338"/>
                  <a:pt x="1001" y="338"/>
                </a:cubicBezTo>
                <a:cubicBezTo>
                  <a:pt x="1001" y="338"/>
                  <a:pt x="1002" y="338"/>
                  <a:pt x="1002" y="338"/>
                </a:cubicBezTo>
                <a:cubicBezTo>
                  <a:pt x="1003" y="337"/>
                  <a:pt x="1003" y="337"/>
                  <a:pt x="1004" y="337"/>
                </a:cubicBezTo>
                <a:cubicBezTo>
                  <a:pt x="1004" y="337"/>
                  <a:pt x="1004" y="337"/>
                  <a:pt x="1004" y="336"/>
                </a:cubicBezTo>
                <a:cubicBezTo>
                  <a:pt x="1005" y="336"/>
                  <a:pt x="1005" y="336"/>
                  <a:pt x="1005" y="336"/>
                </a:cubicBezTo>
                <a:cubicBezTo>
                  <a:pt x="1006" y="335"/>
                  <a:pt x="1006" y="335"/>
                  <a:pt x="1006" y="335"/>
                </a:cubicBezTo>
                <a:cubicBezTo>
                  <a:pt x="1006" y="334"/>
                  <a:pt x="1006" y="334"/>
                  <a:pt x="1005" y="333"/>
                </a:cubicBezTo>
                <a:cubicBezTo>
                  <a:pt x="1005" y="333"/>
                  <a:pt x="1005" y="332"/>
                  <a:pt x="1004" y="332"/>
                </a:cubicBezTo>
                <a:cubicBezTo>
                  <a:pt x="1005" y="331"/>
                  <a:pt x="1005" y="331"/>
                  <a:pt x="1005" y="330"/>
                </a:cubicBezTo>
                <a:cubicBezTo>
                  <a:pt x="1005" y="330"/>
                  <a:pt x="1005" y="330"/>
                  <a:pt x="1005" y="330"/>
                </a:cubicBezTo>
                <a:cubicBezTo>
                  <a:pt x="1005" y="330"/>
                  <a:pt x="1006" y="329"/>
                  <a:pt x="1006" y="329"/>
                </a:cubicBezTo>
                <a:cubicBezTo>
                  <a:pt x="1006" y="329"/>
                  <a:pt x="1007" y="328"/>
                  <a:pt x="1007" y="328"/>
                </a:cubicBezTo>
                <a:cubicBezTo>
                  <a:pt x="1008" y="328"/>
                  <a:pt x="1009" y="328"/>
                  <a:pt x="1009" y="327"/>
                </a:cubicBezTo>
                <a:cubicBezTo>
                  <a:pt x="1010" y="327"/>
                  <a:pt x="1011" y="327"/>
                  <a:pt x="1012" y="327"/>
                </a:cubicBezTo>
                <a:cubicBezTo>
                  <a:pt x="1012" y="327"/>
                  <a:pt x="1013" y="327"/>
                  <a:pt x="1013" y="327"/>
                </a:cubicBezTo>
                <a:cubicBezTo>
                  <a:pt x="1014" y="327"/>
                  <a:pt x="1014" y="327"/>
                  <a:pt x="1014" y="327"/>
                </a:cubicBezTo>
                <a:cubicBezTo>
                  <a:pt x="1014" y="327"/>
                  <a:pt x="1015" y="327"/>
                  <a:pt x="1015" y="327"/>
                </a:cubicBezTo>
                <a:cubicBezTo>
                  <a:pt x="1015" y="327"/>
                  <a:pt x="1015" y="327"/>
                  <a:pt x="1016" y="327"/>
                </a:cubicBezTo>
                <a:cubicBezTo>
                  <a:pt x="1016" y="327"/>
                  <a:pt x="1016" y="327"/>
                  <a:pt x="1016" y="327"/>
                </a:cubicBezTo>
                <a:cubicBezTo>
                  <a:pt x="1017" y="327"/>
                  <a:pt x="1017" y="327"/>
                  <a:pt x="1018" y="328"/>
                </a:cubicBezTo>
                <a:cubicBezTo>
                  <a:pt x="1018" y="328"/>
                  <a:pt x="1019" y="328"/>
                  <a:pt x="1019" y="328"/>
                </a:cubicBezTo>
                <a:cubicBezTo>
                  <a:pt x="1020" y="328"/>
                  <a:pt x="1020" y="328"/>
                  <a:pt x="1021" y="329"/>
                </a:cubicBezTo>
                <a:cubicBezTo>
                  <a:pt x="1021" y="329"/>
                  <a:pt x="1021" y="329"/>
                  <a:pt x="1021" y="329"/>
                </a:cubicBezTo>
                <a:cubicBezTo>
                  <a:pt x="1021" y="329"/>
                  <a:pt x="1021" y="329"/>
                  <a:pt x="1021" y="329"/>
                </a:cubicBezTo>
                <a:cubicBezTo>
                  <a:pt x="1021" y="329"/>
                  <a:pt x="1021" y="329"/>
                  <a:pt x="1021" y="330"/>
                </a:cubicBezTo>
                <a:cubicBezTo>
                  <a:pt x="1022" y="330"/>
                  <a:pt x="1022" y="330"/>
                  <a:pt x="1023" y="330"/>
                </a:cubicBezTo>
                <a:cubicBezTo>
                  <a:pt x="1023" y="330"/>
                  <a:pt x="1024" y="330"/>
                  <a:pt x="1024" y="330"/>
                </a:cubicBezTo>
                <a:cubicBezTo>
                  <a:pt x="1025" y="330"/>
                  <a:pt x="1025" y="330"/>
                  <a:pt x="1025" y="331"/>
                </a:cubicBezTo>
                <a:cubicBezTo>
                  <a:pt x="1026" y="331"/>
                  <a:pt x="1027" y="331"/>
                  <a:pt x="1029" y="331"/>
                </a:cubicBezTo>
                <a:cubicBezTo>
                  <a:pt x="1029" y="331"/>
                  <a:pt x="1029" y="331"/>
                  <a:pt x="1029" y="331"/>
                </a:cubicBezTo>
                <a:cubicBezTo>
                  <a:pt x="1030" y="331"/>
                  <a:pt x="1030" y="331"/>
                  <a:pt x="1030" y="331"/>
                </a:cubicBezTo>
                <a:cubicBezTo>
                  <a:pt x="1031" y="331"/>
                  <a:pt x="1031" y="332"/>
                  <a:pt x="1031" y="332"/>
                </a:cubicBezTo>
                <a:cubicBezTo>
                  <a:pt x="1031" y="332"/>
                  <a:pt x="1031" y="332"/>
                  <a:pt x="1032" y="333"/>
                </a:cubicBezTo>
                <a:cubicBezTo>
                  <a:pt x="1032" y="333"/>
                  <a:pt x="1032" y="333"/>
                  <a:pt x="1032" y="333"/>
                </a:cubicBezTo>
                <a:cubicBezTo>
                  <a:pt x="1032" y="333"/>
                  <a:pt x="1032" y="333"/>
                  <a:pt x="1032" y="333"/>
                </a:cubicBezTo>
                <a:cubicBezTo>
                  <a:pt x="1033" y="333"/>
                  <a:pt x="1034" y="333"/>
                  <a:pt x="1035" y="333"/>
                </a:cubicBezTo>
                <a:cubicBezTo>
                  <a:pt x="1035" y="333"/>
                  <a:pt x="1036" y="333"/>
                  <a:pt x="1037" y="333"/>
                </a:cubicBezTo>
                <a:cubicBezTo>
                  <a:pt x="1038" y="334"/>
                  <a:pt x="1039" y="334"/>
                  <a:pt x="1041" y="334"/>
                </a:cubicBezTo>
                <a:cubicBezTo>
                  <a:pt x="1041" y="334"/>
                  <a:pt x="1042" y="334"/>
                  <a:pt x="1042" y="334"/>
                </a:cubicBezTo>
                <a:cubicBezTo>
                  <a:pt x="1043" y="334"/>
                  <a:pt x="1043" y="335"/>
                  <a:pt x="1044" y="335"/>
                </a:cubicBezTo>
                <a:cubicBezTo>
                  <a:pt x="1044" y="335"/>
                  <a:pt x="1044" y="335"/>
                  <a:pt x="1044" y="335"/>
                </a:cubicBezTo>
                <a:cubicBezTo>
                  <a:pt x="1045" y="335"/>
                  <a:pt x="1045" y="335"/>
                  <a:pt x="1045" y="335"/>
                </a:cubicBezTo>
                <a:cubicBezTo>
                  <a:pt x="1046" y="335"/>
                  <a:pt x="1046" y="335"/>
                  <a:pt x="1047" y="336"/>
                </a:cubicBezTo>
                <a:cubicBezTo>
                  <a:pt x="1047" y="336"/>
                  <a:pt x="1048" y="336"/>
                  <a:pt x="1048" y="336"/>
                </a:cubicBezTo>
                <a:cubicBezTo>
                  <a:pt x="1049" y="336"/>
                  <a:pt x="1049" y="336"/>
                  <a:pt x="1050" y="336"/>
                </a:cubicBezTo>
                <a:cubicBezTo>
                  <a:pt x="1050" y="336"/>
                  <a:pt x="1051" y="336"/>
                  <a:pt x="1051" y="337"/>
                </a:cubicBezTo>
                <a:cubicBezTo>
                  <a:pt x="1052" y="337"/>
                  <a:pt x="1052" y="337"/>
                  <a:pt x="1053" y="337"/>
                </a:cubicBezTo>
                <a:cubicBezTo>
                  <a:pt x="1053" y="337"/>
                  <a:pt x="1053" y="337"/>
                  <a:pt x="1053" y="336"/>
                </a:cubicBezTo>
                <a:cubicBezTo>
                  <a:pt x="1054" y="336"/>
                  <a:pt x="1054" y="336"/>
                  <a:pt x="1054" y="336"/>
                </a:cubicBezTo>
                <a:cubicBezTo>
                  <a:pt x="1055" y="336"/>
                  <a:pt x="1055" y="336"/>
                  <a:pt x="1056" y="336"/>
                </a:cubicBezTo>
                <a:cubicBezTo>
                  <a:pt x="1056" y="335"/>
                  <a:pt x="1056" y="335"/>
                  <a:pt x="1057" y="335"/>
                </a:cubicBezTo>
                <a:cubicBezTo>
                  <a:pt x="1057" y="335"/>
                  <a:pt x="1057" y="335"/>
                  <a:pt x="1058" y="335"/>
                </a:cubicBezTo>
                <a:cubicBezTo>
                  <a:pt x="1058" y="335"/>
                  <a:pt x="1058" y="335"/>
                  <a:pt x="1059" y="335"/>
                </a:cubicBezTo>
                <a:cubicBezTo>
                  <a:pt x="1059" y="335"/>
                  <a:pt x="1060" y="335"/>
                  <a:pt x="1060" y="335"/>
                </a:cubicBezTo>
                <a:cubicBezTo>
                  <a:pt x="1060" y="335"/>
                  <a:pt x="1061" y="335"/>
                  <a:pt x="1061" y="335"/>
                </a:cubicBezTo>
                <a:cubicBezTo>
                  <a:pt x="1061" y="335"/>
                  <a:pt x="1061" y="335"/>
                  <a:pt x="1060" y="335"/>
                </a:cubicBezTo>
                <a:cubicBezTo>
                  <a:pt x="1060" y="335"/>
                  <a:pt x="1060" y="335"/>
                  <a:pt x="1059" y="335"/>
                </a:cubicBezTo>
                <a:cubicBezTo>
                  <a:pt x="1059" y="335"/>
                  <a:pt x="1059" y="335"/>
                  <a:pt x="1059" y="335"/>
                </a:cubicBezTo>
                <a:cubicBezTo>
                  <a:pt x="1059" y="335"/>
                  <a:pt x="1059" y="335"/>
                  <a:pt x="1060" y="335"/>
                </a:cubicBezTo>
                <a:cubicBezTo>
                  <a:pt x="1060" y="335"/>
                  <a:pt x="1060" y="335"/>
                  <a:pt x="1061" y="335"/>
                </a:cubicBezTo>
                <a:cubicBezTo>
                  <a:pt x="1061" y="335"/>
                  <a:pt x="1061" y="335"/>
                  <a:pt x="1062" y="335"/>
                </a:cubicBezTo>
                <a:cubicBezTo>
                  <a:pt x="1062" y="335"/>
                  <a:pt x="1062" y="335"/>
                  <a:pt x="1063" y="335"/>
                </a:cubicBezTo>
                <a:cubicBezTo>
                  <a:pt x="1063" y="335"/>
                  <a:pt x="1063" y="335"/>
                  <a:pt x="1063" y="335"/>
                </a:cubicBezTo>
                <a:cubicBezTo>
                  <a:pt x="1062" y="335"/>
                  <a:pt x="1062" y="335"/>
                  <a:pt x="1062" y="335"/>
                </a:cubicBezTo>
                <a:cubicBezTo>
                  <a:pt x="1062" y="335"/>
                  <a:pt x="1062" y="335"/>
                  <a:pt x="1062" y="335"/>
                </a:cubicBezTo>
                <a:cubicBezTo>
                  <a:pt x="1063" y="335"/>
                  <a:pt x="1063" y="335"/>
                  <a:pt x="1064" y="335"/>
                </a:cubicBezTo>
                <a:cubicBezTo>
                  <a:pt x="1064" y="335"/>
                  <a:pt x="1065" y="335"/>
                  <a:pt x="1065" y="335"/>
                </a:cubicBezTo>
                <a:cubicBezTo>
                  <a:pt x="1065" y="335"/>
                  <a:pt x="1065" y="335"/>
                  <a:pt x="1066" y="335"/>
                </a:cubicBezTo>
                <a:cubicBezTo>
                  <a:pt x="1066" y="335"/>
                  <a:pt x="1066" y="335"/>
                  <a:pt x="1066" y="336"/>
                </a:cubicBezTo>
                <a:cubicBezTo>
                  <a:pt x="1066" y="336"/>
                  <a:pt x="1066" y="336"/>
                  <a:pt x="1066" y="336"/>
                </a:cubicBezTo>
                <a:cubicBezTo>
                  <a:pt x="1066" y="336"/>
                  <a:pt x="1066" y="336"/>
                  <a:pt x="1066" y="336"/>
                </a:cubicBezTo>
                <a:cubicBezTo>
                  <a:pt x="1066" y="337"/>
                  <a:pt x="1067" y="337"/>
                  <a:pt x="1067" y="337"/>
                </a:cubicBezTo>
                <a:cubicBezTo>
                  <a:pt x="1067" y="337"/>
                  <a:pt x="1067" y="337"/>
                  <a:pt x="1068" y="338"/>
                </a:cubicBezTo>
                <a:cubicBezTo>
                  <a:pt x="1068" y="338"/>
                  <a:pt x="1068" y="337"/>
                  <a:pt x="1068" y="337"/>
                </a:cubicBezTo>
                <a:cubicBezTo>
                  <a:pt x="1067" y="337"/>
                  <a:pt x="1067" y="337"/>
                  <a:pt x="1067" y="336"/>
                </a:cubicBezTo>
                <a:cubicBezTo>
                  <a:pt x="1067" y="336"/>
                  <a:pt x="1067" y="336"/>
                  <a:pt x="1067" y="336"/>
                </a:cubicBezTo>
                <a:cubicBezTo>
                  <a:pt x="1068" y="336"/>
                  <a:pt x="1068" y="337"/>
                  <a:pt x="1069" y="337"/>
                </a:cubicBezTo>
                <a:cubicBezTo>
                  <a:pt x="1070" y="337"/>
                  <a:pt x="1071" y="337"/>
                  <a:pt x="1072" y="337"/>
                </a:cubicBezTo>
                <a:cubicBezTo>
                  <a:pt x="1073" y="337"/>
                  <a:pt x="1074" y="337"/>
                  <a:pt x="1075" y="337"/>
                </a:cubicBezTo>
                <a:cubicBezTo>
                  <a:pt x="1075" y="337"/>
                  <a:pt x="1076" y="337"/>
                  <a:pt x="1076" y="337"/>
                </a:cubicBezTo>
                <a:cubicBezTo>
                  <a:pt x="1077" y="337"/>
                  <a:pt x="1077" y="337"/>
                  <a:pt x="1077" y="336"/>
                </a:cubicBezTo>
                <a:cubicBezTo>
                  <a:pt x="1078" y="336"/>
                  <a:pt x="1078" y="335"/>
                  <a:pt x="1079" y="335"/>
                </a:cubicBezTo>
                <a:cubicBezTo>
                  <a:pt x="1079" y="334"/>
                  <a:pt x="1080" y="334"/>
                  <a:pt x="1081" y="333"/>
                </a:cubicBezTo>
                <a:cubicBezTo>
                  <a:pt x="1081" y="332"/>
                  <a:pt x="1081" y="331"/>
                  <a:pt x="1081" y="330"/>
                </a:cubicBezTo>
                <a:cubicBezTo>
                  <a:pt x="1082" y="330"/>
                  <a:pt x="1082" y="330"/>
                  <a:pt x="1082" y="329"/>
                </a:cubicBezTo>
                <a:cubicBezTo>
                  <a:pt x="1082" y="329"/>
                  <a:pt x="1082" y="329"/>
                  <a:pt x="1083" y="329"/>
                </a:cubicBezTo>
                <a:cubicBezTo>
                  <a:pt x="1083" y="329"/>
                  <a:pt x="1083" y="329"/>
                  <a:pt x="1083" y="328"/>
                </a:cubicBezTo>
                <a:cubicBezTo>
                  <a:pt x="1083" y="328"/>
                  <a:pt x="1083" y="328"/>
                  <a:pt x="1084" y="327"/>
                </a:cubicBezTo>
                <a:cubicBezTo>
                  <a:pt x="1084" y="327"/>
                  <a:pt x="1084" y="327"/>
                  <a:pt x="1085" y="327"/>
                </a:cubicBezTo>
                <a:cubicBezTo>
                  <a:pt x="1085" y="326"/>
                  <a:pt x="1085" y="325"/>
                  <a:pt x="1085" y="324"/>
                </a:cubicBezTo>
                <a:cubicBezTo>
                  <a:pt x="1085" y="324"/>
                  <a:pt x="1086" y="324"/>
                  <a:pt x="1086" y="324"/>
                </a:cubicBezTo>
                <a:cubicBezTo>
                  <a:pt x="1086" y="324"/>
                  <a:pt x="1086" y="324"/>
                  <a:pt x="1086" y="324"/>
                </a:cubicBezTo>
                <a:cubicBezTo>
                  <a:pt x="1086" y="323"/>
                  <a:pt x="1086" y="323"/>
                  <a:pt x="1086" y="322"/>
                </a:cubicBezTo>
                <a:cubicBezTo>
                  <a:pt x="1086" y="322"/>
                  <a:pt x="1086" y="322"/>
                  <a:pt x="1086" y="322"/>
                </a:cubicBezTo>
                <a:cubicBezTo>
                  <a:pt x="1086" y="321"/>
                  <a:pt x="1086" y="321"/>
                  <a:pt x="1086" y="321"/>
                </a:cubicBezTo>
                <a:cubicBezTo>
                  <a:pt x="1086" y="320"/>
                  <a:pt x="1086" y="320"/>
                  <a:pt x="1085" y="319"/>
                </a:cubicBezTo>
                <a:cubicBezTo>
                  <a:pt x="1085" y="319"/>
                  <a:pt x="1085" y="319"/>
                  <a:pt x="1085" y="318"/>
                </a:cubicBezTo>
                <a:cubicBezTo>
                  <a:pt x="1085" y="318"/>
                  <a:pt x="1086" y="318"/>
                  <a:pt x="1086" y="318"/>
                </a:cubicBezTo>
                <a:cubicBezTo>
                  <a:pt x="1086" y="318"/>
                  <a:pt x="1086" y="318"/>
                  <a:pt x="1086" y="318"/>
                </a:cubicBezTo>
                <a:cubicBezTo>
                  <a:pt x="1086" y="318"/>
                  <a:pt x="1086" y="318"/>
                  <a:pt x="1086" y="317"/>
                </a:cubicBezTo>
                <a:cubicBezTo>
                  <a:pt x="1086" y="317"/>
                  <a:pt x="1086" y="317"/>
                  <a:pt x="1085" y="317"/>
                </a:cubicBezTo>
                <a:cubicBezTo>
                  <a:pt x="1085" y="316"/>
                  <a:pt x="1085" y="316"/>
                  <a:pt x="1085" y="316"/>
                </a:cubicBezTo>
                <a:cubicBezTo>
                  <a:pt x="1086" y="316"/>
                  <a:pt x="1086" y="316"/>
                  <a:pt x="1086" y="316"/>
                </a:cubicBezTo>
                <a:cubicBezTo>
                  <a:pt x="1087" y="315"/>
                  <a:pt x="1087" y="315"/>
                  <a:pt x="1087" y="315"/>
                </a:cubicBezTo>
                <a:cubicBezTo>
                  <a:pt x="1087" y="315"/>
                  <a:pt x="1087" y="315"/>
                  <a:pt x="1087" y="314"/>
                </a:cubicBezTo>
                <a:cubicBezTo>
                  <a:pt x="1087" y="314"/>
                  <a:pt x="1087" y="314"/>
                  <a:pt x="1086" y="314"/>
                </a:cubicBezTo>
                <a:cubicBezTo>
                  <a:pt x="1086" y="314"/>
                  <a:pt x="1086" y="314"/>
                  <a:pt x="1085" y="315"/>
                </a:cubicBezTo>
                <a:cubicBezTo>
                  <a:pt x="1085" y="315"/>
                  <a:pt x="1085" y="315"/>
                  <a:pt x="1085" y="315"/>
                </a:cubicBezTo>
                <a:cubicBezTo>
                  <a:pt x="1084" y="315"/>
                  <a:pt x="1084" y="315"/>
                  <a:pt x="1083" y="315"/>
                </a:cubicBezTo>
                <a:cubicBezTo>
                  <a:pt x="1083" y="315"/>
                  <a:pt x="1083" y="315"/>
                  <a:pt x="1082" y="314"/>
                </a:cubicBezTo>
                <a:cubicBezTo>
                  <a:pt x="1081" y="314"/>
                  <a:pt x="1081" y="314"/>
                  <a:pt x="1080" y="314"/>
                </a:cubicBezTo>
                <a:cubicBezTo>
                  <a:pt x="1080" y="314"/>
                  <a:pt x="1080" y="314"/>
                  <a:pt x="1079" y="314"/>
                </a:cubicBezTo>
                <a:cubicBezTo>
                  <a:pt x="1079" y="314"/>
                  <a:pt x="1078" y="315"/>
                  <a:pt x="1077" y="315"/>
                </a:cubicBezTo>
                <a:cubicBezTo>
                  <a:pt x="1077" y="316"/>
                  <a:pt x="1077" y="316"/>
                  <a:pt x="1077" y="316"/>
                </a:cubicBezTo>
                <a:cubicBezTo>
                  <a:pt x="1076" y="316"/>
                  <a:pt x="1076" y="316"/>
                  <a:pt x="1076" y="316"/>
                </a:cubicBezTo>
                <a:cubicBezTo>
                  <a:pt x="1076" y="316"/>
                  <a:pt x="1076" y="316"/>
                  <a:pt x="1076" y="316"/>
                </a:cubicBezTo>
                <a:cubicBezTo>
                  <a:pt x="1076" y="316"/>
                  <a:pt x="1075" y="316"/>
                  <a:pt x="1075" y="316"/>
                </a:cubicBezTo>
                <a:cubicBezTo>
                  <a:pt x="1075" y="316"/>
                  <a:pt x="1074" y="316"/>
                  <a:pt x="1074" y="316"/>
                </a:cubicBezTo>
                <a:cubicBezTo>
                  <a:pt x="1072" y="316"/>
                  <a:pt x="1071" y="316"/>
                  <a:pt x="1069" y="317"/>
                </a:cubicBezTo>
                <a:cubicBezTo>
                  <a:pt x="1069" y="316"/>
                  <a:pt x="1068" y="316"/>
                  <a:pt x="1068" y="316"/>
                </a:cubicBezTo>
                <a:cubicBezTo>
                  <a:pt x="1067" y="315"/>
                  <a:pt x="1067" y="315"/>
                  <a:pt x="1066" y="314"/>
                </a:cubicBezTo>
                <a:cubicBezTo>
                  <a:pt x="1066" y="314"/>
                  <a:pt x="1065" y="314"/>
                  <a:pt x="1065" y="314"/>
                </a:cubicBezTo>
                <a:cubicBezTo>
                  <a:pt x="1064" y="314"/>
                  <a:pt x="1063" y="313"/>
                  <a:pt x="1063" y="313"/>
                </a:cubicBezTo>
                <a:cubicBezTo>
                  <a:pt x="1062" y="313"/>
                  <a:pt x="1061" y="313"/>
                  <a:pt x="1061" y="313"/>
                </a:cubicBezTo>
                <a:cubicBezTo>
                  <a:pt x="1060" y="313"/>
                  <a:pt x="1059" y="313"/>
                  <a:pt x="1058" y="313"/>
                </a:cubicBezTo>
                <a:cubicBezTo>
                  <a:pt x="1059" y="313"/>
                  <a:pt x="1059" y="313"/>
                  <a:pt x="1059" y="314"/>
                </a:cubicBezTo>
                <a:cubicBezTo>
                  <a:pt x="1059" y="314"/>
                  <a:pt x="1058" y="314"/>
                  <a:pt x="1058" y="314"/>
                </a:cubicBezTo>
                <a:cubicBezTo>
                  <a:pt x="1058" y="314"/>
                  <a:pt x="1058" y="315"/>
                  <a:pt x="1058" y="315"/>
                </a:cubicBezTo>
                <a:cubicBezTo>
                  <a:pt x="1058" y="315"/>
                  <a:pt x="1058" y="315"/>
                  <a:pt x="1058" y="315"/>
                </a:cubicBezTo>
                <a:cubicBezTo>
                  <a:pt x="1058" y="315"/>
                  <a:pt x="1057" y="315"/>
                  <a:pt x="1057" y="315"/>
                </a:cubicBezTo>
                <a:cubicBezTo>
                  <a:pt x="1057" y="315"/>
                  <a:pt x="1056" y="315"/>
                  <a:pt x="1056" y="315"/>
                </a:cubicBezTo>
                <a:cubicBezTo>
                  <a:pt x="1056" y="315"/>
                  <a:pt x="1056" y="315"/>
                  <a:pt x="1055" y="315"/>
                </a:cubicBezTo>
                <a:cubicBezTo>
                  <a:pt x="1055" y="315"/>
                  <a:pt x="1055" y="315"/>
                  <a:pt x="1055" y="315"/>
                </a:cubicBezTo>
                <a:cubicBezTo>
                  <a:pt x="1054" y="315"/>
                  <a:pt x="1054" y="315"/>
                  <a:pt x="1053" y="315"/>
                </a:cubicBezTo>
                <a:cubicBezTo>
                  <a:pt x="1053" y="315"/>
                  <a:pt x="1053" y="315"/>
                  <a:pt x="1052" y="315"/>
                </a:cubicBezTo>
                <a:cubicBezTo>
                  <a:pt x="1052" y="315"/>
                  <a:pt x="1052" y="315"/>
                  <a:pt x="1052" y="315"/>
                </a:cubicBezTo>
                <a:cubicBezTo>
                  <a:pt x="1051" y="315"/>
                  <a:pt x="1051" y="314"/>
                  <a:pt x="1051" y="314"/>
                </a:cubicBezTo>
                <a:cubicBezTo>
                  <a:pt x="1051" y="314"/>
                  <a:pt x="1051" y="314"/>
                  <a:pt x="1051" y="314"/>
                </a:cubicBezTo>
                <a:cubicBezTo>
                  <a:pt x="1050" y="314"/>
                  <a:pt x="1050" y="313"/>
                  <a:pt x="1050" y="313"/>
                </a:cubicBezTo>
                <a:cubicBezTo>
                  <a:pt x="1050" y="313"/>
                  <a:pt x="1050" y="313"/>
                  <a:pt x="1051" y="313"/>
                </a:cubicBezTo>
                <a:cubicBezTo>
                  <a:pt x="1051" y="313"/>
                  <a:pt x="1051" y="313"/>
                  <a:pt x="1051" y="313"/>
                </a:cubicBezTo>
                <a:cubicBezTo>
                  <a:pt x="1050" y="313"/>
                  <a:pt x="1050" y="313"/>
                  <a:pt x="1050" y="313"/>
                </a:cubicBezTo>
                <a:cubicBezTo>
                  <a:pt x="1050" y="313"/>
                  <a:pt x="1050" y="313"/>
                  <a:pt x="1049" y="313"/>
                </a:cubicBezTo>
                <a:cubicBezTo>
                  <a:pt x="1049" y="313"/>
                  <a:pt x="1049" y="313"/>
                  <a:pt x="1048" y="313"/>
                </a:cubicBezTo>
                <a:cubicBezTo>
                  <a:pt x="1048" y="313"/>
                  <a:pt x="1048" y="313"/>
                  <a:pt x="1048" y="313"/>
                </a:cubicBezTo>
                <a:cubicBezTo>
                  <a:pt x="1048" y="312"/>
                  <a:pt x="1047" y="312"/>
                  <a:pt x="1047" y="312"/>
                </a:cubicBezTo>
                <a:cubicBezTo>
                  <a:pt x="1047" y="312"/>
                  <a:pt x="1047" y="312"/>
                  <a:pt x="1046" y="312"/>
                </a:cubicBezTo>
                <a:cubicBezTo>
                  <a:pt x="1046" y="312"/>
                  <a:pt x="1046" y="312"/>
                  <a:pt x="1046" y="313"/>
                </a:cubicBezTo>
                <a:cubicBezTo>
                  <a:pt x="1046" y="313"/>
                  <a:pt x="1045" y="313"/>
                  <a:pt x="1045" y="313"/>
                </a:cubicBezTo>
                <a:cubicBezTo>
                  <a:pt x="1045" y="313"/>
                  <a:pt x="1045" y="313"/>
                  <a:pt x="1045" y="313"/>
                </a:cubicBezTo>
                <a:cubicBezTo>
                  <a:pt x="1045" y="313"/>
                  <a:pt x="1045" y="313"/>
                  <a:pt x="1045" y="312"/>
                </a:cubicBezTo>
                <a:cubicBezTo>
                  <a:pt x="1045" y="312"/>
                  <a:pt x="1044" y="312"/>
                  <a:pt x="1044" y="313"/>
                </a:cubicBezTo>
                <a:cubicBezTo>
                  <a:pt x="1044" y="312"/>
                  <a:pt x="1043" y="312"/>
                  <a:pt x="1043" y="312"/>
                </a:cubicBezTo>
                <a:cubicBezTo>
                  <a:pt x="1043" y="313"/>
                  <a:pt x="1042" y="313"/>
                  <a:pt x="1042" y="313"/>
                </a:cubicBezTo>
                <a:cubicBezTo>
                  <a:pt x="1042" y="313"/>
                  <a:pt x="1042" y="313"/>
                  <a:pt x="1042" y="312"/>
                </a:cubicBezTo>
                <a:cubicBezTo>
                  <a:pt x="1042" y="312"/>
                  <a:pt x="1042" y="312"/>
                  <a:pt x="1042" y="312"/>
                </a:cubicBezTo>
                <a:cubicBezTo>
                  <a:pt x="1043" y="312"/>
                  <a:pt x="1043" y="312"/>
                  <a:pt x="1044" y="312"/>
                </a:cubicBezTo>
                <a:cubicBezTo>
                  <a:pt x="1044" y="312"/>
                  <a:pt x="1044" y="312"/>
                  <a:pt x="1045" y="312"/>
                </a:cubicBezTo>
                <a:cubicBezTo>
                  <a:pt x="1045" y="312"/>
                  <a:pt x="1045" y="312"/>
                  <a:pt x="1045" y="312"/>
                </a:cubicBezTo>
                <a:cubicBezTo>
                  <a:pt x="1045" y="311"/>
                  <a:pt x="1046" y="311"/>
                  <a:pt x="1046" y="311"/>
                </a:cubicBezTo>
                <a:cubicBezTo>
                  <a:pt x="1045" y="311"/>
                  <a:pt x="1044" y="311"/>
                  <a:pt x="1043" y="311"/>
                </a:cubicBezTo>
                <a:cubicBezTo>
                  <a:pt x="1043" y="311"/>
                  <a:pt x="1042" y="311"/>
                  <a:pt x="1042" y="311"/>
                </a:cubicBezTo>
                <a:cubicBezTo>
                  <a:pt x="1041" y="311"/>
                  <a:pt x="1041" y="311"/>
                  <a:pt x="1041" y="311"/>
                </a:cubicBezTo>
                <a:cubicBezTo>
                  <a:pt x="1041" y="311"/>
                  <a:pt x="1041" y="311"/>
                  <a:pt x="1041" y="311"/>
                </a:cubicBezTo>
                <a:cubicBezTo>
                  <a:pt x="1042" y="311"/>
                  <a:pt x="1042" y="311"/>
                  <a:pt x="1042" y="311"/>
                </a:cubicBezTo>
                <a:cubicBezTo>
                  <a:pt x="1042" y="311"/>
                  <a:pt x="1042" y="311"/>
                  <a:pt x="1043" y="310"/>
                </a:cubicBezTo>
                <a:cubicBezTo>
                  <a:pt x="1042" y="310"/>
                  <a:pt x="1042" y="310"/>
                  <a:pt x="1041" y="309"/>
                </a:cubicBezTo>
                <a:cubicBezTo>
                  <a:pt x="1041" y="309"/>
                  <a:pt x="1041" y="309"/>
                  <a:pt x="1041" y="309"/>
                </a:cubicBezTo>
                <a:cubicBezTo>
                  <a:pt x="1041" y="309"/>
                  <a:pt x="1041" y="309"/>
                  <a:pt x="1041" y="309"/>
                </a:cubicBezTo>
                <a:cubicBezTo>
                  <a:pt x="1040" y="309"/>
                  <a:pt x="1040" y="309"/>
                  <a:pt x="1040" y="308"/>
                </a:cubicBezTo>
                <a:cubicBezTo>
                  <a:pt x="1040" y="308"/>
                  <a:pt x="1041" y="308"/>
                  <a:pt x="1041" y="308"/>
                </a:cubicBezTo>
                <a:cubicBezTo>
                  <a:pt x="1041" y="308"/>
                  <a:pt x="1041" y="307"/>
                  <a:pt x="1041" y="307"/>
                </a:cubicBezTo>
                <a:cubicBezTo>
                  <a:pt x="1040" y="307"/>
                  <a:pt x="1040" y="307"/>
                  <a:pt x="1039" y="306"/>
                </a:cubicBezTo>
                <a:cubicBezTo>
                  <a:pt x="1039" y="306"/>
                  <a:pt x="1039" y="306"/>
                  <a:pt x="1039" y="306"/>
                </a:cubicBezTo>
                <a:cubicBezTo>
                  <a:pt x="1038" y="306"/>
                  <a:pt x="1038" y="306"/>
                  <a:pt x="1038" y="306"/>
                </a:cubicBezTo>
                <a:cubicBezTo>
                  <a:pt x="1038" y="306"/>
                  <a:pt x="1037" y="306"/>
                  <a:pt x="1037" y="306"/>
                </a:cubicBezTo>
                <a:cubicBezTo>
                  <a:pt x="1037" y="306"/>
                  <a:pt x="1037" y="306"/>
                  <a:pt x="1037" y="306"/>
                </a:cubicBezTo>
                <a:cubicBezTo>
                  <a:pt x="1036" y="305"/>
                  <a:pt x="1036" y="305"/>
                  <a:pt x="1036" y="305"/>
                </a:cubicBezTo>
                <a:cubicBezTo>
                  <a:pt x="1037" y="305"/>
                  <a:pt x="1037" y="305"/>
                  <a:pt x="1037" y="305"/>
                </a:cubicBezTo>
                <a:cubicBezTo>
                  <a:pt x="1037" y="305"/>
                  <a:pt x="1037" y="304"/>
                  <a:pt x="1037" y="304"/>
                </a:cubicBezTo>
                <a:cubicBezTo>
                  <a:pt x="1037" y="304"/>
                  <a:pt x="1037" y="304"/>
                  <a:pt x="1037" y="303"/>
                </a:cubicBezTo>
                <a:cubicBezTo>
                  <a:pt x="1037" y="304"/>
                  <a:pt x="1037" y="304"/>
                  <a:pt x="1037" y="304"/>
                </a:cubicBezTo>
                <a:cubicBezTo>
                  <a:pt x="1037" y="304"/>
                  <a:pt x="1038" y="304"/>
                  <a:pt x="1038" y="305"/>
                </a:cubicBezTo>
                <a:cubicBezTo>
                  <a:pt x="1038" y="305"/>
                  <a:pt x="1038" y="305"/>
                  <a:pt x="1038" y="305"/>
                </a:cubicBezTo>
                <a:cubicBezTo>
                  <a:pt x="1038" y="304"/>
                  <a:pt x="1039" y="304"/>
                  <a:pt x="1039" y="304"/>
                </a:cubicBezTo>
                <a:cubicBezTo>
                  <a:pt x="1039" y="304"/>
                  <a:pt x="1039" y="304"/>
                  <a:pt x="1040" y="304"/>
                </a:cubicBezTo>
                <a:cubicBezTo>
                  <a:pt x="1039" y="304"/>
                  <a:pt x="1039" y="304"/>
                  <a:pt x="1039" y="304"/>
                </a:cubicBezTo>
                <a:cubicBezTo>
                  <a:pt x="1039" y="304"/>
                  <a:pt x="1038" y="303"/>
                  <a:pt x="1038" y="303"/>
                </a:cubicBezTo>
                <a:cubicBezTo>
                  <a:pt x="1039" y="303"/>
                  <a:pt x="1039" y="303"/>
                  <a:pt x="1040" y="303"/>
                </a:cubicBezTo>
                <a:cubicBezTo>
                  <a:pt x="1040" y="303"/>
                  <a:pt x="1040" y="303"/>
                  <a:pt x="1040" y="302"/>
                </a:cubicBezTo>
                <a:cubicBezTo>
                  <a:pt x="1040" y="302"/>
                  <a:pt x="1040" y="302"/>
                  <a:pt x="1040" y="302"/>
                </a:cubicBezTo>
                <a:cubicBezTo>
                  <a:pt x="1040" y="302"/>
                  <a:pt x="1040" y="302"/>
                  <a:pt x="1039" y="302"/>
                </a:cubicBezTo>
                <a:cubicBezTo>
                  <a:pt x="1039" y="302"/>
                  <a:pt x="1039" y="302"/>
                  <a:pt x="1039" y="302"/>
                </a:cubicBezTo>
                <a:cubicBezTo>
                  <a:pt x="1039" y="302"/>
                  <a:pt x="1039" y="302"/>
                  <a:pt x="1039" y="302"/>
                </a:cubicBezTo>
                <a:cubicBezTo>
                  <a:pt x="1039" y="302"/>
                  <a:pt x="1039" y="302"/>
                  <a:pt x="1039" y="302"/>
                </a:cubicBezTo>
                <a:cubicBezTo>
                  <a:pt x="1039" y="301"/>
                  <a:pt x="1039" y="301"/>
                  <a:pt x="1039" y="301"/>
                </a:cubicBezTo>
                <a:cubicBezTo>
                  <a:pt x="1039" y="301"/>
                  <a:pt x="1039" y="301"/>
                  <a:pt x="1039" y="300"/>
                </a:cubicBezTo>
                <a:cubicBezTo>
                  <a:pt x="1039" y="300"/>
                  <a:pt x="1039" y="300"/>
                  <a:pt x="1040" y="300"/>
                </a:cubicBezTo>
                <a:cubicBezTo>
                  <a:pt x="1039" y="300"/>
                  <a:pt x="1039" y="300"/>
                  <a:pt x="1039" y="300"/>
                </a:cubicBezTo>
                <a:cubicBezTo>
                  <a:pt x="1038" y="300"/>
                  <a:pt x="1038" y="300"/>
                  <a:pt x="1037" y="300"/>
                </a:cubicBezTo>
                <a:cubicBezTo>
                  <a:pt x="1037" y="300"/>
                  <a:pt x="1037" y="300"/>
                  <a:pt x="1037" y="299"/>
                </a:cubicBezTo>
                <a:cubicBezTo>
                  <a:pt x="1037" y="300"/>
                  <a:pt x="1036" y="300"/>
                  <a:pt x="1036" y="300"/>
                </a:cubicBezTo>
                <a:cubicBezTo>
                  <a:pt x="1036" y="300"/>
                  <a:pt x="1035" y="299"/>
                  <a:pt x="1035" y="299"/>
                </a:cubicBezTo>
                <a:cubicBezTo>
                  <a:pt x="1035" y="299"/>
                  <a:pt x="1036" y="299"/>
                  <a:pt x="1036" y="299"/>
                </a:cubicBezTo>
                <a:cubicBezTo>
                  <a:pt x="1036" y="299"/>
                  <a:pt x="1036" y="298"/>
                  <a:pt x="1036" y="298"/>
                </a:cubicBezTo>
                <a:cubicBezTo>
                  <a:pt x="1036" y="298"/>
                  <a:pt x="1036" y="298"/>
                  <a:pt x="1035" y="298"/>
                </a:cubicBezTo>
                <a:cubicBezTo>
                  <a:pt x="1036" y="298"/>
                  <a:pt x="1036" y="297"/>
                  <a:pt x="1036" y="297"/>
                </a:cubicBezTo>
                <a:cubicBezTo>
                  <a:pt x="1036" y="297"/>
                  <a:pt x="1036" y="297"/>
                  <a:pt x="1036" y="296"/>
                </a:cubicBezTo>
                <a:cubicBezTo>
                  <a:pt x="1037" y="296"/>
                  <a:pt x="1038" y="296"/>
                  <a:pt x="1039" y="295"/>
                </a:cubicBezTo>
                <a:cubicBezTo>
                  <a:pt x="1039" y="295"/>
                  <a:pt x="1040" y="295"/>
                  <a:pt x="1040" y="295"/>
                </a:cubicBezTo>
                <a:cubicBezTo>
                  <a:pt x="1040" y="296"/>
                  <a:pt x="1041" y="296"/>
                  <a:pt x="1041" y="296"/>
                </a:cubicBezTo>
                <a:cubicBezTo>
                  <a:pt x="1042" y="296"/>
                  <a:pt x="1042" y="296"/>
                  <a:pt x="1042" y="296"/>
                </a:cubicBezTo>
                <a:cubicBezTo>
                  <a:pt x="1042" y="296"/>
                  <a:pt x="1043" y="296"/>
                  <a:pt x="1043" y="296"/>
                </a:cubicBezTo>
                <a:cubicBezTo>
                  <a:pt x="1043" y="296"/>
                  <a:pt x="1044" y="296"/>
                  <a:pt x="1044" y="296"/>
                </a:cubicBezTo>
                <a:cubicBezTo>
                  <a:pt x="1044" y="296"/>
                  <a:pt x="1044" y="296"/>
                  <a:pt x="1044" y="296"/>
                </a:cubicBezTo>
                <a:cubicBezTo>
                  <a:pt x="1045" y="296"/>
                  <a:pt x="1045" y="296"/>
                  <a:pt x="1046" y="296"/>
                </a:cubicBezTo>
                <a:cubicBezTo>
                  <a:pt x="1046" y="296"/>
                  <a:pt x="1046" y="296"/>
                  <a:pt x="1047" y="296"/>
                </a:cubicBezTo>
                <a:cubicBezTo>
                  <a:pt x="1047" y="296"/>
                  <a:pt x="1048" y="296"/>
                  <a:pt x="1049" y="296"/>
                </a:cubicBezTo>
                <a:cubicBezTo>
                  <a:pt x="1049" y="296"/>
                  <a:pt x="1050" y="296"/>
                  <a:pt x="1050" y="296"/>
                </a:cubicBezTo>
                <a:cubicBezTo>
                  <a:pt x="1050" y="296"/>
                  <a:pt x="1050" y="296"/>
                  <a:pt x="1050" y="296"/>
                </a:cubicBezTo>
                <a:cubicBezTo>
                  <a:pt x="1049" y="296"/>
                  <a:pt x="1049" y="296"/>
                  <a:pt x="1049" y="296"/>
                </a:cubicBezTo>
                <a:cubicBezTo>
                  <a:pt x="1048" y="296"/>
                  <a:pt x="1048" y="296"/>
                  <a:pt x="1048" y="296"/>
                </a:cubicBezTo>
                <a:cubicBezTo>
                  <a:pt x="1048" y="295"/>
                  <a:pt x="1049" y="295"/>
                  <a:pt x="1049" y="295"/>
                </a:cubicBezTo>
                <a:cubicBezTo>
                  <a:pt x="1050" y="295"/>
                  <a:pt x="1050" y="295"/>
                  <a:pt x="1051" y="295"/>
                </a:cubicBezTo>
                <a:cubicBezTo>
                  <a:pt x="1052" y="295"/>
                  <a:pt x="1052" y="295"/>
                  <a:pt x="1053" y="295"/>
                </a:cubicBezTo>
                <a:cubicBezTo>
                  <a:pt x="1053" y="295"/>
                  <a:pt x="1053" y="295"/>
                  <a:pt x="1053" y="295"/>
                </a:cubicBezTo>
                <a:cubicBezTo>
                  <a:pt x="1053" y="294"/>
                  <a:pt x="1052" y="294"/>
                  <a:pt x="1052" y="294"/>
                </a:cubicBezTo>
                <a:cubicBezTo>
                  <a:pt x="1052" y="294"/>
                  <a:pt x="1051" y="294"/>
                  <a:pt x="1051" y="294"/>
                </a:cubicBezTo>
                <a:cubicBezTo>
                  <a:pt x="1050" y="294"/>
                  <a:pt x="1050" y="293"/>
                  <a:pt x="1050" y="293"/>
                </a:cubicBezTo>
                <a:cubicBezTo>
                  <a:pt x="1050" y="293"/>
                  <a:pt x="1050" y="293"/>
                  <a:pt x="1050" y="293"/>
                </a:cubicBezTo>
                <a:cubicBezTo>
                  <a:pt x="1050" y="292"/>
                  <a:pt x="1051" y="292"/>
                  <a:pt x="1051" y="292"/>
                </a:cubicBezTo>
                <a:cubicBezTo>
                  <a:pt x="1051" y="292"/>
                  <a:pt x="1052" y="293"/>
                  <a:pt x="1052" y="293"/>
                </a:cubicBezTo>
                <a:cubicBezTo>
                  <a:pt x="1053" y="293"/>
                  <a:pt x="1053" y="292"/>
                  <a:pt x="1054" y="292"/>
                </a:cubicBezTo>
                <a:cubicBezTo>
                  <a:pt x="1054" y="292"/>
                  <a:pt x="1054" y="293"/>
                  <a:pt x="1055" y="293"/>
                </a:cubicBezTo>
                <a:cubicBezTo>
                  <a:pt x="1055" y="293"/>
                  <a:pt x="1055" y="292"/>
                  <a:pt x="1055" y="292"/>
                </a:cubicBezTo>
                <a:cubicBezTo>
                  <a:pt x="1056" y="292"/>
                  <a:pt x="1056" y="292"/>
                  <a:pt x="1056" y="292"/>
                </a:cubicBezTo>
                <a:cubicBezTo>
                  <a:pt x="1057" y="293"/>
                  <a:pt x="1058" y="293"/>
                  <a:pt x="1059" y="293"/>
                </a:cubicBezTo>
                <a:cubicBezTo>
                  <a:pt x="1060" y="293"/>
                  <a:pt x="1060" y="293"/>
                  <a:pt x="1061" y="293"/>
                </a:cubicBezTo>
                <a:cubicBezTo>
                  <a:pt x="1061" y="293"/>
                  <a:pt x="1061" y="293"/>
                  <a:pt x="1061" y="293"/>
                </a:cubicBezTo>
                <a:cubicBezTo>
                  <a:pt x="1061" y="293"/>
                  <a:pt x="1061" y="293"/>
                  <a:pt x="1062" y="293"/>
                </a:cubicBezTo>
                <a:cubicBezTo>
                  <a:pt x="1062" y="292"/>
                  <a:pt x="1062" y="292"/>
                  <a:pt x="1062" y="292"/>
                </a:cubicBezTo>
                <a:cubicBezTo>
                  <a:pt x="1062" y="292"/>
                  <a:pt x="1062" y="292"/>
                  <a:pt x="1063" y="292"/>
                </a:cubicBezTo>
                <a:cubicBezTo>
                  <a:pt x="1063" y="292"/>
                  <a:pt x="1063" y="291"/>
                  <a:pt x="1064" y="291"/>
                </a:cubicBezTo>
                <a:cubicBezTo>
                  <a:pt x="1064" y="291"/>
                  <a:pt x="1064" y="291"/>
                  <a:pt x="1064" y="291"/>
                </a:cubicBezTo>
                <a:cubicBezTo>
                  <a:pt x="1065" y="291"/>
                  <a:pt x="1065" y="291"/>
                  <a:pt x="1065" y="291"/>
                </a:cubicBezTo>
                <a:cubicBezTo>
                  <a:pt x="1066" y="291"/>
                  <a:pt x="1066" y="290"/>
                  <a:pt x="1067" y="290"/>
                </a:cubicBezTo>
                <a:cubicBezTo>
                  <a:pt x="1067" y="290"/>
                  <a:pt x="1068" y="290"/>
                  <a:pt x="1068" y="290"/>
                </a:cubicBezTo>
                <a:cubicBezTo>
                  <a:pt x="1069" y="290"/>
                  <a:pt x="1070" y="290"/>
                  <a:pt x="1071" y="290"/>
                </a:cubicBezTo>
                <a:cubicBezTo>
                  <a:pt x="1071" y="290"/>
                  <a:pt x="1072" y="290"/>
                  <a:pt x="1072" y="290"/>
                </a:cubicBezTo>
                <a:cubicBezTo>
                  <a:pt x="1073" y="290"/>
                  <a:pt x="1074" y="290"/>
                  <a:pt x="1075" y="290"/>
                </a:cubicBezTo>
                <a:cubicBezTo>
                  <a:pt x="1075" y="290"/>
                  <a:pt x="1075" y="290"/>
                  <a:pt x="1076" y="290"/>
                </a:cubicBezTo>
                <a:cubicBezTo>
                  <a:pt x="1076" y="290"/>
                  <a:pt x="1076" y="290"/>
                  <a:pt x="1077" y="290"/>
                </a:cubicBezTo>
                <a:cubicBezTo>
                  <a:pt x="1077" y="290"/>
                  <a:pt x="1078" y="290"/>
                  <a:pt x="1078" y="290"/>
                </a:cubicBezTo>
                <a:cubicBezTo>
                  <a:pt x="1079" y="290"/>
                  <a:pt x="1079" y="290"/>
                  <a:pt x="1080" y="290"/>
                </a:cubicBezTo>
                <a:cubicBezTo>
                  <a:pt x="1080" y="290"/>
                  <a:pt x="1080" y="290"/>
                  <a:pt x="1080" y="290"/>
                </a:cubicBezTo>
                <a:cubicBezTo>
                  <a:pt x="1080" y="290"/>
                  <a:pt x="1080" y="291"/>
                  <a:pt x="1080" y="291"/>
                </a:cubicBezTo>
                <a:cubicBezTo>
                  <a:pt x="1081" y="291"/>
                  <a:pt x="1081" y="292"/>
                  <a:pt x="1082" y="292"/>
                </a:cubicBezTo>
                <a:cubicBezTo>
                  <a:pt x="1082" y="292"/>
                  <a:pt x="1082" y="292"/>
                  <a:pt x="1082" y="292"/>
                </a:cubicBezTo>
                <a:cubicBezTo>
                  <a:pt x="1083" y="292"/>
                  <a:pt x="1083" y="292"/>
                  <a:pt x="1083" y="292"/>
                </a:cubicBezTo>
                <a:cubicBezTo>
                  <a:pt x="1083" y="292"/>
                  <a:pt x="1084" y="292"/>
                  <a:pt x="1084" y="291"/>
                </a:cubicBezTo>
                <a:cubicBezTo>
                  <a:pt x="1084" y="291"/>
                  <a:pt x="1085" y="291"/>
                  <a:pt x="1085" y="291"/>
                </a:cubicBezTo>
                <a:cubicBezTo>
                  <a:pt x="1085" y="291"/>
                  <a:pt x="1085" y="292"/>
                  <a:pt x="1086" y="292"/>
                </a:cubicBezTo>
                <a:cubicBezTo>
                  <a:pt x="1086" y="292"/>
                  <a:pt x="1086" y="292"/>
                  <a:pt x="1086" y="293"/>
                </a:cubicBezTo>
                <a:cubicBezTo>
                  <a:pt x="1086" y="293"/>
                  <a:pt x="1086" y="293"/>
                  <a:pt x="1087" y="294"/>
                </a:cubicBezTo>
                <a:cubicBezTo>
                  <a:pt x="1087" y="294"/>
                  <a:pt x="1087" y="294"/>
                  <a:pt x="1088" y="294"/>
                </a:cubicBezTo>
                <a:cubicBezTo>
                  <a:pt x="1088" y="294"/>
                  <a:pt x="1088" y="294"/>
                  <a:pt x="1088" y="293"/>
                </a:cubicBezTo>
                <a:cubicBezTo>
                  <a:pt x="1088" y="293"/>
                  <a:pt x="1088" y="294"/>
                  <a:pt x="1089" y="294"/>
                </a:cubicBezTo>
                <a:cubicBezTo>
                  <a:pt x="1089" y="294"/>
                  <a:pt x="1090" y="294"/>
                  <a:pt x="1090" y="295"/>
                </a:cubicBezTo>
                <a:cubicBezTo>
                  <a:pt x="1091" y="295"/>
                  <a:pt x="1091" y="295"/>
                  <a:pt x="1091" y="295"/>
                </a:cubicBezTo>
                <a:cubicBezTo>
                  <a:pt x="1092" y="295"/>
                  <a:pt x="1093" y="295"/>
                  <a:pt x="1093" y="296"/>
                </a:cubicBezTo>
                <a:cubicBezTo>
                  <a:pt x="1094" y="296"/>
                  <a:pt x="1094" y="295"/>
                  <a:pt x="1094" y="295"/>
                </a:cubicBezTo>
                <a:cubicBezTo>
                  <a:pt x="1094" y="296"/>
                  <a:pt x="1095" y="296"/>
                  <a:pt x="1095" y="296"/>
                </a:cubicBezTo>
                <a:cubicBezTo>
                  <a:pt x="1096" y="296"/>
                  <a:pt x="1096" y="296"/>
                  <a:pt x="1097" y="296"/>
                </a:cubicBezTo>
                <a:cubicBezTo>
                  <a:pt x="1098" y="296"/>
                  <a:pt x="1099" y="296"/>
                  <a:pt x="1099" y="296"/>
                </a:cubicBezTo>
                <a:cubicBezTo>
                  <a:pt x="1100" y="296"/>
                  <a:pt x="1101" y="296"/>
                  <a:pt x="1101" y="296"/>
                </a:cubicBezTo>
                <a:cubicBezTo>
                  <a:pt x="1102" y="296"/>
                  <a:pt x="1102" y="296"/>
                  <a:pt x="1102" y="296"/>
                </a:cubicBezTo>
                <a:cubicBezTo>
                  <a:pt x="1102" y="296"/>
                  <a:pt x="1103" y="296"/>
                  <a:pt x="1103" y="296"/>
                </a:cubicBezTo>
                <a:cubicBezTo>
                  <a:pt x="1103" y="296"/>
                  <a:pt x="1103" y="296"/>
                  <a:pt x="1103" y="296"/>
                </a:cubicBezTo>
                <a:cubicBezTo>
                  <a:pt x="1104" y="296"/>
                  <a:pt x="1104" y="296"/>
                  <a:pt x="1104" y="297"/>
                </a:cubicBezTo>
                <a:cubicBezTo>
                  <a:pt x="1105" y="297"/>
                  <a:pt x="1106" y="297"/>
                  <a:pt x="1106" y="297"/>
                </a:cubicBezTo>
                <a:cubicBezTo>
                  <a:pt x="1106" y="297"/>
                  <a:pt x="1107" y="297"/>
                  <a:pt x="1107" y="297"/>
                </a:cubicBezTo>
                <a:cubicBezTo>
                  <a:pt x="1107" y="297"/>
                  <a:pt x="1108" y="297"/>
                  <a:pt x="1109" y="297"/>
                </a:cubicBezTo>
                <a:cubicBezTo>
                  <a:pt x="1109" y="297"/>
                  <a:pt x="1109" y="296"/>
                  <a:pt x="1109" y="296"/>
                </a:cubicBezTo>
                <a:cubicBezTo>
                  <a:pt x="1110" y="296"/>
                  <a:pt x="1110" y="296"/>
                  <a:pt x="1111" y="296"/>
                </a:cubicBezTo>
                <a:cubicBezTo>
                  <a:pt x="1111" y="296"/>
                  <a:pt x="1112" y="296"/>
                  <a:pt x="1112" y="295"/>
                </a:cubicBezTo>
                <a:cubicBezTo>
                  <a:pt x="1112" y="295"/>
                  <a:pt x="1113" y="295"/>
                  <a:pt x="1113" y="294"/>
                </a:cubicBezTo>
                <a:cubicBezTo>
                  <a:pt x="1113" y="294"/>
                  <a:pt x="1113" y="294"/>
                  <a:pt x="1113" y="294"/>
                </a:cubicBezTo>
                <a:cubicBezTo>
                  <a:pt x="1113" y="294"/>
                  <a:pt x="1114" y="294"/>
                  <a:pt x="1114" y="294"/>
                </a:cubicBezTo>
                <a:cubicBezTo>
                  <a:pt x="1114" y="294"/>
                  <a:pt x="1113" y="294"/>
                  <a:pt x="1113" y="294"/>
                </a:cubicBezTo>
                <a:cubicBezTo>
                  <a:pt x="1113" y="294"/>
                  <a:pt x="1113" y="294"/>
                  <a:pt x="1113" y="294"/>
                </a:cubicBezTo>
                <a:cubicBezTo>
                  <a:pt x="1113" y="294"/>
                  <a:pt x="1113" y="294"/>
                  <a:pt x="1113" y="294"/>
                </a:cubicBezTo>
                <a:cubicBezTo>
                  <a:pt x="1113" y="294"/>
                  <a:pt x="1113" y="294"/>
                  <a:pt x="1113" y="294"/>
                </a:cubicBezTo>
                <a:cubicBezTo>
                  <a:pt x="1113" y="294"/>
                  <a:pt x="1113" y="294"/>
                  <a:pt x="1113" y="293"/>
                </a:cubicBezTo>
                <a:cubicBezTo>
                  <a:pt x="1113" y="293"/>
                  <a:pt x="1113" y="293"/>
                  <a:pt x="1114" y="293"/>
                </a:cubicBezTo>
                <a:cubicBezTo>
                  <a:pt x="1113" y="293"/>
                  <a:pt x="1113" y="292"/>
                  <a:pt x="1113" y="292"/>
                </a:cubicBezTo>
                <a:cubicBezTo>
                  <a:pt x="1113" y="291"/>
                  <a:pt x="1113" y="291"/>
                  <a:pt x="1113" y="290"/>
                </a:cubicBezTo>
                <a:cubicBezTo>
                  <a:pt x="1112" y="290"/>
                  <a:pt x="1112" y="290"/>
                  <a:pt x="1112" y="290"/>
                </a:cubicBezTo>
                <a:cubicBezTo>
                  <a:pt x="1112" y="289"/>
                  <a:pt x="1111" y="289"/>
                  <a:pt x="1111" y="288"/>
                </a:cubicBezTo>
                <a:cubicBezTo>
                  <a:pt x="1111" y="288"/>
                  <a:pt x="1110" y="288"/>
                  <a:pt x="1110" y="288"/>
                </a:cubicBezTo>
                <a:cubicBezTo>
                  <a:pt x="1110" y="288"/>
                  <a:pt x="1110" y="288"/>
                  <a:pt x="1110" y="288"/>
                </a:cubicBezTo>
                <a:cubicBezTo>
                  <a:pt x="1109" y="287"/>
                  <a:pt x="1109" y="287"/>
                  <a:pt x="1108" y="287"/>
                </a:cubicBezTo>
                <a:cubicBezTo>
                  <a:pt x="1108" y="287"/>
                  <a:pt x="1108" y="287"/>
                  <a:pt x="1108" y="287"/>
                </a:cubicBezTo>
                <a:cubicBezTo>
                  <a:pt x="1108" y="287"/>
                  <a:pt x="1107" y="287"/>
                  <a:pt x="1107" y="287"/>
                </a:cubicBezTo>
                <a:cubicBezTo>
                  <a:pt x="1107" y="287"/>
                  <a:pt x="1107" y="286"/>
                  <a:pt x="1106" y="286"/>
                </a:cubicBezTo>
                <a:cubicBezTo>
                  <a:pt x="1106" y="286"/>
                  <a:pt x="1106" y="286"/>
                  <a:pt x="1105" y="285"/>
                </a:cubicBezTo>
                <a:cubicBezTo>
                  <a:pt x="1105" y="285"/>
                  <a:pt x="1105" y="285"/>
                  <a:pt x="1105" y="285"/>
                </a:cubicBezTo>
                <a:cubicBezTo>
                  <a:pt x="1105" y="285"/>
                  <a:pt x="1104" y="285"/>
                  <a:pt x="1104" y="285"/>
                </a:cubicBezTo>
                <a:cubicBezTo>
                  <a:pt x="1104" y="285"/>
                  <a:pt x="1104" y="285"/>
                  <a:pt x="1104" y="285"/>
                </a:cubicBezTo>
                <a:cubicBezTo>
                  <a:pt x="1103" y="285"/>
                  <a:pt x="1103" y="284"/>
                  <a:pt x="1103" y="284"/>
                </a:cubicBezTo>
                <a:cubicBezTo>
                  <a:pt x="1103" y="284"/>
                  <a:pt x="1102" y="284"/>
                  <a:pt x="1102" y="284"/>
                </a:cubicBezTo>
                <a:cubicBezTo>
                  <a:pt x="1102" y="284"/>
                  <a:pt x="1102" y="284"/>
                  <a:pt x="1102" y="283"/>
                </a:cubicBezTo>
                <a:cubicBezTo>
                  <a:pt x="1101" y="283"/>
                  <a:pt x="1101" y="283"/>
                  <a:pt x="1101" y="283"/>
                </a:cubicBezTo>
                <a:cubicBezTo>
                  <a:pt x="1101" y="283"/>
                  <a:pt x="1100" y="282"/>
                  <a:pt x="1100" y="282"/>
                </a:cubicBezTo>
                <a:cubicBezTo>
                  <a:pt x="1099" y="281"/>
                  <a:pt x="1098" y="281"/>
                  <a:pt x="1097" y="280"/>
                </a:cubicBezTo>
                <a:cubicBezTo>
                  <a:pt x="1096" y="280"/>
                  <a:pt x="1096" y="280"/>
                  <a:pt x="1095" y="280"/>
                </a:cubicBezTo>
                <a:cubicBezTo>
                  <a:pt x="1095" y="279"/>
                  <a:pt x="1094" y="279"/>
                  <a:pt x="1093" y="279"/>
                </a:cubicBezTo>
                <a:cubicBezTo>
                  <a:pt x="1093" y="279"/>
                  <a:pt x="1092" y="279"/>
                  <a:pt x="1091" y="279"/>
                </a:cubicBezTo>
                <a:cubicBezTo>
                  <a:pt x="1091" y="278"/>
                  <a:pt x="1091" y="278"/>
                  <a:pt x="1090" y="278"/>
                </a:cubicBezTo>
                <a:cubicBezTo>
                  <a:pt x="1090" y="278"/>
                  <a:pt x="1090" y="277"/>
                  <a:pt x="1090" y="277"/>
                </a:cubicBezTo>
                <a:cubicBezTo>
                  <a:pt x="1090" y="277"/>
                  <a:pt x="1089" y="277"/>
                  <a:pt x="1089" y="276"/>
                </a:cubicBezTo>
                <a:cubicBezTo>
                  <a:pt x="1089" y="276"/>
                  <a:pt x="1088" y="276"/>
                  <a:pt x="1088" y="276"/>
                </a:cubicBezTo>
                <a:cubicBezTo>
                  <a:pt x="1088" y="276"/>
                  <a:pt x="1087" y="276"/>
                  <a:pt x="1087" y="276"/>
                </a:cubicBezTo>
                <a:cubicBezTo>
                  <a:pt x="1087" y="276"/>
                  <a:pt x="1088" y="276"/>
                  <a:pt x="1088" y="276"/>
                </a:cubicBezTo>
                <a:cubicBezTo>
                  <a:pt x="1088" y="276"/>
                  <a:pt x="1088" y="275"/>
                  <a:pt x="1089" y="275"/>
                </a:cubicBezTo>
                <a:cubicBezTo>
                  <a:pt x="1088" y="275"/>
                  <a:pt x="1088" y="275"/>
                  <a:pt x="1088" y="275"/>
                </a:cubicBezTo>
                <a:cubicBezTo>
                  <a:pt x="1088" y="275"/>
                  <a:pt x="1088" y="275"/>
                  <a:pt x="1088" y="275"/>
                </a:cubicBezTo>
                <a:cubicBezTo>
                  <a:pt x="1089" y="275"/>
                  <a:pt x="1089" y="275"/>
                  <a:pt x="1089" y="275"/>
                </a:cubicBezTo>
                <a:cubicBezTo>
                  <a:pt x="1090" y="275"/>
                  <a:pt x="1090" y="275"/>
                  <a:pt x="1090" y="275"/>
                </a:cubicBezTo>
                <a:cubicBezTo>
                  <a:pt x="1090" y="275"/>
                  <a:pt x="1090" y="275"/>
                  <a:pt x="1091" y="275"/>
                </a:cubicBezTo>
                <a:cubicBezTo>
                  <a:pt x="1091" y="275"/>
                  <a:pt x="1091" y="275"/>
                  <a:pt x="1092" y="275"/>
                </a:cubicBezTo>
                <a:cubicBezTo>
                  <a:pt x="1092" y="275"/>
                  <a:pt x="1092" y="275"/>
                  <a:pt x="1092" y="274"/>
                </a:cubicBezTo>
                <a:cubicBezTo>
                  <a:pt x="1092" y="274"/>
                  <a:pt x="1092" y="274"/>
                  <a:pt x="1091" y="274"/>
                </a:cubicBezTo>
                <a:cubicBezTo>
                  <a:pt x="1091" y="274"/>
                  <a:pt x="1091" y="274"/>
                  <a:pt x="1092" y="273"/>
                </a:cubicBezTo>
                <a:cubicBezTo>
                  <a:pt x="1092" y="273"/>
                  <a:pt x="1092" y="273"/>
                  <a:pt x="1093" y="273"/>
                </a:cubicBezTo>
                <a:cubicBezTo>
                  <a:pt x="1093" y="273"/>
                  <a:pt x="1093" y="272"/>
                  <a:pt x="1093" y="272"/>
                </a:cubicBezTo>
                <a:cubicBezTo>
                  <a:pt x="1093" y="272"/>
                  <a:pt x="1093" y="272"/>
                  <a:pt x="1093" y="272"/>
                </a:cubicBezTo>
                <a:cubicBezTo>
                  <a:pt x="1093" y="272"/>
                  <a:pt x="1094" y="272"/>
                  <a:pt x="1094" y="272"/>
                </a:cubicBezTo>
                <a:cubicBezTo>
                  <a:pt x="1094" y="272"/>
                  <a:pt x="1094" y="272"/>
                  <a:pt x="1094" y="272"/>
                </a:cubicBezTo>
                <a:cubicBezTo>
                  <a:pt x="1095" y="272"/>
                  <a:pt x="1095" y="272"/>
                  <a:pt x="1095" y="272"/>
                </a:cubicBezTo>
                <a:cubicBezTo>
                  <a:pt x="1095" y="272"/>
                  <a:pt x="1095" y="272"/>
                  <a:pt x="1095" y="272"/>
                </a:cubicBezTo>
                <a:cubicBezTo>
                  <a:pt x="1095" y="271"/>
                  <a:pt x="1094" y="271"/>
                  <a:pt x="1094" y="271"/>
                </a:cubicBezTo>
                <a:cubicBezTo>
                  <a:pt x="1094" y="271"/>
                  <a:pt x="1094" y="271"/>
                  <a:pt x="1094" y="271"/>
                </a:cubicBezTo>
                <a:cubicBezTo>
                  <a:pt x="1094" y="271"/>
                  <a:pt x="1093" y="271"/>
                  <a:pt x="1093" y="271"/>
                </a:cubicBezTo>
                <a:cubicBezTo>
                  <a:pt x="1093" y="271"/>
                  <a:pt x="1093" y="271"/>
                  <a:pt x="1092" y="270"/>
                </a:cubicBezTo>
                <a:cubicBezTo>
                  <a:pt x="1092" y="270"/>
                  <a:pt x="1092" y="270"/>
                  <a:pt x="1092" y="269"/>
                </a:cubicBezTo>
                <a:cubicBezTo>
                  <a:pt x="1092" y="269"/>
                  <a:pt x="1093" y="269"/>
                  <a:pt x="1094" y="269"/>
                </a:cubicBezTo>
                <a:cubicBezTo>
                  <a:pt x="1094" y="269"/>
                  <a:pt x="1095" y="270"/>
                  <a:pt x="1095" y="270"/>
                </a:cubicBezTo>
                <a:cubicBezTo>
                  <a:pt x="1095" y="269"/>
                  <a:pt x="1096" y="269"/>
                  <a:pt x="1096" y="269"/>
                </a:cubicBezTo>
                <a:cubicBezTo>
                  <a:pt x="1096" y="269"/>
                  <a:pt x="1095" y="269"/>
                  <a:pt x="1095" y="269"/>
                </a:cubicBezTo>
                <a:cubicBezTo>
                  <a:pt x="1095" y="269"/>
                  <a:pt x="1095" y="269"/>
                  <a:pt x="1095" y="269"/>
                </a:cubicBezTo>
                <a:cubicBezTo>
                  <a:pt x="1095" y="269"/>
                  <a:pt x="1095" y="268"/>
                  <a:pt x="1096" y="268"/>
                </a:cubicBezTo>
                <a:cubicBezTo>
                  <a:pt x="1097" y="268"/>
                  <a:pt x="1098" y="268"/>
                  <a:pt x="1099" y="267"/>
                </a:cubicBezTo>
                <a:cubicBezTo>
                  <a:pt x="1099" y="267"/>
                  <a:pt x="1099" y="267"/>
                  <a:pt x="1099" y="267"/>
                </a:cubicBezTo>
                <a:cubicBezTo>
                  <a:pt x="1099" y="267"/>
                  <a:pt x="1099" y="267"/>
                  <a:pt x="1099" y="266"/>
                </a:cubicBezTo>
                <a:cubicBezTo>
                  <a:pt x="1098" y="266"/>
                  <a:pt x="1098" y="266"/>
                  <a:pt x="1097" y="266"/>
                </a:cubicBezTo>
                <a:cubicBezTo>
                  <a:pt x="1097" y="267"/>
                  <a:pt x="1096" y="267"/>
                  <a:pt x="1096" y="267"/>
                </a:cubicBezTo>
                <a:cubicBezTo>
                  <a:pt x="1096" y="267"/>
                  <a:pt x="1095" y="267"/>
                  <a:pt x="1095" y="267"/>
                </a:cubicBezTo>
                <a:cubicBezTo>
                  <a:pt x="1095" y="267"/>
                  <a:pt x="1095" y="267"/>
                  <a:pt x="1095" y="267"/>
                </a:cubicBezTo>
                <a:cubicBezTo>
                  <a:pt x="1095" y="267"/>
                  <a:pt x="1095" y="267"/>
                  <a:pt x="1095" y="267"/>
                </a:cubicBezTo>
                <a:cubicBezTo>
                  <a:pt x="1095" y="267"/>
                  <a:pt x="1095" y="267"/>
                  <a:pt x="1095" y="267"/>
                </a:cubicBezTo>
                <a:cubicBezTo>
                  <a:pt x="1094" y="267"/>
                  <a:pt x="1094" y="267"/>
                  <a:pt x="1094" y="267"/>
                </a:cubicBezTo>
                <a:cubicBezTo>
                  <a:pt x="1094" y="267"/>
                  <a:pt x="1094" y="267"/>
                  <a:pt x="1094" y="267"/>
                </a:cubicBezTo>
                <a:cubicBezTo>
                  <a:pt x="1093" y="266"/>
                  <a:pt x="1093" y="266"/>
                  <a:pt x="1093" y="266"/>
                </a:cubicBezTo>
                <a:cubicBezTo>
                  <a:pt x="1093" y="267"/>
                  <a:pt x="1092" y="267"/>
                  <a:pt x="1092" y="267"/>
                </a:cubicBezTo>
                <a:cubicBezTo>
                  <a:pt x="1091" y="267"/>
                  <a:pt x="1091" y="267"/>
                  <a:pt x="1090" y="267"/>
                </a:cubicBezTo>
                <a:cubicBezTo>
                  <a:pt x="1090" y="267"/>
                  <a:pt x="1090" y="267"/>
                  <a:pt x="1090" y="267"/>
                </a:cubicBezTo>
                <a:cubicBezTo>
                  <a:pt x="1089" y="267"/>
                  <a:pt x="1089" y="267"/>
                  <a:pt x="1089" y="267"/>
                </a:cubicBezTo>
                <a:cubicBezTo>
                  <a:pt x="1089" y="267"/>
                  <a:pt x="1088" y="267"/>
                  <a:pt x="1088" y="267"/>
                </a:cubicBezTo>
                <a:cubicBezTo>
                  <a:pt x="1088" y="268"/>
                  <a:pt x="1087" y="268"/>
                  <a:pt x="1087" y="268"/>
                </a:cubicBezTo>
                <a:cubicBezTo>
                  <a:pt x="1087" y="268"/>
                  <a:pt x="1086" y="268"/>
                  <a:pt x="1086" y="269"/>
                </a:cubicBezTo>
                <a:cubicBezTo>
                  <a:pt x="1086" y="269"/>
                  <a:pt x="1086" y="269"/>
                  <a:pt x="1086" y="269"/>
                </a:cubicBezTo>
                <a:cubicBezTo>
                  <a:pt x="1085" y="269"/>
                  <a:pt x="1085" y="269"/>
                  <a:pt x="1084" y="269"/>
                </a:cubicBezTo>
                <a:cubicBezTo>
                  <a:pt x="1084" y="269"/>
                  <a:pt x="1084" y="269"/>
                  <a:pt x="1084" y="269"/>
                </a:cubicBezTo>
                <a:cubicBezTo>
                  <a:pt x="1083" y="269"/>
                  <a:pt x="1083" y="269"/>
                  <a:pt x="1082" y="269"/>
                </a:cubicBezTo>
                <a:cubicBezTo>
                  <a:pt x="1082" y="269"/>
                  <a:pt x="1081" y="269"/>
                  <a:pt x="1081" y="269"/>
                </a:cubicBezTo>
                <a:cubicBezTo>
                  <a:pt x="1081" y="269"/>
                  <a:pt x="1081" y="269"/>
                  <a:pt x="1080" y="269"/>
                </a:cubicBezTo>
                <a:cubicBezTo>
                  <a:pt x="1080" y="269"/>
                  <a:pt x="1080" y="268"/>
                  <a:pt x="1080" y="268"/>
                </a:cubicBezTo>
                <a:cubicBezTo>
                  <a:pt x="1079" y="268"/>
                  <a:pt x="1079" y="268"/>
                  <a:pt x="1079" y="268"/>
                </a:cubicBezTo>
                <a:cubicBezTo>
                  <a:pt x="1079" y="268"/>
                  <a:pt x="1079" y="268"/>
                  <a:pt x="1079" y="268"/>
                </a:cubicBezTo>
                <a:cubicBezTo>
                  <a:pt x="1080" y="269"/>
                  <a:pt x="1080" y="269"/>
                  <a:pt x="1080" y="269"/>
                </a:cubicBezTo>
                <a:cubicBezTo>
                  <a:pt x="1080" y="269"/>
                  <a:pt x="1080" y="269"/>
                  <a:pt x="1080" y="269"/>
                </a:cubicBezTo>
                <a:cubicBezTo>
                  <a:pt x="1079" y="270"/>
                  <a:pt x="1079" y="270"/>
                  <a:pt x="1079" y="271"/>
                </a:cubicBezTo>
                <a:cubicBezTo>
                  <a:pt x="1078" y="271"/>
                  <a:pt x="1078" y="271"/>
                  <a:pt x="1078" y="271"/>
                </a:cubicBezTo>
                <a:cubicBezTo>
                  <a:pt x="1078" y="271"/>
                  <a:pt x="1078" y="270"/>
                  <a:pt x="1078" y="270"/>
                </a:cubicBezTo>
                <a:cubicBezTo>
                  <a:pt x="1078" y="270"/>
                  <a:pt x="1078" y="270"/>
                  <a:pt x="1078" y="270"/>
                </a:cubicBezTo>
                <a:cubicBezTo>
                  <a:pt x="1078" y="270"/>
                  <a:pt x="1079" y="270"/>
                  <a:pt x="1079" y="269"/>
                </a:cubicBezTo>
                <a:cubicBezTo>
                  <a:pt x="1079" y="269"/>
                  <a:pt x="1079" y="269"/>
                  <a:pt x="1079" y="269"/>
                </a:cubicBezTo>
                <a:cubicBezTo>
                  <a:pt x="1079" y="269"/>
                  <a:pt x="1079" y="269"/>
                  <a:pt x="1078" y="269"/>
                </a:cubicBezTo>
                <a:cubicBezTo>
                  <a:pt x="1078" y="269"/>
                  <a:pt x="1078" y="269"/>
                  <a:pt x="1078" y="269"/>
                </a:cubicBezTo>
                <a:cubicBezTo>
                  <a:pt x="1078" y="270"/>
                  <a:pt x="1077" y="270"/>
                  <a:pt x="1077" y="270"/>
                </a:cubicBezTo>
                <a:cubicBezTo>
                  <a:pt x="1076" y="270"/>
                  <a:pt x="1076" y="270"/>
                  <a:pt x="1076" y="270"/>
                </a:cubicBezTo>
                <a:cubicBezTo>
                  <a:pt x="1075" y="270"/>
                  <a:pt x="1075" y="271"/>
                  <a:pt x="1075" y="271"/>
                </a:cubicBezTo>
                <a:cubicBezTo>
                  <a:pt x="1075" y="271"/>
                  <a:pt x="1075" y="271"/>
                  <a:pt x="1074" y="271"/>
                </a:cubicBezTo>
                <a:cubicBezTo>
                  <a:pt x="1074" y="271"/>
                  <a:pt x="1074" y="270"/>
                  <a:pt x="1073" y="270"/>
                </a:cubicBezTo>
                <a:cubicBezTo>
                  <a:pt x="1073" y="270"/>
                  <a:pt x="1073" y="270"/>
                  <a:pt x="1073" y="271"/>
                </a:cubicBezTo>
                <a:cubicBezTo>
                  <a:pt x="1072" y="271"/>
                  <a:pt x="1072" y="270"/>
                  <a:pt x="1072" y="270"/>
                </a:cubicBezTo>
                <a:cubicBezTo>
                  <a:pt x="1072" y="270"/>
                  <a:pt x="1071" y="271"/>
                  <a:pt x="1071" y="271"/>
                </a:cubicBezTo>
                <a:cubicBezTo>
                  <a:pt x="1072" y="271"/>
                  <a:pt x="1072" y="271"/>
                  <a:pt x="1072" y="271"/>
                </a:cubicBezTo>
                <a:cubicBezTo>
                  <a:pt x="1073" y="271"/>
                  <a:pt x="1073" y="271"/>
                  <a:pt x="1074" y="271"/>
                </a:cubicBezTo>
                <a:cubicBezTo>
                  <a:pt x="1074" y="271"/>
                  <a:pt x="1074" y="271"/>
                  <a:pt x="1074" y="272"/>
                </a:cubicBezTo>
                <a:cubicBezTo>
                  <a:pt x="1075" y="272"/>
                  <a:pt x="1075" y="272"/>
                  <a:pt x="1075" y="272"/>
                </a:cubicBezTo>
                <a:cubicBezTo>
                  <a:pt x="1075" y="272"/>
                  <a:pt x="1075" y="272"/>
                  <a:pt x="1076" y="272"/>
                </a:cubicBezTo>
                <a:cubicBezTo>
                  <a:pt x="1076" y="272"/>
                  <a:pt x="1076" y="272"/>
                  <a:pt x="1076" y="272"/>
                </a:cubicBezTo>
                <a:cubicBezTo>
                  <a:pt x="1076" y="272"/>
                  <a:pt x="1076" y="273"/>
                  <a:pt x="1075" y="273"/>
                </a:cubicBezTo>
                <a:cubicBezTo>
                  <a:pt x="1075" y="273"/>
                  <a:pt x="1075" y="273"/>
                  <a:pt x="1075" y="273"/>
                </a:cubicBezTo>
                <a:cubicBezTo>
                  <a:pt x="1076" y="273"/>
                  <a:pt x="1076" y="273"/>
                  <a:pt x="1076" y="273"/>
                </a:cubicBezTo>
                <a:cubicBezTo>
                  <a:pt x="1076" y="273"/>
                  <a:pt x="1076" y="273"/>
                  <a:pt x="1076" y="273"/>
                </a:cubicBezTo>
                <a:cubicBezTo>
                  <a:pt x="1076" y="273"/>
                  <a:pt x="1076" y="273"/>
                  <a:pt x="1076" y="273"/>
                </a:cubicBezTo>
                <a:cubicBezTo>
                  <a:pt x="1076" y="273"/>
                  <a:pt x="1077" y="273"/>
                  <a:pt x="1077" y="273"/>
                </a:cubicBezTo>
                <a:cubicBezTo>
                  <a:pt x="1077" y="273"/>
                  <a:pt x="1077" y="273"/>
                  <a:pt x="1077" y="273"/>
                </a:cubicBezTo>
                <a:cubicBezTo>
                  <a:pt x="1078" y="274"/>
                  <a:pt x="1078" y="274"/>
                  <a:pt x="1078" y="274"/>
                </a:cubicBezTo>
                <a:cubicBezTo>
                  <a:pt x="1078" y="274"/>
                  <a:pt x="1078" y="275"/>
                  <a:pt x="1078" y="275"/>
                </a:cubicBezTo>
                <a:cubicBezTo>
                  <a:pt x="1079" y="275"/>
                  <a:pt x="1079" y="275"/>
                  <a:pt x="1079" y="275"/>
                </a:cubicBezTo>
                <a:cubicBezTo>
                  <a:pt x="1080" y="275"/>
                  <a:pt x="1080" y="275"/>
                  <a:pt x="1080" y="275"/>
                </a:cubicBezTo>
                <a:cubicBezTo>
                  <a:pt x="1079" y="274"/>
                  <a:pt x="1079" y="274"/>
                  <a:pt x="1078" y="274"/>
                </a:cubicBezTo>
                <a:cubicBezTo>
                  <a:pt x="1078" y="273"/>
                  <a:pt x="1077" y="272"/>
                  <a:pt x="1077" y="272"/>
                </a:cubicBezTo>
                <a:cubicBezTo>
                  <a:pt x="1076" y="272"/>
                  <a:pt x="1076" y="271"/>
                  <a:pt x="1076" y="271"/>
                </a:cubicBezTo>
                <a:cubicBezTo>
                  <a:pt x="1076" y="271"/>
                  <a:pt x="1076" y="271"/>
                  <a:pt x="1077" y="271"/>
                </a:cubicBezTo>
                <a:cubicBezTo>
                  <a:pt x="1077" y="271"/>
                  <a:pt x="1077" y="271"/>
                  <a:pt x="1077" y="272"/>
                </a:cubicBezTo>
                <a:cubicBezTo>
                  <a:pt x="1077" y="272"/>
                  <a:pt x="1078" y="272"/>
                  <a:pt x="1078" y="273"/>
                </a:cubicBezTo>
                <a:cubicBezTo>
                  <a:pt x="1078" y="273"/>
                  <a:pt x="1079" y="274"/>
                  <a:pt x="1080" y="275"/>
                </a:cubicBezTo>
                <a:cubicBezTo>
                  <a:pt x="1080" y="275"/>
                  <a:pt x="1080" y="275"/>
                  <a:pt x="1081" y="275"/>
                </a:cubicBezTo>
                <a:cubicBezTo>
                  <a:pt x="1081" y="275"/>
                  <a:pt x="1081" y="275"/>
                  <a:pt x="1082" y="274"/>
                </a:cubicBezTo>
                <a:cubicBezTo>
                  <a:pt x="1082" y="274"/>
                  <a:pt x="1082" y="274"/>
                  <a:pt x="1082" y="274"/>
                </a:cubicBezTo>
                <a:cubicBezTo>
                  <a:pt x="1083" y="275"/>
                  <a:pt x="1083" y="275"/>
                  <a:pt x="1083" y="275"/>
                </a:cubicBezTo>
                <a:cubicBezTo>
                  <a:pt x="1083" y="275"/>
                  <a:pt x="1084" y="274"/>
                  <a:pt x="1084" y="274"/>
                </a:cubicBezTo>
                <a:cubicBezTo>
                  <a:pt x="1084" y="274"/>
                  <a:pt x="1085" y="274"/>
                  <a:pt x="1085" y="274"/>
                </a:cubicBezTo>
                <a:cubicBezTo>
                  <a:pt x="1086" y="274"/>
                  <a:pt x="1086" y="274"/>
                  <a:pt x="1087" y="274"/>
                </a:cubicBezTo>
                <a:cubicBezTo>
                  <a:pt x="1087" y="274"/>
                  <a:pt x="1087" y="275"/>
                  <a:pt x="1086" y="275"/>
                </a:cubicBezTo>
                <a:cubicBezTo>
                  <a:pt x="1086" y="275"/>
                  <a:pt x="1086" y="275"/>
                  <a:pt x="1086" y="275"/>
                </a:cubicBezTo>
                <a:cubicBezTo>
                  <a:pt x="1086" y="275"/>
                  <a:pt x="1086" y="276"/>
                  <a:pt x="1086" y="276"/>
                </a:cubicBezTo>
                <a:cubicBezTo>
                  <a:pt x="1086" y="276"/>
                  <a:pt x="1086" y="276"/>
                  <a:pt x="1086" y="276"/>
                </a:cubicBezTo>
                <a:cubicBezTo>
                  <a:pt x="1085" y="276"/>
                  <a:pt x="1084" y="276"/>
                  <a:pt x="1084" y="276"/>
                </a:cubicBezTo>
                <a:cubicBezTo>
                  <a:pt x="1083" y="276"/>
                  <a:pt x="1082" y="276"/>
                  <a:pt x="1082" y="276"/>
                </a:cubicBezTo>
                <a:cubicBezTo>
                  <a:pt x="1081" y="276"/>
                  <a:pt x="1081" y="276"/>
                  <a:pt x="1080" y="276"/>
                </a:cubicBezTo>
                <a:cubicBezTo>
                  <a:pt x="1080" y="276"/>
                  <a:pt x="1080" y="277"/>
                  <a:pt x="1079" y="277"/>
                </a:cubicBezTo>
                <a:cubicBezTo>
                  <a:pt x="1079" y="277"/>
                  <a:pt x="1078" y="277"/>
                  <a:pt x="1078" y="277"/>
                </a:cubicBezTo>
                <a:cubicBezTo>
                  <a:pt x="1077" y="277"/>
                  <a:pt x="1076" y="278"/>
                  <a:pt x="1075" y="278"/>
                </a:cubicBezTo>
                <a:cubicBezTo>
                  <a:pt x="1074" y="278"/>
                  <a:pt x="1074" y="278"/>
                  <a:pt x="1073" y="278"/>
                </a:cubicBezTo>
                <a:cubicBezTo>
                  <a:pt x="1072" y="278"/>
                  <a:pt x="1072" y="278"/>
                  <a:pt x="1071" y="278"/>
                </a:cubicBezTo>
                <a:cubicBezTo>
                  <a:pt x="1071" y="278"/>
                  <a:pt x="1071" y="278"/>
                  <a:pt x="1070" y="278"/>
                </a:cubicBezTo>
                <a:cubicBezTo>
                  <a:pt x="1070" y="278"/>
                  <a:pt x="1070" y="277"/>
                  <a:pt x="1071" y="277"/>
                </a:cubicBezTo>
                <a:cubicBezTo>
                  <a:pt x="1071" y="277"/>
                  <a:pt x="1071" y="277"/>
                  <a:pt x="1071" y="276"/>
                </a:cubicBezTo>
                <a:cubicBezTo>
                  <a:pt x="1071" y="276"/>
                  <a:pt x="1071" y="276"/>
                  <a:pt x="1071" y="276"/>
                </a:cubicBezTo>
                <a:cubicBezTo>
                  <a:pt x="1071" y="275"/>
                  <a:pt x="1070" y="275"/>
                  <a:pt x="1070" y="274"/>
                </a:cubicBezTo>
                <a:cubicBezTo>
                  <a:pt x="1069" y="275"/>
                  <a:pt x="1069" y="275"/>
                  <a:pt x="1069" y="275"/>
                </a:cubicBezTo>
                <a:cubicBezTo>
                  <a:pt x="1069" y="274"/>
                  <a:pt x="1068" y="274"/>
                  <a:pt x="1068" y="274"/>
                </a:cubicBezTo>
                <a:cubicBezTo>
                  <a:pt x="1068" y="274"/>
                  <a:pt x="1067" y="274"/>
                  <a:pt x="1067" y="274"/>
                </a:cubicBezTo>
                <a:cubicBezTo>
                  <a:pt x="1067" y="274"/>
                  <a:pt x="1066" y="274"/>
                  <a:pt x="1066" y="274"/>
                </a:cubicBezTo>
                <a:cubicBezTo>
                  <a:pt x="1067" y="274"/>
                  <a:pt x="1067" y="273"/>
                  <a:pt x="1067" y="273"/>
                </a:cubicBezTo>
                <a:cubicBezTo>
                  <a:pt x="1068" y="273"/>
                  <a:pt x="1069" y="273"/>
                  <a:pt x="1069" y="272"/>
                </a:cubicBezTo>
                <a:cubicBezTo>
                  <a:pt x="1070" y="272"/>
                  <a:pt x="1070" y="272"/>
                  <a:pt x="1071" y="272"/>
                </a:cubicBezTo>
                <a:cubicBezTo>
                  <a:pt x="1071" y="272"/>
                  <a:pt x="1071" y="272"/>
                  <a:pt x="1071" y="272"/>
                </a:cubicBezTo>
                <a:cubicBezTo>
                  <a:pt x="1071" y="272"/>
                  <a:pt x="1071" y="272"/>
                  <a:pt x="1071" y="272"/>
                </a:cubicBezTo>
                <a:cubicBezTo>
                  <a:pt x="1071" y="271"/>
                  <a:pt x="1071" y="271"/>
                  <a:pt x="1071" y="271"/>
                </a:cubicBezTo>
                <a:cubicBezTo>
                  <a:pt x="1070" y="271"/>
                  <a:pt x="1070" y="270"/>
                  <a:pt x="1070" y="270"/>
                </a:cubicBezTo>
                <a:cubicBezTo>
                  <a:pt x="1070" y="271"/>
                  <a:pt x="1070" y="271"/>
                  <a:pt x="1070" y="271"/>
                </a:cubicBezTo>
                <a:cubicBezTo>
                  <a:pt x="1069" y="271"/>
                  <a:pt x="1069" y="271"/>
                  <a:pt x="1069" y="271"/>
                </a:cubicBezTo>
                <a:cubicBezTo>
                  <a:pt x="1068" y="270"/>
                  <a:pt x="1068" y="270"/>
                  <a:pt x="1068" y="270"/>
                </a:cubicBezTo>
                <a:cubicBezTo>
                  <a:pt x="1067" y="270"/>
                  <a:pt x="1067" y="270"/>
                  <a:pt x="1066" y="270"/>
                </a:cubicBezTo>
                <a:cubicBezTo>
                  <a:pt x="1066" y="270"/>
                  <a:pt x="1066" y="270"/>
                  <a:pt x="1065" y="270"/>
                </a:cubicBezTo>
                <a:cubicBezTo>
                  <a:pt x="1065" y="270"/>
                  <a:pt x="1065" y="270"/>
                  <a:pt x="1064" y="270"/>
                </a:cubicBezTo>
                <a:cubicBezTo>
                  <a:pt x="1064" y="270"/>
                  <a:pt x="1064" y="270"/>
                  <a:pt x="1063" y="270"/>
                </a:cubicBezTo>
                <a:cubicBezTo>
                  <a:pt x="1063" y="270"/>
                  <a:pt x="1063" y="270"/>
                  <a:pt x="1063" y="269"/>
                </a:cubicBezTo>
                <a:cubicBezTo>
                  <a:pt x="1063" y="269"/>
                  <a:pt x="1063" y="269"/>
                  <a:pt x="1063" y="269"/>
                </a:cubicBezTo>
                <a:cubicBezTo>
                  <a:pt x="1063" y="269"/>
                  <a:pt x="1063" y="269"/>
                  <a:pt x="1064" y="269"/>
                </a:cubicBezTo>
                <a:cubicBezTo>
                  <a:pt x="1063" y="269"/>
                  <a:pt x="1063" y="269"/>
                  <a:pt x="1062" y="268"/>
                </a:cubicBezTo>
                <a:cubicBezTo>
                  <a:pt x="1061" y="268"/>
                  <a:pt x="1061" y="268"/>
                  <a:pt x="1060" y="268"/>
                </a:cubicBezTo>
                <a:cubicBezTo>
                  <a:pt x="1060" y="268"/>
                  <a:pt x="1060" y="268"/>
                  <a:pt x="1060" y="268"/>
                </a:cubicBezTo>
                <a:cubicBezTo>
                  <a:pt x="1060" y="268"/>
                  <a:pt x="1060" y="268"/>
                  <a:pt x="1061" y="268"/>
                </a:cubicBezTo>
                <a:cubicBezTo>
                  <a:pt x="1061" y="268"/>
                  <a:pt x="1062" y="268"/>
                  <a:pt x="1063" y="268"/>
                </a:cubicBezTo>
                <a:cubicBezTo>
                  <a:pt x="1063" y="268"/>
                  <a:pt x="1063" y="268"/>
                  <a:pt x="1064" y="268"/>
                </a:cubicBezTo>
                <a:cubicBezTo>
                  <a:pt x="1064" y="268"/>
                  <a:pt x="1064" y="268"/>
                  <a:pt x="1064" y="268"/>
                </a:cubicBezTo>
                <a:cubicBezTo>
                  <a:pt x="1065" y="268"/>
                  <a:pt x="1065" y="268"/>
                  <a:pt x="1066" y="268"/>
                </a:cubicBezTo>
                <a:cubicBezTo>
                  <a:pt x="1065" y="268"/>
                  <a:pt x="1064" y="268"/>
                  <a:pt x="1064" y="268"/>
                </a:cubicBezTo>
                <a:cubicBezTo>
                  <a:pt x="1064" y="268"/>
                  <a:pt x="1063" y="268"/>
                  <a:pt x="1063" y="267"/>
                </a:cubicBezTo>
                <a:cubicBezTo>
                  <a:pt x="1063" y="267"/>
                  <a:pt x="1063" y="267"/>
                  <a:pt x="1062" y="267"/>
                </a:cubicBezTo>
                <a:cubicBezTo>
                  <a:pt x="1062" y="267"/>
                  <a:pt x="1062" y="267"/>
                  <a:pt x="1062" y="267"/>
                </a:cubicBezTo>
                <a:cubicBezTo>
                  <a:pt x="1062" y="267"/>
                  <a:pt x="1062" y="267"/>
                  <a:pt x="1062" y="267"/>
                </a:cubicBezTo>
                <a:cubicBezTo>
                  <a:pt x="1061" y="267"/>
                  <a:pt x="1061" y="267"/>
                  <a:pt x="1061" y="268"/>
                </a:cubicBezTo>
                <a:cubicBezTo>
                  <a:pt x="1061" y="267"/>
                  <a:pt x="1060" y="267"/>
                  <a:pt x="1060" y="267"/>
                </a:cubicBezTo>
                <a:cubicBezTo>
                  <a:pt x="1060" y="267"/>
                  <a:pt x="1060" y="267"/>
                  <a:pt x="1060" y="267"/>
                </a:cubicBezTo>
                <a:cubicBezTo>
                  <a:pt x="1060" y="267"/>
                  <a:pt x="1060" y="267"/>
                  <a:pt x="1060" y="267"/>
                </a:cubicBezTo>
                <a:cubicBezTo>
                  <a:pt x="1059" y="267"/>
                  <a:pt x="1059" y="267"/>
                  <a:pt x="1058" y="268"/>
                </a:cubicBezTo>
                <a:cubicBezTo>
                  <a:pt x="1058" y="268"/>
                  <a:pt x="1058" y="268"/>
                  <a:pt x="1057" y="268"/>
                </a:cubicBezTo>
                <a:cubicBezTo>
                  <a:pt x="1057" y="268"/>
                  <a:pt x="1057" y="268"/>
                  <a:pt x="1056" y="268"/>
                </a:cubicBezTo>
                <a:cubicBezTo>
                  <a:pt x="1056" y="268"/>
                  <a:pt x="1056" y="269"/>
                  <a:pt x="1056" y="269"/>
                </a:cubicBezTo>
                <a:cubicBezTo>
                  <a:pt x="1056" y="269"/>
                  <a:pt x="1056" y="270"/>
                  <a:pt x="1055" y="270"/>
                </a:cubicBezTo>
                <a:cubicBezTo>
                  <a:pt x="1055" y="270"/>
                  <a:pt x="1055" y="270"/>
                  <a:pt x="1055" y="270"/>
                </a:cubicBezTo>
                <a:cubicBezTo>
                  <a:pt x="1055" y="270"/>
                  <a:pt x="1055" y="270"/>
                  <a:pt x="1055" y="270"/>
                </a:cubicBezTo>
                <a:cubicBezTo>
                  <a:pt x="1054" y="271"/>
                  <a:pt x="1053" y="271"/>
                  <a:pt x="1053" y="272"/>
                </a:cubicBezTo>
                <a:cubicBezTo>
                  <a:pt x="1052" y="272"/>
                  <a:pt x="1052" y="272"/>
                  <a:pt x="1052" y="272"/>
                </a:cubicBezTo>
                <a:cubicBezTo>
                  <a:pt x="1052" y="272"/>
                  <a:pt x="1052" y="272"/>
                  <a:pt x="1052" y="271"/>
                </a:cubicBezTo>
                <a:cubicBezTo>
                  <a:pt x="1052" y="272"/>
                  <a:pt x="1052" y="272"/>
                  <a:pt x="1052" y="272"/>
                </a:cubicBezTo>
                <a:cubicBezTo>
                  <a:pt x="1051" y="272"/>
                  <a:pt x="1051" y="272"/>
                  <a:pt x="1051" y="272"/>
                </a:cubicBezTo>
                <a:cubicBezTo>
                  <a:pt x="1052" y="272"/>
                  <a:pt x="1052" y="273"/>
                  <a:pt x="1052" y="273"/>
                </a:cubicBezTo>
                <a:cubicBezTo>
                  <a:pt x="1052" y="273"/>
                  <a:pt x="1052" y="273"/>
                  <a:pt x="1052" y="273"/>
                </a:cubicBezTo>
                <a:cubicBezTo>
                  <a:pt x="1052" y="273"/>
                  <a:pt x="1052" y="273"/>
                  <a:pt x="1052" y="273"/>
                </a:cubicBezTo>
                <a:cubicBezTo>
                  <a:pt x="1051" y="274"/>
                  <a:pt x="1051" y="274"/>
                  <a:pt x="1051" y="274"/>
                </a:cubicBezTo>
                <a:cubicBezTo>
                  <a:pt x="1051" y="274"/>
                  <a:pt x="1051" y="274"/>
                  <a:pt x="1052" y="274"/>
                </a:cubicBezTo>
                <a:cubicBezTo>
                  <a:pt x="1052" y="274"/>
                  <a:pt x="1052" y="274"/>
                  <a:pt x="1052" y="275"/>
                </a:cubicBezTo>
                <a:cubicBezTo>
                  <a:pt x="1051" y="275"/>
                  <a:pt x="1051" y="275"/>
                  <a:pt x="1051" y="276"/>
                </a:cubicBezTo>
                <a:cubicBezTo>
                  <a:pt x="1050" y="276"/>
                  <a:pt x="1050" y="276"/>
                  <a:pt x="1050" y="276"/>
                </a:cubicBezTo>
                <a:cubicBezTo>
                  <a:pt x="1049" y="276"/>
                  <a:pt x="1048" y="276"/>
                  <a:pt x="1048" y="276"/>
                </a:cubicBezTo>
                <a:cubicBezTo>
                  <a:pt x="1048" y="276"/>
                  <a:pt x="1047" y="276"/>
                  <a:pt x="1047" y="276"/>
                </a:cubicBezTo>
                <a:cubicBezTo>
                  <a:pt x="1047" y="277"/>
                  <a:pt x="1047" y="277"/>
                  <a:pt x="1047" y="277"/>
                </a:cubicBezTo>
                <a:cubicBezTo>
                  <a:pt x="1047" y="277"/>
                  <a:pt x="1047" y="277"/>
                  <a:pt x="1047" y="277"/>
                </a:cubicBezTo>
                <a:cubicBezTo>
                  <a:pt x="1047" y="278"/>
                  <a:pt x="1047" y="278"/>
                  <a:pt x="1047" y="279"/>
                </a:cubicBezTo>
                <a:cubicBezTo>
                  <a:pt x="1047" y="279"/>
                  <a:pt x="1046" y="279"/>
                  <a:pt x="1046" y="279"/>
                </a:cubicBezTo>
                <a:cubicBezTo>
                  <a:pt x="1046" y="279"/>
                  <a:pt x="1047" y="280"/>
                  <a:pt x="1047" y="280"/>
                </a:cubicBezTo>
                <a:cubicBezTo>
                  <a:pt x="1047" y="280"/>
                  <a:pt x="1047" y="280"/>
                  <a:pt x="1047" y="280"/>
                </a:cubicBezTo>
                <a:cubicBezTo>
                  <a:pt x="1047" y="281"/>
                  <a:pt x="1046" y="281"/>
                  <a:pt x="1046" y="282"/>
                </a:cubicBezTo>
                <a:cubicBezTo>
                  <a:pt x="1046" y="282"/>
                  <a:pt x="1046" y="282"/>
                  <a:pt x="1046" y="282"/>
                </a:cubicBezTo>
                <a:cubicBezTo>
                  <a:pt x="1045" y="282"/>
                  <a:pt x="1045" y="282"/>
                  <a:pt x="1045" y="282"/>
                </a:cubicBezTo>
                <a:cubicBezTo>
                  <a:pt x="1044" y="282"/>
                  <a:pt x="1044" y="282"/>
                  <a:pt x="1043" y="283"/>
                </a:cubicBezTo>
                <a:cubicBezTo>
                  <a:pt x="1043" y="283"/>
                  <a:pt x="1043" y="284"/>
                  <a:pt x="1043" y="284"/>
                </a:cubicBezTo>
                <a:cubicBezTo>
                  <a:pt x="1043" y="285"/>
                  <a:pt x="1043" y="285"/>
                  <a:pt x="1043" y="285"/>
                </a:cubicBezTo>
                <a:cubicBezTo>
                  <a:pt x="1042" y="285"/>
                  <a:pt x="1042" y="286"/>
                  <a:pt x="1041" y="286"/>
                </a:cubicBezTo>
                <a:cubicBezTo>
                  <a:pt x="1041" y="286"/>
                  <a:pt x="1041" y="286"/>
                  <a:pt x="1042" y="286"/>
                </a:cubicBezTo>
                <a:cubicBezTo>
                  <a:pt x="1042" y="286"/>
                  <a:pt x="1042" y="286"/>
                  <a:pt x="1042" y="286"/>
                </a:cubicBezTo>
                <a:cubicBezTo>
                  <a:pt x="1043" y="287"/>
                  <a:pt x="1043" y="287"/>
                  <a:pt x="1043" y="287"/>
                </a:cubicBezTo>
                <a:cubicBezTo>
                  <a:pt x="1044" y="288"/>
                  <a:pt x="1044" y="288"/>
                  <a:pt x="1044" y="288"/>
                </a:cubicBezTo>
                <a:cubicBezTo>
                  <a:pt x="1044" y="288"/>
                  <a:pt x="1044" y="288"/>
                  <a:pt x="1044" y="288"/>
                </a:cubicBezTo>
                <a:cubicBezTo>
                  <a:pt x="1044" y="289"/>
                  <a:pt x="1044" y="289"/>
                  <a:pt x="1044" y="290"/>
                </a:cubicBezTo>
                <a:cubicBezTo>
                  <a:pt x="1045" y="290"/>
                  <a:pt x="1045" y="290"/>
                  <a:pt x="1046" y="291"/>
                </a:cubicBezTo>
                <a:cubicBezTo>
                  <a:pt x="1046" y="291"/>
                  <a:pt x="1047" y="291"/>
                  <a:pt x="1047" y="291"/>
                </a:cubicBezTo>
                <a:cubicBezTo>
                  <a:pt x="1047" y="291"/>
                  <a:pt x="1048" y="292"/>
                  <a:pt x="1048" y="292"/>
                </a:cubicBezTo>
                <a:cubicBezTo>
                  <a:pt x="1049" y="292"/>
                  <a:pt x="1049" y="292"/>
                  <a:pt x="1049" y="292"/>
                </a:cubicBezTo>
                <a:cubicBezTo>
                  <a:pt x="1049" y="293"/>
                  <a:pt x="1049" y="293"/>
                  <a:pt x="1049" y="293"/>
                </a:cubicBezTo>
                <a:cubicBezTo>
                  <a:pt x="1049" y="293"/>
                  <a:pt x="1049" y="293"/>
                  <a:pt x="1048" y="293"/>
                </a:cubicBezTo>
                <a:cubicBezTo>
                  <a:pt x="1048" y="293"/>
                  <a:pt x="1047" y="293"/>
                  <a:pt x="1047" y="293"/>
                </a:cubicBezTo>
                <a:cubicBezTo>
                  <a:pt x="1047" y="293"/>
                  <a:pt x="1046" y="293"/>
                  <a:pt x="1046" y="293"/>
                </a:cubicBezTo>
                <a:cubicBezTo>
                  <a:pt x="1046" y="293"/>
                  <a:pt x="1045" y="293"/>
                  <a:pt x="1045" y="293"/>
                </a:cubicBezTo>
                <a:cubicBezTo>
                  <a:pt x="1045" y="293"/>
                  <a:pt x="1045" y="293"/>
                  <a:pt x="1044" y="293"/>
                </a:cubicBezTo>
                <a:cubicBezTo>
                  <a:pt x="1044" y="293"/>
                  <a:pt x="1043" y="293"/>
                  <a:pt x="1043" y="293"/>
                </a:cubicBezTo>
                <a:cubicBezTo>
                  <a:pt x="1042" y="293"/>
                  <a:pt x="1042" y="293"/>
                  <a:pt x="1042" y="293"/>
                </a:cubicBezTo>
                <a:cubicBezTo>
                  <a:pt x="1041" y="294"/>
                  <a:pt x="1041" y="294"/>
                  <a:pt x="1041" y="294"/>
                </a:cubicBezTo>
                <a:cubicBezTo>
                  <a:pt x="1040" y="295"/>
                  <a:pt x="1039" y="295"/>
                  <a:pt x="1038" y="295"/>
                </a:cubicBezTo>
                <a:cubicBezTo>
                  <a:pt x="1037" y="296"/>
                  <a:pt x="1037" y="296"/>
                  <a:pt x="1036" y="296"/>
                </a:cubicBezTo>
                <a:cubicBezTo>
                  <a:pt x="1036" y="296"/>
                  <a:pt x="1036" y="296"/>
                  <a:pt x="1036" y="296"/>
                </a:cubicBezTo>
                <a:cubicBezTo>
                  <a:pt x="1036" y="295"/>
                  <a:pt x="1036" y="295"/>
                  <a:pt x="1036" y="295"/>
                </a:cubicBezTo>
                <a:cubicBezTo>
                  <a:pt x="1037" y="295"/>
                  <a:pt x="1037" y="295"/>
                  <a:pt x="1037" y="295"/>
                </a:cubicBezTo>
                <a:cubicBezTo>
                  <a:pt x="1037" y="295"/>
                  <a:pt x="1038" y="294"/>
                  <a:pt x="1038" y="294"/>
                </a:cubicBezTo>
                <a:cubicBezTo>
                  <a:pt x="1038" y="294"/>
                  <a:pt x="1037" y="294"/>
                  <a:pt x="1037" y="294"/>
                </a:cubicBezTo>
                <a:cubicBezTo>
                  <a:pt x="1037" y="294"/>
                  <a:pt x="1037" y="294"/>
                  <a:pt x="1036" y="294"/>
                </a:cubicBezTo>
                <a:cubicBezTo>
                  <a:pt x="1036" y="294"/>
                  <a:pt x="1036" y="294"/>
                  <a:pt x="1036" y="294"/>
                </a:cubicBezTo>
                <a:cubicBezTo>
                  <a:pt x="1035" y="294"/>
                  <a:pt x="1035" y="294"/>
                  <a:pt x="1035" y="294"/>
                </a:cubicBezTo>
                <a:cubicBezTo>
                  <a:pt x="1035" y="294"/>
                  <a:pt x="1035" y="293"/>
                  <a:pt x="1035" y="293"/>
                </a:cubicBezTo>
                <a:cubicBezTo>
                  <a:pt x="1034" y="293"/>
                  <a:pt x="1034" y="293"/>
                  <a:pt x="1034" y="293"/>
                </a:cubicBezTo>
                <a:cubicBezTo>
                  <a:pt x="1034" y="293"/>
                  <a:pt x="1033" y="293"/>
                  <a:pt x="1033" y="293"/>
                </a:cubicBezTo>
                <a:cubicBezTo>
                  <a:pt x="1032" y="293"/>
                  <a:pt x="1031" y="293"/>
                  <a:pt x="1031" y="293"/>
                </a:cubicBezTo>
                <a:cubicBezTo>
                  <a:pt x="1030" y="292"/>
                  <a:pt x="1030" y="292"/>
                  <a:pt x="1030" y="292"/>
                </a:cubicBezTo>
                <a:cubicBezTo>
                  <a:pt x="1030" y="292"/>
                  <a:pt x="1030" y="292"/>
                  <a:pt x="1029" y="292"/>
                </a:cubicBezTo>
                <a:cubicBezTo>
                  <a:pt x="1029" y="292"/>
                  <a:pt x="1029" y="292"/>
                  <a:pt x="1029" y="292"/>
                </a:cubicBezTo>
                <a:cubicBezTo>
                  <a:pt x="1029" y="293"/>
                  <a:pt x="1029" y="293"/>
                  <a:pt x="1028" y="293"/>
                </a:cubicBezTo>
                <a:cubicBezTo>
                  <a:pt x="1028" y="293"/>
                  <a:pt x="1028" y="293"/>
                  <a:pt x="1028" y="293"/>
                </a:cubicBezTo>
                <a:cubicBezTo>
                  <a:pt x="1027" y="293"/>
                  <a:pt x="1027" y="293"/>
                  <a:pt x="1026" y="292"/>
                </a:cubicBezTo>
                <a:cubicBezTo>
                  <a:pt x="1026" y="292"/>
                  <a:pt x="1026" y="292"/>
                  <a:pt x="1026" y="292"/>
                </a:cubicBezTo>
                <a:cubicBezTo>
                  <a:pt x="1025" y="293"/>
                  <a:pt x="1025" y="293"/>
                  <a:pt x="1025" y="293"/>
                </a:cubicBezTo>
                <a:cubicBezTo>
                  <a:pt x="1025" y="294"/>
                  <a:pt x="1025" y="294"/>
                  <a:pt x="1024" y="294"/>
                </a:cubicBezTo>
                <a:cubicBezTo>
                  <a:pt x="1024" y="294"/>
                  <a:pt x="1024" y="294"/>
                  <a:pt x="1023" y="293"/>
                </a:cubicBezTo>
                <a:cubicBezTo>
                  <a:pt x="1023" y="294"/>
                  <a:pt x="1023" y="294"/>
                  <a:pt x="1023" y="294"/>
                </a:cubicBezTo>
                <a:cubicBezTo>
                  <a:pt x="1023" y="294"/>
                  <a:pt x="1023" y="294"/>
                  <a:pt x="1024" y="295"/>
                </a:cubicBezTo>
                <a:cubicBezTo>
                  <a:pt x="1024" y="295"/>
                  <a:pt x="1024" y="295"/>
                  <a:pt x="1025" y="295"/>
                </a:cubicBezTo>
                <a:cubicBezTo>
                  <a:pt x="1025" y="295"/>
                  <a:pt x="1026" y="295"/>
                  <a:pt x="1026" y="296"/>
                </a:cubicBezTo>
                <a:cubicBezTo>
                  <a:pt x="1026" y="296"/>
                  <a:pt x="1026" y="296"/>
                  <a:pt x="1026" y="296"/>
                </a:cubicBezTo>
                <a:cubicBezTo>
                  <a:pt x="1025" y="296"/>
                  <a:pt x="1025" y="296"/>
                  <a:pt x="1025" y="295"/>
                </a:cubicBezTo>
                <a:cubicBezTo>
                  <a:pt x="1024" y="295"/>
                  <a:pt x="1024" y="295"/>
                  <a:pt x="1023" y="295"/>
                </a:cubicBezTo>
                <a:cubicBezTo>
                  <a:pt x="1023" y="295"/>
                  <a:pt x="1023" y="295"/>
                  <a:pt x="1023" y="296"/>
                </a:cubicBezTo>
                <a:cubicBezTo>
                  <a:pt x="1023" y="296"/>
                  <a:pt x="1023" y="296"/>
                  <a:pt x="1024" y="296"/>
                </a:cubicBezTo>
                <a:cubicBezTo>
                  <a:pt x="1024" y="296"/>
                  <a:pt x="1024" y="296"/>
                  <a:pt x="1024" y="296"/>
                </a:cubicBezTo>
                <a:cubicBezTo>
                  <a:pt x="1024" y="296"/>
                  <a:pt x="1024" y="297"/>
                  <a:pt x="1024" y="297"/>
                </a:cubicBezTo>
                <a:cubicBezTo>
                  <a:pt x="1024" y="297"/>
                  <a:pt x="1023" y="297"/>
                  <a:pt x="1023" y="297"/>
                </a:cubicBezTo>
                <a:cubicBezTo>
                  <a:pt x="1023" y="296"/>
                  <a:pt x="1023" y="296"/>
                  <a:pt x="1022" y="296"/>
                </a:cubicBezTo>
                <a:cubicBezTo>
                  <a:pt x="1022" y="296"/>
                  <a:pt x="1022" y="295"/>
                  <a:pt x="1021" y="295"/>
                </a:cubicBezTo>
                <a:cubicBezTo>
                  <a:pt x="1021" y="296"/>
                  <a:pt x="1021" y="296"/>
                  <a:pt x="1021" y="296"/>
                </a:cubicBezTo>
                <a:cubicBezTo>
                  <a:pt x="1021" y="296"/>
                  <a:pt x="1021" y="296"/>
                  <a:pt x="1022" y="296"/>
                </a:cubicBezTo>
                <a:cubicBezTo>
                  <a:pt x="1022" y="297"/>
                  <a:pt x="1022" y="297"/>
                  <a:pt x="1022" y="297"/>
                </a:cubicBezTo>
                <a:cubicBezTo>
                  <a:pt x="1022" y="297"/>
                  <a:pt x="1022" y="297"/>
                  <a:pt x="1021" y="297"/>
                </a:cubicBezTo>
                <a:cubicBezTo>
                  <a:pt x="1021" y="297"/>
                  <a:pt x="1020" y="296"/>
                  <a:pt x="1020" y="296"/>
                </a:cubicBezTo>
                <a:cubicBezTo>
                  <a:pt x="1020" y="296"/>
                  <a:pt x="1020" y="296"/>
                  <a:pt x="1020" y="295"/>
                </a:cubicBezTo>
                <a:cubicBezTo>
                  <a:pt x="1019" y="295"/>
                  <a:pt x="1019" y="295"/>
                  <a:pt x="1018" y="295"/>
                </a:cubicBezTo>
                <a:cubicBezTo>
                  <a:pt x="1018" y="295"/>
                  <a:pt x="1018" y="294"/>
                  <a:pt x="1018" y="294"/>
                </a:cubicBezTo>
                <a:cubicBezTo>
                  <a:pt x="1018" y="294"/>
                  <a:pt x="1019" y="294"/>
                  <a:pt x="1019" y="294"/>
                </a:cubicBezTo>
                <a:cubicBezTo>
                  <a:pt x="1019" y="294"/>
                  <a:pt x="1019" y="294"/>
                  <a:pt x="1019" y="294"/>
                </a:cubicBezTo>
                <a:cubicBezTo>
                  <a:pt x="1018" y="294"/>
                  <a:pt x="1018" y="294"/>
                  <a:pt x="1017" y="294"/>
                </a:cubicBezTo>
                <a:cubicBezTo>
                  <a:pt x="1017" y="294"/>
                  <a:pt x="1017" y="294"/>
                  <a:pt x="1017" y="294"/>
                </a:cubicBezTo>
                <a:cubicBezTo>
                  <a:pt x="1017" y="295"/>
                  <a:pt x="1017" y="295"/>
                  <a:pt x="1017" y="296"/>
                </a:cubicBezTo>
                <a:cubicBezTo>
                  <a:pt x="1017" y="296"/>
                  <a:pt x="1017" y="296"/>
                  <a:pt x="1016" y="296"/>
                </a:cubicBezTo>
                <a:cubicBezTo>
                  <a:pt x="1017" y="297"/>
                  <a:pt x="1017" y="297"/>
                  <a:pt x="1018" y="297"/>
                </a:cubicBezTo>
                <a:cubicBezTo>
                  <a:pt x="1018" y="297"/>
                  <a:pt x="1018" y="297"/>
                  <a:pt x="1018" y="298"/>
                </a:cubicBezTo>
                <a:cubicBezTo>
                  <a:pt x="1018" y="298"/>
                  <a:pt x="1018" y="298"/>
                  <a:pt x="1018" y="298"/>
                </a:cubicBezTo>
                <a:cubicBezTo>
                  <a:pt x="1019" y="298"/>
                  <a:pt x="1019" y="299"/>
                  <a:pt x="1020" y="299"/>
                </a:cubicBezTo>
                <a:cubicBezTo>
                  <a:pt x="1020" y="300"/>
                  <a:pt x="1020" y="300"/>
                  <a:pt x="1021" y="300"/>
                </a:cubicBezTo>
                <a:cubicBezTo>
                  <a:pt x="1021" y="300"/>
                  <a:pt x="1020" y="301"/>
                  <a:pt x="1020" y="301"/>
                </a:cubicBezTo>
                <a:cubicBezTo>
                  <a:pt x="1020" y="301"/>
                  <a:pt x="1020" y="301"/>
                  <a:pt x="1020" y="301"/>
                </a:cubicBezTo>
                <a:cubicBezTo>
                  <a:pt x="1020" y="301"/>
                  <a:pt x="1020" y="301"/>
                  <a:pt x="1020" y="301"/>
                </a:cubicBezTo>
                <a:cubicBezTo>
                  <a:pt x="1020" y="300"/>
                  <a:pt x="1020" y="300"/>
                  <a:pt x="1020" y="300"/>
                </a:cubicBezTo>
                <a:cubicBezTo>
                  <a:pt x="1020" y="300"/>
                  <a:pt x="1019" y="300"/>
                  <a:pt x="1019" y="300"/>
                </a:cubicBezTo>
                <a:cubicBezTo>
                  <a:pt x="1019" y="300"/>
                  <a:pt x="1019" y="300"/>
                  <a:pt x="1018" y="300"/>
                </a:cubicBezTo>
                <a:cubicBezTo>
                  <a:pt x="1018" y="300"/>
                  <a:pt x="1018" y="300"/>
                  <a:pt x="1018" y="300"/>
                </a:cubicBezTo>
                <a:cubicBezTo>
                  <a:pt x="1018" y="300"/>
                  <a:pt x="1018" y="300"/>
                  <a:pt x="1018" y="300"/>
                </a:cubicBezTo>
                <a:cubicBezTo>
                  <a:pt x="1018" y="301"/>
                  <a:pt x="1019" y="301"/>
                  <a:pt x="1019" y="301"/>
                </a:cubicBezTo>
                <a:cubicBezTo>
                  <a:pt x="1019" y="301"/>
                  <a:pt x="1019" y="301"/>
                  <a:pt x="1019" y="301"/>
                </a:cubicBezTo>
                <a:cubicBezTo>
                  <a:pt x="1019" y="301"/>
                  <a:pt x="1019" y="301"/>
                  <a:pt x="1018" y="302"/>
                </a:cubicBezTo>
                <a:cubicBezTo>
                  <a:pt x="1018" y="302"/>
                  <a:pt x="1018" y="302"/>
                  <a:pt x="1017" y="302"/>
                </a:cubicBezTo>
                <a:cubicBezTo>
                  <a:pt x="1017" y="302"/>
                  <a:pt x="1018" y="302"/>
                  <a:pt x="1018" y="302"/>
                </a:cubicBezTo>
                <a:cubicBezTo>
                  <a:pt x="1019" y="302"/>
                  <a:pt x="1019" y="302"/>
                  <a:pt x="1019" y="302"/>
                </a:cubicBezTo>
                <a:cubicBezTo>
                  <a:pt x="1019" y="303"/>
                  <a:pt x="1019" y="303"/>
                  <a:pt x="1020" y="303"/>
                </a:cubicBezTo>
                <a:cubicBezTo>
                  <a:pt x="1020" y="303"/>
                  <a:pt x="1020" y="303"/>
                  <a:pt x="1020" y="303"/>
                </a:cubicBezTo>
                <a:cubicBezTo>
                  <a:pt x="1020" y="303"/>
                  <a:pt x="1021" y="303"/>
                  <a:pt x="1021" y="303"/>
                </a:cubicBezTo>
                <a:cubicBezTo>
                  <a:pt x="1021" y="303"/>
                  <a:pt x="1021" y="303"/>
                  <a:pt x="1021" y="303"/>
                </a:cubicBezTo>
                <a:cubicBezTo>
                  <a:pt x="1022" y="304"/>
                  <a:pt x="1023" y="304"/>
                  <a:pt x="1024" y="305"/>
                </a:cubicBezTo>
                <a:cubicBezTo>
                  <a:pt x="1024" y="305"/>
                  <a:pt x="1024" y="305"/>
                  <a:pt x="1024" y="305"/>
                </a:cubicBezTo>
                <a:cubicBezTo>
                  <a:pt x="1024" y="305"/>
                  <a:pt x="1024" y="306"/>
                  <a:pt x="1024" y="306"/>
                </a:cubicBezTo>
                <a:cubicBezTo>
                  <a:pt x="1024" y="306"/>
                  <a:pt x="1024" y="307"/>
                  <a:pt x="1025" y="307"/>
                </a:cubicBezTo>
                <a:cubicBezTo>
                  <a:pt x="1025" y="307"/>
                  <a:pt x="1025" y="307"/>
                  <a:pt x="1024" y="307"/>
                </a:cubicBezTo>
                <a:cubicBezTo>
                  <a:pt x="1024" y="307"/>
                  <a:pt x="1024" y="307"/>
                  <a:pt x="1023" y="307"/>
                </a:cubicBezTo>
                <a:cubicBezTo>
                  <a:pt x="1023" y="307"/>
                  <a:pt x="1023" y="307"/>
                  <a:pt x="1023" y="307"/>
                </a:cubicBezTo>
                <a:cubicBezTo>
                  <a:pt x="1023" y="307"/>
                  <a:pt x="1022" y="306"/>
                  <a:pt x="1022" y="306"/>
                </a:cubicBezTo>
                <a:cubicBezTo>
                  <a:pt x="1022" y="306"/>
                  <a:pt x="1021" y="306"/>
                  <a:pt x="1021" y="306"/>
                </a:cubicBezTo>
                <a:cubicBezTo>
                  <a:pt x="1021" y="306"/>
                  <a:pt x="1021" y="306"/>
                  <a:pt x="1020" y="306"/>
                </a:cubicBezTo>
                <a:cubicBezTo>
                  <a:pt x="1020" y="306"/>
                  <a:pt x="1020" y="307"/>
                  <a:pt x="1019" y="307"/>
                </a:cubicBezTo>
                <a:cubicBezTo>
                  <a:pt x="1020" y="307"/>
                  <a:pt x="1020" y="307"/>
                  <a:pt x="1020" y="307"/>
                </a:cubicBezTo>
                <a:cubicBezTo>
                  <a:pt x="1020" y="307"/>
                  <a:pt x="1020" y="307"/>
                  <a:pt x="1020" y="308"/>
                </a:cubicBezTo>
                <a:cubicBezTo>
                  <a:pt x="1021" y="308"/>
                  <a:pt x="1021" y="308"/>
                  <a:pt x="1021" y="308"/>
                </a:cubicBezTo>
                <a:cubicBezTo>
                  <a:pt x="1021" y="308"/>
                  <a:pt x="1021" y="308"/>
                  <a:pt x="1022" y="308"/>
                </a:cubicBezTo>
                <a:cubicBezTo>
                  <a:pt x="1022" y="308"/>
                  <a:pt x="1022" y="308"/>
                  <a:pt x="1022" y="308"/>
                </a:cubicBezTo>
                <a:cubicBezTo>
                  <a:pt x="1022" y="309"/>
                  <a:pt x="1022" y="309"/>
                  <a:pt x="1022" y="309"/>
                </a:cubicBezTo>
                <a:cubicBezTo>
                  <a:pt x="1022" y="309"/>
                  <a:pt x="1022" y="309"/>
                  <a:pt x="1022" y="309"/>
                </a:cubicBezTo>
                <a:cubicBezTo>
                  <a:pt x="1022" y="309"/>
                  <a:pt x="1021" y="309"/>
                  <a:pt x="1021" y="309"/>
                </a:cubicBezTo>
                <a:cubicBezTo>
                  <a:pt x="1021" y="309"/>
                  <a:pt x="1020" y="309"/>
                  <a:pt x="1020" y="309"/>
                </a:cubicBezTo>
                <a:cubicBezTo>
                  <a:pt x="1020" y="309"/>
                  <a:pt x="1020" y="309"/>
                  <a:pt x="1020" y="309"/>
                </a:cubicBezTo>
                <a:cubicBezTo>
                  <a:pt x="1020" y="309"/>
                  <a:pt x="1020" y="309"/>
                  <a:pt x="1020" y="308"/>
                </a:cubicBezTo>
                <a:cubicBezTo>
                  <a:pt x="1020" y="308"/>
                  <a:pt x="1020" y="308"/>
                  <a:pt x="1019" y="308"/>
                </a:cubicBezTo>
                <a:cubicBezTo>
                  <a:pt x="1019" y="308"/>
                  <a:pt x="1019" y="308"/>
                  <a:pt x="1018" y="308"/>
                </a:cubicBezTo>
                <a:cubicBezTo>
                  <a:pt x="1018" y="308"/>
                  <a:pt x="1018" y="308"/>
                  <a:pt x="1018" y="308"/>
                </a:cubicBezTo>
                <a:cubicBezTo>
                  <a:pt x="1019" y="309"/>
                  <a:pt x="1019" y="309"/>
                  <a:pt x="1019" y="309"/>
                </a:cubicBezTo>
                <a:cubicBezTo>
                  <a:pt x="1019" y="309"/>
                  <a:pt x="1019" y="310"/>
                  <a:pt x="1020" y="310"/>
                </a:cubicBezTo>
                <a:cubicBezTo>
                  <a:pt x="1020" y="311"/>
                  <a:pt x="1020" y="311"/>
                  <a:pt x="1020" y="311"/>
                </a:cubicBezTo>
                <a:cubicBezTo>
                  <a:pt x="1020" y="311"/>
                  <a:pt x="1020" y="311"/>
                  <a:pt x="1020" y="312"/>
                </a:cubicBezTo>
                <a:cubicBezTo>
                  <a:pt x="1020" y="312"/>
                  <a:pt x="1020" y="312"/>
                  <a:pt x="1021" y="312"/>
                </a:cubicBezTo>
                <a:cubicBezTo>
                  <a:pt x="1020" y="312"/>
                  <a:pt x="1020" y="312"/>
                  <a:pt x="1019" y="312"/>
                </a:cubicBezTo>
                <a:cubicBezTo>
                  <a:pt x="1019" y="311"/>
                  <a:pt x="1019" y="311"/>
                  <a:pt x="1019" y="311"/>
                </a:cubicBezTo>
                <a:cubicBezTo>
                  <a:pt x="1018" y="311"/>
                  <a:pt x="1018" y="311"/>
                  <a:pt x="1018" y="311"/>
                </a:cubicBezTo>
                <a:cubicBezTo>
                  <a:pt x="1018" y="311"/>
                  <a:pt x="1018" y="311"/>
                  <a:pt x="1017" y="312"/>
                </a:cubicBezTo>
                <a:cubicBezTo>
                  <a:pt x="1017" y="312"/>
                  <a:pt x="1017" y="312"/>
                  <a:pt x="1017" y="313"/>
                </a:cubicBezTo>
                <a:cubicBezTo>
                  <a:pt x="1017" y="312"/>
                  <a:pt x="1017" y="312"/>
                  <a:pt x="1017" y="312"/>
                </a:cubicBezTo>
                <a:cubicBezTo>
                  <a:pt x="1017" y="312"/>
                  <a:pt x="1017" y="312"/>
                  <a:pt x="1017" y="312"/>
                </a:cubicBezTo>
                <a:cubicBezTo>
                  <a:pt x="1017" y="311"/>
                  <a:pt x="1017" y="311"/>
                  <a:pt x="1017" y="311"/>
                </a:cubicBezTo>
                <a:cubicBezTo>
                  <a:pt x="1016" y="311"/>
                  <a:pt x="1016" y="311"/>
                  <a:pt x="1015" y="310"/>
                </a:cubicBezTo>
                <a:cubicBezTo>
                  <a:pt x="1015" y="310"/>
                  <a:pt x="1015" y="310"/>
                  <a:pt x="1015" y="310"/>
                </a:cubicBezTo>
                <a:cubicBezTo>
                  <a:pt x="1015" y="310"/>
                  <a:pt x="1015" y="310"/>
                  <a:pt x="1014" y="310"/>
                </a:cubicBezTo>
                <a:cubicBezTo>
                  <a:pt x="1015" y="310"/>
                  <a:pt x="1015" y="311"/>
                  <a:pt x="1015" y="311"/>
                </a:cubicBezTo>
                <a:cubicBezTo>
                  <a:pt x="1015" y="311"/>
                  <a:pt x="1015" y="311"/>
                  <a:pt x="1014" y="311"/>
                </a:cubicBezTo>
                <a:cubicBezTo>
                  <a:pt x="1014" y="311"/>
                  <a:pt x="1014" y="311"/>
                  <a:pt x="1014" y="311"/>
                </a:cubicBezTo>
                <a:cubicBezTo>
                  <a:pt x="1013" y="310"/>
                  <a:pt x="1013" y="310"/>
                  <a:pt x="1013" y="310"/>
                </a:cubicBezTo>
                <a:cubicBezTo>
                  <a:pt x="1013" y="309"/>
                  <a:pt x="1013" y="309"/>
                  <a:pt x="1013" y="309"/>
                </a:cubicBezTo>
                <a:cubicBezTo>
                  <a:pt x="1013" y="309"/>
                  <a:pt x="1013" y="309"/>
                  <a:pt x="1013" y="309"/>
                </a:cubicBezTo>
                <a:cubicBezTo>
                  <a:pt x="1013" y="308"/>
                  <a:pt x="1013" y="308"/>
                  <a:pt x="1013" y="308"/>
                </a:cubicBezTo>
                <a:cubicBezTo>
                  <a:pt x="1013" y="308"/>
                  <a:pt x="1012" y="308"/>
                  <a:pt x="1012" y="307"/>
                </a:cubicBezTo>
                <a:cubicBezTo>
                  <a:pt x="1012" y="307"/>
                  <a:pt x="1011" y="307"/>
                  <a:pt x="1011" y="307"/>
                </a:cubicBezTo>
                <a:cubicBezTo>
                  <a:pt x="1011" y="307"/>
                  <a:pt x="1010" y="306"/>
                  <a:pt x="1010" y="306"/>
                </a:cubicBezTo>
                <a:cubicBezTo>
                  <a:pt x="1010" y="306"/>
                  <a:pt x="1010" y="306"/>
                  <a:pt x="1010" y="305"/>
                </a:cubicBezTo>
                <a:cubicBezTo>
                  <a:pt x="1010" y="305"/>
                  <a:pt x="1011" y="305"/>
                  <a:pt x="1011" y="305"/>
                </a:cubicBezTo>
                <a:cubicBezTo>
                  <a:pt x="1011" y="305"/>
                  <a:pt x="1011" y="305"/>
                  <a:pt x="1012" y="305"/>
                </a:cubicBezTo>
                <a:cubicBezTo>
                  <a:pt x="1012" y="305"/>
                  <a:pt x="1012" y="305"/>
                  <a:pt x="1013" y="305"/>
                </a:cubicBezTo>
                <a:cubicBezTo>
                  <a:pt x="1013" y="305"/>
                  <a:pt x="1013" y="305"/>
                  <a:pt x="1013" y="305"/>
                </a:cubicBezTo>
                <a:cubicBezTo>
                  <a:pt x="1014" y="305"/>
                  <a:pt x="1014" y="304"/>
                  <a:pt x="1014" y="304"/>
                </a:cubicBezTo>
                <a:cubicBezTo>
                  <a:pt x="1015" y="305"/>
                  <a:pt x="1016" y="305"/>
                  <a:pt x="1016" y="305"/>
                </a:cubicBezTo>
                <a:cubicBezTo>
                  <a:pt x="1017" y="306"/>
                  <a:pt x="1017" y="306"/>
                  <a:pt x="1017" y="306"/>
                </a:cubicBezTo>
                <a:cubicBezTo>
                  <a:pt x="1018" y="306"/>
                  <a:pt x="1018" y="306"/>
                  <a:pt x="1018" y="306"/>
                </a:cubicBezTo>
                <a:cubicBezTo>
                  <a:pt x="1018" y="306"/>
                  <a:pt x="1019" y="306"/>
                  <a:pt x="1019" y="306"/>
                </a:cubicBezTo>
                <a:cubicBezTo>
                  <a:pt x="1019" y="306"/>
                  <a:pt x="1019" y="305"/>
                  <a:pt x="1020" y="305"/>
                </a:cubicBezTo>
                <a:cubicBezTo>
                  <a:pt x="1019" y="305"/>
                  <a:pt x="1019" y="305"/>
                  <a:pt x="1018" y="305"/>
                </a:cubicBezTo>
                <a:cubicBezTo>
                  <a:pt x="1018" y="305"/>
                  <a:pt x="1018" y="305"/>
                  <a:pt x="1018" y="305"/>
                </a:cubicBezTo>
                <a:cubicBezTo>
                  <a:pt x="1018" y="305"/>
                  <a:pt x="1017" y="305"/>
                  <a:pt x="1017" y="305"/>
                </a:cubicBezTo>
                <a:cubicBezTo>
                  <a:pt x="1017" y="305"/>
                  <a:pt x="1017" y="304"/>
                  <a:pt x="1017" y="304"/>
                </a:cubicBezTo>
                <a:cubicBezTo>
                  <a:pt x="1017" y="304"/>
                  <a:pt x="1017" y="304"/>
                  <a:pt x="1016" y="305"/>
                </a:cubicBezTo>
                <a:cubicBezTo>
                  <a:pt x="1016" y="304"/>
                  <a:pt x="1015" y="304"/>
                  <a:pt x="1015" y="304"/>
                </a:cubicBezTo>
                <a:cubicBezTo>
                  <a:pt x="1015" y="304"/>
                  <a:pt x="1014" y="304"/>
                  <a:pt x="1014" y="304"/>
                </a:cubicBezTo>
                <a:cubicBezTo>
                  <a:pt x="1014" y="304"/>
                  <a:pt x="1014" y="304"/>
                  <a:pt x="1013" y="304"/>
                </a:cubicBezTo>
                <a:cubicBezTo>
                  <a:pt x="1013" y="304"/>
                  <a:pt x="1013" y="304"/>
                  <a:pt x="1012" y="304"/>
                </a:cubicBezTo>
                <a:cubicBezTo>
                  <a:pt x="1012" y="304"/>
                  <a:pt x="1012" y="304"/>
                  <a:pt x="1011" y="303"/>
                </a:cubicBezTo>
                <a:cubicBezTo>
                  <a:pt x="1011" y="304"/>
                  <a:pt x="1011" y="304"/>
                  <a:pt x="1011" y="304"/>
                </a:cubicBezTo>
                <a:cubicBezTo>
                  <a:pt x="1010" y="304"/>
                  <a:pt x="1010" y="304"/>
                  <a:pt x="1010" y="304"/>
                </a:cubicBezTo>
                <a:cubicBezTo>
                  <a:pt x="1010" y="304"/>
                  <a:pt x="1010" y="303"/>
                  <a:pt x="1010" y="303"/>
                </a:cubicBezTo>
                <a:cubicBezTo>
                  <a:pt x="1009" y="302"/>
                  <a:pt x="1009" y="302"/>
                  <a:pt x="1008" y="301"/>
                </a:cubicBezTo>
                <a:cubicBezTo>
                  <a:pt x="1008" y="301"/>
                  <a:pt x="1008" y="301"/>
                  <a:pt x="1008" y="301"/>
                </a:cubicBezTo>
                <a:cubicBezTo>
                  <a:pt x="1008" y="301"/>
                  <a:pt x="1008" y="301"/>
                  <a:pt x="1008" y="301"/>
                </a:cubicBezTo>
                <a:cubicBezTo>
                  <a:pt x="1007" y="301"/>
                  <a:pt x="1007" y="300"/>
                  <a:pt x="1007" y="300"/>
                </a:cubicBezTo>
                <a:cubicBezTo>
                  <a:pt x="1006" y="300"/>
                  <a:pt x="1005" y="299"/>
                  <a:pt x="1005" y="299"/>
                </a:cubicBezTo>
                <a:cubicBezTo>
                  <a:pt x="1005" y="298"/>
                  <a:pt x="1005" y="298"/>
                  <a:pt x="1005" y="298"/>
                </a:cubicBezTo>
                <a:cubicBezTo>
                  <a:pt x="1005" y="298"/>
                  <a:pt x="1005" y="298"/>
                  <a:pt x="1005" y="298"/>
                </a:cubicBezTo>
                <a:cubicBezTo>
                  <a:pt x="1004" y="298"/>
                  <a:pt x="1004" y="297"/>
                  <a:pt x="1004" y="297"/>
                </a:cubicBezTo>
                <a:cubicBezTo>
                  <a:pt x="1003" y="297"/>
                  <a:pt x="1003" y="296"/>
                  <a:pt x="1003" y="295"/>
                </a:cubicBezTo>
                <a:cubicBezTo>
                  <a:pt x="1002" y="295"/>
                  <a:pt x="1001" y="295"/>
                  <a:pt x="1001" y="295"/>
                </a:cubicBezTo>
                <a:cubicBezTo>
                  <a:pt x="1001" y="295"/>
                  <a:pt x="1000" y="295"/>
                  <a:pt x="1000" y="295"/>
                </a:cubicBezTo>
                <a:cubicBezTo>
                  <a:pt x="1000" y="295"/>
                  <a:pt x="1001" y="294"/>
                  <a:pt x="1001" y="294"/>
                </a:cubicBezTo>
                <a:cubicBezTo>
                  <a:pt x="1001" y="294"/>
                  <a:pt x="1000" y="294"/>
                  <a:pt x="1000" y="293"/>
                </a:cubicBezTo>
                <a:cubicBezTo>
                  <a:pt x="1000" y="293"/>
                  <a:pt x="1000" y="293"/>
                  <a:pt x="1000" y="292"/>
                </a:cubicBezTo>
                <a:cubicBezTo>
                  <a:pt x="1000" y="292"/>
                  <a:pt x="1001" y="292"/>
                  <a:pt x="1001" y="292"/>
                </a:cubicBezTo>
                <a:cubicBezTo>
                  <a:pt x="1001" y="291"/>
                  <a:pt x="1000" y="291"/>
                  <a:pt x="1000" y="290"/>
                </a:cubicBezTo>
                <a:cubicBezTo>
                  <a:pt x="1000" y="290"/>
                  <a:pt x="1000" y="289"/>
                  <a:pt x="1001" y="289"/>
                </a:cubicBezTo>
                <a:cubicBezTo>
                  <a:pt x="1001" y="289"/>
                  <a:pt x="1001" y="289"/>
                  <a:pt x="1001" y="289"/>
                </a:cubicBezTo>
                <a:cubicBezTo>
                  <a:pt x="1001" y="289"/>
                  <a:pt x="1001" y="288"/>
                  <a:pt x="1001" y="288"/>
                </a:cubicBezTo>
                <a:cubicBezTo>
                  <a:pt x="1001" y="288"/>
                  <a:pt x="1000" y="288"/>
                  <a:pt x="1000" y="288"/>
                </a:cubicBezTo>
                <a:cubicBezTo>
                  <a:pt x="999" y="287"/>
                  <a:pt x="999" y="287"/>
                  <a:pt x="999" y="287"/>
                </a:cubicBezTo>
                <a:cubicBezTo>
                  <a:pt x="999" y="287"/>
                  <a:pt x="998" y="287"/>
                  <a:pt x="998" y="287"/>
                </a:cubicBezTo>
                <a:cubicBezTo>
                  <a:pt x="998" y="286"/>
                  <a:pt x="997" y="285"/>
                  <a:pt x="996" y="285"/>
                </a:cubicBezTo>
                <a:cubicBezTo>
                  <a:pt x="996" y="285"/>
                  <a:pt x="996" y="285"/>
                  <a:pt x="995" y="284"/>
                </a:cubicBezTo>
                <a:cubicBezTo>
                  <a:pt x="995" y="284"/>
                  <a:pt x="995" y="284"/>
                  <a:pt x="995" y="284"/>
                </a:cubicBezTo>
                <a:cubicBezTo>
                  <a:pt x="995" y="284"/>
                  <a:pt x="994" y="283"/>
                  <a:pt x="994" y="283"/>
                </a:cubicBezTo>
                <a:cubicBezTo>
                  <a:pt x="994" y="283"/>
                  <a:pt x="994" y="283"/>
                  <a:pt x="993" y="283"/>
                </a:cubicBezTo>
                <a:cubicBezTo>
                  <a:pt x="993" y="283"/>
                  <a:pt x="992" y="283"/>
                  <a:pt x="991" y="283"/>
                </a:cubicBezTo>
                <a:cubicBezTo>
                  <a:pt x="991" y="283"/>
                  <a:pt x="991" y="283"/>
                  <a:pt x="991" y="283"/>
                </a:cubicBezTo>
                <a:cubicBezTo>
                  <a:pt x="990" y="283"/>
                  <a:pt x="990" y="283"/>
                  <a:pt x="990" y="283"/>
                </a:cubicBezTo>
                <a:cubicBezTo>
                  <a:pt x="989" y="282"/>
                  <a:pt x="989" y="282"/>
                  <a:pt x="989" y="282"/>
                </a:cubicBezTo>
                <a:cubicBezTo>
                  <a:pt x="989" y="282"/>
                  <a:pt x="990" y="282"/>
                  <a:pt x="990" y="282"/>
                </a:cubicBezTo>
                <a:cubicBezTo>
                  <a:pt x="990" y="282"/>
                  <a:pt x="991" y="282"/>
                  <a:pt x="991" y="282"/>
                </a:cubicBezTo>
                <a:cubicBezTo>
                  <a:pt x="990" y="282"/>
                  <a:pt x="989" y="281"/>
                  <a:pt x="988" y="281"/>
                </a:cubicBezTo>
                <a:cubicBezTo>
                  <a:pt x="988" y="280"/>
                  <a:pt x="987" y="280"/>
                  <a:pt x="987" y="280"/>
                </a:cubicBezTo>
                <a:cubicBezTo>
                  <a:pt x="986" y="280"/>
                  <a:pt x="985" y="280"/>
                  <a:pt x="985" y="280"/>
                </a:cubicBezTo>
                <a:cubicBezTo>
                  <a:pt x="984" y="280"/>
                  <a:pt x="984" y="280"/>
                  <a:pt x="983" y="280"/>
                </a:cubicBezTo>
                <a:cubicBezTo>
                  <a:pt x="983" y="280"/>
                  <a:pt x="983" y="280"/>
                  <a:pt x="983" y="280"/>
                </a:cubicBezTo>
                <a:cubicBezTo>
                  <a:pt x="983" y="279"/>
                  <a:pt x="983" y="279"/>
                  <a:pt x="983" y="279"/>
                </a:cubicBezTo>
                <a:cubicBezTo>
                  <a:pt x="982" y="279"/>
                  <a:pt x="982" y="279"/>
                  <a:pt x="981" y="279"/>
                </a:cubicBezTo>
                <a:cubicBezTo>
                  <a:pt x="981" y="278"/>
                  <a:pt x="981" y="278"/>
                  <a:pt x="980" y="278"/>
                </a:cubicBezTo>
                <a:cubicBezTo>
                  <a:pt x="980" y="278"/>
                  <a:pt x="979" y="278"/>
                  <a:pt x="979" y="278"/>
                </a:cubicBezTo>
                <a:cubicBezTo>
                  <a:pt x="979" y="278"/>
                  <a:pt x="979" y="277"/>
                  <a:pt x="979" y="277"/>
                </a:cubicBezTo>
                <a:cubicBezTo>
                  <a:pt x="979" y="277"/>
                  <a:pt x="979" y="277"/>
                  <a:pt x="979" y="276"/>
                </a:cubicBezTo>
                <a:cubicBezTo>
                  <a:pt x="979" y="276"/>
                  <a:pt x="980" y="276"/>
                  <a:pt x="980" y="276"/>
                </a:cubicBezTo>
                <a:cubicBezTo>
                  <a:pt x="980" y="276"/>
                  <a:pt x="980" y="277"/>
                  <a:pt x="981" y="277"/>
                </a:cubicBezTo>
                <a:cubicBezTo>
                  <a:pt x="980" y="276"/>
                  <a:pt x="980" y="276"/>
                  <a:pt x="980" y="276"/>
                </a:cubicBezTo>
                <a:cubicBezTo>
                  <a:pt x="980" y="276"/>
                  <a:pt x="979" y="276"/>
                  <a:pt x="979" y="276"/>
                </a:cubicBezTo>
                <a:cubicBezTo>
                  <a:pt x="979" y="275"/>
                  <a:pt x="978" y="275"/>
                  <a:pt x="978" y="275"/>
                </a:cubicBezTo>
                <a:cubicBezTo>
                  <a:pt x="977" y="274"/>
                  <a:pt x="977" y="274"/>
                  <a:pt x="977" y="274"/>
                </a:cubicBezTo>
                <a:cubicBezTo>
                  <a:pt x="977" y="273"/>
                  <a:pt x="977" y="273"/>
                  <a:pt x="977" y="273"/>
                </a:cubicBezTo>
                <a:cubicBezTo>
                  <a:pt x="976" y="272"/>
                  <a:pt x="976" y="272"/>
                  <a:pt x="976" y="272"/>
                </a:cubicBezTo>
                <a:cubicBezTo>
                  <a:pt x="976" y="272"/>
                  <a:pt x="975" y="272"/>
                  <a:pt x="975" y="271"/>
                </a:cubicBezTo>
                <a:cubicBezTo>
                  <a:pt x="975" y="271"/>
                  <a:pt x="974" y="271"/>
                  <a:pt x="974" y="271"/>
                </a:cubicBezTo>
                <a:cubicBezTo>
                  <a:pt x="974" y="272"/>
                  <a:pt x="973" y="272"/>
                  <a:pt x="973" y="272"/>
                </a:cubicBezTo>
                <a:cubicBezTo>
                  <a:pt x="973" y="272"/>
                  <a:pt x="973" y="272"/>
                  <a:pt x="973" y="273"/>
                </a:cubicBezTo>
                <a:cubicBezTo>
                  <a:pt x="973" y="273"/>
                  <a:pt x="972" y="274"/>
                  <a:pt x="972" y="274"/>
                </a:cubicBezTo>
                <a:cubicBezTo>
                  <a:pt x="971" y="274"/>
                  <a:pt x="971" y="274"/>
                  <a:pt x="971" y="274"/>
                </a:cubicBezTo>
                <a:cubicBezTo>
                  <a:pt x="971" y="274"/>
                  <a:pt x="971" y="274"/>
                  <a:pt x="971" y="274"/>
                </a:cubicBezTo>
                <a:cubicBezTo>
                  <a:pt x="971" y="273"/>
                  <a:pt x="970" y="273"/>
                  <a:pt x="970" y="273"/>
                </a:cubicBezTo>
                <a:cubicBezTo>
                  <a:pt x="970" y="272"/>
                  <a:pt x="970" y="272"/>
                  <a:pt x="970" y="271"/>
                </a:cubicBezTo>
                <a:cubicBezTo>
                  <a:pt x="970" y="271"/>
                  <a:pt x="970" y="271"/>
                  <a:pt x="970" y="271"/>
                </a:cubicBezTo>
                <a:cubicBezTo>
                  <a:pt x="970" y="271"/>
                  <a:pt x="970" y="271"/>
                  <a:pt x="970" y="271"/>
                </a:cubicBezTo>
                <a:cubicBezTo>
                  <a:pt x="970" y="271"/>
                  <a:pt x="970" y="270"/>
                  <a:pt x="971" y="270"/>
                </a:cubicBezTo>
                <a:cubicBezTo>
                  <a:pt x="971" y="270"/>
                  <a:pt x="971" y="270"/>
                  <a:pt x="971" y="270"/>
                </a:cubicBezTo>
                <a:cubicBezTo>
                  <a:pt x="970" y="270"/>
                  <a:pt x="970" y="270"/>
                  <a:pt x="970" y="270"/>
                </a:cubicBezTo>
                <a:cubicBezTo>
                  <a:pt x="970" y="270"/>
                  <a:pt x="970" y="270"/>
                  <a:pt x="970" y="270"/>
                </a:cubicBezTo>
                <a:cubicBezTo>
                  <a:pt x="969" y="269"/>
                  <a:pt x="969" y="269"/>
                  <a:pt x="968" y="269"/>
                </a:cubicBezTo>
                <a:cubicBezTo>
                  <a:pt x="968" y="269"/>
                  <a:pt x="968" y="269"/>
                  <a:pt x="968" y="270"/>
                </a:cubicBezTo>
                <a:cubicBezTo>
                  <a:pt x="967" y="270"/>
                  <a:pt x="967" y="270"/>
                  <a:pt x="967" y="270"/>
                </a:cubicBezTo>
                <a:cubicBezTo>
                  <a:pt x="966" y="270"/>
                  <a:pt x="966" y="270"/>
                  <a:pt x="966" y="270"/>
                </a:cubicBezTo>
                <a:cubicBezTo>
                  <a:pt x="965" y="270"/>
                  <a:pt x="965" y="271"/>
                  <a:pt x="965" y="271"/>
                </a:cubicBezTo>
                <a:cubicBezTo>
                  <a:pt x="964" y="271"/>
                  <a:pt x="964" y="271"/>
                  <a:pt x="963" y="271"/>
                </a:cubicBezTo>
                <a:cubicBezTo>
                  <a:pt x="963" y="271"/>
                  <a:pt x="963" y="271"/>
                  <a:pt x="963" y="271"/>
                </a:cubicBezTo>
                <a:cubicBezTo>
                  <a:pt x="963" y="272"/>
                  <a:pt x="963" y="272"/>
                  <a:pt x="964" y="272"/>
                </a:cubicBezTo>
                <a:cubicBezTo>
                  <a:pt x="964" y="272"/>
                  <a:pt x="964" y="273"/>
                  <a:pt x="964" y="273"/>
                </a:cubicBezTo>
                <a:cubicBezTo>
                  <a:pt x="964" y="273"/>
                  <a:pt x="964" y="273"/>
                  <a:pt x="963" y="274"/>
                </a:cubicBezTo>
                <a:cubicBezTo>
                  <a:pt x="963" y="274"/>
                  <a:pt x="963" y="274"/>
                  <a:pt x="963" y="274"/>
                </a:cubicBezTo>
                <a:cubicBezTo>
                  <a:pt x="963" y="274"/>
                  <a:pt x="963" y="275"/>
                  <a:pt x="964" y="275"/>
                </a:cubicBezTo>
                <a:cubicBezTo>
                  <a:pt x="964" y="275"/>
                  <a:pt x="964" y="276"/>
                  <a:pt x="964" y="276"/>
                </a:cubicBezTo>
                <a:cubicBezTo>
                  <a:pt x="964" y="276"/>
                  <a:pt x="964" y="276"/>
                  <a:pt x="964" y="276"/>
                </a:cubicBezTo>
                <a:cubicBezTo>
                  <a:pt x="965" y="277"/>
                  <a:pt x="966" y="277"/>
                  <a:pt x="967" y="277"/>
                </a:cubicBezTo>
                <a:cubicBezTo>
                  <a:pt x="967" y="278"/>
                  <a:pt x="967" y="278"/>
                  <a:pt x="968" y="278"/>
                </a:cubicBezTo>
                <a:cubicBezTo>
                  <a:pt x="968" y="278"/>
                  <a:pt x="968" y="278"/>
                  <a:pt x="969" y="279"/>
                </a:cubicBezTo>
                <a:cubicBezTo>
                  <a:pt x="970" y="279"/>
                  <a:pt x="971" y="280"/>
                  <a:pt x="972" y="281"/>
                </a:cubicBezTo>
                <a:cubicBezTo>
                  <a:pt x="972" y="281"/>
                  <a:pt x="972" y="281"/>
                  <a:pt x="972" y="282"/>
                </a:cubicBezTo>
                <a:cubicBezTo>
                  <a:pt x="972" y="282"/>
                  <a:pt x="972" y="282"/>
                  <a:pt x="973" y="282"/>
                </a:cubicBezTo>
                <a:cubicBezTo>
                  <a:pt x="973" y="282"/>
                  <a:pt x="973" y="282"/>
                  <a:pt x="973" y="283"/>
                </a:cubicBezTo>
                <a:cubicBezTo>
                  <a:pt x="973" y="283"/>
                  <a:pt x="973" y="283"/>
                  <a:pt x="973" y="283"/>
                </a:cubicBezTo>
                <a:cubicBezTo>
                  <a:pt x="974" y="284"/>
                  <a:pt x="974" y="284"/>
                  <a:pt x="974" y="284"/>
                </a:cubicBezTo>
                <a:cubicBezTo>
                  <a:pt x="975" y="284"/>
                  <a:pt x="975" y="285"/>
                  <a:pt x="975" y="285"/>
                </a:cubicBezTo>
                <a:cubicBezTo>
                  <a:pt x="976" y="285"/>
                  <a:pt x="976" y="285"/>
                  <a:pt x="977" y="286"/>
                </a:cubicBezTo>
                <a:cubicBezTo>
                  <a:pt x="977" y="286"/>
                  <a:pt x="977" y="286"/>
                  <a:pt x="977" y="286"/>
                </a:cubicBezTo>
                <a:cubicBezTo>
                  <a:pt x="978" y="286"/>
                  <a:pt x="978" y="286"/>
                  <a:pt x="978" y="286"/>
                </a:cubicBezTo>
                <a:cubicBezTo>
                  <a:pt x="979" y="287"/>
                  <a:pt x="979" y="287"/>
                  <a:pt x="979" y="287"/>
                </a:cubicBezTo>
                <a:cubicBezTo>
                  <a:pt x="980" y="287"/>
                  <a:pt x="980" y="287"/>
                  <a:pt x="981" y="287"/>
                </a:cubicBezTo>
                <a:cubicBezTo>
                  <a:pt x="981" y="287"/>
                  <a:pt x="982" y="287"/>
                  <a:pt x="982" y="287"/>
                </a:cubicBezTo>
                <a:cubicBezTo>
                  <a:pt x="982" y="287"/>
                  <a:pt x="983" y="287"/>
                  <a:pt x="983" y="287"/>
                </a:cubicBezTo>
                <a:cubicBezTo>
                  <a:pt x="983" y="287"/>
                  <a:pt x="984" y="287"/>
                  <a:pt x="984" y="287"/>
                </a:cubicBezTo>
                <a:cubicBezTo>
                  <a:pt x="984" y="287"/>
                  <a:pt x="984" y="287"/>
                  <a:pt x="984" y="288"/>
                </a:cubicBezTo>
                <a:cubicBezTo>
                  <a:pt x="983" y="288"/>
                  <a:pt x="983" y="288"/>
                  <a:pt x="983" y="288"/>
                </a:cubicBezTo>
                <a:cubicBezTo>
                  <a:pt x="983" y="288"/>
                  <a:pt x="983" y="289"/>
                  <a:pt x="982" y="289"/>
                </a:cubicBezTo>
                <a:cubicBezTo>
                  <a:pt x="983" y="289"/>
                  <a:pt x="983" y="289"/>
                  <a:pt x="983" y="289"/>
                </a:cubicBezTo>
                <a:cubicBezTo>
                  <a:pt x="983" y="289"/>
                  <a:pt x="984" y="289"/>
                  <a:pt x="984" y="289"/>
                </a:cubicBezTo>
                <a:cubicBezTo>
                  <a:pt x="985" y="289"/>
                  <a:pt x="985" y="289"/>
                  <a:pt x="986" y="290"/>
                </a:cubicBezTo>
                <a:cubicBezTo>
                  <a:pt x="988" y="290"/>
                  <a:pt x="989" y="291"/>
                  <a:pt x="990" y="291"/>
                </a:cubicBezTo>
                <a:cubicBezTo>
                  <a:pt x="991" y="292"/>
                  <a:pt x="991" y="292"/>
                  <a:pt x="992" y="292"/>
                </a:cubicBezTo>
                <a:cubicBezTo>
                  <a:pt x="992" y="292"/>
                  <a:pt x="993" y="293"/>
                  <a:pt x="993" y="293"/>
                </a:cubicBezTo>
                <a:cubicBezTo>
                  <a:pt x="994" y="293"/>
                  <a:pt x="994" y="293"/>
                  <a:pt x="995" y="293"/>
                </a:cubicBezTo>
                <a:cubicBezTo>
                  <a:pt x="995" y="293"/>
                  <a:pt x="995" y="294"/>
                  <a:pt x="996" y="294"/>
                </a:cubicBezTo>
                <a:cubicBezTo>
                  <a:pt x="996" y="294"/>
                  <a:pt x="996" y="294"/>
                  <a:pt x="996" y="294"/>
                </a:cubicBezTo>
                <a:cubicBezTo>
                  <a:pt x="996" y="295"/>
                  <a:pt x="996" y="295"/>
                  <a:pt x="996" y="295"/>
                </a:cubicBezTo>
                <a:cubicBezTo>
                  <a:pt x="996" y="295"/>
                  <a:pt x="995" y="296"/>
                  <a:pt x="995" y="296"/>
                </a:cubicBezTo>
                <a:cubicBezTo>
                  <a:pt x="995" y="296"/>
                  <a:pt x="995" y="296"/>
                  <a:pt x="995" y="296"/>
                </a:cubicBezTo>
                <a:cubicBezTo>
                  <a:pt x="995" y="296"/>
                  <a:pt x="995" y="296"/>
                  <a:pt x="995" y="296"/>
                </a:cubicBezTo>
                <a:cubicBezTo>
                  <a:pt x="995" y="297"/>
                  <a:pt x="995" y="297"/>
                  <a:pt x="995" y="297"/>
                </a:cubicBezTo>
                <a:cubicBezTo>
                  <a:pt x="995" y="297"/>
                  <a:pt x="994" y="296"/>
                  <a:pt x="994" y="296"/>
                </a:cubicBezTo>
                <a:cubicBezTo>
                  <a:pt x="994" y="296"/>
                  <a:pt x="994" y="296"/>
                  <a:pt x="993" y="296"/>
                </a:cubicBezTo>
                <a:cubicBezTo>
                  <a:pt x="993" y="295"/>
                  <a:pt x="993" y="295"/>
                  <a:pt x="993" y="295"/>
                </a:cubicBezTo>
                <a:cubicBezTo>
                  <a:pt x="993" y="295"/>
                  <a:pt x="993" y="295"/>
                  <a:pt x="993" y="294"/>
                </a:cubicBezTo>
                <a:cubicBezTo>
                  <a:pt x="993" y="294"/>
                  <a:pt x="993" y="294"/>
                  <a:pt x="993" y="294"/>
                </a:cubicBezTo>
                <a:cubicBezTo>
                  <a:pt x="992" y="294"/>
                  <a:pt x="991" y="294"/>
                  <a:pt x="991" y="294"/>
                </a:cubicBezTo>
                <a:cubicBezTo>
                  <a:pt x="991" y="294"/>
                  <a:pt x="991" y="294"/>
                  <a:pt x="991" y="294"/>
                </a:cubicBezTo>
                <a:cubicBezTo>
                  <a:pt x="990" y="294"/>
                  <a:pt x="990" y="294"/>
                  <a:pt x="990" y="293"/>
                </a:cubicBezTo>
                <a:cubicBezTo>
                  <a:pt x="989" y="293"/>
                  <a:pt x="989" y="293"/>
                  <a:pt x="989" y="293"/>
                </a:cubicBezTo>
                <a:cubicBezTo>
                  <a:pt x="989" y="294"/>
                  <a:pt x="988" y="294"/>
                  <a:pt x="988" y="294"/>
                </a:cubicBezTo>
                <a:cubicBezTo>
                  <a:pt x="988" y="294"/>
                  <a:pt x="988" y="294"/>
                  <a:pt x="988" y="295"/>
                </a:cubicBezTo>
                <a:cubicBezTo>
                  <a:pt x="988" y="295"/>
                  <a:pt x="987" y="295"/>
                  <a:pt x="987" y="295"/>
                </a:cubicBezTo>
                <a:cubicBezTo>
                  <a:pt x="987" y="295"/>
                  <a:pt x="987" y="295"/>
                  <a:pt x="987" y="295"/>
                </a:cubicBezTo>
                <a:cubicBezTo>
                  <a:pt x="987" y="296"/>
                  <a:pt x="987" y="296"/>
                  <a:pt x="987" y="296"/>
                </a:cubicBezTo>
                <a:cubicBezTo>
                  <a:pt x="987" y="296"/>
                  <a:pt x="987" y="296"/>
                  <a:pt x="986" y="296"/>
                </a:cubicBezTo>
                <a:cubicBezTo>
                  <a:pt x="986" y="297"/>
                  <a:pt x="986" y="297"/>
                  <a:pt x="986" y="297"/>
                </a:cubicBezTo>
                <a:cubicBezTo>
                  <a:pt x="986" y="297"/>
                  <a:pt x="987" y="297"/>
                  <a:pt x="987" y="297"/>
                </a:cubicBezTo>
                <a:cubicBezTo>
                  <a:pt x="987" y="297"/>
                  <a:pt x="987" y="297"/>
                  <a:pt x="988" y="297"/>
                </a:cubicBezTo>
                <a:cubicBezTo>
                  <a:pt x="988" y="298"/>
                  <a:pt x="989" y="298"/>
                  <a:pt x="989" y="298"/>
                </a:cubicBezTo>
                <a:cubicBezTo>
                  <a:pt x="989" y="299"/>
                  <a:pt x="989" y="299"/>
                  <a:pt x="989" y="299"/>
                </a:cubicBezTo>
                <a:cubicBezTo>
                  <a:pt x="989" y="299"/>
                  <a:pt x="989" y="299"/>
                  <a:pt x="989" y="300"/>
                </a:cubicBezTo>
                <a:cubicBezTo>
                  <a:pt x="989" y="300"/>
                  <a:pt x="989" y="300"/>
                  <a:pt x="989" y="300"/>
                </a:cubicBezTo>
                <a:cubicBezTo>
                  <a:pt x="989" y="300"/>
                  <a:pt x="989" y="300"/>
                  <a:pt x="989" y="301"/>
                </a:cubicBezTo>
                <a:cubicBezTo>
                  <a:pt x="989" y="301"/>
                  <a:pt x="988" y="301"/>
                  <a:pt x="988" y="301"/>
                </a:cubicBezTo>
                <a:cubicBezTo>
                  <a:pt x="988" y="301"/>
                  <a:pt x="987" y="301"/>
                  <a:pt x="987" y="301"/>
                </a:cubicBezTo>
                <a:cubicBezTo>
                  <a:pt x="987" y="302"/>
                  <a:pt x="987" y="303"/>
                  <a:pt x="987" y="303"/>
                </a:cubicBezTo>
                <a:cubicBezTo>
                  <a:pt x="987" y="303"/>
                  <a:pt x="986" y="304"/>
                  <a:pt x="986" y="304"/>
                </a:cubicBezTo>
                <a:cubicBezTo>
                  <a:pt x="985" y="304"/>
                  <a:pt x="985" y="304"/>
                  <a:pt x="985" y="305"/>
                </a:cubicBezTo>
                <a:cubicBezTo>
                  <a:pt x="985" y="305"/>
                  <a:pt x="985" y="305"/>
                  <a:pt x="985" y="305"/>
                </a:cubicBezTo>
                <a:cubicBezTo>
                  <a:pt x="984" y="305"/>
                  <a:pt x="984" y="305"/>
                  <a:pt x="983" y="305"/>
                </a:cubicBezTo>
                <a:cubicBezTo>
                  <a:pt x="983" y="305"/>
                  <a:pt x="982" y="305"/>
                  <a:pt x="982" y="305"/>
                </a:cubicBezTo>
                <a:cubicBezTo>
                  <a:pt x="982" y="304"/>
                  <a:pt x="982" y="304"/>
                  <a:pt x="982" y="304"/>
                </a:cubicBezTo>
                <a:cubicBezTo>
                  <a:pt x="982" y="304"/>
                  <a:pt x="982" y="304"/>
                  <a:pt x="982" y="304"/>
                </a:cubicBezTo>
                <a:cubicBezTo>
                  <a:pt x="982" y="304"/>
                  <a:pt x="983" y="304"/>
                  <a:pt x="983" y="304"/>
                </a:cubicBezTo>
                <a:cubicBezTo>
                  <a:pt x="983" y="303"/>
                  <a:pt x="983" y="303"/>
                  <a:pt x="983" y="303"/>
                </a:cubicBezTo>
                <a:cubicBezTo>
                  <a:pt x="983" y="303"/>
                  <a:pt x="983" y="303"/>
                  <a:pt x="984" y="302"/>
                </a:cubicBezTo>
                <a:cubicBezTo>
                  <a:pt x="983" y="302"/>
                  <a:pt x="983" y="302"/>
                  <a:pt x="983" y="302"/>
                </a:cubicBezTo>
                <a:cubicBezTo>
                  <a:pt x="984" y="302"/>
                  <a:pt x="984" y="302"/>
                  <a:pt x="984" y="301"/>
                </a:cubicBezTo>
                <a:cubicBezTo>
                  <a:pt x="984" y="301"/>
                  <a:pt x="984" y="301"/>
                  <a:pt x="984" y="301"/>
                </a:cubicBezTo>
                <a:cubicBezTo>
                  <a:pt x="984" y="301"/>
                  <a:pt x="985" y="301"/>
                  <a:pt x="985" y="301"/>
                </a:cubicBezTo>
                <a:cubicBezTo>
                  <a:pt x="985" y="301"/>
                  <a:pt x="985" y="301"/>
                  <a:pt x="985" y="300"/>
                </a:cubicBezTo>
                <a:cubicBezTo>
                  <a:pt x="985" y="300"/>
                  <a:pt x="984" y="300"/>
                  <a:pt x="984" y="300"/>
                </a:cubicBezTo>
                <a:cubicBezTo>
                  <a:pt x="984" y="299"/>
                  <a:pt x="984" y="299"/>
                  <a:pt x="984" y="298"/>
                </a:cubicBezTo>
                <a:cubicBezTo>
                  <a:pt x="984" y="298"/>
                  <a:pt x="983" y="298"/>
                  <a:pt x="983" y="298"/>
                </a:cubicBezTo>
                <a:cubicBezTo>
                  <a:pt x="983" y="297"/>
                  <a:pt x="983" y="297"/>
                  <a:pt x="983" y="297"/>
                </a:cubicBezTo>
                <a:cubicBezTo>
                  <a:pt x="983" y="296"/>
                  <a:pt x="983" y="296"/>
                  <a:pt x="983" y="296"/>
                </a:cubicBezTo>
                <a:cubicBezTo>
                  <a:pt x="982" y="295"/>
                  <a:pt x="982" y="295"/>
                  <a:pt x="982" y="295"/>
                </a:cubicBezTo>
                <a:cubicBezTo>
                  <a:pt x="982" y="295"/>
                  <a:pt x="981" y="295"/>
                  <a:pt x="981" y="295"/>
                </a:cubicBezTo>
                <a:cubicBezTo>
                  <a:pt x="981" y="295"/>
                  <a:pt x="980" y="295"/>
                  <a:pt x="980" y="295"/>
                </a:cubicBezTo>
                <a:cubicBezTo>
                  <a:pt x="980" y="295"/>
                  <a:pt x="980" y="295"/>
                  <a:pt x="979" y="295"/>
                </a:cubicBezTo>
                <a:cubicBezTo>
                  <a:pt x="979" y="295"/>
                  <a:pt x="979" y="295"/>
                  <a:pt x="978" y="294"/>
                </a:cubicBezTo>
                <a:cubicBezTo>
                  <a:pt x="978" y="294"/>
                  <a:pt x="978" y="294"/>
                  <a:pt x="978" y="294"/>
                </a:cubicBezTo>
                <a:cubicBezTo>
                  <a:pt x="978" y="294"/>
                  <a:pt x="978" y="294"/>
                  <a:pt x="978" y="294"/>
                </a:cubicBezTo>
                <a:cubicBezTo>
                  <a:pt x="978" y="294"/>
                  <a:pt x="978" y="293"/>
                  <a:pt x="978" y="293"/>
                </a:cubicBezTo>
                <a:cubicBezTo>
                  <a:pt x="978" y="293"/>
                  <a:pt x="978" y="293"/>
                  <a:pt x="977" y="292"/>
                </a:cubicBezTo>
                <a:cubicBezTo>
                  <a:pt x="977" y="292"/>
                  <a:pt x="977" y="292"/>
                  <a:pt x="977" y="292"/>
                </a:cubicBezTo>
                <a:cubicBezTo>
                  <a:pt x="976" y="292"/>
                  <a:pt x="976" y="292"/>
                  <a:pt x="976" y="292"/>
                </a:cubicBezTo>
                <a:cubicBezTo>
                  <a:pt x="976" y="292"/>
                  <a:pt x="976" y="292"/>
                  <a:pt x="976" y="292"/>
                </a:cubicBezTo>
                <a:cubicBezTo>
                  <a:pt x="975" y="292"/>
                  <a:pt x="975" y="292"/>
                  <a:pt x="975" y="292"/>
                </a:cubicBezTo>
                <a:cubicBezTo>
                  <a:pt x="975" y="292"/>
                  <a:pt x="974" y="292"/>
                  <a:pt x="974" y="292"/>
                </a:cubicBezTo>
                <a:cubicBezTo>
                  <a:pt x="974" y="292"/>
                  <a:pt x="974" y="292"/>
                  <a:pt x="973" y="291"/>
                </a:cubicBezTo>
                <a:cubicBezTo>
                  <a:pt x="973" y="291"/>
                  <a:pt x="973" y="291"/>
                  <a:pt x="972" y="290"/>
                </a:cubicBezTo>
                <a:cubicBezTo>
                  <a:pt x="972" y="290"/>
                  <a:pt x="972" y="290"/>
                  <a:pt x="971" y="290"/>
                </a:cubicBezTo>
                <a:cubicBezTo>
                  <a:pt x="971" y="290"/>
                  <a:pt x="971" y="290"/>
                  <a:pt x="970" y="290"/>
                </a:cubicBezTo>
                <a:cubicBezTo>
                  <a:pt x="970" y="290"/>
                  <a:pt x="970" y="290"/>
                  <a:pt x="970" y="290"/>
                </a:cubicBezTo>
                <a:cubicBezTo>
                  <a:pt x="969" y="290"/>
                  <a:pt x="969" y="290"/>
                  <a:pt x="969" y="290"/>
                </a:cubicBezTo>
                <a:cubicBezTo>
                  <a:pt x="969" y="290"/>
                  <a:pt x="968" y="290"/>
                  <a:pt x="968" y="289"/>
                </a:cubicBezTo>
                <a:cubicBezTo>
                  <a:pt x="968" y="289"/>
                  <a:pt x="968" y="289"/>
                  <a:pt x="967" y="289"/>
                </a:cubicBezTo>
                <a:cubicBezTo>
                  <a:pt x="967" y="289"/>
                  <a:pt x="967" y="289"/>
                  <a:pt x="966" y="289"/>
                </a:cubicBezTo>
                <a:cubicBezTo>
                  <a:pt x="966" y="289"/>
                  <a:pt x="965" y="288"/>
                  <a:pt x="964" y="288"/>
                </a:cubicBezTo>
                <a:cubicBezTo>
                  <a:pt x="964" y="287"/>
                  <a:pt x="963" y="286"/>
                  <a:pt x="962" y="286"/>
                </a:cubicBezTo>
                <a:cubicBezTo>
                  <a:pt x="962" y="286"/>
                  <a:pt x="962" y="286"/>
                  <a:pt x="962" y="286"/>
                </a:cubicBezTo>
                <a:cubicBezTo>
                  <a:pt x="961" y="285"/>
                  <a:pt x="961" y="285"/>
                  <a:pt x="961" y="285"/>
                </a:cubicBezTo>
                <a:cubicBezTo>
                  <a:pt x="961" y="285"/>
                  <a:pt x="961" y="284"/>
                  <a:pt x="960" y="284"/>
                </a:cubicBezTo>
                <a:cubicBezTo>
                  <a:pt x="960" y="284"/>
                  <a:pt x="959" y="284"/>
                  <a:pt x="959" y="284"/>
                </a:cubicBezTo>
                <a:cubicBezTo>
                  <a:pt x="959" y="284"/>
                  <a:pt x="959" y="284"/>
                  <a:pt x="959" y="283"/>
                </a:cubicBezTo>
                <a:cubicBezTo>
                  <a:pt x="958" y="283"/>
                  <a:pt x="958" y="283"/>
                  <a:pt x="957" y="282"/>
                </a:cubicBezTo>
                <a:cubicBezTo>
                  <a:pt x="957" y="282"/>
                  <a:pt x="957" y="282"/>
                  <a:pt x="956" y="282"/>
                </a:cubicBezTo>
                <a:cubicBezTo>
                  <a:pt x="956" y="282"/>
                  <a:pt x="956" y="281"/>
                  <a:pt x="955" y="281"/>
                </a:cubicBezTo>
                <a:cubicBezTo>
                  <a:pt x="955" y="281"/>
                  <a:pt x="955" y="281"/>
                  <a:pt x="955" y="280"/>
                </a:cubicBezTo>
                <a:cubicBezTo>
                  <a:pt x="955" y="280"/>
                  <a:pt x="955" y="280"/>
                  <a:pt x="954" y="280"/>
                </a:cubicBezTo>
                <a:cubicBezTo>
                  <a:pt x="954" y="280"/>
                  <a:pt x="954" y="280"/>
                  <a:pt x="954" y="279"/>
                </a:cubicBezTo>
                <a:cubicBezTo>
                  <a:pt x="954" y="279"/>
                  <a:pt x="954" y="279"/>
                  <a:pt x="953" y="278"/>
                </a:cubicBezTo>
                <a:cubicBezTo>
                  <a:pt x="953" y="278"/>
                  <a:pt x="953" y="278"/>
                  <a:pt x="953" y="278"/>
                </a:cubicBezTo>
                <a:cubicBezTo>
                  <a:pt x="953" y="277"/>
                  <a:pt x="953" y="277"/>
                  <a:pt x="953" y="277"/>
                </a:cubicBezTo>
                <a:cubicBezTo>
                  <a:pt x="952" y="277"/>
                  <a:pt x="952" y="277"/>
                  <a:pt x="952" y="277"/>
                </a:cubicBezTo>
                <a:cubicBezTo>
                  <a:pt x="952" y="277"/>
                  <a:pt x="951" y="276"/>
                  <a:pt x="951" y="276"/>
                </a:cubicBezTo>
                <a:cubicBezTo>
                  <a:pt x="950" y="276"/>
                  <a:pt x="950" y="276"/>
                  <a:pt x="949" y="276"/>
                </a:cubicBezTo>
                <a:cubicBezTo>
                  <a:pt x="948" y="276"/>
                  <a:pt x="947" y="275"/>
                  <a:pt x="946" y="275"/>
                </a:cubicBezTo>
                <a:cubicBezTo>
                  <a:pt x="945" y="276"/>
                  <a:pt x="944" y="276"/>
                  <a:pt x="943" y="276"/>
                </a:cubicBezTo>
                <a:cubicBezTo>
                  <a:pt x="943" y="276"/>
                  <a:pt x="943" y="277"/>
                  <a:pt x="943" y="277"/>
                </a:cubicBezTo>
                <a:cubicBezTo>
                  <a:pt x="943" y="277"/>
                  <a:pt x="942" y="277"/>
                  <a:pt x="942" y="278"/>
                </a:cubicBezTo>
                <a:cubicBezTo>
                  <a:pt x="941" y="278"/>
                  <a:pt x="940" y="278"/>
                  <a:pt x="940" y="278"/>
                </a:cubicBezTo>
                <a:cubicBezTo>
                  <a:pt x="939" y="278"/>
                  <a:pt x="939" y="278"/>
                  <a:pt x="939" y="278"/>
                </a:cubicBezTo>
                <a:cubicBezTo>
                  <a:pt x="938" y="279"/>
                  <a:pt x="937" y="279"/>
                  <a:pt x="936" y="280"/>
                </a:cubicBezTo>
                <a:cubicBezTo>
                  <a:pt x="936" y="280"/>
                  <a:pt x="935" y="280"/>
                  <a:pt x="935" y="281"/>
                </a:cubicBezTo>
                <a:cubicBezTo>
                  <a:pt x="935" y="281"/>
                  <a:pt x="935" y="281"/>
                  <a:pt x="935" y="281"/>
                </a:cubicBezTo>
                <a:cubicBezTo>
                  <a:pt x="935" y="281"/>
                  <a:pt x="935" y="281"/>
                  <a:pt x="934" y="282"/>
                </a:cubicBezTo>
                <a:cubicBezTo>
                  <a:pt x="933" y="282"/>
                  <a:pt x="933" y="281"/>
                  <a:pt x="932" y="281"/>
                </a:cubicBezTo>
                <a:cubicBezTo>
                  <a:pt x="932" y="281"/>
                  <a:pt x="931" y="281"/>
                  <a:pt x="931" y="281"/>
                </a:cubicBezTo>
                <a:cubicBezTo>
                  <a:pt x="930" y="280"/>
                  <a:pt x="929" y="280"/>
                  <a:pt x="928" y="280"/>
                </a:cubicBezTo>
                <a:cubicBezTo>
                  <a:pt x="927" y="280"/>
                  <a:pt x="927" y="280"/>
                  <a:pt x="927" y="280"/>
                </a:cubicBezTo>
                <a:cubicBezTo>
                  <a:pt x="927" y="280"/>
                  <a:pt x="926" y="280"/>
                  <a:pt x="926" y="280"/>
                </a:cubicBezTo>
                <a:cubicBezTo>
                  <a:pt x="926" y="280"/>
                  <a:pt x="925" y="280"/>
                  <a:pt x="925" y="280"/>
                </a:cubicBezTo>
                <a:cubicBezTo>
                  <a:pt x="925" y="280"/>
                  <a:pt x="924" y="280"/>
                  <a:pt x="924" y="280"/>
                </a:cubicBezTo>
                <a:cubicBezTo>
                  <a:pt x="923" y="280"/>
                  <a:pt x="923" y="280"/>
                  <a:pt x="923" y="279"/>
                </a:cubicBezTo>
                <a:cubicBezTo>
                  <a:pt x="922" y="279"/>
                  <a:pt x="922" y="279"/>
                  <a:pt x="922" y="279"/>
                </a:cubicBezTo>
                <a:cubicBezTo>
                  <a:pt x="922" y="279"/>
                  <a:pt x="922" y="279"/>
                  <a:pt x="921" y="279"/>
                </a:cubicBezTo>
                <a:cubicBezTo>
                  <a:pt x="921" y="280"/>
                  <a:pt x="920" y="280"/>
                  <a:pt x="920" y="281"/>
                </a:cubicBezTo>
                <a:cubicBezTo>
                  <a:pt x="919" y="281"/>
                  <a:pt x="919" y="281"/>
                  <a:pt x="918" y="281"/>
                </a:cubicBezTo>
                <a:cubicBezTo>
                  <a:pt x="918" y="282"/>
                  <a:pt x="918" y="282"/>
                  <a:pt x="918" y="282"/>
                </a:cubicBezTo>
                <a:cubicBezTo>
                  <a:pt x="918" y="282"/>
                  <a:pt x="918" y="283"/>
                  <a:pt x="918" y="283"/>
                </a:cubicBezTo>
                <a:cubicBezTo>
                  <a:pt x="918" y="284"/>
                  <a:pt x="918" y="284"/>
                  <a:pt x="918" y="284"/>
                </a:cubicBezTo>
                <a:cubicBezTo>
                  <a:pt x="918" y="284"/>
                  <a:pt x="918" y="285"/>
                  <a:pt x="918" y="285"/>
                </a:cubicBezTo>
                <a:cubicBezTo>
                  <a:pt x="918" y="285"/>
                  <a:pt x="918" y="285"/>
                  <a:pt x="918" y="285"/>
                </a:cubicBezTo>
                <a:cubicBezTo>
                  <a:pt x="918" y="285"/>
                  <a:pt x="918" y="285"/>
                  <a:pt x="918" y="285"/>
                </a:cubicBezTo>
                <a:cubicBezTo>
                  <a:pt x="918" y="286"/>
                  <a:pt x="918" y="286"/>
                  <a:pt x="918" y="287"/>
                </a:cubicBezTo>
                <a:cubicBezTo>
                  <a:pt x="918" y="287"/>
                  <a:pt x="918" y="287"/>
                  <a:pt x="918" y="288"/>
                </a:cubicBezTo>
                <a:cubicBezTo>
                  <a:pt x="918" y="288"/>
                  <a:pt x="917" y="288"/>
                  <a:pt x="917" y="288"/>
                </a:cubicBezTo>
                <a:cubicBezTo>
                  <a:pt x="917" y="289"/>
                  <a:pt x="916" y="289"/>
                  <a:pt x="915" y="289"/>
                </a:cubicBezTo>
                <a:cubicBezTo>
                  <a:pt x="915" y="289"/>
                  <a:pt x="914" y="290"/>
                  <a:pt x="914" y="290"/>
                </a:cubicBezTo>
                <a:cubicBezTo>
                  <a:pt x="914" y="290"/>
                  <a:pt x="913" y="290"/>
                  <a:pt x="913" y="290"/>
                </a:cubicBezTo>
                <a:cubicBezTo>
                  <a:pt x="912" y="290"/>
                  <a:pt x="911" y="290"/>
                  <a:pt x="911" y="290"/>
                </a:cubicBezTo>
                <a:cubicBezTo>
                  <a:pt x="910" y="291"/>
                  <a:pt x="910" y="291"/>
                  <a:pt x="909" y="291"/>
                </a:cubicBezTo>
                <a:cubicBezTo>
                  <a:pt x="909" y="291"/>
                  <a:pt x="908" y="291"/>
                  <a:pt x="908" y="292"/>
                </a:cubicBezTo>
                <a:cubicBezTo>
                  <a:pt x="908" y="292"/>
                  <a:pt x="908" y="292"/>
                  <a:pt x="909" y="292"/>
                </a:cubicBezTo>
                <a:cubicBezTo>
                  <a:pt x="909" y="292"/>
                  <a:pt x="908" y="292"/>
                  <a:pt x="908" y="293"/>
                </a:cubicBezTo>
                <a:cubicBezTo>
                  <a:pt x="908" y="293"/>
                  <a:pt x="908" y="293"/>
                  <a:pt x="908" y="293"/>
                </a:cubicBezTo>
                <a:cubicBezTo>
                  <a:pt x="908" y="293"/>
                  <a:pt x="908" y="293"/>
                  <a:pt x="908" y="293"/>
                </a:cubicBezTo>
                <a:cubicBezTo>
                  <a:pt x="908" y="293"/>
                  <a:pt x="908" y="293"/>
                  <a:pt x="908" y="293"/>
                </a:cubicBezTo>
                <a:cubicBezTo>
                  <a:pt x="908" y="293"/>
                  <a:pt x="907" y="293"/>
                  <a:pt x="907" y="293"/>
                </a:cubicBezTo>
                <a:cubicBezTo>
                  <a:pt x="907" y="293"/>
                  <a:pt x="906" y="294"/>
                  <a:pt x="906" y="295"/>
                </a:cubicBezTo>
                <a:cubicBezTo>
                  <a:pt x="905" y="295"/>
                  <a:pt x="905" y="295"/>
                  <a:pt x="905" y="295"/>
                </a:cubicBezTo>
                <a:cubicBezTo>
                  <a:pt x="904" y="296"/>
                  <a:pt x="903" y="297"/>
                  <a:pt x="903" y="297"/>
                </a:cubicBezTo>
                <a:cubicBezTo>
                  <a:pt x="902" y="298"/>
                  <a:pt x="902" y="298"/>
                  <a:pt x="902" y="298"/>
                </a:cubicBezTo>
                <a:cubicBezTo>
                  <a:pt x="902" y="298"/>
                  <a:pt x="903" y="299"/>
                  <a:pt x="903" y="299"/>
                </a:cubicBezTo>
                <a:cubicBezTo>
                  <a:pt x="903" y="299"/>
                  <a:pt x="903" y="300"/>
                  <a:pt x="903" y="300"/>
                </a:cubicBezTo>
                <a:cubicBezTo>
                  <a:pt x="903" y="300"/>
                  <a:pt x="904" y="300"/>
                  <a:pt x="904" y="300"/>
                </a:cubicBezTo>
                <a:cubicBezTo>
                  <a:pt x="904" y="300"/>
                  <a:pt x="905" y="301"/>
                  <a:pt x="905" y="301"/>
                </a:cubicBezTo>
                <a:cubicBezTo>
                  <a:pt x="905" y="302"/>
                  <a:pt x="905" y="302"/>
                  <a:pt x="904" y="302"/>
                </a:cubicBezTo>
                <a:cubicBezTo>
                  <a:pt x="904" y="302"/>
                  <a:pt x="903" y="302"/>
                  <a:pt x="902" y="302"/>
                </a:cubicBezTo>
                <a:cubicBezTo>
                  <a:pt x="902" y="303"/>
                  <a:pt x="902" y="303"/>
                  <a:pt x="902" y="303"/>
                </a:cubicBezTo>
                <a:cubicBezTo>
                  <a:pt x="902" y="304"/>
                  <a:pt x="901" y="304"/>
                  <a:pt x="901" y="305"/>
                </a:cubicBezTo>
                <a:cubicBezTo>
                  <a:pt x="901" y="305"/>
                  <a:pt x="901" y="306"/>
                  <a:pt x="901" y="306"/>
                </a:cubicBezTo>
                <a:cubicBezTo>
                  <a:pt x="901" y="306"/>
                  <a:pt x="901" y="306"/>
                  <a:pt x="901" y="306"/>
                </a:cubicBezTo>
                <a:cubicBezTo>
                  <a:pt x="901" y="307"/>
                  <a:pt x="901" y="307"/>
                  <a:pt x="901" y="307"/>
                </a:cubicBezTo>
                <a:cubicBezTo>
                  <a:pt x="900" y="307"/>
                  <a:pt x="899" y="307"/>
                  <a:pt x="899" y="307"/>
                </a:cubicBezTo>
                <a:cubicBezTo>
                  <a:pt x="898" y="307"/>
                  <a:pt x="897" y="308"/>
                  <a:pt x="896" y="308"/>
                </a:cubicBezTo>
                <a:cubicBezTo>
                  <a:pt x="896" y="308"/>
                  <a:pt x="896" y="309"/>
                  <a:pt x="896" y="309"/>
                </a:cubicBezTo>
                <a:cubicBezTo>
                  <a:pt x="895" y="309"/>
                  <a:pt x="895" y="310"/>
                  <a:pt x="895" y="310"/>
                </a:cubicBezTo>
                <a:cubicBezTo>
                  <a:pt x="894" y="310"/>
                  <a:pt x="894" y="310"/>
                  <a:pt x="893" y="310"/>
                </a:cubicBezTo>
                <a:cubicBezTo>
                  <a:pt x="893" y="310"/>
                  <a:pt x="893" y="310"/>
                  <a:pt x="892" y="309"/>
                </a:cubicBezTo>
                <a:cubicBezTo>
                  <a:pt x="892" y="310"/>
                  <a:pt x="892" y="310"/>
                  <a:pt x="892" y="310"/>
                </a:cubicBezTo>
                <a:cubicBezTo>
                  <a:pt x="892" y="310"/>
                  <a:pt x="891" y="310"/>
                  <a:pt x="891" y="311"/>
                </a:cubicBezTo>
                <a:cubicBezTo>
                  <a:pt x="891" y="310"/>
                  <a:pt x="890" y="310"/>
                  <a:pt x="890" y="310"/>
                </a:cubicBezTo>
                <a:cubicBezTo>
                  <a:pt x="890" y="310"/>
                  <a:pt x="890" y="310"/>
                  <a:pt x="889" y="310"/>
                </a:cubicBezTo>
                <a:cubicBezTo>
                  <a:pt x="889" y="310"/>
                  <a:pt x="889" y="310"/>
                  <a:pt x="889" y="310"/>
                </a:cubicBezTo>
                <a:cubicBezTo>
                  <a:pt x="888" y="310"/>
                  <a:pt x="888" y="310"/>
                  <a:pt x="887" y="310"/>
                </a:cubicBezTo>
                <a:cubicBezTo>
                  <a:pt x="887" y="310"/>
                  <a:pt x="886" y="310"/>
                  <a:pt x="885" y="310"/>
                </a:cubicBezTo>
                <a:cubicBezTo>
                  <a:pt x="885" y="310"/>
                  <a:pt x="885" y="310"/>
                  <a:pt x="884" y="310"/>
                </a:cubicBezTo>
                <a:cubicBezTo>
                  <a:pt x="884" y="310"/>
                  <a:pt x="883" y="311"/>
                  <a:pt x="882" y="311"/>
                </a:cubicBezTo>
                <a:cubicBezTo>
                  <a:pt x="882" y="311"/>
                  <a:pt x="881" y="311"/>
                  <a:pt x="881" y="312"/>
                </a:cubicBezTo>
                <a:cubicBezTo>
                  <a:pt x="880" y="312"/>
                  <a:pt x="880" y="312"/>
                  <a:pt x="879" y="312"/>
                </a:cubicBezTo>
                <a:cubicBezTo>
                  <a:pt x="879" y="312"/>
                  <a:pt x="878" y="312"/>
                  <a:pt x="878" y="313"/>
                </a:cubicBezTo>
                <a:cubicBezTo>
                  <a:pt x="878" y="313"/>
                  <a:pt x="878" y="313"/>
                  <a:pt x="878" y="313"/>
                </a:cubicBezTo>
                <a:cubicBezTo>
                  <a:pt x="878" y="313"/>
                  <a:pt x="877" y="314"/>
                  <a:pt x="877" y="314"/>
                </a:cubicBezTo>
                <a:cubicBezTo>
                  <a:pt x="876" y="314"/>
                  <a:pt x="876" y="314"/>
                  <a:pt x="875" y="314"/>
                </a:cubicBezTo>
                <a:cubicBezTo>
                  <a:pt x="874" y="313"/>
                  <a:pt x="874" y="313"/>
                  <a:pt x="873" y="313"/>
                </a:cubicBezTo>
                <a:cubicBezTo>
                  <a:pt x="873" y="312"/>
                  <a:pt x="872" y="311"/>
                  <a:pt x="872" y="311"/>
                </a:cubicBezTo>
                <a:cubicBezTo>
                  <a:pt x="872" y="311"/>
                  <a:pt x="872" y="311"/>
                  <a:pt x="872" y="311"/>
                </a:cubicBezTo>
                <a:cubicBezTo>
                  <a:pt x="872" y="310"/>
                  <a:pt x="871" y="310"/>
                  <a:pt x="870" y="309"/>
                </a:cubicBezTo>
                <a:cubicBezTo>
                  <a:pt x="870" y="309"/>
                  <a:pt x="869" y="309"/>
                  <a:pt x="868" y="309"/>
                </a:cubicBezTo>
                <a:cubicBezTo>
                  <a:pt x="868" y="309"/>
                  <a:pt x="868" y="309"/>
                  <a:pt x="868" y="309"/>
                </a:cubicBezTo>
                <a:cubicBezTo>
                  <a:pt x="868" y="309"/>
                  <a:pt x="868" y="309"/>
                  <a:pt x="868" y="309"/>
                </a:cubicBezTo>
                <a:cubicBezTo>
                  <a:pt x="867" y="309"/>
                  <a:pt x="867" y="309"/>
                  <a:pt x="867" y="309"/>
                </a:cubicBezTo>
                <a:cubicBezTo>
                  <a:pt x="867" y="309"/>
                  <a:pt x="866" y="309"/>
                  <a:pt x="866" y="310"/>
                </a:cubicBezTo>
                <a:cubicBezTo>
                  <a:pt x="865" y="310"/>
                  <a:pt x="865" y="310"/>
                  <a:pt x="864" y="310"/>
                </a:cubicBezTo>
                <a:cubicBezTo>
                  <a:pt x="864" y="310"/>
                  <a:pt x="864" y="310"/>
                  <a:pt x="863" y="310"/>
                </a:cubicBezTo>
                <a:cubicBezTo>
                  <a:pt x="863" y="310"/>
                  <a:pt x="862" y="309"/>
                  <a:pt x="861" y="309"/>
                </a:cubicBezTo>
                <a:cubicBezTo>
                  <a:pt x="861" y="310"/>
                  <a:pt x="860" y="310"/>
                  <a:pt x="860" y="310"/>
                </a:cubicBezTo>
                <a:cubicBezTo>
                  <a:pt x="860" y="310"/>
                  <a:pt x="859" y="310"/>
                  <a:pt x="859" y="310"/>
                </a:cubicBezTo>
                <a:cubicBezTo>
                  <a:pt x="859" y="310"/>
                  <a:pt x="859" y="310"/>
                  <a:pt x="860" y="310"/>
                </a:cubicBezTo>
                <a:cubicBezTo>
                  <a:pt x="860" y="309"/>
                  <a:pt x="860" y="309"/>
                  <a:pt x="860" y="308"/>
                </a:cubicBezTo>
                <a:cubicBezTo>
                  <a:pt x="860" y="307"/>
                  <a:pt x="860" y="307"/>
                  <a:pt x="860" y="306"/>
                </a:cubicBezTo>
                <a:cubicBezTo>
                  <a:pt x="860" y="306"/>
                  <a:pt x="860" y="306"/>
                  <a:pt x="860" y="305"/>
                </a:cubicBezTo>
                <a:cubicBezTo>
                  <a:pt x="860" y="305"/>
                  <a:pt x="860" y="305"/>
                  <a:pt x="860" y="304"/>
                </a:cubicBezTo>
                <a:cubicBezTo>
                  <a:pt x="860" y="304"/>
                  <a:pt x="860" y="304"/>
                  <a:pt x="860" y="304"/>
                </a:cubicBezTo>
                <a:cubicBezTo>
                  <a:pt x="860" y="304"/>
                  <a:pt x="860" y="304"/>
                  <a:pt x="859" y="304"/>
                </a:cubicBezTo>
                <a:cubicBezTo>
                  <a:pt x="859" y="304"/>
                  <a:pt x="859" y="304"/>
                  <a:pt x="858" y="304"/>
                </a:cubicBezTo>
                <a:cubicBezTo>
                  <a:pt x="858" y="304"/>
                  <a:pt x="858" y="304"/>
                  <a:pt x="858" y="304"/>
                </a:cubicBezTo>
                <a:cubicBezTo>
                  <a:pt x="858" y="304"/>
                  <a:pt x="858" y="303"/>
                  <a:pt x="858" y="303"/>
                </a:cubicBezTo>
                <a:cubicBezTo>
                  <a:pt x="858" y="303"/>
                  <a:pt x="859" y="303"/>
                  <a:pt x="859" y="303"/>
                </a:cubicBezTo>
                <a:cubicBezTo>
                  <a:pt x="859" y="302"/>
                  <a:pt x="859" y="302"/>
                  <a:pt x="859" y="302"/>
                </a:cubicBezTo>
                <a:cubicBezTo>
                  <a:pt x="859" y="302"/>
                  <a:pt x="859" y="302"/>
                  <a:pt x="859" y="302"/>
                </a:cubicBezTo>
                <a:cubicBezTo>
                  <a:pt x="859" y="302"/>
                  <a:pt x="859" y="302"/>
                  <a:pt x="858" y="302"/>
                </a:cubicBezTo>
                <a:cubicBezTo>
                  <a:pt x="858" y="302"/>
                  <a:pt x="858" y="303"/>
                  <a:pt x="858" y="303"/>
                </a:cubicBezTo>
                <a:cubicBezTo>
                  <a:pt x="857" y="303"/>
                  <a:pt x="857" y="303"/>
                  <a:pt x="857" y="303"/>
                </a:cubicBezTo>
                <a:cubicBezTo>
                  <a:pt x="857" y="303"/>
                  <a:pt x="857" y="303"/>
                  <a:pt x="857" y="302"/>
                </a:cubicBezTo>
                <a:cubicBezTo>
                  <a:pt x="857" y="302"/>
                  <a:pt x="857" y="301"/>
                  <a:pt x="857" y="300"/>
                </a:cubicBezTo>
                <a:cubicBezTo>
                  <a:pt x="858" y="300"/>
                  <a:pt x="858" y="299"/>
                  <a:pt x="858" y="299"/>
                </a:cubicBezTo>
                <a:cubicBezTo>
                  <a:pt x="858" y="298"/>
                  <a:pt x="858" y="298"/>
                  <a:pt x="858" y="298"/>
                </a:cubicBezTo>
                <a:cubicBezTo>
                  <a:pt x="859" y="298"/>
                  <a:pt x="859" y="297"/>
                  <a:pt x="860" y="297"/>
                </a:cubicBezTo>
                <a:cubicBezTo>
                  <a:pt x="860" y="296"/>
                  <a:pt x="860" y="296"/>
                  <a:pt x="860" y="296"/>
                </a:cubicBezTo>
                <a:cubicBezTo>
                  <a:pt x="860" y="295"/>
                  <a:pt x="860" y="295"/>
                  <a:pt x="860" y="295"/>
                </a:cubicBezTo>
                <a:cubicBezTo>
                  <a:pt x="860" y="294"/>
                  <a:pt x="861" y="294"/>
                  <a:pt x="861" y="294"/>
                </a:cubicBezTo>
                <a:cubicBezTo>
                  <a:pt x="860" y="294"/>
                  <a:pt x="860" y="294"/>
                  <a:pt x="860" y="293"/>
                </a:cubicBezTo>
                <a:cubicBezTo>
                  <a:pt x="860" y="293"/>
                  <a:pt x="860" y="293"/>
                  <a:pt x="860" y="292"/>
                </a:cubicBezTo>
                <a:cubicBezTo>
                  <a:pt x="860" y="292"/>
                  <a:pt x="860" y="292"/>
                  <a:pt x="860" y="292"/>
                </a:cubicBezTo>
                <a:cubicBezTo>
                  <a:pt x="860" y="291"/>
                  <a:pt x="860" y="290"/>
                  <a:pt x="860" y="290"/>
                </a:cubicBezTo>
                <a:cubicBezTo>
                  <a:pt x="860" y="289"/>
                  <a:pt x="860" y="289"/>
                  <a:pt x="859" y="288"/>
                </a:cubicBezTo>
                <a:cubicBezTo>
                  <a:pt x="859" y="288"/>
                  <a:pt x="859" y="288"/>
                  <a:pt x="859" y="288"/>
                </a:cubicBezTo>
                <a:cubicBezTo>
                  <a:pt x="859" y="288"/>
                  <a:pt x="859" y="288"/>
                  <a:pt x="859" y="287"/>
                </a:cubicBezTo>
                <a:cubicBezTo>
                  <a:pt x="860" y="287"/>
                  <a:pt x="860" y="287"/>
                  <a:pt x="861" y="287"/>
                </a:cubicBezTo>
                <a:cubicBezTo>
                  <a:pt x="860" y="287"/>
                  <a:pt x="860" y="287"/>
                  <a:pt x="860" y="287"/>
                </a:cubicBezTo>
                <a:cubicBezTo>
                  <a:pt x="860" y="286"/>
                  <a:pt x="860" y="286"/>
                  <a:pt x="860" y="286"/>
                </a:cubicBezTo>
                <a:cubicBezTo>
                  <a:pt x="860" y="286"/>
                  <a:pt x="860" y="286"/>
                  <a:pt x="860" y="286"/>
                </a:cubicBezTo>
                <a:cubicBezTo>
                  <a:pt x="860" y="286"/>
                  <a:pt x="860" y="285"/>
                  <a:pt x="860" y="285"/>
                </a:cubicBezTo>
                <a:cubicBezTo>
                  <a:pt x="860" y="285"/>
                  <a:pt x="859" y="285"/>
                  <a:pt x="859" y="286"/>
                </a:cubicBezTo>
                <a:cubicBezTo>
                  <a:pt x="859" y="286"/>
                  <a:pt x="859" y="286"/>
                  <a:pt x="859" y="286"/>
                </a:cubicBezTo>
                <a:cubicBezTo>
                  <a:pt x="859" y="285"/>
                  <a:pt x="859" y="285"/>
                  <a:pt x="859" y="285"/>
                </a:cubicBezTo>
                <a:cubicBezTo>
                  <a:pt x="859" y="285"/>
                  <a:pt x="859" y="284"/>
                  <a:pt x="859" y="284"/>
                </a:cubicBezTo>
                <a:cubicBezTo>
                  <a:pt x="859" y="284"/>
                  <a:pt x="859" y="284"/>
                  <a:pt x="859" y="284"/>
                </a:cubicBezTo>
                <a:cubicBezTo>
                  <a:pt x="858" y="284"/>
                  <a:pt x="858" y="284"/>
                  <a:pt x="858" y="284"/>
                </a:cubicBezTo>
                <a:cubicBezTo>
                  <a:pt x="858" y="284"/>
                  <a:pt x="858" y="284"/>
                  <a:pt x="857" y="283"/>
                </a:cubicBezTo>
                <a:cubicBezTo>
                  <a:pt x="858" y="283"/>
                  <a:pt x="858" y="283"/>
                  <a:pt x="858" y="283"/>
                </a:cubicBezTo>
                <a:cubicBezTo>
                  <a:pt x="859" y="282"/>
                  <a:pt x="859" y="282"/>
                  <a:pt x="860" y="282"/>
                </a:cubicBezTo>
                <a:cubicBezTo>
                  <a:pt x="860" y="282"/>
                  <a:pt x="860" y="282"/>
                  <a:pt x="861" y="282"/>
                </a:cubicBezTo>
                <a:cubicBezTo>
                  <a:pt x="861" y="282"/>
                  <a:pt x="862" y="282"/>
                  <a:pt x="862" y="282"/>
                </a:cubicBezTo>
                <a:cubicBezTo>
                  <a:pt x="863" y="282"/>
                  <a:pt x="863" y="282"/>
                  <a:pt x="863" y="282"/>
                </a:cubicBezTo>
                <a:cubicBezTo>
                  <a:pt x="863" y="281"/>
                  <a:pt x="863" y="281"/>
                  <a:pt x="862" y="281"/>
                </a:cubicBezTo>
                <a:cubicBezTo>
                  <a:pt x="862" y="281"/>
                  <a:pt x="862" y="281"/>
                  <a:pt x="862" y="281"/>
                </a:cubicBezTo>
                <a:cubicBezTo>
                  <a:pt x="863" y="280"/>
                  <a:pt x="864" y="280"/>
                  <a:pt x="864" y="280"/>
                </a:cubicBezTo>
                <a:cubicBezTo>
                  <a:pt x="864" y="280"/>
                  <a:pt x="864" y="280"/>
                  <a:pt x="864" y="280"/>
                </a:cubicBezTo>
                <a:cubicBezTo>
                  <a:pt x="865" y="280"/>
                  <a:pt x="865" y="280"/>
                  <a:pt x="865" y="280"/>
                </a:cubicBezTo>
                <a:cubicBezTo>
                  <a:pt x="866" y="280"/>
                  <a:pt x="866" y="280"/>
                  <a:pt x="867" y="280"/>
                </a:cubicBezTo>
                <a:cubicBezTo>
                  <a:pt x="867" y="280"/>
                  <a:pt x="867" y="280"/>
                  <a:pt x="868" y="281"/>
                </a:cubicBezTo>
                <a:cubicBezTo>
                  <a:pt x="868" y="281"/>
                  <a:pt x="868" y="280"/>
                  <a:pt x="869" y="280"/>
                </a:cubicBezTo>
                <a:cubicBezTo>
                  <a:pt x="869" y="280"/>
                  <a:pt x="870" y="280"/>
                  <a:pt x="870" y="280"/>
                </a:cubicBezTo>
                <a:cubicBezTo>
                  <a:pt x="870" y="280"/>
                  <a:pt x="871" y="280"/>
                  <a:pt x="871" y="280"/>
                </a:cubicBezTo>
                <a:cubicBezTo>
                  <a:pt x="872" y="280"/>
                  <a:pt x="872" y="280"/>
                  <a:pt x="873" y="280"/>
                </a:cubicBezTo>
                <a:cubicBezTo>
                  <a:pt x="873" y="280"/>
                  <a:pt x="874" y="280"/>
                  <a:pt x="874" y="280"/>
                </a:cubicBezTo>
                <a:cubicBezTo>
                  <a:pt x="874" y="280"/>
                  <a:pt x="874" y="280"/>
                  <a:pt x="875" y="280"/>
                </a:cubicBezTo>
                <a:cubicBezTo>
                  <a:pt x="875" y="280"/>
                  <a:pt x="876" y="280"/>
                  <a:pt x="876" y="280"/>
                </a:cubicBezTo>
                <a:cubicBezTo>
                  <a:pt x="877" y="281"/>
                  <a:pt x="879" y="281"/>
                  <a:pt x="880" y="281"/>
                </a:cubicBezTo>
                <a:cubicBezTo>
                  <a:pt x="880" y="281"/>
                  <a:pt x="881" y="281"/>
                  <a:pt x="882" y="281"/>
                </a:cubicBezTo>
                <a:cubicBezTo>
                  <a:pt x="882" y="281"/>
                  <a:pt x="883" y="280"/>
                  <a:pt x="884" y="280"/>
                </a:cubicBezTo>
                <a:cubicBezTo>
                  <a:pt x="885" y="280"/>
                  <a:pt x="885" y="280"/>
                  <a:pt x="886" y="280"/>
                </a:cubicBezTo>
                <a:cubicBezTo>
                  <a:pt x="886" y="280"/>
                  <a:pt x="886" y="280"/>
                  <a:pt x="887" y="281"/>
                </a:cubicBezTo>
                <a:cubicBezTo>
                  <a:pt x="887" y="281"/>
                  <a:pt x="888" y="281"/>
                  <a:pt x="888" y="281"/>
                </a:cubicBezTo>
                <a:cubicBezTo>
                  <a:pt x="889" y="281"/>
                  <a:pt x="889" y="280"/>
                  <a:pt x="889" y="280"/>
                </a:cubicBezTo>
                <a:cubicBezTo>
                  <a:pt x="890" y="280"/>
                  <a:pt x="890" y="280"/>
                  <a:pt x="890" y="280"/>
                </a:cubicBezTo>
                <a:cubicBezTo>
                  <a:pt x="891" y="281"/>
                  <a:pt x="892" y="281"/>
                  <a:pt x="893" y="281"/>
                </a:cubicBezTo>
                <a:cubicBezTo>
                  <a:pt x="893" y="281"/>
                  <a:pt x="894" y="281"/>
                  <a:pt x="894" y="281"/>
                </a:cubicBezTo>
                <a:cubicBezTo>
                  <a:pt x="894" y="281"/>
                  <a:pt x="894" y="281"/>
                  <a:pt x="895" y="281"/>
                </a:cubicBezTo>
                <a:cubicBezTo>
                  <a:pt x="895" y="281"/>
                  <a:pt x="895" y="280"/>
                  <a:pt x="895" y="280"/>
                </a:cubicBezTo>
                <a:cubicBezTo>
                  <a:pt x="895" y="280"/>
                  <a:pt x="896" y="280"/>
                  <a:pt x="896" y="280"/>
                </a:cubicBezTo>
                <a:cubicBezTo>
                  <a:pt x="897" y="279"/>
                  <a:pt x="897" y="278"/>
                  <a:pt x="897" y="278"/>
                </a:cubicBezTo>
                <a:cubicBezTo>
                  <a:pt x="897" y="277"/>
                  <a:pt x="897" y="276"/>
                  <a:pt x="897" y="275"/>
                </a:cubicBezTo>
                <a:cubicBezTo>
                  <a:pt x="898" y="275"/>
                  <a:pt x="898" y="275"/>
                  <a:pt x="898" y="275"/>
                </a:cubicBezTo>
                <a:cubicBezTo>
                  <a:pt x="898" y="275"/>
                  <a:pt x="897" y="274"/>
                  <a:pt x="897" y="274"/>
                </a:cubicBezTo>
                <a:cubicBezTo>
                  <a:pt x="897" y="274"/>
                  <a:pt x="897" y="273"/>
                  <a:pt x="897" y="273"/>
                </a:cubicBezTo>
                <a:cubicBezTo>
                  <a:pt x="897" y="272"/>
                  <a:pt x="897" y="272"/>
                  <a:pt x="898" y="271"/>
                </a:cubicBezTo>
                <a:cubicBezTo>
                  <a:pt x="898" y="271"/>
                  <a:pt x="898" y="271"/>
                  <a:pt x="898" y="271"/>
                </a:cubicBezTo>
                <a:cubicBezTo>
                  <a:pt x="898" y="271"/>
                  <a:pt x="899" y="271"/>
                  <a:pt x="899" y="271"/>
                </a:cubicBezTo>
                <a:cubicBezTo>
                  <a:pt x="899" y="272"/>
                  <a:pt x="899" y="272"/>
                  <a:pt x="900" y="272"/>
                </a:cubicBezTo>
                <a:cubicBezTo>
                  <a:pt x="900" y="272"/>
                  <a:pt x="901" y="273"/>
                  <a:pt x="901" y="273"/>
                </a:cubicBezTo>
                <a:cubicBezTo>
                  <a:pt x="901" y="272"/>
                  <a:pt x="900" y="272"/>
                  <a:pt x="900" y="271"/>
                </a:cubicBezTo>
                <a:cubicBezTo>
                  <a:pt x="899" y="271"/>
                  <a:pt x="899" y="270"/>
                  <a:pt x="898" y="270"/>
                </a:cubicBezTo>
                <a:cubicBezTo>
                  <a:pt x="898" y="270"/>
                  <a:pt x="897" y="270"/>
                  <a:pt x="897" y="270"/>
                </a:cubicBezTo>
                <a:cubicBezTo>
                  <a:pt x="897" y="270"/>
                  <a:pt x="897" y="270"/>
                  <a:pt x="897" y="269"/>
                </a:cubicBezTo>
                <a:cubicBezTo>
                  <a:pt x="897" y="269"/>
                  <a:pt x="898" y="269"/>
                  <a:pt x="898" y="269"/>
                </a:cubicBezTo>
                <a:cubicBezTo>
                  <a:pt x="898" y="269"/>
                  <a:pt x="898" y="269"/>
                  <a:pt x="898" y="269"/>
                </a:cubicBezTo>
                <a:cubicBezTo>
                  <a:pt x="898" y="268"/>
                  <a:pt x="898" y="268"/>
                  <a:pt x="897" y="268"/>
                </a:cubicBezTo>
                <a:cubicBezTo>
                  <a:pt x="897" y="268"/>
                  <a:pt x="897" y="268"/>
                  <a:pt x="897" y="267"/>
                </a:cubicBezTo>
                <a:cubicBezTo>
                  <a:pt x="897" y="267"/>
                  <a:pt x="897" y="267"/>
                  <a:pt x="896" y="267"/>
                </a:cubicBezTo>
                <a:cubicBezTo>
                  <a:pt x="896" y="267"/>
                  <a:pt x="895" y="267"/>
                  <a:pt x="895" y="267"/>
                </a:cubicBezTo>
                <a:cubicBezTo>
                  <a:pt x="894" y="266"/>
                  <a:pt x="894" y="266"/>
                  <a:pt x="894" y="266"/>
                </a:cubicBezTo>
                <a:cubicBezTo>
                  <a:pt x="893" y="266"/>
                  <a:pt x="893" y="266"/>
                  <a:pt x="893" y="266"/>
                </a:cubicBezTo>
                <a:cubicBezTo>
                  <a:pt x="893" y="265"/>
                  <a:pt x="892" y="265"/>
                  <a:pt x="892" y="265"/>
                </a:cubicBezTo>
                <a:cubicBezTo>
                  <a:pt x="893" y="265"/>
                  <a:pt x="893" y="265"/>
                  <a:pt x="893" y="265"/>
                </a:cubicBezTo>
                <a:cubicBezTo>
                  <a:pt x="893" y="264"/>
                  <a:pt x="893" y="264"/>
                  <a:pt x="893" y="264"/>
                </a:cubicBezTo>
                <a:cubicBezTo>
                  <a:pt x="892" y="264"/>
                  <a:pt x="892" y="264"/>
                  <a:pt x="892" y="264"/>
                </a:cubicBezTo>
                <a:cubicBezTo>
                  <a:pt x="892" y="263"/>
                  <a:pt x="892" y="263"/>
                  <a:pt x="893" y="263"/>
                </a:cubicBezTo>
                <a:cubicBezTo>
                  <a:pt x="893" y="263"/>
                  <a:pt x="893" y="263"/>
                  <a:pt x="894" y="263"/>
                </a:cubicBezTo>
                <a:cubicBezTo>
                  <a:pt x="894" y="263"/>
                  <a:pt x="894" y="263"/>
                  <a:pt x="895" y="263"/>
                </a:cubicBezTo>
                <a:cubicBezTo>
                  <a:pt x="894" y="263"/>
                  <a:pt x="894" y="263"/>
                  <a:pt x="894" y="263"/>
                </a:cubicBezTo>
                <a:cubicBezTo>
                  <a:pt x="893" y="263"/>
                  <a:pt x="893" y="263"/>
                  <a:pt x="893" y="263"/>
                </a:cubicBezTo>
                <a:cubicBezTo>
                  <a:pt x="892" y="263"/>
                  <a:pt x="892" y="263"/>
                  <a:pt x="892" y="263"/>
                </a:cubicBezTo>
                <a:cubicBezTo>
                  <a:pt x="891" y="263"/>
                  <a:pt x="891" y="263"/>
                  <a:pt x="891" y="263"/>
                </a:cubicBezTo>
                <a:cubicBezTo>
                  <a:pt x="891" y="263"/>
                  <a:pt x="891" y="263"/>
                  <a:pt x="890" y="263"/>
                </a:cubicBezTo>
                <a:cubicBezTo>
                  <a:pt x="891" y="262"/>
                  <a:pt x="891" y="262"/>
                  <a:pt x="891" y="262"/>
                </a:cubicBezTo>
                <a:cubicBezTo>
                  <a:pt x="891" y="262"/>
                  <a:pt x="891" y="262"/>
                  <a:pt x="890" y="262"/>
                </a:cubicBezTo>
                <a:cubicBezTo>
                  <a:pt x="890" y="262"/>
                  <a:pt x="890" y="262"/>
                  <a:pt x="889" y="262"/>
                </a:cubicBezTo>
                <a:cubicBezTo>
                  <a:pt x="889" y="262"/>
                  <a:pt x="889" y="262"/>
                  <a:pt x="889" y="262"/>
                </a:cubicBezTo>
                <a:cubicBezTo>
                  <a:pt x="889" y="262"/>
                  <a:pt x="889" y="261"/>
                  <a:pt x="889" y="261"/>
                </a:cubicBezTo>
                <a:cubicBezTo>
                  <a:pt x="889" y="261"/>
                  <a:pt x="889" y="261"/>
                  <a:pt x="889" y="261"/>
                </a:cubicBezTo>
                <a:cubicBezTo>
                  <a:pt x="889" y="261"/>
                  <a:pt x="888" y="262"/>
                  <a:pt x="888" y="262"/>
                </a:cubicBezTo>
                <a:cubicBezTo>
                  <a:pt x="888" y="262"/>
                  <a:pt x="887" y="261"/>
                  <a:pt x="887" y="261"/>
                </a:cubicBezTo>
                <a:cubicBezTo>
                  <a:pt x="886" y="261"/>
                  <a:pt x="886" y="261"/>
                  <a:pt x="886" y="261"/>
                </a:cubicBezTo>
                <a:cubicBezTo>
                  <a:pt x="886" y="261"/>
                  <a:pt x="886" y="261"/>
                  <a:pt x="886" y="261"/>
                </a:cubicBezTo>
                <a:cubicBezTo>
                  <a:pt x="885" y="261"/>
                  <a:pt x="884" y="261"/>
                  <a:pt x="884" y="260"/>
                </a:cubicBezTo>
                <a:cubicBezTo>
                  <a:pt x="884" y="260"/>
                  <a:pt x="883" y="260"/>
                  <a:pt x="883" y="261"/>
                </a:cubicBezTo>
                <a:cubicBezTo>
                  <a:pt x="883" y="260"/>
                  <a:pt x="883" y="260"/>
                  <a:pt x="882" y="260"/>
                </a:cubicBezTo>
                <a:cubicBezTo>
                  <a:pt x="882" y="261"/>
                  <a:pt x="882" y="261"/>
                  <a:pt x="881" y="261"/>
                </a:cubicBezTo>
                <a:cubicBezTo>
                  <a:pt x="881" y="261"/>
                  <a:pt x="881" y="261"/>
                  <a:pt x="881" y="261"/>
                </a:cubicBezTo>
                <a:cubicBezTo>
                  <a:pt x="881" y="260"/>
                  <a:pt x="881" y="260"/>
                  <a:pt x="881" y="260"/>
                </a:cubicBezTo>
                <a:cubicBezTo>
                  <a:pt x="881" y="260"/>
                  <a:pt x="880" y="260"/>
                  <a:pt x="880" y="260"/>
                </a:cubicBezTo>
                <a:cubicBezTo>
                  <a:pt x="880" y="260"/>
                  <a:pt x="880" y="260"/>
                  <a:pt x="880" y="260"/>
                </a:cubicBezTo>
                <a:cubicBezTo>
                  <a:pt x="880" y="259"/>
                  <a:pt x="881" y="259"/>
                  <a:pt x="881" y="259"/>
                </a:cubicBezTo>
                <a:cubicBezTo>
                  <a:pt x="881" y="259"/>
                  <a:pt x="881" y="259"/>
                  <a:pt x="882" y="259"/>
                </a:cubicBezTo>
                <a:cubicBezTo>
                  <a:pt x="882" y="259"/>
                  <a:pt x="882" y="259"/>
                  <a:pt x="881" y="259"/>
                </a:cubicBezTo>
                <a:cubicBezTo>
                  <a:pt x="881" y="259"/>
                  <a:pt x="881" y="259"/>
                  <a:pt x="881" y="258"/>
                </a:cubicBezTo>
                <a:cubicBezTo>
                  <a:pt x="881" y="259"/>
                  <a:pt x="881" y="259"/>
                  <a:pt x="880" y="259"/>
                </a:cubicBezTo>
                <a:cubicBezTo>
                  <a:pt x="880" y="259"/>
                  <a:pt x="880" y="259"/>
                  <a:pt x="880" y="258"/>
                </a:cubicBezTo>
                <a:cubicBezTo>
                  <a:pt x="880" y="258"/>
                  <a:pt x="880" y="258"/>
                  <a:pt x="881" y="258"/>
                </a:cubicBezTo>
                <a:cubicBezTo>
                  <a:pt x="881" y="258"/>
                  <a:pt x="881" y="258"/>
                  <a:pt x="882" y="258"/>
                </a:cubicBezTo>
                <a:cubicBezTo>
                  <a:pt x="882" y="258"/>
                  <a:pt x="882" y="258"/>
                  <a:pt x="881" y="258"/>
                </a:cubicBezTo>
                <a:cubicBezTo>
                  <a:pt x="881" y="258"/>
                  <a:pt x="881" y="258"/>
                  <a:pt x="881" y="258"/>
                </a:cubicBezTo>
                <a:cubicBezTo>
                  <a:pt x="880" y="258"/>
                  <a:pt x="880" y="258"/>
                  <a:pt x="880" y="258"/>
                </a:cubicBezTo>
                <a:cubicBezTo>
                  <a:pt x="879" y="258"/>
                  <a:pt x="879" y="258"/>
                  <a:pt x="879" y="258"/>
                </a:cubicBezTo>
                <a:cubicBezTo>
                  <a:pt x="879" y="258"/>
                  <a:pt x="880" y="257"/>
                  <a:pt x="880" y="257"/>
                </a:cubicBezTo>
                <a:cubicBezTo>
                  <a:pt x="880" y="257"/>
                  <a:pt x="881" y="257"/>
                  <a:pt x="882" y="257"/>
                </a:cubicBezTo>
                <a:cubicBezTo>
                  <a:pt x="882" y="257"/>
                  <a:pt x="882" y="257"/>
                  <a:pt x="882" y="257"/>
                </a:cubicBezTo>
                <a:cubicBezTo>
                  <a:pt x="883" y="256"/>
                  <a:pt x="883" y="256"/>
                  <a:pt x="883" y="256"/>
                </a:cubicBezTo>
                <a:cubicBezTo>
                  <a:pt x="883" y="256"/>
                  <a:pt x="884" y="257"/>
                  <a:pt x="884" y="257"/>
                </a:cubicBezTo>
                <a:cubicBezTo>
                  <a:pt x="884" y="256"/>
                  <a:pt x="884" y="256"/>
                  <a:pt x="884" y="256"/>
                </a:cubicBezTo>
                <a:cubicBezTo>
                  <a:pt x="885" y="256"/>
                  <a:pt x="885" y="256"/>
                  <a:pt x="885" y="256"/>
                </a:cubicBezTo>
                <a:cubicBezTo>
                  <a:pt x="885" y="256"/>
                  <a:pt x="886" y="256"/>
                  <a:pt x="886" y="256"/>
                </a:cubicBezTo>
                <a:cubicBezTo>
                  <a:pt x="886" y="256"/>
                  <a:pt x="887" y="256"/>
                  <a:pt x="887" y="255"/>
                </a:cubicBezTo>
                <a:cubicBezTo>
                  <a:pt x="888" y="256"/>
                  <a:pt x="888" y="256"/>
                  <a:pt x="888" y="256"/>
                </a:cubicBezTo>
                <a:cubicBezTo>
                  <a:pt x="889" y="256"/>
                  <a:pt x="889" y="257"/>
                  <a:pt x="890" y="257"/>
                </a:cubicBezTo>
                <a:cubicBezTo>
                  <a:pt x="890" y="257"/>
                  <a:pt x="891" y="256"/>
                  <a:pt x="891" y="256"/>
                </a:cubicBezTo>
                <a:cubicBezTo>
                  <a:pt x="891" y="256"/>
                  <a:pt x="891" y="256"/>
                  <a:pt x="891" y="257"/>
                </a:cubicBezTo>
                <a:cubicBezTo>
                  <a:pt x="892" y="256"/>
                  <a:pt x="892" y="256"/>
                  <a:pt x="892" y="256"/>
                </a:cubicBezTo>
                <a:cubicBezTo>
                  <a:pt x="892" y="256"/>
                  <a:pt x="893" y="256"/>
                  <a:pt x="893" y="256"/>
                </a:cubicBezTo>
                <a:cubicBezTo>
                  <a:pt x="893" y="256"/>
                  <a:pt x="894" y="256"/>
                  <a:pt x="894" y="256"/>
                </a:cubicBezTo>
                <a:cubicBezTo>
                  <a:pt x="894" y="256"/>
                  <a:pt x="895" y="256"/>
                  <a:pt x="896" y="256"/>
                </a:cubicBezTo>
                <a:cubicBezTo>
                  <a:pt x="896" y="256"/>
                  <a:pt x="896" y="256"/>
                  <a:pt x="896" y="256"/>
                </a:cubicBezTo>
                <a:cubicBezTo>
                  <a:pt x="895" y="256"/>
                  <a:pt x="895" y="255"/>
                  <a:pt x="895" y="255"/>
                </a:cubicBezTo>
                <a:cubicBezTo>
                  <a:pt x="895" y="255"/>
                  <a:pt x="895" y="255"/>
                  <a:pt x="895" y="255"/>
                </a:cubicBezTo>
                <a:cubicBezTo>
                  <a:pt x="895" y="254"/>
                  <a:pt x="895" y="254"/>
                  <a:pt x="895" y="254"/>
                </a:cubicBezTo>
                <a:cubicBezTo>
                  <a:pt x="895" y="254"/>
                  <a:pt x="895" y="254"/>
                  <a:pt x="895" y="254"/>
                </a:cubicBezTo>
                <a:cubicBezTo>
                  <a:pt x="895" y="253"/>
                  <a:pt x="894" y="253"/>
                  <a:pt x="893" y="253"/>
                </a:cubicBezTo>
                <a:cubicBezTo>
                  <a:pt x="893" y="252"/>
                  <a:pt x="894" y="252"/>
                  <a:pt x="894" y="252"/>
                </a:cubicBezTo>
                <a:cubicBezTo>
                  <a:pt x="893" y="252"/>
                  <a:pt x="893" y="252"/>
                  <a:pt x="893" y="251"/>
                </a:cubicBezTo>
                <a:cubicBezTo>
                  <a:pt x="893" y="251"/>
                  <a:pt x="894" y="252"/>
                  <a:pt x="894" y="252"/>
                </a:cubicBezTo>
                <a:cubicBezTo>
                  <a:pt x="894" y="252"/>
                  <a:pt x="895" y="252"/>
                  <a:pt x="895" y="252"/>
                </a:cubicBezTo>
                <a:cubicBezTo>
                  <a:pt x="895" y="251"/>
                  <a:pt x="896" y="251"/>
                  <a:pt x="896" y="251"/>
                </a:cubicBezTo>
                <a:cubicBezTo>
                  <a:pt x="896" y="251"/>
                  <a:pt x="897" y="251"/>
                  <a:pt x="897" y="252"/>
                </a:cubicBezTo>
                <a:cubicBezTo>
                  <a:pt x="897" y="252"/>
                  <a:pt x="897" y="252"/>
                  <a:pt x="897" y="252"/>
                </a:cubicBezTo>
                <a:cubicBezTo>
                  <a:pt x="897" y="252"/>
                  <a:pt x="897" y="252"/>
                  <a:pt x="897" y="253"/>
                </a:cubicBezTo>
                <a:cubicBezTo>
                  <a:pt x="897" y="253"/>
                  <a:pt x="897" y="253"/>
                  <a:pt x="898" y="253"/>
                </a:cubicBezTo>
                <a:cubicBezTo>
                  <a:pt x="898" y="253"/>
                  <a:pt x="898" y="253"/>
                  <a:pt x="898" y="253"/>
                </a:cubicBezTo>
                <a:cubicBezTo>
                  <a:pt x="899" y="253"/>
                  <a:pt x="899" y="253"/>
                  <a:pt x="899" y="253"/>
                </a:cubicBezTo>
                <a:cubicBezTo>
                  <a:pt x="900" y="253"/>
                  <a:pt x="901" y="253"/>
                  <a:pt x="901" y="253"/>
                </a:cubicBezTo>
                <a:cubicBezTo>
                  <a:pt x="902" y="253"/>
                  <a:pt x="903" y="253"/>
                  <a:pt x="903" y="253"/>
                </a:cubicBezTo>
                <a:cubicBezTo>
                  <a:pt x="903" y="253"/>
                  <a:pt x="904" y="252"/>
                  <a:pt x="904" y="252"/>
                </a:cubicBezTo>
                <a:cubicBezTo>
                  <a:pt x="904" y="252"/>
                  <a:pt x="904" y="252"/>
                  <a:pt x="903" y="252"/>
                </a:cubicBezTo>
                <a:cubicBezTo>
                  <a:pt x="903" y="252"/>
                  <a:pt x="903" y="252"/>
                  <a:pt x="903" y="252"/>
                </a:cubicBezTo>
                <a:cubicBezTo>
                  <a:pt x="903" y="251"/>
                  <a:pt x="903" y="251"/>
                  <a:pt x="903" y="251"/>
                </a:cubicBezTo>
                <a:cubicBezTo>
                  <a:pt x="904" y="251"/>
                  <a:pt x="905" y="250"/>
                  <a:pt x="906" y="250"/>
                </a:cubicBezTo>
                <a:cubicBezTo>
                  <a:pt x="906" y="250"/>
                  <a:pt x="906" y="250"/>
                  <a:pt x="907" y="250"/>
                </a:cubicBezTo>
                <a:cubicBezTo>
                  <a:pt x="907" y="250"/>
                  <a:pt x="907" y="250"/>
                  <a:pt x="907" y="250"/>
                </a:cubicBezTo>
                <a:cubicBezTo>
                  <a:pt x="908" y="250"/>
                  <a:pt x="909" y="250"/>
                  <a:pt x="909" y="250"/>
                </a:cubicBezTo>
                <a:cubicBezTo>
                  <a:pt x="909" y="250"/>
                  <a:pt x="909" y="250"/>
                  <a:pt x="909" y="249"/>
                </a:cubicBezTo>
                <a:cubicBezTo>
                  <a:pt x="910" y="249"/>
                  <a:pt x="910" y="249"/>
                  <a:pt x="911" y="248"/>
                </a:cubicBezTo>
                <a:cubicBezTo>
                  <a:pt x="911" y="248"/>
                  <a:pt x="911" y="247"/>
                  <a:pt x="911" y="247"/>
                </a:cubicBezTo>
                <a:cubicBezTo>
                  <a:pt x="911" y="247"/>
                  <a:pt x="911" y="246"/>
                  <a:pt x="911" y="246"/>
                </a:cubicBezTo>
                <a:cubicBezTo>
                  <a:pt x="911" y="246"/>
                  <a:pt x="911" y="246"/>
                  <a:pt x="911" y="245"/>
                </a:cubicBezTo>
                <a:cubicBezTo>
                  <a:pt x="912" y="245"/>
                  <a:pt x="912" y="245"/>
                  <a:pt x="913" y="245"/>
                </a:cubicBezTo>
                <a:cubicBezTo>
                  <a:pt x="913" y="245"/>
                  <a:pt x="913" y="245"/>
                  <a:pt x="913" y="245"/>
                </a:cubicBezTo>
                <a:cubicBezTo>
                  <a:pt x="914" y="245"/>
                  <a:pt x="914" y="245"/>
                  <a:pt x="915" y="245"/>
                </a:cubicBezTo>
                <a:cubicBezTo>
                  <a:pt x="915" y="244"/>
                  <a:pt x="915" y="244"/>
                  <a:pt x="915" y="244"/>
                </a:cubicBezTo>
                <a:cubicBezTo>
                  <a:pt x="916" y="244"/>
                  <a:pt x="916" y="244"/>
                  <a:pt x="916" y="243"/>
                </a:cubicBezTo>
                <a:cubicBezTo>
                  <a:pt x="916" y="243"/>
                  <a:pt x="917" y="243"/>
                  <a:pt x="917" y="243"/>
                </a:cubicBezTo>
                <a:cubicBezTo>
                  <a:pt x="917" y="243"/>
                  <a:pt x="917" y="243"/>
                  <a:pt x="917" y="243"/>
                </a:cubicBezTo>
                <a:cubicBezTo>
                  <a:pt x="917" y="243"/>
                  <a:pt x="918" y="243"/>
                  <a:pt x="918" y="243"/>
                </a:cubicBezTo>
                <a:cubicBezTo>
                  <a:pt x="919" y="243"/>
                  <a:pt x="919" y="243"/>
                  <a:pt x="920" y="243"/>
                </a:cubicBezTo>
                <a:cubicBezTo>
                  <a:pt x="920" y="243"/>
                  <a:pt x="920" y="243"/>
                  <a:pt x="920" y="243"/>
                </a:cubicBezTo>
                <a:cubicBezTo>
                  <a:pt x="921" y="243"/>
                  <a:pt x="921" y="243"/>
                  <a:pt x="921" y="243"/>
                </a:cubicBezTo>
                <a:cubicBezTo>
                  <a:pt x="921" y="243"/>
                  <a:pt x="921" y="243"/>
                  <a:pt x="920" y="243"/>
                </a:cubicBezTo>
                <a:cubicBezTo>
                  <a:pt x="920" y="243"/>
                  <a:pt x="920" y="243"/>
                  <a:pt x="920" y="243"/>
                </a:cubicBezTo>
                <a:cubicBezTo>
                  <a:pt x="920" y="243"/>
                  <a:pt x="919" y="243"/>
                  <a:pt x="919" y="242"/>
                </a:cubicBezTo>
                <a:cubicBezTo>
                  <a:pt x="919" y="242"/>
                  <a:pt x="919" y="242"/>
                  <a:pt x="918" y="242"/>
                </a:cubicBezTo>
                <a:cubicBezTo>
                  <a:pt x="918" y="242"/>
                  <a:pt x="918" y="242"/>
                  <a:pt x="918" y="242"/>
                </a:cubicBezTo>
                <a:cubicBezTo>
                  <a:pt x="918" y="242"/>
                  <a:pt x="918" y="242"/>
                  <a:pt x="919" y="242"/>
                </a:cubicBezTo>
                <a:cubicBezTo>
                  <a:pt x="919" y="242"/>
                  <a:pt x="919" y="242"/>
                  <a:pt x="920" y="242"/>
                </a:cubicBezTo>
                <a:cubicBezTo>
                  <a:pt x="920" y="242"/>
                  <a:pt x="920" y="243"/>
                  <a:pt x="921" y="243"/>
                </a:cubicBezTo>
                <a:cubicBezTo>
                  <a:pt x="921" y="243"/>
                  <a:pt x="921" y="243"/>
                  <a:pt x="922" y="243"/>
                </a:cubicBezTo>
                <a:cubicBezTo>
                  <a:pt x="922" y="243"/>
                  <a:pt x="922" y="242"/>
                  <a:pt x="922" y="242"/>
                </a:cubicBezTo>
                <a:cubicBezTo>
                  <a:pt x="921" y="242"/>
                  <a:pt x="921" y="242"/>
                  <a:pt x="921" y="242"/>
                </a:cubicBezTo>
                <a:cubicBezTo>
                  <a:pt x="921" y="242"/>
                  <a:pt x="921" y="242"/>
                  <a:pt x="921" y="242"/>
                </a:cubicBezTo>
                <a:cubicBezTo>
                  <a:pt x="921" y="242"/>
                  <a:pt x="921" y="242"/>
                  <a:pt x="921" y="242"/>
                </a:cubicBezTo>
                <a:cubicBezTo>
                  <a:pt x="921" y="242"/>
                  <a:pt x="921" y="241"/>
                  <a:pt x="921" y="241"/>
                </a:cubicBezTo>
                <a:cubicBezTo>
                  <a:pt x="922" y="241"/>
                  <a:pt x="922" y="241"/>
                  <a:pt x="923" y="241"/>
                </a:cubicBezTo>
                <a:cubicBezTo>
                  <a:pt x="922" y="241"/>
                  <a:pt x="922" y="241"/>
                  <a:pt x="922" y="241"/>
                </a:cubicBezTo>
                <a:cubicBezTo>
                  <a:pt x="921" y="241"/>
                  <a:pt x="921" y="241"/>
                  <a:pt x="920" y="240"/>
                </a:cubicBezTo>
                <a:cubicBezTo>
                  <a:pt x="920" y="240"/>
                  <a:pt x="920" y="240"/>
                  <a:pt x="920" y="240"/>
                </a:cubicBezTo>
                <a:cubicBezTo>
                  <a:pt x="921" y="240"/>
                  <a:pt x="921" y="239"/>
                  <a:pt x="921" y="239"/>
                </a:cubicBezTo>
                <a:cubicBezTo>
                  <a:pt x="921" y="239"/>
                  <a:pt x="921" y="239"/>
                  <a:pt x="921" y="239"/>
                </a:cubicBezTo>
                <a:cubicBezTo>
                  <a:pt x="922" y="239"/>
                  <a:pt x="922" y="238"/>
                  <a:pt x="922" y="238"/>
                </a:cubicBezTo>
                <a:cubicBezTo>
                  <a:pt x="922" y="238"/>
                  <a:pt x="922" y="238"/>
                  <a:pt x="922" y="237"/>
                </a:cubicBezTo>
                <a:cubicBezTo>
                  <a:pt x="922" y="237"/>
                  <a:pt x="922" y="237"/>
                  <a:pt x="922" y="237"/>
                </a:cubicBezTo>
                <a:cubicBezTo>
                  <a:pt x="922" y="236"/>
                  <a:pt x="923" y="236"/>
                  <a:pt x="923" y="236"/>
                </a:cubicBezTo>
                <a:cubicBezTo>
                  <a:pt x="923" y="236"/>
                  <a:pt x="923" y="235"/>
                  <a:pt x="923" y="235"/>
                </a:cubicBezTo>
                <a:cubicBezTo>
                  <a:pt x="923" y="235"/>
                  <a:pt x="924" y="235"/>
                  <a:pt x="924" y="235"/>
                </a:cubicBezTo>
                <a:cubicBezTo>
                  <a:pt x="924" y="235"/>
                  <a:pt x="924" y="235"/>
                  <a:pt x="925" y="235"/>
                </a:cubicBezTo>
                <a:cubicBezTo>
                  <a:pt x="925" y="235"/>
                  <a:pt x="926" y="234"/>
                  <a:pt x="927" y="234"/>
                </a:cubicBezTo>
                <a:cubicBezTo>
                  <a:pt x="927" y="234"/>
                  <a:pt x="927" y="234"/>
                  <a:pt x="928" y="233"/>
                </a:cubicBezTo>
                <a:cubicBezTo>
                  <a:pt x="928" y="233"/>
                  <a:pt x="929" y="233"/>
                  <a:pt x="929" y="233"/>
                </a:cubicBezTo>
                <a:cubicBezTo>
                  <a:pt x="929" y="233"/>
                  <a:pt x="929" y="233"/>
                  <a:pt x="930" y="233"/>
                </a:cubicBezTo>
                <a:cubicBezTo>
                  <a:pt x="930" y="233"/>
                  <a:pt x="930" y="233"/>
                  <a:pt x="931" y="233"/>
                </a:cubicBezTo>
                <a:cubicBezTo>
                  <a:pt x="931" y="233"/>
                  <a:pt x="931" y="233"/>
                  <a:pt x="932" y="233"/>
                </a:cubicBezTo>
                <a:cubicBezTo>
                  <a:pt x="932" y="233"/>
                  <a:pt x="933" y="233"/>
                  <a:pt x="933" y="232"/>
                </a:cubicBezTo>
                <a:cubicBezTo>
                  <a:pt x="934" y="233"/>
                  <a:pt x="934" y="233"/>
                  <a:pt x="935" y="233"/>
                </a:cubicBezTo>
                <a:cubicBezTo>
                  <a:pt x="935" y="233"/>
                  <a:pt x="935" y="233"/>
                  <a:pt x="936" y="234"/>
                </a:cubicBezTo>
                <a:cubicBezTo>
                  <a:pt x="936" y="234"/>
                  <a:pt x="936" y="234"/>
                  <a:pt x="937" y="234"/>
                </a:cubicBezTo>
                <a:cubicBezTo>
                  <a:pt x="937" y="234"/>
                  <a:pt x="937" y="234"/>
                  <a:pt x="937" y="234"/>
                </a:cubicBezTo>
                <a:cubicBezTo>
                  <a:pt x="937" y="234"/>
                  <a:pt x="937" y="233"/>
                  <a:pt x="937" y="233"/>
                </a:cubicBezTo>
                <a:cubicBezTo>
                  <a:pt x="936" y="233"/>
                  <a:pt x="936" y="233"/>
                  <a:pt x="935" y="233"/>
                </a:cubicBezTo>
                <a:cubicBezTo>
                  <a:pt x="935" y="233"/>
                  <a:pt x="935" y="233"/>
                  <a:pt x="935" y="232"/>
                </a:cubicBezTo>
                <a:cubicBezTo>
                  <a:pt x="935" y="232"/>
                  <a:pt x="935" y="232"/>
                  <a:pt x="935" y="232"/>
                </a:cubicBezTo>
                <a:cubicBezTo>
                  <a:pt x="936" y="231"/>
                  <a:pt x="937" y="231"/>
                  <a:pt x="937" y="231"/>
                </a:cubicBezTo>
                <a:cubicBezTo>
                  <a:pt x="938" y="231"/>
                  <a:pt x="938" y="231"/>
                  <a:pt x="938" y="231"/>
                </a:cubicBezTo>
                <a:cubicBezTo>
                  <a:pt x="939" y="231"/>
                  <a:pt x="939" y="231"/>
                  <a:pt x="939" y="231"/>
                </a:cubicBezTo>
                <a:cubicBezTo>
                  <a:pt x="939" y="232"/>
                  <a:pt x="939" y="232"/>
                  <a:pt x="939" y="232"/>
                </a:cubicBezTo>
                <a:cubicBezTo>
                  <a:pt x="940" y="233"/>
                  <a:pt x="940" y="233"/>
                  <a:pt x="940" y="233"/>
                </a:cubicBezTo>
                <a:cubicBezTo>
                  <a:pt x="940" y="233"/>
                  <a:pt x="941" y="233"/>
                  <a:pt x="941" y="233"/>
                </a:cubicBezTo>
                <a:cubicBezTo>
                  <a:pt x="941" y="232"/>
                  <a:pt x="941" y="232"/>
                  <a:pt x="940" y="232"/>
                </a:cubicBezTo>
                <a:cubicBezTo>
                  <a:pt x="940" y="232"/>
                  <a:pt x="940" y="232"/>
                  <a:pt x="940" y="231"/>
                </a:cubicBezTo>
                <a:cubicBezTo>
                  <a:pt x="941" y="231"/>
                  <a:pt x="941" y="231"/>
                  <a:pt x="941" y="231"/>
                </a:cubicBezTo>
                <a:cubicBezTo>
                  <a:pt x="941" y="231"/>
                  <a:pt x="941" y="232"/>
                  <a:pt x="942" y="232"/>
                </a:cubicBezTo>
                <a:cubicBezTo>
                  <a:pt x="942" y="232"/>
                  <a:pt x="942" y="232"/>
                  <a:pt x="942" y="233"/>
                </a:cubicBezTo>
                <a:cubicBezTo>
                  <a:pt x="942" y="233"/>
                  <a:pt x="942" y="233"/>
                  <a:pt x="943" y="234"/>
                </a:cubicBezTo>
                <a:cubicBezTo>
                  <a:pt x="943" y="233"/>
                  <a:pt x="942" y="233"/>
                  <a:pt x="942" y="233"/>
                </a:cubicBezTo>
                <a:cubicBezTo>
                  <a:pt x="942" y="232"/>
                  <a:pt x="942" y="232"/>
                  <a:pt x="942" y="232"/>
                </a:cubicBezTo>
                <a:cubicBezTo>
                  <a:pt x="942" y="232"/>
                  <a:pt x="942" y="231"/>
                  <a:pt x="942" y="231"/>
                </a:cubicBezTo>
                <a:cubicBezTo>
                  <a:pt x="942" y="231"/>
                  <a:pt x="942" y="231"/>
                  <a:pt x="943" y="230"/>
                </a:cubicBezTo>
                <a:cubicBezTo>
                  <a:pt x="943" y="230"/>
                  <a:pt x="943" y="230"/>
                  <a:pt x="944" y="230"/>
                </a:cubicBezTo>
                <a:cubicBezTo>
                  <a:pt x="944" y="230"/>
                  <a:pt x="944" y="231"/>
                  <a:pt x="944" y="231"/>
                </a:cubicBezTo>
                <a:cubicBezTo>
                  <a:pt x="945" y="231"/>
                  <a:pt x="945" y="230"/>
                  <a:pt x="946" y="230"/>
                </a:cubicBezTo>
                <a:cubicBezTo>
                  <a:pt x="946" y="231"/>
                  <a:pt x="947" y="231"/>
                  <a:pt x="947" y="232"/>
                </a:cubicBezTo>
                <a:cubicBezTo>
                  <a:pt x="948" y="232"/>
                  <a:pt x="949" y="232"/>
                  <a:pt x="950" y="232"/>
                </a:cubicBezTo>
                <a:cubicBezTo>
                  <a:pt x="949" y="232"/>
                  <a:pt x="948" y="232"/>
                  <a:pt x="948" y="231"/>
                </a:cubicBezTo>
                <a:cubicBezTo>
                  <a:pt x="947" y="231"/>
                  <a:pt x="946" y="230"/>
                  <a:pt x="946" y="230"/>
                </a:cubicBezTo>
                <a:cubicBezTo>
                  <a:pt x="945" y="230"/>
                  <a:pt x="945" y="230"/>
                  <a:pt x="944" y="230"/>
                </a:cubicBezTo>
                <a:cubicBezTo>
                  <a:pt x="944" y="230"/>
                  <a:pt x="944" y="230"/>
                  <a:pt x="944" y="230"/>
                </a:cubicBezTo>
                <a:cubicBezTo>
                  <a:pt x="944" y="230"/>
                  <a:pt x="944" y="229"/>
                  <a:pt x="944" y="229"/>
                </a:cubicBezTo>
                <a:cubicBezTo>
                  <a:pt x="944" y="229"/>
                  <a:pt x="944" y="229"/>
                  <a:pt x="945" y="229"/>
                </a:cubicBezTo>
                <a:cubicBezTo>
                  <a:pt x="944" y="229"/>
                  <a:pt x="944" y="228"/>
                  <a:pt x="944" y="228"/>
                </a:cubicBezTo>
                <a:cubicBezTo>
                  <a:pt x="944" y="228"/>
                  <a:pt x="944" y="228"/>
                  <a:pt x="944" y="227"/>
                </a:cubicBezTo>
                <a:cubicBezTo>
                  <a:pt x="943" y="228"/>
                  <a:pt x="943" y="228"/>
                  <a:pt x="943" y="228"/>
                </a:cubicBezTo>
                <a:cubicBezTo>
                  <a:pt x="943" y="228"/>
                  <a:pt x="943" y="227"/>
                  <a:pt x="943" y="227"/>
                </a:cubicBezTo>
                <a:cubicBezTo>
                  <a:pt x="943" y="227"/>
                  <a:pt x="943" y="227"/>
                  <a:pt x="943" y="227"/>
                </a:cubicBezTo>
                <a:cubicBezTo>
                  <a:pt x="944" y="227"/>
                  <a:pt x="944" y="227"/>
                  <a:pt x="944" y="227"/>
                </a:cubicBezTo>
                <a:cubicBezTo>
                  <a:pt x="944" y="227"/>
                  <a:pt x="944" y="226"/>
                  <a:pt x="943" y="226"/>
                </a:cubicBezTo>
                <a:cubicBezTo>
                  <a:pt x="943" y="226"/>
                  <a:pt x="943" y="226"/>
                  <a:pt x="943" y="226"/>
                </a:cubicBezTo>
                <a:cubicBezTo>
                  <a:pt x="943" y="226"/>
                  <a:pt x="943" y="226"/>
                  <a:pt x="943" y="226"/>
                </a:cubicBezTo>
                <a:cubicBezTo>
                  <a:pt x="942" y="225"/>
                  <a:pt x="942" y="225"/>
                  <a:pt x="942" y="225"/>
                </a:cubicBezTo>
                <a:cubicBezTo>
                  <a:pt x="942" y="225"/>
                  <a:pt x="942" y="225"/>
                  <a:pt x="942" y="225"/>
                </a:cubicBezTo>
                <a:cubicBezTo>
                  <a:pt x="942" y="225"/>
                  <a:pt x="942" y="224"/>
                  <a:pt x="942" y="224"/>
                </a:cubicBezTo>
                <a:cubicBezTo>
                  <a:pt x="942" y="224"/>
                  <a:pt x="942" y="224"/>
                  <a:pt x="942" y="224"/>
                </a:cubicBezTo>
                <a:cubicBezTo>
                  <a:pt x="942" y="224"/>
                  <a:pt x="942" y="224"/>
                  <a:pt x="942" y="224"/>
                </a:cubicBezTo>
                <a:cubicBezTo>
                  <a:pt x="942" y="223"/>
                  <a:pt x="942" y="223"/>
                  <a:pt x="942" y="223"/>
                </a:cubicBezTo>
                <a:cubicBezTo>
                  <a:pt x="942" y="222"/>
                  <a:pt x="941" y="222"/>
                  <a:pt x="941" y="222"/>
                </a:cubicBezTo>
                <a:cubicBezTo>
                  <a:pt x="940" y="222"/>
                  <a:pt x="940" y="222"/>
                  <a:pt x="940" y="222"/>
                </a:cubicBezTo>
                <a:cubicBezTo>
                  <a:pt x="940" y="222"/>
                  <a:pt x="939" y="222"/>
                  <a:pt x="939" y="222"/>
                </a:cubicBezTo>
                <a:cubicBezTo>
                  <a:pt x="939" y="221"/>
                  <a:pt x="940" y="221"/>
                  <a:pt x="940" y="221"/>
                </a:cubicBezTo>
                <a:cubicBezTo>
                  <a:pt x="940" y="221"/>
                  <a:pt x="941" y="220"/>
                  <a:pt x="941" y="220"/>
                </a:cubicBezTo>
                <a:cubicBezTo>
                  <a:pt x="941" y="220"/>
                  <a:pt x="941" y="220"/>
                  <a:pt x="941" y="220"/>
                </a:cubicBezTo>
                <a:cubicBezTo>
                  <a:pt x="941" y="220"/>
                  <a:pt x="941" y="219"/>
                  <a:pt x="941" y="219"/>
                </a:cubicBezTo>
                <a:cubicBezTo>
                  <a:pt x="940" y="219"/>
                  <a:pt x="940" y="219"/>
                  <a:pt x="940" y="219"/>
                </a:cubicBezTo>
                <a:cubicBezTo>
                  <a:pt x="940" y="218"/>
                  <a:pt x="940" y="218"/>
                  <a:pt x="940" y="218"/>
                </a:cubicBezTo>
                <a:cubicBezTo>
                  <a:pt x="940" y="218"/>
                  <a:pt x="940" y="218"/>
                  <a:pt x="940" y="218"/>
                </a:cubicBezTo>
                <a:cubicBezTo>
                  <a:pt x="940" y="218"/>
                  <a:pt x="941" y="218"/>
                  <a:pt x="941" y="218"/>
                </a:cubicBezTo>
                <a:cubicBezTo>
                  <a:pt x="941" y="218"/>
                  <a:pt x="941" y="218"/>
                  <a:pt x="941" y="217"/>
                </a:cubicBezTo>
                <a:cubicBezTo>
                  <a:pt x="940" y="217"/>
                  <a:pt x="940" y="217"/>
                  <a:pt x="940" y="217"/>
                </a:cubicBezTo>
                <a:cubicBezTo>
                  <a:pt x="940" y="217"/>
                  <a:pt x="940" y="216"/>
                  <a:pt x="940" y="216"/>
                </a:cubicBezTo>
                <a:cubicBezTo>
                  <a:pt x="941" y="216"/>
                  <a:pt x="941" y="216"/>
                  <a:pt x="941" y="216"/>
                </a:cubicBezTo>
                <a:cubicBezTo>
                  <a:pt x="941" y="216"/>
                  <a:pt x="942" y="216"/>
                  <a:pt x="942" y="216"/>
                </a:cubicBezTo>
                <a:cubicBezTo>
                  <a:pt x="942" y="217"/>
                  <a:pt x="942" y="217"/>
                  <a:pt x="943" y="217"/>
                </a:cubicBezTo>
                <a:cubicBezTo>
                  <a:pt x="943" y="217"/>
                  <a:pt x="943" y="217"/>
                  <a:pt x="944" y="216"/>
                </a:cubicBezTo>
                <a:cubicBezTo>
                  <a:pt x="944" y="216"/>
                  <a:pt x="943" y="216"/>
                  <a:pt x="943" y="216"/>
                </a:cubicBezTo>
                <a:cubicBezTo>
                  <a:pt x="943" y="216"/>
                  <a:pt x="944" y="215"/>
                  <a:pt x="944" y="215"/>
                </a:cubicBezTo>
                <a:cubicBezTo>
                  <a:pt x="944" y="215"/>
                  <a:pt x="944" y="215"/>
                  <a:pt x="944" y="215"/>
                </a:cubicBezTo>
                <a:cubicBezTo>
                  <a:pt x="945" y="215"/>
                  <a:pt x="945" y="216"/>
                  <a:pt x="945" y="216"/>
                </a:cubicBezTo>
                <a:cubicBezTo>
                  <a:pt x="945" y="216"/>
                  <a:pt x="945" y="216"/>
                  <a:pt x="944" y="216"/>
                </a:cubicBezTo>
                <a:cubicBezTo>
                  <a:pt x="944" y="216"/>
                  <a:pt x="944" y="216"/>
                  <a:pt x="945" y="217"/>
                </a:cubicBezTo>
                <a:cubicBezTo>
                  <a:pt x="945" y="217"/>
                  <a:pt x="945" y="216"/>
                  <a:pt x="945" y="216"/>
                </a:cubicBezTo>
                <a:cubicBezTo>
                  <a:pt x="946" y="217"/>
                  <a:pt x="946" y="217"/>
                  <a:pt x="946" y="217"/>
                </a:cubicBezTo>
                <a:cubicBezTo>
                  <a:pt x="946" y="217"/>
                  <a:pt x="946" y="217"/>
                  <a:pt x="946" y="216"/>
                </a:cubicBezTo>
                <a:cubicBezTo>
                  <a:pt x="946" y="216"/>
                  <a:pt x="946" y="216"/>
                  <a:pt x="946" y="216"/>
                </a:cubicBezTo>
                <a:cubicBezTo>
                  <a:pt x="946" y="216"/>
                  <a:pt x="946" y="216"/>
                  <a:pt x="946" y="215"/>
                </a:cubicBezTo>
                <a:cubicBezTo>
                  <a:pt x="945" y="215"/>
                  <a:pt x="945" y="215"/>
                  <a:pt x="945" y="215"/>
                </a:cubicBezTo>
                <a:cubicBezTo>
                  <a:pt x="945" y="215"/>
                  <a:pt x="945" y="214"/>
                  <a:pt x="945" y="214"/>
                </a:cubicBezTo>
                <a:cubicBezTo>
                  <a:pt x="946" y="214"/>
                  <a:pt x="946" y="214"/>
                  <a:pt x="946" y="214"/>
                </a:cubicBezTo>
                <a:cubicBezTo>
                  <a:pt x="946" y="214"/>
                  <a:pt x="947" y="214"/>
                  <a:pt x="947" y="214"/>
                </a:cubicBezTo>
                <a:cubicBezTo>
                  <a:pt x="948" y="214"/>
                  <a:pt x="948" y="214"/>
                  <a:pt x="949" y="214"/>
                </a:cubicBezTo>
                <a:cubicBezTo>
                  <a:pt x="949" y="214"/>
                  <a:pt x="949" y="214"/>
                  <a:pt x="950" y="215"/>
                </a:cubicBezTo>
                <a:cubicBezTo>
                  <a:pt x="950" y="215"/>
                  <a:pt x="950" y="215"/>
                  <a:pt x="950" y="215"/>
                </a:cubicBezTo>
                <a:cubicBezTo>
                  <a:pt x="950" y="215"/>
                  <a:pt x="949" y="216"/>
                  <a:pt x="949" y="216"/>
                </a:cubicBezTo>
                <a:cubicBezTo>
                  <a:pt x="949" y="216"/>
                  <a:pt x="950" y="216"/>
                  <a:pt x="950" y="216"/>
                </a:cubicBezTo>
                <a:cubicBezTo>
                  <a:pt x="950" y="216"/>
                  <a:pt x="950" y="216"/>
                  <a:pt x="950" y="216"/>
                </a:cubicBezTo>
                <a:cubicBezTo>
                  <a:pt x="951" y="217"/>
                  <a:pt x="951" y="217"/>
                  <a:pt x="951" y="217"/>
                </a:cubicBezTo>
                <a:cubicBezTo>
                  <a:pt x="951" y="217"/>
                  <a:pt x="952" y="217"/>
                  <a:pt x="952" y="217"/>
                </a:cubicBezTo>
                <a:cubicBezTo>
                  <a:pt x="952" y="217"/>
                  <a:pt x="953" y="217"/>
                  <a:pt x="953" y="217"/>
                </a:cubicBezTo>
                <a:cubicBezTo>
                  <a:pt x="953" y="217"/>
                  <a:pt x="953" y="217"/>
                  <a:pt x="954" y="217"/>
                </a:cubicBezTo>
                <a:cubicBezTo>
                  <a:pt x="954" y="218"/>
                  <a:pt x="954" y="218"/>
                  <a:pt x="953" y="218"/>
                </a:cubicBezTo>
                <a:cubicBezTo>
                  <a:pt x="953" y="218"/>
                  <a:pt x="953" y="218"/>
                  <a:pt x="953" y="218"/>
                </a:cubicBezTo>
                <a:cubicBezTo>
                  <a:pt x="953" y="218"/>
                  <a:pt x="953" y="218"/>
                  <a:pt x="953" y="218"/>
                </a:cubicBezTo>
                <a:cubicBezTo>
                  <a:pt x="953" y="218"/>
                  <a:pt x="952" y="218"/>
                  <a:pt x="952" y="218"/>
                </a:cubicBezTo>
                <a:cubicBezTo>
                  <a:pt x="952" y="218"/>
                  <a:pt x="952" y="218"/>
                  <a:pt x="952" y="218"/>
                </a:cubicBezTo>
                <a:cubicBezTo>
                  <a:pt x="951" y="218"/>
                  <a:pt x="951" y="218"/>
                  <a:pt x="951" y="218"/>
                </a:cubicBezTo>
                <a:cubicBezTo>
                  <a:pt x="950" y="218"/>
                  <a:pt x="950" y="218"/>
                  <a:pt x="950" y="218"/>
                </a:cubicBezTo>
                <a:cubicBezTo>
                  <a:pt x="950" y="219"/>
                  <a:pt x="950" y="219"/>
                  <a:pt x="950" y="219"/>
                </a:cubicBezTo>
                <a:cubicBezTo>
                  <a:pt x="950" y="219"/>
                  <a:pt x="950" y="220"/>
                  <a:pt x="950" y="220"/>
                </a:cubicBezTo>
                <a:cubicBezTo>
                  <a:pt x="950" y="220"/>
                  <a:pt x="950" y="220"/>
                  <a:pt x="949" y="220"/>
                </a:cubicBezTo>
                <a:cubicBezTo>
                  <a:pt x="949" y="220"/>
                  <a:pt x="949" y="220"/>
                  <a:pt x="949" y="220"/>
                </a:cubicBezTo>
                <a:cubicBezTo>
                  <a:pt x="949" y="220"/>
                  <a:pt x="948" y="221"/>
                  <a:pt x="948" y="221"/>
                </a:cubicBezTo>
                <a:cubicBezTo>
                  <a:pt x="948" y="221"/>
                  <a:pt x="948" y="221"/>
                  <a:pt x="949" y="221"/>
                </a:cubicBezTo>
                <a:cubicBezTo>
                  <a:pt x="948" y="221"/>
                  <a:pt x="947" y="221"/>
                  <a:pt x="946" y="222"/>
                </a:cubicBezTo>
                <a:cubicBezTo>
                  <a:pt x="946" y="222"/>
                  <a:pt x="946" y="222"/>
                  <a:pt x="946" y="222"/>
                </a:cubicBezTo>
                <a:cubicBezTo>
                  <a:pt x="947" y="222"/>
                  <a:pt x="947" y="222"/>
                  <a:pt x="947" y="222"/>
                </a:cubicBezTo>
                <a:cubicBezTo>
                  <a:pt x="947" y="223"/>
                  <a:pt x="947" y="223"/>
                  <a:pt x="947" y="223"/>
                </a:cubicBezTo>
                <a:cubicBezTo>
                  <a:pt x="947" y="223"/>
                  <a:pt x="946" y="223"/>
                  <a:pt x="946" y="223"/>
                </a:cubicBezTo>
                <a:cubicBezTo>
                  <a:pt x="946" y="223"/>
                  <a:pt x="946" y="224"/>
                  <a:pt x="946" y="224"/>
                </a:cubicBezTo>
                <a:cubicBezTo>
                  <a:pt x="946" y="224"/>
                  <a:pt x="946" y="224"/>
                  <a:pt x="947" y="224"/>
                </a:cubicBezTo>
                <a:cubicBezTo>
                  <a:pt x="947" y="224"/>
                  <a:pt x="947" y="224"/>
                  <a:pt x="947" y="224"/>
                </a:cubicBezTo>
                <a:cubicBezTo>
                  <a:pt x="947" y="224"/>
                  <a:pt x="947" y="225"/>
                  <a:pt x="947" y="225"/>
                </a:cubicBezTo>
                <a:cubicBezTo>
                  <a:pt x="947" y="225"/>
                  <a:pt x="947" y="225"/>
                  <a:pt x="947" y="225"/>
                </a:cubicBezTo>
                <a:cubicBezTo>
                  <a:pt x="947" y="225"/>
                  <a:pt x="948" y="225"/>
                  <a:pt x="948" y="226"/>
                </a:cubicBezTo>
                <a:cubicBezTo>
                  <a:pt x="949" y="226"/>
                  <a:pt x="949" y="226"/>
                  <a:pt x="949" y="226"/>
                </a:cubicBezTo>
                <a:cubicBezTo>
                  <a:pt x="949" y="226"/>
                  <a:pt x="949" y="226"/>
                  <a:pt x="949" y="227"/>
                </a:cubicBezTo>
                <a:cubicBezTo>
                  <a:pt x="948" y="227"/>
                  <a:pt x="948" y="227"/>
                  <a:pt x="948" y="227"/>
                </a:cubicBezTo>
                <a:cubicBezTo>
                  <a:pt x="948" y="227"/>
                  <a:pt x="948" y="227"/>
                  <a:pt x="948" y="227"/>
                </a:cubicBezTo>
                <a:cubicBezTo>
                  <a:pt x="949" y="227"/>
                  <a:pt x="949" y="227"/>
                  <a:pt x="949" y="227"/>
                </a:cubicBezTo>
                <a:cubicBezTo>
                  <a:pt x="949" y="228"/>
                  <a:pt x="950" y="228"/>
                  <a:pt x="950" y="228"/>
                </a:cubicBezTo>
                <a:cubicBezTo>
                  <a:pt x="950" y="228"/>
                  <a:pt x="950" y="228"/>
                  <a:pt x="950" y="228"/>
                </a:cubicBezTo>
                <a:cubicBezTo>
                  <a:pt x="951" y="228"/>
                  <a:pt x="951" y="227"/>
                  <a:pt x="951" y="227"/>
                </a:cubicBezTo>
                <a:cubicBezTo>
                  <a:pt x="951" y="227"/>
                  <a:pt x="951" y="227"/>
                  <a:pt x="951" y="227"/>
                </a:cubicBezTo>
                <a:cubicBezTo>
                  <a:pt x="951" y="227"/>
                  <a:pt x="952" y="227"/>
                  <a:pt x="952" y="227"/>
                </a:cubicBezTo>
                <a:cubicBezTo>
                  <a:pt x="952" y="228"/>
                  <a:pt x="953" y="228"/>
                  <a:pt x="953" y="228"/>
                </a:cubicBezTo>
                <a:cubicBezTo>
                  <a:pt x="953" y="228"/>
                  <a:pt x="953" y="228"/>
                  <a:pt x="953" y="228"/>
                </a:cubicBezTo>
                <a:cubicBezTo>
                  <a:pt x="954" y="228"/>
                  <a:pt x="954" y="228"/>
                  <a:pt x="954" y="227"/>
                </a:cubicBezTo>
                <a:cubicBezTo>
                  <a:pt x="954" y="227"/>
                  <a:pt x="955" y="228"/>
                  <a:pt x="955" y="228"/>
                </a:cubicBezTo>
                <a:cubicBezTo>
                  <a:pt x="955" y="228"/>
                  <a:pt x="955" y="228"/>
                  <a:pt x="955" y="228"/>
                </a:cubicBezTo>
                <a:cubicBezTo>
                  <a:pt x="955" y="228"/>
                  <a:pt x="954" y="229"/>
                  <a:pt x="954" y="229"/>
                </a:cubicBezTo>
                <a:cubicBezTo>
                  <a:pt x="954" y="229"/>
                  <a:pt x="954" y="229"/>
                  <a:pt x="953" y="229"/>
                </a:cubicBezTo>
                <a:cubicBezTo>
                  <a:pt x="953" y="229"/>
                  <a:pt x="953" y="229"/>
                  <a:pt x="952" y="229"/>
                </a:cubicBezTo>
                <a:cubicBezTo>
                  <a:pt x="953" y="229"/>
                  <a:pt x="953" y="229"/>
                  <a:pt x="954" y="229"/>
                </a:cubicBezTo>
                <a:cubicBezTo>
                  <a:pt x="954" y="229"/>
                  <a:pt x="954" y="229"/>
                  <a:pt x="954" y="229"/>
                </a:cubicBezTo>
                <a:cubicBezTo>
                  <a:pt x="955" y="229"/>
                  <a:pt x="955" y="229"/>
                  <a:pt x="955" y="229"/>
                </a:cubicBezTo>
                <a:cubicBezTo>
                  <a:pt x="955" y="230"/>
                  <a:pt x="956" y="230"/>
                  <a:pt x="956" y="230"/>
                </a:cubicBezTo>
                <a:cubicBezTo>
                  <a:pt x="956" y="230"/>
                  <a:pt x="956" y="230"/>
                  <a:pt x="957" y="230"/>
                </a:cubicBezTo>
                <a:cubicBezTo>
                  <a:pt x="957" y="230"/>
                  <a:pt x="957" y="229"/>
                  <a:pt x="957" y="229"/>
                </a:cubicBezTo>
                <a:cubicBezTo>
                  <a:pt x="957" y="229"/>
                  <a:pt x="957" y="229"/>
                  <a:pt x="958" y="228"/>
                </a:cubicBezTo>
                <a:cubicBezTo>
                  <a:pt x="958" y="228"/>
                  <a:pt x="959" y="228"/>
                  <a:pt x="960" y="228"/>
                </a:cubicBezTo>
                <a:cubicBezTo>
                  <a:pt x="960" y="228"/>
                  <a:pt x="960" y="228"/>
                  <a:pt x="960" y="228"/>
                </a:cubicBezTo>
                <a:cubicBezTo>
                  <a:pt x="960" y="228"/>
                  <a:pt x="961" y="228"/>
                  <a:pt x="961" y="228"/>
                </a:cubicBezTo>
                <a:cubicBezTo>
                  <a:pt x="961" y="227"/>
                  <a:pt x="961" y="227"/>
                  <a:pt x="961" y="227"/>
                </a:cubicBezTo>
                <a:cubicBezTo>
                  <a:pt x="961" y="227"/>
                  <a:pt x="961" y="227"/>
                  <a:pt x="962" y="227"/>
                </a:cubicBezTo>
                <a:cubicBezTo>
                  <a:pt x="962" y="227"/>
                  <a:pt x="963" y="227"/>
                  <a:pt x="963" y="227"/>
                </a:cubicBezTo>
                <a:cubicBezTo>
                  <a:pt x="963" y="227"/>
                  <a:pt x="962" y="227"/>
                  <a:pt x="962" y="227"/>
                </a:cubicBezTo>
                <a:cubicBezTo>
                  <a:pt x="962" y="228"/>
                  <a:pt x="962" y="228"/>
                  <a:pt x="961" y="228"/>
                </a:cubicBezTo>
                <a:cubicBezTo>
                  <a:pt x="961" y="228"/>
                  <a:pt x="961" y="228"/>
                  <a:pt x="961" y="228"/>
                </a:cubicBezTo>
                <a:cubicBezTo>
                  <a:pt x="961" y="228"/>
                  <a:pt x="961" y="228"/>
                  <a:pt x="961" y="228"/>
                </a:cubicBezTo>
                <a:cubicBezTo>
                  <a:pt x="961" y="228"/>
                  <a:pt x="961" y="228"/>
                  <a:pt x="961" y="228"/>
                </a:cubicBezTo>
                <a:cubicBezTo>
                  <a:pt x="961" y="228"/>
                  <a:pt x="962" y="228"/>
                  <a:pt x="962" y="228"/>
                </a:cubicBezTo>
                <a:cubicBezTo>
                  <a:pt x="963" y="228"/>
                  <a:pt x="963" y="228"/>
                  <a:pt x="963" y="228"/>
                </a:cubicBezTo>
                <a:cubicBezTo>
                  <a:pt x="964" y="228"/>
                  <a:pt x="964" y="228"/>
                  <a:pt x="964" y="228"/>
                </a:cubicBezTo>
                <a:cubicBezTo>
                  <a:pt x="964" y="228"/>
                  <a:pt x="964" y="228"/>
                  <a:pt x="964" y="228"/>
                </a:cubicBezTo>
                <a:cubicBezTo>
                  <a:pt x="965" y="228"/>
                  <a:pt x="965" y="228"/>
                  <a:pt x="965" y="228"/>
                </a:cubicBezTo>
                <a:cubicBezTo>
                  <a:pt x="966" y="228"/>
                  <a:pt x="966" y="229"/>
                  <a:pt x="967" y="229"/>
                </a:cubicBezTo>
                <a:cubicBezTo>
                  <a:pt x="967" y="229"/>
                  <a:pt x="967" y="229"/>
                  <a:pt x="968" y="229"/>
                </a:cubicBezTo>
                <a:cubicBezTo>
                  <a:pt x="968" y="229"/>
                  <a:pt x="968" y="229"/>
                  <a:pt x="968" y="230"/>
                </a:cubicBezTo>
                <a:cubicBezTo>
                  <a:pt x="968" y="230"/>
                  <a:pt x="968" y="230"/>
                  <a:pt x="968" y="230"/>
                </a:cubicBezTo>
                <a:cubicBezTo>
                  <a:pt x="969" y="230"/>
                  <a:pt x="969" y="231"/>
                  <a:pt x="969" y="231"/>
                </a:cubicBezTo>
                <a:cubicBezTo>
                  <a:pt x="970" y="231"/>
                  <a:pt x="970" y="231"/>
                  <a:pt x="970" y="231"/>
                </a:cubicBezTo>
                <a:cubicBezTo>
                  <a:pt x="970" y="231"/>
                  <a:pt x="971" y="231"/>
                  <a:pt x="971" y="231"/>
                </a:cubicBezTo>
                <a:cubicBezTo>
                  <a:pt x="971" y="231"/>
                  <a:pt x="971" y="231"/>
                  <a:pt x="972" y="231"/>
                </a:cubicBezTo>
                <a:cubicBezTo>
                  <a:pt x="972" y="231"/>
                  <a:pt x="972" y="231"/>
                  <a:pt x="972" y="231"/>
                </a:cubicBezTo>
                <a:cubicBezTo>
                  <a:pt x="972" y="231"/>
                  <a:pt x="972" y="231"/>
                  <a:pt x="972" y="231"/>
                </a:cubicBezTo>
                <a:cubicBezTo>
                  <a:pt x="972" y="231"/>
                  <a:pt x="973" y="231"/>
                  <a:pt x="973" y="231"/>
                </a:cubicBezTo>
                <a:cubicBezTo>
                  <a:pt x="973" y="230"/>
                  <a:pt x="973" y="230"/>
                  <a:pt x="973" y="230"/>
                </a:cubicBezTo>
                <a:cubicBezTo>
                  <a:pt x="973" y="229"/>
                  <a:pt x="974" y="229"/>
                  <a:pt x="974" y="229"/>
                </a:cubicBezTo>
                <a:cubicBezTo>
                  <a:pt x="974" y="229"/>
                  <a:pt x="975" y="229"/>
                  <a:pt x="975" y="229"/>
                </a:cubicBezTo>
                <a:cubicBezTo>
                  <a:pt x="976" y="228"/>
                  <a:pt x="977" y="228"/>
                  <a:pt x="978" y="228"/>
                </a:cubicBezTo>
                <a:cubicBezTo>
                  <a:pt x="979" y="228"/>
                  <a:pt x="979" y="228"/>
                  <a:pt x="980" y="228"/>
                </a:cubicBezTo>
                <a:cubicBezTo>
                  <a:pt x="980" y="228"/>
                  <a:pt x="980" y="227"/>
                  <a:pt x="980" y="227"/>
                </a:cubicBezTo>
                <a:cubicBezTo>
                  <a:pt x="980" y="227"/>
                  <a:pt x="981" y="227"/>
                  <a:pt x="981" y="227"/>
                </a:cubicBezTo>
                <a:cubicBezTo>
                  <a:pt x="981" y="227"/>
                  <a:pt x="982" y="227"/>
                  <a:pt x="982" y="227"/>
                </a:cubicBezTo>
                <a:cubicBezTo>
                  <a:pt x="983" y="226"/>
                  <a:pt x="983" y="226"/>
                  <a:pt x="983" y="226"/>
                </a:cubicBezTo>
                <a:cubicBezTo>
                  <a:pt x="984" y="225"/>
                  <a:pt x="985" y="225"/>
                  <a:pt x="985" y="225"/>
                </a:cubicBezTo>
                <a:cubicBezTo>
                  <a:pt x="986" y="225"/>
                  <a:pt x="986" y="225"/>
                  <a:pt x="987" y="225"/>
                </a:cubicBezTo>
                <a:cubicBezTo>
                  <a:pt x="987" y="225"/>
                  <a:pt x="988" y="225"/>
                  <a:pt x="989" y="225"/>
                </a:cubicBezTo>
                <a:cubicBezTo>
                  <a:pt x="990" y="225"/>
                  <a:pt x="991" y="225"/>
                  <a:pt x="992" y="225"/>
                </a:cubicBezTo>
                <a:cubicBezTo>
                  <a:pt x="992" y="225"/>
                  <a:pt x="993" y="226"/>
                  <a:pt x="993" y="226"/>
                </a:cubicBezTo>
                <a:cubicBezTo>
                  <a:pt x="993" y="226"/>
                  <a:pt x="993" y="226"/>
                  <a:pt x="993" y="226"/>
                </a:cubicBezTo>
                <a:cubicBezTo>
                  <a:pt x="993" y="226"/>
                  <a:pt x="993" y="226"/>
                  <a:pt x="993" y="226"/>
                </a:cubicBezTo>
                <a:cubicBezTo>
                  <a:pt x="992" y="226"/>
                  <a:pt x="992" y="226"/>
                  <a:pt x="991" y="226"/>
                </a:cubicBezTo>
                <a:cubicBezTo>
                  <a:pt x="991" y="226"/>
                  <a:pt x="991" y="226"/>
                  <a:pt x="991" y="226"/>
                </a:cubicBezTo>
                <a:cubicBezTo>
                  <a:pt x="991" y="226"/>
                  <a:pt x="991" y="227"/>
                  <a:pt x="991" y="227"/>
                </a:cubicBezTo>
                <a:cubicBezTo>
                  <a:pt x="992" y="227"/>
                  <a:pt x="993" y="227"/>
                  <a:pt x="994" y="228"/>
                </a:cubicBezTo>
                <a:cubicBezTo>
                  <a:pt x="995" y="227"/>
                  <a:pt x="995" y="227"/>
                  <a:pt x="996" y="227"/>
                </a:cubicBezTo>
                <a:cubicBezTo>
                  <a:pt x="996" y="227"/>
                  <a:pt x="997" y="226"/>
                  <a:pt x="997" y="226"/>
                </a:cubicBezTo>
                <a:cubicBezTo>
                  <a:pt x="997" y="226"/>
                  <a:pt x="997" y="226"/>
                  <a:pt x="998" y="226"/>
                </a:cubicBezTo>
                <a:cubicBezTo>
                  <a:pt x="997" y="227"/>
                  <a:pt x="997" y="227"/>
                  <a:pt x="996" y="227"/>
                </a:cubicBezTo>
                <a:cubicBezTo>
                  <a:pt x="996" y="227"/>
                  <a:pt x="995" y="228"/>
                  <a:pt x="995" y="228"/>
                </a:cubicBezTo>
                <a:cubicBezTo>
                  <a:pt x="995" y="228"/>
                  <a:pt x="995" y="228"/>
                  <a:pt x="995" y="228"/>
                </a:cubicBezTo>
                <a:cubicBezTo>
                  <a:pt x="995" y="228"/>
                  <a:pt x="996" y="228"/>
                  <a:pt x="997" y="228"/>
                </a:cubicBezTo>
                <a:cubicBezTo>
                  <a:pt x="997" y="227"/>
                  <a:pt x="998" y="227"/>
                  <a:pt x="998" y="227"/>
                </a:cubicBezTo>
                <a:cubicBezTo>
                  <a:pt x="999" y="227"/>
                  <a:pt x="999" y="227"/>
                  <a:pt x="999" y="227"/>
                </a:cubicBezTo>
                <a:cubicBezTo>
                  <a:pt x="1001" y="227"/>
                  <a:pt x="1004" y="227"/>
                  <a:pt x="1006" y="227"/>
                </a:cubicBezTo>
                <a:cubicBezTo>
                  <a:pt x="1008" y="227"/>
                  <a:pt x="1010" y="227"/>
                  <a:pt x="1012" y="227"/>
                </a:cubicBezTo>
                <a:cubicBezTo>
                  <a:pt x="1012" y="226"/>
                  <a:pt x="1012" y="226"/>
                  <a:pt x="1012" y="226"/>
                </a:cubicBezTo>
                <a:cubicBezTo>
                  <a:pt x="1013" y="225"/>
                  <a:pt x="1013" y="225"/>
                  <a:pt x="1013" y="225"/>
                </a:cubicBezTo>
                <a:cubicBezTo>
                  <a:pt x="1013" y="225"/>
                  <a:pt x="1013" y="225"/>
                  <a:pt x="1012" y="225"/>
                </a:cubicBezTo>
                <a:cubicBezTo>
                  <a:pt x="1012" y="225"/>
                  <a:pt x="1012" y="224"/>
                  <a:pt x="1012" y="224"/>
                </a:cubicBezTo>
                <a:cubicBezTo>
                  <a:pt x="1012" y="224"/>
                  <a:pt x="1012" y="224"/>
                  <a:pt x="1012" y="224"/>
                </a:cubicBezTo>
                <a:cubicBezTo>
                  <a:pt x="1011" y="224"/>
                  <a:pt x="1011" y="224"/>
                  <a:pt x="1011" y="223"/>
                </a:cubicBezTo>
                <a:cubicBezTo>
                  <a:pt x="1010" y="224"/>
                  <a:pt x="1009" y="224"/>
                  <a:pt x="1009" y="224"/>
                </a:cubicBezTo>
                <a:cubicBezTo>
                  <a:pt x="1008" y="223"/>
                  <a:pt x="1008" y="223"/>
                  <a:pt x="1007" y="223"/>
                </a:cubicBezTo>
                <a:cubicBezTo>
                  <a:pt x="1007" y="223"/>
                  <a:pt x="1006" y="222"/>
                  <a:pt x="1006" y="222"/>
                </a:cubicBezTo>
                <a:cubicBezTo>
                  <a:pt x="1005" y="222"/>
                  <a:pt x="1005" y="222"/>
                  <a:pt x="1004" y="222"/>
                </a:cubicBezTo>
                <a:cubicBezTo>
                  <a:pt x="1004" y="222"/>
                  <a:pt x="1004" y="222"/>
                  <a:pt x="1004" y="222"/>
                </a:cubicBezTo>
                <a:cubicBezTo>
                  <a:pt x="1004" y="222"/>
                  <a:pt x="1004" y="221"/>
                  <a:pt x="1004" y="221"/>
                </a:cubicBezTo>
                <a:cubicBezTo>
                  <a:pt x="1004" y="221"/>
                  <a:pt x="1004" y="221"/>
                  <a:pt x="1004" y="220"/>
                </a:cubicBezTo>
                <a:cubicBezTo>
                  <a:pt x="1004" y="220"/>
                  <a:pt x="1004" y="220"/>
                  <a:pt x="1004" y="219"/>
                </a:cubicBezTo>
                <a:cubicBezTo>
                  <a:pt x="1004" y="219"/>
                  <a:pt x="1004" y="219"/>
                  <a:pt x="1004" y="219"/>
                </a:cubicBezTo>
                <a:cubicBezTo>
                  <a:pt x="1004" y="219"/>
                  <a:pt x="1003" y="219"/>
                  <a:pt x="1003" y="219"/>
                </a:cubicBezTo>
                <a:cubicBezTo>
                  <a:pt x="1003" y="218"/>
                  <a:pt x="1003" y="217"/>
                  <a:pt x="1003" y="217"/>
                </a:cubicBezTo>
                <a:cubicBezTo>
                  <a:pt x="1003" y="217"/>
                  <a:pt x="1003" y="217"/>
                  <a:pt x="1003" y="216"/>
                </a:cubicBezTo>
                <a:cubicBezTo>
                  <a:pt x="1003" y="216"/>
                  <a:pt x="1003" y="216"/>
                  <a:pt x="1003" y="216"/>
                </a:cubicBezTo>
                <a:cubicBezTo>
                  <a:pt x="1003" y="215"/>
                  <a:pt x="1003" y="215"/>
                  <a:pt x="1003" y="215"/>
                </a:cubicBezTo>
                <a:cubicBezTo>
                  <a:pt x="1004" y="215"/>
                  <a:pt x="1004" y="214"/>
                  <a:pt x="1005" y="214"/>
                </a:cubicBezTo>
                <a:cubicBezTo>
                  <a:pt x="1005" y="213"/>
                  <a:pt x="1005" y="213"/>
                  <a:pt x="1005" y="213"/>
                </a:cubicBezTo>
                <a:cubicBezTo>
                  <a:pt x="1005" y="213"/>
                  <a:pt x="1005" y="213"/>
                  <a:pt x="1005" y="213"/>
                </a:cubicBezTo>
                <a:cubicBezTo>
                  <a:pt x="1005" y="212"/>
                  <a:pt x="1005" y="212"/>
                  <a:pt x="1005" y="212"/>
                </a:cubicBezTo>
                <a:cubicBezTo>
                  <a:pt x="1006" y="212"/>
                  <a:pt x="1006" y="211"/>
                  <a:pt x="1006" y="211"/>
                </a:cubicBezTo>
                <a:cubicBezTo>
                  <a:pt x="1007" y="211"/>
                  <a:pt x="1007" y="211"/>
                  <a:pt x="1007" y="211"/>
                </a:cubicBezTo>
                <a:cubicBezTo>
                  <a:pt x="1008" y="211"/>
                  <a:pt x="1008" y="211"/>
                  <a:pt x="1008" y="211"/>
                </a:cubicBezTo>
                <a:cubicBezTo>
                  <a:pt x="1008" y="211"/>
                  <a:pt x="1009" y="211"/>
                  <a:pt x="1009" y="211"/>
                </a:cubicBezTo>
                <a:cubicBezTo>
                  <a:pt x="1010" y="210"/>
                  <a:pt x="1010" y="210"/>
                  <a:pt x="1010" y="210"/>
                </a:cubicBezTo>
                <a:cubicBezTo>
                  <a:pt x="1011" y="210"/>
                  <a:pt x="1011" y="210"/>
                  <a:pt x="1011" y="210"/>
                </a:cubicBezTo>
                <a:cubicBezTo>
                  <a:pt x="1011" y="210"/>
                  <a:pt x="1011" y="211"/>
                  <a:pt x="1011" y="211"/>
                </a:cubicBezTo>
                <a:cubicBezTo>
                  <a:pt x="1012" y="212"/>
                  <a:pt x="1013" y="212"/>
                  <a:pt x="1014" y="213"/>
                </a:cubicBezTo>
                <a:cubicBezTo>
                  <a:pt x="1014" y="213"/>
                  <a:pt x="1014" y="213"/>
                  <a:pt x="1014" y="214"/>
                </a:cubicBezTo>
                <a:cubicBezTo>
                  <a:pt x="1014" y="214"/>
                  <a:pt x="1015" y="214"/>
                  <a:pt x="1015" y="215"/>
                </a:cubicBezTo>
                <a:cubicBezTo>
                  <a:pt x="1015" y="215"/>
                  <a:pt x="1016" y="215"/>
                  <a:pt x="1016" y="215"/>
                </a:cubicBezTo>
                <a:cubicBezTo>
                  <a:pt x="1017" y="214"/>
                  <a:pt x="1017" y="214"/>
                  <a:pt x="1018" y="213"/>
                </a:cubicBezTo>
                <a:cubicBezTo>
                  <a:pt x="1018" y="213"/>
                  <a:pt x="1019" y="213"/>
                  <a:pt x="1019" y="212"/>
                </a:cubicBezTo>
                <a:cubicBezTo>
                  <a:pt x="1019" y="212"/>
                  <a:pt x="1018" y="211"/>
                  <a:pt x="1018" y="211"/>
                </a:cubicBezTo>
                <a:cubicBezTo>
                  <a:pt x="1018" y="210"/>
                  <a:pt x="1018" y="210"/>
                  <a:pt x="1018" y="210"/>
                </a:cubicBezTo>
                <a:cubicBezTo>
                  <a:pt x="1018" y="209"/>
                  <a:pt x="1018" y="209"/>
                  <a:pt x="1018" y="209"/>
                </a:cubicBezTo>
                <a:cubicBezTo>
                  <a:pt x="1019" y="209"/>
                  <a:pt x="1019" y="208"/>
                  <a:pt x="1019" y="207"/>
                </a:cubicBezTo>
                <a:cubicBezTo>
                  <a:pt x="1019" y="207"/>
                  <a:pt x="1019" y="207"/>
                  <a:pt x="1019" y="207"/>
                </a:cubicBezTo>
                <a:cubicBezTo>
                  <a:pt x="1018" y="207"/>
                  <a:pt x="1018" y="207"/>
                  <a:pt x="1018" y="207"/>
                </a:cubicBezTo>
                <a:cubicBezTo>
                  <a:pt x="1018" y="207"/>
                  <a:pt x="1017" y="208"/>
                  <a:pt x="1017" y="208"/>
                </a:cubicBezTo>
                <a:cubicBezTo>
                  <a:pt x="1017" y="208"/>
                  <a:pt x="1017" y="208"/>
                  <a:pt x="1017" y="208"/>
                </a:cubicBezTo>
                <a:cubicBezTo>
                  <a:pt x="1016" y="208"/>
                  <a:pt x="1016" y="207"/>
                  <a:pt x="1015" y="207"/>
                </a:cubicBezTo>
                <a:cubicBezTo>
                  <a:pt x="1015" y="207"/>
                  <a:pt x="1015" y="206"/>
                  <a:pt x="1014" y="206"/>
                </a:cubicBezTo>
                <a:cubicBezTo>
                  <a:pt x="1014" y="206"/>
                  <a:pt x="1014" y="205"/>
                  <a:pt x="1014" y="205"/>
                </a:cubicBezTo>
                <a:cubicBezTo>
                  <a:pt x="1015" y="205"/>
                  <a:pt x="1015" y="205"/>
                  <a:pt x="1015" y="205"/>
                </a:cubicBezTo>
                <a:cubicBezTo>
                  <a:pt x="1015" y="205"/>
                  <a:pt x="1016" y="205"/>
                  <a:pt x="1016" y="204"/>
                </a:cubicBezTo>
                <a:cubicBezTo>
                  <a:pt x="1015" y="204"/>
                  <a:pt x="1015" y="204"/>
                  <a:pt x="1015" y="204"/>
                </a:cubicBezTo>
                <a:cubicBezTo>
                  <a:pt x="1015" y="204"/>
                  <a:pt x="1014" y="204"/>
                  <a:pt x="1014" y="205"/>
                </a:cubicBezTo>
                <a:cubicBezTo>
                  <a:pt x="1014" y="205"/>
                  <a:pt x="1014" y="204"/>
                  <a:pt x="1014" y="204"/>
                </a:cubicBezTo>
                <a:cubicBezTo>
                  <a:pt x="1014" y="204"/>
                  <a:pt x="1014" y="203"/>
                  <a:pt x="1014" y="202"/>
                </a:cubicBezTo>
                <a:cubicBezTo>
                  <a:pt x="1014" y="202"/>
                  <a:pt x="1014" y="202"/>
                  <a:pt x="1014" y="201"/>
                </a:cubicBezTo>
                <a:cubicBezTo>
                  <a:pt x="1015" y="201"/>
                  <a:pt x="1016" y="201"/>
                  <a:pt x="1016" y="201"/>
                </a:cubicBezTo>
                <a:cubicBezTo>
                  <a:pt x="1016" y="201"/>
                  <a:pt x="1017" y="201"/>
                  <a:pt x="1017" y="201"/>
                </a:cubicBezTo>
                <a:cubicBezTo>
                  <a:pt x="1017" y="201"/>
                  <a:pt x="1017" y="201"/>
                  <a:pt x="1017" y="201"/>
                </a:cubicBezTo>
                <a:cubicBezTo>
                  <a:pt x="1017" y="200"/>
                  <a:pt x="1018" y="200"/>
                  <a:pt x="1018" y="200"/>
                </a:cubicBezTo>
                <a:cubicBezTo>
                  <a:pt x="1019" y="200"/>
                  <a:pt x="1019" y="200"/>
                  <a:pt x="1019" y="200"/>
                </a:cubicBezTo>
                <a:cubicBezTo>
                  <a:pt x="1019" y="200"/>
                  <a:pt x="1019" y="200"/>
                  <a:pt x="1020" y="200"/>
                </a:cubicBezTo>
                <a:cubicBezTo>
                  <a:pt x="1020" y="200"/>
                  <a:pt x="1020" y="200"/>
                  <a:pt x="1020" y="200"/>
                </a:cubicBezTo>
                <a:cubicBezTo>
                  <a:pt x="1021" y="200"/>
                  <a:pt x="1021" y="200"/>
                  <a:pt x="1022" y="200"/>
                </a:cubicBezTo>
                <a:cubicBezTo>
                  <a:pt x="1022" y="200"/>
                  <a:pt x="1022" y="200"/>
                  <a:pt x="1022" y="200"/>
                </a:cubicBezTo>
                <a:cubicBezTo>
                  <a:pt x="1023" y="200"/>
                  <a:pt x="1023" y="200"/>
                  <a:pt x="1023" y="200"/>
                </a:cubicBezTo>
                <a:cubicBezTo>
                  <a:pt x="1023" y="200"/>
                  <a:pt x="1023" y="200"/>
                  <a:pt x="1023" y="200"/>
                </a:cubicBezTo>
                <a:cubicBezTo>
                  <a:pt x="1023" y="200"/>
                  <a:pt x="1023" y="199"/>
                  <a:pt x="1023" y="199"/>
                </a:cubicBezTo>
                <a:cubicBezTo>
                  <a:pt x="1023" y="199"/>
                  <a:pt x="1023" y="199"/>
                  <a:pt x="1024" y="199"/>
                </a:cubicBezTo>
                <a:cubicBezTo>
                  <a:pt x="1024" y="199"/>
                  <a:pt x="1024" y="199"/>
                  <a:pt x="1024" y="199"/>
                </a:cubicBezTo>
                <a:cubicBezTo>
                  <a:pt x="1024" y="199"/>
                  <a:pt x="1024" y="199"/>
                  <a:pt x="1025" y="200"/>
                </a:cubicBezTo>
                <a:cubicBezTo>
                  <a:pt x="1025" y="200"/>
                  <a:pt x="1025" y="200"/>
                  <a:pt x="1026" y="200"/>
                </a:cubicBezTo>
                <a:cubicBezTo>
                  <a:pt x="1026" y="200"/>
                  <a:pt x="1026" y="200"/>
                  <a:pt x="1027" y="200"/>
                </a:cubicBezTo>
                <a:cubicBezTo>
                  <a:pt x="1028" y="200"/>
                  <a:pt x="1028" y="200"/>
                  <a:pt x="1029" y="200"/>
                </a:cubicBezTo>
                <a:cubicBezTo>
                  <a:pt x="1030" y="200"/>
                  <a:pt x="1030" y="201"/>
                  <a:pt x="1031" y="201"/>
                </a:cubicBezTo>
                <a:cubicBezTo>
                  <a:pt x="1032" y="201"/>
                  <a:pt x="1034" y="201"/>
                  <a:pt x="1035" y="201"/>
                </a:cubicBezTo>
                <a:cubicBezTo>
                  <a:pt x="1035" y="201"/>
                  <a:pt x="1036" y="201"/>
                  <a:pt x="1036" y="201"/>
                </a:cubicBezTo>
                <a:cubicBezTo>
                  <a:pt x="1036" y="201"/>
                  <a:pt x="1036" y="201"/>
                  <a:pt x="1036" y="202"/>
                </a:cubicBezTo>
                <a:cubicBezTo>
                  <a:pt x="1036" y="201"/>
                  <a:pt x="1036" y="201"/>
                  <a:pt x="1036" y="201"/>
                </a:cubicBezTo>
                <a:cubicBezTo>
                  <a:pt x="1036" y="201"/>
                  <a:pt x="1036" y="201"/>
                  <a:pt x="1036" y="201"/>
                </a:cubicBezTo>
                <a:cubicBezTo>
                  <a:pt x="1036" y="201"/>
                  <a:pt x="1036" y="200"/>
                  <a:pt x="1036" y="200"/>
                </a:cubicBezTo>
                <a:cubicBezTo>
                  <a:pt x="1036" y="200"/>
                  <a:pt x="1036" y="200"/>
                  <a:pt x="1035" y="200"/>
                </a:cubicBezTo>
                <a:cubicBezTo>
                  <a:pt x="1035" y="199"/>
                  <a:pt x="1035" y="199"/>
                  <a:pt x="1036" y="199"/>
                </a:cubicBezTo>
                <a:cubicBezTo>
                  <a:pt x="1036" y="199"/>
                  <a:pt x="1036" y="199"/>
                  <a:pt x="1036" y="199"/>
                </a:cubicBezTo>
                <a:cubicBezTo>
                  <a:pt x="1036" y="199"/>
                  <a:pt x="1036" y="199"/>
                  <a:pt x="1036" y="200"/>
                </a:cubicBezTo>
                <a:cubicBezTo>
                  <a:pt x="1037" y="200"/>
                  <a:pt x="1037" y="200"/>
                  <a:pt x="1037" y="199"/>
                </a:cubicBezTo>
                <a:cubicBezTo>
                  <a:pt x="1037" y="199"/>
                  <a:pt x="1037" y="199"/>
                  <a:pt x="1037" y="199"/>
                </a:cubicBezTo>
                <a:cubicBezTo>
                  <a:pt x="1038" y="199"/>
                  <a:pt x="1038" y="199"/>
                  <a:pt x="1038" y="198"/>
                </a:cubicBezTo>
                <a:cubicBezTo>
                  <a:pt x="1038" y="199"/>
                  <a:pt x="1039" y="199"/>
                  <a:pt x="1039" y="199"/>
                </a:cubicBezTo>
                <a:cubicBezTo>
                  <a:pt x="1040" y="199"/>
                  <a:pt x="1040" y="199"/>
                  <a:pt x="1041" y="198"/>
                </a:cubicBezTo>
                <a:cubicBezTo>
                  <a:pt x="1041" y="198"/>
                  <a:pt x="1041" y="198"/>
                  <a:pt x="1041" y="198"/>
                </a:cubicBezTo>
                <a:cubicBezTo>
                  <a:pt x="1041" y="198"/>
                  <a:pt x="1041" y="198"/>
                  <a:pt x="1042" y="198"/>
                </a:cubicBezTo>
                <a:cubicBezTo>
                  <a:pt x="1042" y="198"/>
                  <a:pt x="1043" y="198"/>
                  <a:pt x="1043" y="198"/>
                </a:cubicBezTo>
                <a:cubicBezTo>
                  <a:pt x="1044" y="198"/>
                  <a:pt x="1044" y="198"/>
                  <a:pt x="1044" y="198"/>
                </a:cubicBezTo>
                <a:cubicBezTo>
                  <a:pt x="1044" y="197"/>
                  <a:pt x="1043" y="197"/>
                  <a:pt x="1043" y="197"/>
                </a:cubicBezTo>
                <a:cubicBezTo>
                  <a:pt x="1043" y="197"/>
                  <a:pt x="1042" y="196"/>
                  <a:pt x="1042" y="196"/>
                </a:cubicBezTo>
                <a:cubicBezTo>
                  <a:pt x="1042" y="197"/>
                  <a:pt x="1042" y="197"/>
                  <a:pt x="1042" y="197"/>
                </a:cubicBezTo>
                <a:cubicBezTo>
                  <a:pt x="1041" y="197"/>
                  <a:pt x="1041" y="197"/>
                  <a:pt x="1040" y="197"/>
                </a:cubicBezTo>
                <a:cubicBezTo>
                  <a:pt x="1040" y="196"/>
                  <a:pt x="1040" y="196"/>
                  <a:pt x="1040" y="196"/>
                </a:cubicBezTo>
                <a:cubicBezTo>
                  <a:pt x="1039" y="196"/>
                  <a:pt x="1039" y="196"/>
                  <a:pt x="1038" y="196"/>
                </a:cubicBezTo>
                <a:cubicBezTo>
                  <a:pt x="1038" y="195"/>
                  <a:pt x="1037" y="195"/>
                  <a:pt x="1037" y="195"/>
                </a:cubicBezTo>
                <a:cubicBezTo>
                  <a:pt x="1037" y="195"/>
                  <a:pt x="1037" y="194"/>
                  <a:pt x="1037" y="194"/>
                </a:cubicBezTo>
                <a:cubicBezTo>
                  <a:pt x="1038" y="194"/>
                  <a:pt x="1038" y="195"/>
                  <a:pt x="1039" y="195"/>
                </a:cubicBezTo>
                <a:cubicBezTo>
                  <a:pt x="1039" y="195"/>
                  <a:pt x="1039" y="194"/>
                  <a:pt x="1039" y="194"/>
                </a:cubicBezTo>
                <a:cubicBezTo>
                  <a:pt x="1038" y="194"/>
                  <a:pt x="1038" y="194"/>
                  <a:pt x="1038" y="194"/>
                </a:cubicBezTo>
                <a:cubicBezTo>
                  <a:pt x="1038" y="194"/>
                  <a:pt x="1039" y="194"/>
                  <a:pt x="1039" y="193"/>
                </a:cubicBezTo>
                <a:cubicBezTo>
                  <a:pt x="1039" y="193"/>
                  <a:pt x="1038" y="193"/>
                  <a:pt x="1038" y="193"/>
                </a:cubicBezTo>
                <a:cubicBezTo>
                  <a:pt x="1038" y="193"/>
                  <a:pt x="1036" y="194"/>
                  <a:pt x="1036" y="194"/>
                </a:cubicBezTo>
                <a:cubicBezTo>
                  <a:pt x="1036" y="194"/>
                  <a:pt x="1036" y="194"/>
                  <a:pt x="1036" y="194"/>
                </a:cubicBezTo>
                <a:cubicBezTo>
                  <a:pt x="1036" y="194"/>
                  <a:pt x="1036" y="194"/>
                  <a:pt x="1036" y="194"/>
                </a:cubicBezTo>
                <a:cubicBezTo>
                  <a:pt x="1036" y="194"/>
                  <a:pt x="1036" y="194"/>
                  <a:pt x="1036" y="194"/>
                </a:cubicBezTo>
                <a:cubicBezTo>
                  <a:pt x="1036" y="194"/>
                  <a:pt x="1035" y="195"/>
                  <a:pt x="1035" y="195"/>
                </a:cubicBezTo>
                <a:cubicBezTo>
                  <a:pt x="1035" y="195"/>
                  <a:pt x="1035" y="195"/>
                  <a:pt x="1034" y="195"/>
                </a:cubicBezTo>
                <a:cubicBezTo>
                  <a:pt x="1034" y="194"/>
                  <a:pt x="1034" y="194"/>
                  <a:pt x="1034" y="194"/>
                </a:cubicBezTo>
                <a:cubicBezTo>
                  <a:pt x="1034" y="194"/>
                  <a:pt x="1034" y="194"/>
                  <a:pt x="1033" y="194"/>
                </a:cubicBezTo>
                <a:cubicBezTo>
                  <a:pt x="1033" y="194"/>
                  <a:pt x="1033" y="194"/>
                  <a:pt x="1033" y="194"/>
                </a:cubicBezTo>
                <a:cubicBezTo>
                  <a:pt x="1033" y="194"/>
                  <a:pt x="1033" y="194"/>
                  <a:pt x="1033" y="194"/>
                </a:cubicBezTo>
                <a:cubicBezTo>
                  <a:pt x="1033" y="194"/>
                  <a:pt x="1033" y="195"/>
                  <a:pt x="1033" y="195"/>
                </a:cubicBezTo>
                <a:cubicBezTo>
                  <a:pt x="1033" y="195"/>
                  <a:pt x="1032" y="195"/>
                  <a:pt x="1031" y="195"/>
                </a:cubicBezTo>
                <a:cubicBezTo>
                  <a:pt x="1031" y="195"/>
                  <a:pt x="1031" y="194"/>
                  <a:pt x="1031" y="194"/>
                </a:cubicBezTo>
                <a:cubicBezTo>
                  <a:pt x="1030" y="194"/>
                  <a:pt x="1030" y="194"/>
                  <a:pt x="1029" y="194"/>
                </a:cubicBezTo>
                <a:cubicBezTo>
                  <a:pt x="1029" y="195"/>
                  <a:pt x="1029" y="195"/>
                  <a:pt x="1028" y="195"/>
                </a:cubicBezTo>
                <a:cubicBezTo>
                  <a:pt x="1028" y="195"/>
                  <a:pt x="1028" y="195"/>
                  <a:pt x="1028" y="194"/>
                </a:cubicBezTo>
                <a:cubicBezTo>
                  <a:pt x="1028" y="194"/>
                  <a:pt x="1028" y="194"/>
                  <a:pt x="1028" y="194"/>
                </a:cubicBezTo>
                <a:cubicBezTo>
                  <a:pt x="1027" y="194"/>
                  <a:pt x="1027" y="195"/>
                  <a:pt x="1027" y="195"/>
                </a:cubicBezTo>
                <a:cubicBezTo>
                  <a:pt x="1027" y="195"/>
                  <a:pt x="1027" y="195"/>
                  <a:pt x="1027" y="195"/>
                </a:cubicBezTo>
                <a:cubicBezTo>
                  <a:pt x="1027" y="195"/>
                  <a:pt x="1026" y="194"/>
                  <a:pt x="1026" y="194"/>
                </a:cubicBezTo>
                <a:cubicBezTo>
                  <a:pt x="1026" y="194"/>
                  <a:pt x="1026" y="194"/>
                  <a:pt x="1026" y="195"/>
                </a:cubicBezTo>
                <a:cubicBezTo>
                  <a:pt x="1026" y="195"/>
                  <a:pt x="1025" y="195"/>
                  <a:pt x="1025" y="195"/>
                </a:cubicBezTo>
                <a:cubicBezTo>
                  <a:pt x="1025" y="194"/>
                  <a:pt x="1025" y="194"/>
                  <a:pt x="1025" y="194"/>
                </a:cubicBezTo>
                <a:cubicBezTo>
                  <a:pt x="1025" y="194"/>
                  <a:pt x="1024" y="194"/>
                  <a:pt x="1024" y="194"/>
                </a:cubicBezTo>
                <a:cubicBezTo>
                  <a:pt x="1024" y="194"/>
                  <a:pt x="1025" y="195"/>
                  <a:pt x="1025" y="195"/>
                </a:cubicBezTo>
                <a:cubicBezTo>
                  <a:pt x="1024" y="195"/>
                  <a:pt x="1024" y="195"/>
                  <a:pt x="1024" y="195"/>
                </a:cubicBezTo>
                <a:cubicBezTo>
                  <a:pt x="1024" y="195"/>
                  <a:pt x="1024" y="195"/>
                  <a:pt x="1024" y="196"/>
                </a:cubicBezTo>
                <a:cubicBezTo>
                  <a:pt x="1023" y="196"/>
                  <a:pt x="1023" y="195"/>
                  <a:pt x="1023" y="195"/>
                </a:cubicBezTo>
                <a:cubicBezTo>
                  <a:pt x="1023" y="195"/>
                  <a:pt x="1023" y="195"/>
                  <a:pt x="1023" y="195"/>
                </a:cubicBezTo>
                <a:cubicBezTo>
                  <a:pt x="1023" y="195"/>
                  <a:pt x="1023" y="195"/>
                  <a:pt x="1023" y="195"/>
                </a:cubicBezTo>
                <a:cubicBezTo>
                  <a:pt x="1023" y="195"/>
                  <a:pt x="1023" y="195"/>
                  <a:pt x="1022" y="195"/>
                </a:cubicBezTo>
                <a:cubicBezTo>
                  <a:pt x="1022" y="195"/>
                  <a:pt x="1022" y="195"/>
                  <a:pt x="1021" y="195"/>
                </a:cubicBezTo>
                <a:cubicBezTo>
                  <a:pt x="1021" y="195"/>
                  <a:pt x="1020" y="195"/>
                  <a:pt x="1020" y="195"/>
                </a:cubicBezTo>
                <a:cubicBezTo>
                  <a:pt x="1020" y="195"/>
                  <a:pt x="1020" y="195"/>
                  <a:pt x="1020" y="195"/>
                </a:cubicBezTo>
                <a:cubicBezTo>
                  <a:pt x="1019" y="196"/>
                  <a:pt x="1018" y="196"/>
                  <a:pt x="1017" y="196"/>
                </a:cubicBezTo>
                <a:cubicBezTo>
                  <a:pt x="1017" y="196"/>
                  <a:pt x="1017" y="196"/>
                  <a:pt x="1016" y="196"/>
                </a:cubicBezTo>
                <a:cubicBezTo>
                  <a:pt x="1016" y="197"/>
                  <a:pt x="1015" y="197"/>
                  <a:pt x="1015" y="197"/>
                </a:cubicBezTo>
                <a:cubicBezTo>
                  <a:pt x="1014" y="197"/>
                  <a:pt x="1014" y="197"/>
                  <a:pt x="1014" y="197"/>
                </a:cubicBezTo>
                <a:cubicBezTo>
                  <a:pt x="1013" y="197"/>
                  <a:pt x="1013" y="197"/>
                  <a:pt x="1013" y="197"/>
                </a:cubicBezTo>
                <a:cubicBezTo>
                  <a:pt x="1013" y="197"/>
                  <a:pt x="1013" y="197"/>
                  <a:pt x="1013" y="197"/>
                </a:cubicBezTo>
                <a:cubicBezTo>
                  <a:pt x="1012" y="197"/>
                  <a:pt x="1012" y="197"/>
                  <a:pt x="1012" y="197"/>
                </a:cubicBezTo>
                <a:cubicBezTo>
                  <a:pt x="1012" y="197"/>
                  <a:pt x="1012" y="198"/>
                  <a:pt x="1011" y="198"/>
                </a:cubicBezTo>
                <a:cubicBezTo>
                  <a:pt x="1011" y="198"/>
                  <a:pt x="1011" y="198"/>
                  <a:pt x="1011" y="198"/>
                </a:cubicBezTo>
                <a:cubicBezTo>
                  <a:pt x="1011" y="198"/>
                  <a:pt x="1011" y="198"/>
                  <a:pt x="1011" y="197"/>
                </a:cubicBezTo>
                <a:cubicBezTo>
                  <a:pt x="1011" y="197"/>
                  <a:pt x="1011" y="197"/>
                  <a:pt x="1011" y="197"/>
                </a:cubicBezTo>
                <a:cubicBezTo>
                  <a:pt x="1011" y="196"/>
                  <a:pt x="1010" y="196"/>
                  <a:pt x="1010" y="195"/>
                </a:cubicBezTo>
                <a:cubicBezTo>
                  <a:pt x="1010" y="195"/>
                  <a:pt x="1010" y="195"/>
                  <a:pt x="1010" y="195"/>
                </a:cubicBezTo>
                <a:cubicBezTo>
                  <a:pt x="1010" y="195"/>
                  <a:pt x="1010" y="195"/>
                  <a:pt x="1010" y="194"/>
                </a:cubicBezTo>
                <a:cubicBezTo>
                  <a:pt x="1010" y="195"/>
                  <a:pt x="1009" y="195"/>
                  <a:pt x="1009" y="195"/>
                </a:cubicBezTo>
                <a:cubicBezTo>
                  <a:pt x="1009" y="195"/>
                  <a:pt x="1009" y="195"/>
                  <a:pt x="1008" y="195"/>
                </a:cubicBezTo>
                <a:cubicBezTo>
                  <a:pt x="1009" y="195"/>
                  <a:pt x="1009" y="195"/>
                  <a:pt x="1009" y="194"/>
                </a:cubicBezTo>
                <a:cubicBezTo>
                  <a:pt x="1009" y="194"/>
                  <a:pt x="1009" y="194"/>
                  <a:pt x="1008" y="194"/>
                </a:cubicBezTo>
                <a:cubicBezTo>
                  <a:pt x="1008" y="194"/>
                  <a:pt x="1007" y="194"/>
                  <a:pt x="1007" y="194"/>
                </a:cubicBezTo>
                <a:cubicBezTo>
                  <a:pt x="1007" y="194"/>
                  <a:pt x="1006" y="194"/>
                  <a:pt x="1006" y="194"/>
                </a:cubicBezTo>
                <a:cubicBezTo>
                  <a:pt x="1006" y="194"/>
                  <a:pt x="1005" y="194"/>
                  <a:pt x="1005" y="194"/>
                </a:cubicBezTo>
                <a:cubicBezTo>
                  <a:pt x="1005" y="194"/>
                  <a:pt x="1004" y="193"/>
                  <a:pt x="1004" y="193"/>
                </a:cubicBezTo>
                <a:cubicBezTo>
                  <a:pt x="1004" y="193"/>
                  <a:pt x="1004" y="193"/>
                  <a:pt x="1004" y="193"/>
                </a:cubicBezTo>
                <a:cubicBezTo>
                  <a:pt x="1004" y="193"/>
                  <a:pt x="1003" y="193"/>
                  <a:pt x="1003" y="193"/>
                </a:cubicBezTo>
                <a:cubicBezTo>
                  <a:pt x="1003" y="193"/>
                  <a:pt x="1002" y="193"/>
                  <a:pt x="1002" y="193"/>
                </a:cubicBezTo>
                <a:cubicBezTo>
                  <a:pt x="1002" y="193"/>
                  <a:pt x="1001" y="193"/>
                  <a:pt x="1001" y="193"/>
                </a:cubicBezTo>
                <a:cubicBezTo>
                  <a:pt x="1001" y="193"/>
                  <a:pt x="1001" y="193"/>
                  <a:pt x="1001" y="193"/>
                </a:cubicBezTo>
                <a:cubicBezTo>
                  <a:pt x="1001" y="192"/>
                  <a:pt x="1002" y="192"/>
                  <a:pt x="1002" y="192"/>
                </a:cubicBezTo>
                <a:cubicBezTo>
                  <a:pt x="1002" y="192"/>
                  <a:pt x="1001" y="191"/>
                  <a:pt x="1001" y="191"/>
                </a:cubicBezTo>
                <a:cubicBezTo>
                  <a:pt x="1001" y="191"/>
                  <a:pt x="1001" y="190"/>
                  <a:pt x="1001" y="190"/>
                </a:cubicBezTo>
                <a:cubicBezTo>
                  <a:pt x="1001" y="190"/>
                  <a:pt x="1002" y="189"/>
                  <a:pt x="1002" y="189"/>
                </a:cubicBezTo>
                <a:cubicBezTo>
                  <a:pt x="1002" y="189"/>
                  <a:pt x="1002" y="188"/>
                  <a:pt x="1002" y="188"/>
                </a:cubicBezTo>
                <a:cubicBezTo>
                  <a:pt x="1002" y="188"/>
                  <a:pt x="1002" y="188"/>
                  <a:pt x="1002" y="188"/>
                </a:cubicBezTo>
                <a:cubicBezTo>
                  <a:pt x="1002" y="188"/>
                  <a:pt x="1002" y="187"/>
                  <a:pt x="1002" y="187"/>
                </a:cubicBezTo>
                <a:cubicBezTo>
                  <a:pt x="1002" y="187"/>
                  <a:pt x="1002" y="187"/>
                  <a:pt x="1002" y="187"/>
                </a:cubicBezTo>
                <a:cubicBezTo>
                  <a:pt x="1002" y="186"/>
                  <a:pt x="1002" y="186"/>
                  <a:pt x="1001" y="186"/>
                </a:cubicBezTo>
                <a:cubicBezTo>
                  <a:pt x="1001" y="186"/>
                  <a:pt x="1001" y="185"/>
                  <a:pt x="1000" y="185"/>
                </a:cubicBezTo>
                <a:cubicBezTo>
                  <a:pt x="1000" y="185"/>
                  <a:pt x="1001" y="185"/>
                  <a:pt x="1001" y="185"/>
                </a:cubicBezTo>
                <a:cubicBezTo>
                  <a:pt x="1001" y="184"/>
                  <a:pt x="1000" y="184"/>
                  <a:pt x="1000" y="184"/>
                </a:cubicBezTo>
                <a:cubicBezTo>
                  <a:pt x="1000" y="184"/>
                  <a:pt x="1000" y="184"/>
                  <a:pt x="1001" y="184"/>
                </a:cubicBezTo>
                <a:cubicBezTo>
                  <a:pt x="1001" y="183"/>
                  <a:pt x="1001" y="183"/>
                  <a:pt x="1001" y="183"/>
                </a:cubicBezTo>
                <a:cubicBezTo>
                  <a:pt x="1001" y="183"/>
                  <a:pt x="1000" y="183"/>
                  <a:pt x="1000" y="182"/>
                </a:cubicBezTo>
                <a:cubicBezTo>
                  <a:pt x="1000" y="182"/>
                  <a:pt x="1000" y="182"/>
                  <a:pt x="999" y="183"/>
                </a:cubicBezTo>
                <a:cubicBezTo>
                  <a:pt x="999" y="182"/>
                  <a:pt x="999" y="182"/>
                  <a:pt x="999" y="182"/>
                </a:cubicBezTo>
                <a:cubicBezTo>
                  <a:pt x="999" y="182"/>
                  <a:pt x="1000" y="182"/>
                  <a:pt x="1000" y="181"/>
                </a:cubicBezTo>
                <a:cubicBezTo>
                  <a:pt x="1000" y="181"/>
                  <a:pt x="999" y="181"/>
                  <a:pt x="999" y="181"/>
                </a:cubicBezTo>
                <a:cubicBezTo>
                  <a:pt x="999" y="181"/>
                  <a:pt x="999" y="181"/>
                  <a:pt x="999" y="180"/>
                </a:cubicBezTo>
                <a:cubicBezTo>
                  <a:pt x="999" y="180"/>
                  <a:pt x="999" y="180"/>
                  <a:pt x="1000" y="180"/>
                </a:cubicBezTo>
                <a:cubicBezTo>
                  <a:pt x="1000" y="180"/>
                  <a:pt x="1000" y="180"/>
                  <a:pt x="1000" y="180"/>
                </a:cubicBezTo>
                <a:cubicBezTo>
                  <a:pt x="1000" y="180"/>
                  <a:pt x="1000" y="179"/>
                  <a:pt x="1001" y="179"/>
                </a:cubicBezTo>
                <a:cubicBezTo>
                  <a:pt x="1000" y="179"/>
                  <a:pt x="1000" y="179"/>
                  <a:pt x="1000" y="178"/>
                </a:cubicBezTo>
                <a:cubicBezTo>
                  <a:pt x="1000" y="178"/>
                  <a:pt x="1001" y="178"/>
                  <a:pt x="1001" y="178"/>
                </a:cubicBezTo>
                <a:cubicBezTo>
                  <a:pt x="1001" y="178"/>
                  <a:pt x="1001" y="178"/>
                  <a:pt x="1000" y="177"/>
                </a:cubicBezTo>
                <a:cubicBezTo>
                  <a:pt x="1001" y="177"/>
                  <a:pt x="1001" y="177"/>
                  <a:pt x="1001" y="177"/>
                </a:cubicBezTo>
                <a:cubicBezTo>
                  <a:pt x="1002" y="177"/>
                  <a:pt x="1002" y="177"/>
                  <a:pt x="1002" y="177"/>
                </a:cubicBezTo>
                <a:cubicBezTo>
                  <a:pt x="1002" y="177"/>
                  <a:pt x="1002" y="178"/>
                  <a:pt x="1002" y="178"/>
                </a:cubicBezTo>
                <a:cubicBezTo>
                  <a:pt x="1002" y="178"/>
                  <a:pt x="1002" y="178"/>
                  <a:pt x="1003" y="178"/>
                </a:cubicBezTo>
                <a:cubicBezTo>
                  <a:pt x="1003" y="178"/>
                  <a:pt x="1003" y="178"/>
                  <a:pt x="1004" y="178"/>
                </a:cubicBezTo>
                <a:cubicBezTo>
                  <a:pt x="1004" y="177"/>
                  <a:pt x="1004" y="177"/>
                  <a:pt x="1004" y="177"/>
                </a:cubicBezTo>
                <a:cubicBezTo>
                  <a:pt x="1004" y="177"/>
                  <a:pt x="1004" y="177"/>
                  <a:pt x="1005" y="177"/>
                </a:cubicBezTo>
                <a:cubicBezTo>
                  <a:pt x="1005" y="177"/>
                  <a:pt x="1005" y="176"/>
                  <a:pt x="1005" y="176"/>
                </a:cubicBezTo>
                <a:cubicBezTo>
                  <a:pt x="1004" y="176"/>
                  <a:pt x="1004" y="176"/>
                  <a:pt x="1004" y="176"/>
                </a:cubicBezTo>
                <a:cubicBezTo>
                  <a:pt x="1004" y="176"/>
                  <a:pt x="1004" y="176"/>
                  <a:pt x="1004" y="176"/>
                </a:cubicBezTo>
                <a:cubicBezTo>
                  <a:pt x="1005" y="176"/>
                  <a:pt x="1005" y="176"/>
                  <a:pt x="1005" y="176"/>
                </a:cubicBezTo>
                <a:cubicBezTo>
                  <a:pt x="1005" y="176"/>
                  <a:pt x="1005" y="176"/>
                  <a:pt x="1005" y="175"/>
                </a:cubicBezTo>
                <a:cubicBezTo>
                  <a:pt x="1005" y="175"/>
                  <a:pt x="1005" y="175"/>
                  <a:pt x="1005" y="175"/>
                </a:cubicBezTo>
                <a:cubicBezTo>
                  <a:pt x="1006" y="175"/>
                  <a:pt x="1006" y="175"/>
                  <a:pt x="1006" y="174"/>
                </a:cubicBezTo>
                <a:cubicBezTo>
                  <a:pt x="1006" y="175"/>
                  <a:pt x="1006" y="175"/>
                  <a:pt x="1007" y="175"/>
                </a:cubicBezTo>
                <a:cubicBezTo>
                  <a:pt x="1007" y="175"/>
                  <a:pt x="1007" y="175"/>
                  <a:pt x="1008" y="175"/>
                </a:cubicBezTo>
                <a:cubicBezTo>
                  <a:pt x="1008" y="175"/>
                  <a:pt x="1007" y="175"/>
                  <a:pt x="1007" y="175"/>
                </a:cubicBezTo>
                <a:cubicBezTo>
                  <a:pt x="1007" y="174"/>
                  <a:pt x="1007" y="174"/>
                  <a:pt x="1007" y="174"/>
                </a:cubicBezTo>
                <a:cubicBezTo>
                  <a:pt x="1007" y="174"/>
                  <a:pt x="1007" y="173"/>
                  <a:pt x="1008" y="173"/>
                </a:cubicBezTo>
                <a:cubicBezTo>
                  <a:pt x="1008" y="173"/>
                  <a:pt x="1008" y="173"/>
                  <a:pt x="1009" y="173"/>
                </a:cubicBezTo>
                <a:cubicBezTo>
                  <a:pt x="1009" y="173"/>
                  <a:pt x="1009" y="173"/>
                  <a:pt x="1009" y="173"/>
                </a:cubicBezTo>
                <a:cubicBezTo>
                  <a:pt x="1009" y="172"/>
                  <a:pt x="1009" y="172"/>
                  <a:pt x="1009" y="172"/>
                </a:cubicBezTo>
                <a:cubicBezTo>
                  <a:pt x="1009" y="172"/>
                  <a:pt x="1009" y="172"/>
                  <a:pt x="1009" y="172"/>
                </a:cubicBezTo>
                <a:cubicBezTo>
                  <a:pt x="1009" y="172"/>
                  <a:pt x="1009" y="172"/>
                  <a:pt x="1009" y="172"/>
                </a:cubicBezTo>
                <a:cubicBezTo>
                  <a:pt x="1010" y="172"/>
                  <a:pt x="1010" y="172"/>
                  <a:pt x="1010" y="172"/>
                </a:cubicBezTo>
                <a:cubicBezTo>
                  <a:pt x="1010" y="172"/>
                  <a:pt x="1010" y="171"/>
                  <a:pt x="1010" y="171"/>
                </a:cubicBezTo>
                <a:cubicBezTo>
                  <a:pt x="1011" y="171"/>
                  <a:pt x="1011" y="170"/>
                  <a:pt x="1012" y="170"/>
                </a:cubicBezTo>
                <a:cubicBezTo>
                  <a:pt x="1012" y="170"/>
                  <a:pt x="1012" y="170"/>
                  <a:pt x="1013" y="170"/>
                </a:cubicBezTo>
                <a:cubicBezTo>
                  <a:pt x="1013" y="169"/>
                  <a:pt x="1013" y="169"/>
                  <a:pt x="1013" y="169"/>
                </a:cubicBezTo>
                <a:cubicBezTo>
                  <a:pt x="1013" y="169"/>
                  <a:pt x="1013" y="169"/>
                  <a:pt x="1014" y="168"/>
                </a:cubicBezTo>
                <a:cubicBezTo>
                  <a:pt x="1014" y="168"/>
                  <a:pt x="1014" y="168"/>
                  <a:pt x="1014" y="168"/>
                </a:cubicBezTo>
                <a:cubicBezTo>
                  <a:pt x="1014" y="168"/>
                  <a:pt x="1015" y="167"/>
                  <a:pt x="1015" y="167"/>
                </a:cubicBezTo>
                <a:cubicBezTo>
                  <a:pt x="1016" y="167"/>
                  <a:pt x="1016" y="167"/>
                  <a:pt x="1017" y="167"/>
                </a:cubicBezTo>
                <a:cubicBezTo>
                  <a:pt x="1017" y="168"/>
                  <a:pt x="1018" y="168"/>
                  <a:pt x="1018" y="168"/>
                </a:cubicBezTo>
                <a:cubicBezTo>
                  <a:pt x="1018" y="168"/>
                  <a:pt x="1018" y="168"/>
                  <a:pt x="1018" y="168"/>
                </a:cubicBezTo>
                <a:cubicBezTo>
                  <a:pt x="1018" y="167"/>
                  <a:pt x="1017" y="167"/>
                  <a:pt x="1017" y="167"/>
                </a:cubicBezTo>
                <a:cubicBezTo>
                  <a:pt x="1017" y="167"/>
                  <a:pt x="1017" y="167"/>
                  <a:pt x="1017" y="167"/>
                </a:cubicBezTo>
                <a:cubicBezTo>
                  <a:pt x="1018" y="167"/>
                  <a:pt x="1018" y="167"/>
                  <a:pt x="1019" y="167"/>
                </a:cubicBezTo>
                <a:cubicBezTo>
                  <a:pt x="1018" y="166"/>
                  <a:pt x="1017" y="166"/>
                  <a:pt x="1017" y="166"/>
                </a:cubicBezTo>
                <a:cubicBezTo>
                  <a:pt x="1017" y="166"/>
                  <a:pt x="1017" y="166"/>
                  <a:pt x="1017" y="165"/>
                </a:cubicBezTo>
                <a:cubicBezTo>
                  <a:pt x="1017" y="165"/>
                  <a:pt x="1017" y="165"/>
                  <a:pt x="1017" y="164"/>
                </a:cubicBezTo>
                <a:cubicBezTo>
                  <a:pt x="1017" y="164"/>
                  <a:pt x="1017" y="164"/>
                  <a:pt x="1017" y="164"/>
                </a:cubicBezTo>
                <a:cubicBezTo>
                  <a:pt x="1017" y="164"/>
                  <a:pt x="1017" y="164"/>
                  <a:pt x="1017" y="164"/>
                </a:cubicBezTo>
                <a:cubicBezTo>
                  <a:pt x="1017" y="163"/>
                  <a:pt x="1017" y="163"/>
                  <a:pt x="1016" y="163"/>
                </a:cubicBezTo>
                <a:cubicBezTo>
                  <a:pt x="1015" y="163"/>
                  <a:pt x="1015" y="163"/>
                  <a:pt x="1014" y="163"/>
                </a:cubicBezTo>
                <a:cubicBezTo>
                  <a:pt x="1014" y="162"/>
                  <a:pt x="1013" y="162"/>
                  <a:pt x="1013" y="162"/>
                </a:cubicBezTo>
                <a:cubicBezTo>
                  <a:pt x="1012" y="162"/>
                  <a:pt x="1012" y="162"/>
                  <a:pt x="1012" y="162"/>
                </a:cubicBezTo>
                <a:cubicBezTo>
                  <a:pt x="1012" y="162"/>
                  <a:pt x="1011" y="162"/>
                  <a:pt x="1011" y="161"/>
                </a:cubicBezTo>
                <a:cubicBezTo>
                  <a:pt x="1011" y="161"/>
                  <a:pt x="1011" y="161"/>
                  <a:pt x="1011" y="161"/>
                </a:cubicBezTo>
                <a:cubicBezTo>
                  <a:pt x="1011" y="162"/>
                  <a:pt x="1011" y="162"/>
                  <a:pt x="1011" y="162"/>
                </a:cubicBezTo>
                <a:cubicBezTo>
                  <a:pt x="1010" y="162"/>
                  <a:pt x="1010" y="162"/>
                  <a:pt x="1009" y="162"/>
                </a:cubicBezTo>
                <a:cubicBezTo>
                  <a:pt x="1009" y="161"/>
                  <a:pt x="1009" y="161"/>
                  <a:pt x="1009" y="161"/>
                </a:cubicBezTo>
                <a:cubicBezTo>
                  <a:pt x="1008" y="161"/>
                  <a:pt x="1008" y="161"/>
                  <a:pt x="1007" y="162"/>
                </a:cubicBezTo>
                <a:cubicBezTo>
                  <a:pt x="1007" y="162"/>
                  <a:pt x="1007" y="161"/>
                  <a:pt x="1007" y="161"/>
                </a:cubicBezTo>
                <a:cubicBezTo>
                  <a:pt x="1006" y="161"/>
                  <a:pt x="1006" y="162"/>
                  <a:pt x="1006" y="162"/>
                </a:cubicBezTo>
                <a:cubicBezTo>
                  <a:pt x="1006" y="162"/>
                  <a:pt x="1005" y="162"/>
                  <a:pt x="1005" y="162"/>
                </a:cubicBezTo>
                <a:cubicBezTo>
                  <a:pt x="1005" y="161"/>
                  <a:pt x="1005" y="161"/>
                  <a:pt x="1005" y="161"/>
                </a:cubicBezTo>
                <a:cubicBezTo>
                  <a:pt x="1004" y="161"/>
                  <a:pt x="1004" y="161"/>
                  <a:pt x="1004" y="162"/>
                </a:cubicBezTo>
                <a:cubicBezTo>
                  <a:pt x="1004" y="161"/>
                  <a:pt x="1003" y="161"/>
                  <a:pt x="1003" y="161"/>
                </a:cubicBezTo>
                <a:cubicBezTo>
                  <a:pt x="1003" y="161"/>
                  <a:pt x="1003" y="161"/>
                  <a:pt x="1002" y="161"/>
                </a:cubicBezTo>
                <a:cubicBezTo>
                  <a:pt x="1002" y="161"/>
                  <a:pt x="1002" y="162"/>
                  <a:pt x="1002" y="162"/>
                </a:cubicBezTo>
                <a:cubicBezTo>
                  <a:pt x="1002" y="162"/>
                  <a:pt x="1002" y="162"/>
                  <a:pt x="1002" y="162"/>
                </a:cubicBezTo>
                <a:cubicBezTo>
                  <a:pt x="1002" y="162"/>
                  <a:pt x="1001" y="162"/>
                  <a:pt x="1001" y="163"/>
                </a:cubicBezTo>
                <a:cubicBezTo>
                  <a:pt x="1001" y="162"/>
                  <a:pt x="1001" y="162"/>
                  <a:pt x="1001" y="162"/>
                </a:cubicBezTo>
                <a:cubicBezTo>
                  <a:pt x="1000" y="162"/>
                  <a:pt x="1000" y="162"/>
                  <a:pt x="1000" y="162"/>
                </a:cubicBezTo>
                <a:cubicBezTo>
                  <a:pt x="1000" y="162"/>
                  <a:pt x="1000" y="163"/>
                  <a:pt x="1000" y="163"/>
                </a:cubicBezTo>
                <a:cubicBezTo>
                  <a:pt x="1001" y="163"/>
                  <a:pt x="1001" y="163"/>
                  <a:pt x="1001" y="163"/>
                </a:cubicBezTo>
                <a:cubicBezTo>
                  <a:pt x="1001" y="163"/>
                  <a:pt x="1001" y="164"/>
                  <a:pt x="1000" y="164"/>
                </a:cubicBezTo>
                <a:cubicBezTo>
                  <a:pt x="1000" y="164"/>
                  <a:pt x="1000" y="164"/>
                  <a:pt x="999" y="164"/>
                </a:cubicBezTo>
                <a:cubicBezTo>
                  <a:pt x="999" y="164"/>
                  <a:pt x="999" y="164"/>
                  <a:pt x="998" y="164"/>
                </a:cubicBezTo>
                <a:cubicBezTo>
                  <a:pt x="999" y="164"/>
                  <a:pt x="999" y="164"/>
                  <a:pt x="999" y="164"/>
                </a:cubicBezTo>
                <a:cubicBezTo>
                  <a:pt x="999" y="164"/>
                  <a:pt x="999" y="165"/>
                  <a:pt x="999" y="165"/>
                </a:cubicBezTo>
                <a:cubicBezTo>
                  <a:pt x="999" y="165"/>
                  <a:pt x="999" y="165"/>
                  <a:pt x="999" y="165"/>
                </a:cubicBezTo>
                <a:cubicBezTo>
                  <a:pt x="999" y="165"/>
                  <a:pt x="999" y="165"/>
                  <a:pt x="999" y="164"/>
                </a:cubicBezTo>
                <a:cubicBezTo>
                  <a:pt x="998" y="164"/>
                  <a:pt x="998" y="164"/>
                  <a:pt x="998" y="164"/>
                </a:cubicBezTo>
                <a:cubicBezTo>
                  <a:pt x="998" y="164"/>
                  <a:pt x="998" y="164"/>
                  <a:pt x="998" y="165"/>
                </a:cubicBezTo>
                <a:cubicBezTo>
                  <a:pt x="998" y="165"/>
                  <a:pt x="998" y="165"/>
                  <a:pt x="998" y="165"/>
                </a:cubicBezTo>
                <a:cubicBezTo>
                  <a:pt x="998" y="165"/>
                  <a:pt x="999" y="165"/>
                  <a:pt x="999" y="165"/>
                </a:cubicBezTo>
                <a:cubicBezTo>
                  <a:pt x="999" y="165"/>
                  <a:pt x="999" y="165"/>
                  <a:pt x="999" y="166"/>
                </a:cubicBezTo>
                <a:cubicBezTo>
                  <a:pt x="999" y="166"/>
                  <a:pt x="999" y="166"/>
                  <a:pt x="999" y="166"/>
                </a:cubicBezTo>
                <a:cubicBezTo>
                  <a:pt x="999" y="166"/>
                  <a:pt x="999" y="167"/>
                  <a:pt x="998" y="167"/>
                </a:cubicBezTo>
                <a:cubicBezTo>
                  <a:pt x="998" y="167"/>
                  <a:pt x="998" y="168"/>
                  <a:pt x="999" y="168"/>
                </a:cubicBezTo>
                <a:cubicBezTo>
                  <a:pt x="998" y="168"/>
                  <a:pt x="998" y="168"/>
                  <a:pt x="997" y="168"/>
                </a:cubicBezTo>
                <a:cubicBezTo>
                  <a:pt x="998" y="168"/>
                  <a:pt x="998" y="168"/>
                  <a:pt x="998" y="168"/>
                </a:cubicBezTo>
                <a:cubicBezTo>
                  <a:pt x="999" y="169"/>
                  <a:pt x="999" y="169"/>
                  <a:pt x="999" y="169"/>
                </a:cubicBezTo>
                <a:cubicBezTo>
                  <a:pt x="999" y="169"/>
                  <a:pt x="999" y="169"/>
                  <a:pt x="999" y="169"/>
                </a:cubicBezTo>
                <a:cubicBezTo>
                  <a:pt x="999" y="169"/>
                  <a:pt x="999" y="169"/>
                  <a:pt x="999" y="169"/>
                </a:cubicBezTo>
                <a:cubicBezTo>
                  <a:pt x="999" y="169"/>
                  <a:pt x="999" y="170"/>
                  <a:pt x="999" y="170"/>
                </a:cubicBezTo>
                <a:cubicBezTo>
                  <a:pt x="1000" y="170"/>
                  <a:pt x="1000" y="170"/>
                  <a:pt x="1000" y="170"/>
                </a:cubicBezTo>
                <a:cubicBezTo>
                  <a:pt x="1000" y="170"/>
                  <a:pt x="999" y="170"/>
                  <a:pt x="999" y="171"/>
                </a:cubicBezTo>
                <a:cubicBezTo>
                  <a:pt x="999" y="171"/>
                  <a:pt x="999" y="171"/>
                  <a:pt x="998" y="171"/>
                </a:cubicBezTo>
                <a:cubicBezTo>
                  <a:pt x="998" y="171"/>
                  <a:pt x="998" y="171"/>
                  <a:pt x="997" y="171"/>
                </a:cubicBezTo>
                <a:cubicBezTo>
                  <a:pt x="998" y="172"/>
                  <a:pt x="998" y="172"/>
                  <a:pt x="998" y="173"/>
                </a:cubicBezTo>
                <a:cubicBezTo>
                  <a:pt x="997" y="173"/>
                  <a:pt x="997" y="173"/>
                  <a:pt x="996" y="174"/>
                </a:cubicBezTo>
                <a:cubicBezTo>
                  <a:pt x="996" y="174"/>
                  <a:pt x="996" y="174"/>
                  <a:pt x="996" y="174"/>
                </a:cubicBezTo>
                <a:cubicBezTo>
                  <a:pt x="995" y="174"/>
                  <a:pt x="995" y="174"/>
                  <a:pt x="995" y="174"/>
                </a:cubicBezTo>
                <a:cubicBezTo>
                  <a:pt x="994" y="174"/>
                  <a:pt x="994" y="174"/>
                  <a:pt x="994" y="174"/>
                </a:cubicBezTo>
                <a:cubicBezTo>
                  <a:pt x="994" y="174"/>
                  <a:pt x="994" y="174"/>
                  <a:pt x="994" y="175"/>
                </a:cubicBezTo>
                <a:cubicBezTo>
                  <a:pt x="994" y="175"/>
                  <a:pt x="994" y="175"/>
                  <a:pt x="994" y="175"/>
                </a:cubicBezTo>
                <a:cubicBezTo>
                  <a:pt x="994" y="175"/>
                  <a:pt x="993" y="176"/>
                  <a:pt x="993" y="176"/>
                </a:cubicBezTo>
                <a:cubicBezTo>
                  <a:pt x="993" y="176"/>
                  <a:pt x="992" y="176"/>
                  <a:pt x="992" y="176"/>
                </a:cubicBezTo>
                <a:cubicBezTo>
                  <a:pt x="992" y="176"/>
                  <a:pt x="992" y="176"/>
                  <a:pt x="992" y="176"/>
                </a:cubicBezTo>
                <a:cubicBezTo>
                  <a:pt x="991" y="176"/>
                  <a:pt x="991" y="176"/>
                  <a:pt x="991" y="176"/>
                </a:cubicBezTo>
                <a:cubicBezTo>
                  <a:pt x="991" y="176"/>
                  <a:pt x="991" y="176"/>
                  <a:pt x="991" y="176"/>
                </a:cubicBezTo>
                <a:cubicBezTo>
                  <a:pt x="990" y="176"/>
                  <a:pt x="990" y="176"/>
                  <a:pt x="990" y="177"/>
                </a:cubicBezTo>
                <a:cubicBezTo>
                  <a:pt x="990" y="177"/>
                  <a:pt x="990" y="177"/>
                  <a:pt x="990" y="177"/>
                </a:cubicBezTo>
                <a:cubicBezTo>
                  <a:pt x="990" y="178"/>
                  <a:pt x="989" y="178"/>
                  <a:pt x="989" y="178"/>
                </a:cubicBezTo>
                <a:cubicBezTo>
                  <a:pt x="989" y="178"/>
                  <a:pt x="989" y="178"/>
                  <a:pt x="989" y="177"/>
                </a:cubicBezTo>
                <a:cubicBezTo>
                  <a:pt x="989" y="177"/>
                  <a:pt x="988" y="177"/>
                  <a:pt x="988" y="177"/>
                </a:cubicBezTo>
                <a:cubicBezTo>
                  <a:pt x="988" y="178"/>
                  <a:pt x="988" y="178"/>
                  <a:pt x="988" y="178"/>
                </a:cubicBezTo>
                <a:cubicBezTo>
                  <a:pt x="988" y="178"/>
                  <a:pt x="988" y="178"/>
                  <a:pt x="987" y="178"/>
                </a:cubicBezTo>
                <a:cubicBezTo>
                  <a:pt x="987" y="178"/>
                  <a:pt x="987" y="178"/>
                  <a:pt x="987" y="178"/>
                </a:cubicBezTo>
                <a:cubicBezTo>
                  <a:pt x="987" y="178"/>
                  <a:pt x="986" y="178"/>
                  <a:pt x="986" y="178"/>
                </a:cubicBezTo>
                <a:cubicBezTo>
                  <a:pt x="986" y="179"/>
                  <a:pt x="986" y="179"/>
                  <a:pt x="986" y="179"/>
                </a:cubicBezTo>
                <a:cubicBezTo>
                  <a:pt x="986" y="179"/>
                  <a:pt x="986" y="179"/>
                  <a:pt x="987" y="179"/>
                </a:cubicBezTo>
                <a:cubicBezTo>
                  <a:pt x="987" y="179"/>
                  <a:pt x="986" y="179"/>
                  <a:pt x="986" y="179"/>
                </a:cubicBezTo>
                <a:cubicBezTo>
                  <a:pt x="986" y="180"/>
                  <a:pt x="985" y="180"/>
                  <a:pt x="985" y="180"/>
                </a:cubicBezTo>
                <a:cubicBezTo>
                  <a:pt x="985" y="180"/>
                  <a:pt x="984" y="180"/>
                  <a:pt x="984" y="180"/>
                </a:cubicBezTo>
                <a:cubicBezTo>
                  <a:pt x="984" y="180"/>
                  <a:pt x="984" y="180"/>
                  <a:pt x="984" y="181"/>
                </a:cubicBezTo>
                <a:cubicBezTo>
                  <a:pt x="984" y="181"/>
                  <a:pt x="984" y="181"/>
                  <a:pt x="984" y="181"/>
                </a:cubicBezTo>
                <a:cubicBezTo>
                  <a:pt x="984" y="181"/>
                  <a:pt x="983" y="182"/>
                  <a:pt x="983" y="182"/>
                </a:cubicBezTo>
                <a:cubicBezTo>
                  <a:pt x="983" y="182"/>
                  <a:pt x="982" y="182"/>
                  <a:pt x="981" y="182"/>
                </a:cubicBezTo>
                <a:cubicBezTo>
                  <a:pt x="981" y="182"/>
                  <a:pt x="981" y="182"/>
                  <a:pt x="981" y="182"/>
                </a:cubicBezTo>
                <a:cubicBezTo>
                  <a:pt x="981" y="182"/>
                  <a:pt x="981" y="183"/>
                  <a:pt x="982" y="183"/>
                </a:cubicBezTo>
                <a:cubicBezTo>
                  <a:pt x="982" y="183"/>
                  <a:pt x="982" y="184"/>
                  <a:pt x="982" y="184"/>
                </a:cubicBezTo>
                <a:cubicBezTo>
                  <a:pt x="982" y="184"/>
                  <a:pt x="982" y="184"/>
                  <a:pt x="982" y="184"/>
                </a:cubicBezTo>
                <a:cubicBezTo>
                  <a:pt x="982" y="185"/>
                  <a:pt x="982" y="185"/>
                  <a:pt x="982" y="185"/>
                </a:cubicBezTo>
                <a:cubicBezTo>
                  <a:pt x="982" y="185"/>
                  <a:pt x="982" y="186"/>
                  <a:pt x="982" y="186"/>
                </a:cubicBezTo>
                <a:cubicBezTo>
                  <a:pt x="982" y="186"/>
                  <a:pt x="982" y="187"/>
                  <a:pt x="982" y="187"/>
                </a:cubicBezTo>
                <a:cubicBezTo>
                  <a:pt x="982" y="187"/>
                  <a:pt x="982" y="187"/>
                  <a:pt x="982" y="188"/>
                </a:cubicBezTo>
                <a:cubicBezTo>
                  <a:pt x="982" y="187"/>
                  <a:pt x="982" y="187"/>
                  <a:pt x="982" y="187"/>
                </a:cubicBezTo>
                <a:cubicBezTo>
                  <a:pt x="981" y="187"/>
                  <a:pt x="981" y="187"/>
                  <a:pt x="981" y="187"/>
                </a:cubicBezTo>
                <a:cubicBezTo>
                  <a:pt x="981" y="188"/>
                  <a:pt x="981" y="188"/>
                  <a:pt x="982" y="188"/>
                </a:cubicBezTo>
                <a:cubicBezTo>
                  <a:pt x="981" y="189"/>
                  <a:pt x="981" y="189"/>
                  <a:pt x="981" y="189"/>
                </a:cubicBezTo>
                <a:cubicBezTo>
                  <a:pt x="981" y="189"/>
                  <a:pt x="981" y="189"/>
                  <a:pt x="982" y="189"/>
                </a:cubicBezTo>
                <a:cubicBezTo>
                  <a:pt x="982" y="189"/>
                  <a:pt x="982" y="190"/>
                  <a:pt x="982" y="190"/>
                </a:cubicBezTo>
                <a:cubicBezTo>
                  <a:pt x="981" y="190"/>
                  <a:pt x="981" y="190"/>
                  <a:pt x="981" y="190"/>
                </a:cubicBezTo>
                <a:cubicBezTo>
                  <a:pt x="981" y="190"/>
                  <a:pt x="981" y="190"/>
                  <a:pt x="982" y="191"/>
                </a:cubicBezTo>
                <a:cubicBezTo>
                  <a:pt x="981" y="191"/>
                  <a:pt x="981" y="191"/>
                  <a:pt x="981" y="191"/>
                </a:cubicBezTo>
                <a:cubicBezTo>
                  <a:pt x="981" y="192"/>
                  <a:pt x="981" y="192"/>
                  <a:pt x="981" y="192"/>
                </a:cubicBezTo>
                <a:cubicBezTo>
                  <a:pt x="982" y="192"/>
                  <a:pt x="982" y="192"/>
                  <a:pt x="982" y="192"/>
                </a:cubicBezTo>
                <a:cubicBezTo>
                  <a:pt x="982" y="192"/>
                  <a:pt x="983" y="193"/>
                  <a:pt x="983" y="193"/>
                </a:cubicBezTo>
                <a:cubicBezTo>
                  <a:pt x="983" y="193"/>
                  <a:pt x="983" y="193"/>
                  <a:pt x="983" y="193"/>
                </a:cubicBezTo>
                <a:cubicBezTo>
                  <a:pt x="983" y="193"/>
                  <a:pt x="983" y="193"/>
                  <a:pt x="983" y="193"/>
                </a:cubicBezTo>
                <a:cubicBezTo>
                  <a:pt x="984" y="193"/>
                  <a:pt x="984" y="193"/>
                  <a:pt x="984" y="194"/>
                </a:cubicBezTo>
                <a:cubicBezTo>
                  <a:pt x="984" y="193"/>
                  <a:pt x="985" y="193"/>
                  <a:pt x="985" y="193"/>
                </a:cubicBezTo>
                <a:cubicBezTo>
                  <a:pt x="985" y="193"/>
                  <a:pt x="985" y="193"/>
                  <a:pt x="986" y="193"/>
                </a:cubicBezTo>
                <a:cubicBezTo>
                  <a:pt x="986" y="194"/>
                  <a:pt x="986" y="194"/>
                  <a:pt x="986" y="194"/>
                </a:cubicBezTo>
                <a:cubicBezTo>
                  <a:pt x="987" y="194"/>
                  <a:pt x="987" y="195"/>
                  <a:pt x="988" y="195"/>
                </a:cubicBezTo>
                <a:cubicBezTo>
                  <a:pt x="988" y="195"/>
                  <a:pt x="988" y="195"/>
                  <a:pt x="988" y="196"/>
                </a:cubicBezTo>
                <a:cubicBezTo>
                  <a:pt x="988" y="196"/>
                  <a:pt x="989" y="196"/>
                  <a:pt x="989" y="196"/>
                </a:cubicBezTo>
                <a:cubicBezTo>
                  <a:pt x="989" y="196"/>
                  <a:pt x="989" y="197"/>
                  <a:pt x="989" y="197"/>
                </a:cubicBezTo>
                <a:cubicBezTo>
                  <a:pt x="990" y="197"/>
                  <a:pt x="990" y="197"/>
                  <a:pt x="990" y="197"/>
                </a:cubicBezTo>
                <a:cubicBezTo>
                  <a:pt x="990" y="198"/>
                  <a:pt x="990" y="198"/>
                  <a:pt x="990" y="199"/>
                </a:cubicBezTo>
                <a:cubicBezTo>
                  <a:pt x="989" y="199"/>
                  <a:pt x="989" y="199"/>
                  <a:pt x="988" y="200"/>
                </a:cubicBezTo>
                <a:cubicBezTo>
                  <a:pt x="988" y="200"/>
                  <a:pt x="988" y="200"/>
                  <a:pt x="988" y="200"/>
                </a:cubicBezTo>
                <a:cubicBezTo>
                  <a:pt x="987" y="200"/>
                  <a:pt x="987" y="200"/>
                  <a:pt x="986" y="201"/>
                </a:cubicBezTo>
                <a:cubicBezTo>
                  <a:pt x="986" y="200"/>
                  <a:pt x="986" y="200"/>
                  <a:pt x="985" y="200"/>
                </a:cubicBezTo>
                <a:cubicBezTo>
                  <a:pt x="985" y="200"/>
                  <a:pt x="985" y="200"/>
                  <a:pt x="985" y="200"/>
                </a:cubicBezTo>
                <a:cubicBezTo>
                  <a:pt x="985" y="200"/>
                  <a:pt x="985" y="199"/>
                  <a:pt x="984" y="199"/>
                </a:cubicBezTo>
                <a:cubicBezTo>
                  <a:pt x="984" y="199"/>
                  <a:pt x="984" y="199"/>
                  <a:pt x="984" y="199"/>
                </a:cubicBezTo>
                <a:cubicBezTo>
                  <a:pt x="984" y="199"/>
                  <a:pt x="984" y="199"/>
                  <a:pt x="984" y="199"/>
                </a:cubicBezTo>
                <a:cubicBezTo>
                  <a:pt x="983" y="199"/>
                  <a:pt x="983" y="199"/>
                  <a:pt x="983" y="199"/>
                </a:cubicBezTo>
                <a:cubicBezTo>
                  <a:pt x="983" y="199"/>
                  <a:pt x="983" y="199"/>
                  <a:pt x="982" y="199"/>
                </a:cubicBezTo>
                <a:cubicBezTo>
                  <a:pt x="982" y="199"/>
                  <a:pt x="982" y="199"/>
                  <a:pt x="981" y="199"/>
                </a:cubicBezTo>
                <a:cubicBezTo>
                  <a:pt x="981" y="199"/>
                  <a:pt x="981" y="199"/>
                  <a:pt x="981" y="199"/>
                </a:cubicBezTo>
                <a:cubicBezTo>
                  <a:pt x="981" y="199"/>
                  <a:pt x="980" y="200"/>
                  <a:pt x="980" y="200"/>
                </a:cubicBezTo>
                <a:cubicBezTo>
                  <a:pt x="980" y="199"/>
                  <a:pt x="980" y="199"/>
                  <a:pt x="980" y="199"/>
                </a:cubicBezTo>
                <a:cubicBezTo>
                  <a:pt x="979" y="199"/>
                  <a:pt x="979" y="200"/>
                  <a:pt x="979" y="200"/>
                </a:cubicBezTo>
                <a:cubicBezTo>
                  <a:pt x="979" y="200"/>
                  <a:pt x="978" y="200"/>
                  <a:pt x="978" y="200"/>
                </a:cubicBezTo>
                <a:cubicBezTo>
                  <a:pt x="978" y="200"/>
                  <a:pt x="977" y="200"/>
                  <a:pt x="977" y="200"/>
                </a:cubicBezTo>
                <a:cubicBezTo>
                  <a:pt x="977" y="200"/>
                  <a:pt x="977" y="200"/>
                  <a:pt x="977" y="200"/>
                </a:cubicBezTo>
                <a:cubicBezTo>
                  <a:pt x="978" y="200"/>
                  <a:pt x="978" y="200"/>
                  <a:pt x="979" y="200"/>
                </a:cubicBezTo>
                <a:cubicBezTo>
                  <a:pt x="979" y="200"/>
                  <a:pt x="979" y="200"/>
                  <a:pt x="979" y="200"/>
                </a:cubicBezTo>
                <a:cubicBezTo>
                  <a:pt x="979" y="200"/>
                  <a:pt x="979" y="200"/>
                  <a:pt x="979" y="200"/>
                </a:cubicBezTo>
                <a:cubicBezTo>
                  <a:pt x="980" y="200"/>
                  <a:pt x="980" y="200"/>
                  <a:pt x="981" y="200"/>
                </a:cubicBezTo>
                <a:cubicBezTo>
                  <a:pt x="981" y="200"/>
                  <a:pt x="981" y="200"/>
                  <a:pt x="982" y="200"/>
                </a:cubicBezTo>
                <a:cubicBezTo>
                  <a:pt x="982" y="200"/>
                  <a:pt x="982" y="201"/>
                  <a:pt x="983" y="201"/>
                </a:cubicBezTo>
                <a:cubicBezTo>
                  <a:pt x="983" y="201"/>
                  <a:pt x="983" y="201"/>
                  <a:pt x="984" y="201"/>
                </a:cubicBezTo>
                <a:cubicBezTo>
                  <a:pt x="984" y="201"/>
                  <a:pt x="984" y="201"/>
                  <a:pt x="984" y="201"/>
                </a:cubicBezTo>
                <a:cubicBezTo>
                  <a:pt x="985" y="201"/>
                  <a:pt x="985" y="201"/>
                  <a:pt x="985" y="201"/>
                </a:cubicBezTo>
                <a:cubicBezTo>
                  <a:pt x="985" y="201"/>
                  <a:pt x="986" y="201"/>
                  <a:pt x="986" y="201"/>
                </a:cubicBezTo>
                <a:cubicBezTo>
                  <a:pt x="986" y="201"/>
                  <a:pt x="987" y="201"/>
                  <a:pt x="987" y="201"/>
                </a:cubicBezTo>
                <a:cubicBezTo>
                  <a:pt x="988" y="201"/>
                  <a:pt x="988" y="201"/>
                  <a:pt x="988" y="201"/>
                </a:cubicBezTo>
                <a:cubicBezTo>
                  <a:pt x="988" y="202"/>
                  <a:pt x="988" y="202"/>
                  <a:pt x="988" y="202"/>
                </a:cubicBezTo>
                <a:cubicBezTo>
                  <a:pt x="988" y="202"/>
                  <a:pt x="988" y="202"/>
                  <a:pt x="987" y="203"/>
                </a:cubicBezTo>
                <a:cubicBezTo>
                  <a:pt x="987" y="203"/>
                  <a:pt x="987" y="203"/>
                  <a:pt x="987" y="203"/>
                </a:cubicBezTo>
                <a:cubicBezTo>
                  <a:pt x="986" y="203"/>
                  <a:pt x="986" y="203"/>
                  <a:pt x="986" y="203"/>
                </a:cubicBezTo>
                <a:cubicBezTo>
                  <a:pt x="985" y="203"/>
                  <a:pt x="985" y="203"/>
                  <a:pt x="985" y="203"/>
                </a:cubicBezTo>
                <a:cubicBezTo>
                  <a:pt x="985" y="203"/>
                  <a:pt x="985" y="203"/>
                  <a:pt x="985" y="203"/>
                </a:cubicBezTo>
                <a:cubicBezTo>
                  <a:pt x="985" y="203"/>
                  <a:pt x="985" y="203"/>
                  <a:pt x="985" y="202"/>
                </a:cubicBezTo>
                <a:cubicBezTo>
                  <a:pt x="985" y="203"/>
                  <a:pt x="984" y="203"/>
                  <a:pt x="984" y="203"/>
                </a:cubicBezTo>
                <a:cubicBezTo>
                  <a:pt x="984" y="203"/>
                  <a:pt x="984" y="203"/>
                  <a:pt x="985" y="203"/>
                </a:cubicBezTo>
                <a:cubicBezTo>
                  <a:pt x="984" y="203"/>
                  <a:pt x="984" y="203"/>
                  <a:pt x="984" y="203"/>
                </a:cubicBezTo>
                <a:cubicBezTo>
                  <a:pt x="983" y="204"/>
                  <a:pt x="983" y="204"/>
                  <a:pt x="983" y="204"/>
                </a:cubicBezTo>
                <a:cubicBezTo>
                  <a:pt x="983" y="204"/>
                  <a:pt x="983" y="204"/>
                  <a:pt x="983" y="205"/>
                </a:cubicBezTo>
                <a:cubicBezTo>
                  <a:pt x="983" y="204"/>
                  <a:pt x="982" y="204"/>
                  <a:pt x="982" y="204"/>
                </a:cubicBezTo>
                <a:cubicBezTo>
                  <a:pt x="982" y="204"/>
                  <a:pt x="982" y="204"/>
                  <a:pt x="982" y="205"/>
                </a:cubicBezTo>
                <a:cubicBezTo>
                  <a:pt x="982" y="205"/>
                  <a:pt x="981" y="205"/>
                  <a:pt x="981" y="205"/>
                </a:cubicBezTo>
                <a:cubicBezTo>
                  <a:pt x="981" y="205"/>
                  <a:pt x="981" y="205"/>
                  <a:pt x="981" y="205"/>
                </a:cubicBezTo>
                <a:cubicBezTo>
                  <a:pt x="981" y="205"/>
                  <a:pt x="981" y="205"/>
                  <a:pt x="981" y="205"/>
                </a:cubicBezTo>
                <a:cubicBezTo>
                  <a:pt x="980" y="205"/>
                  <a:pt x="980" y="205"/>
                  <a:pt x="980" y="205"/>
                </a:cubicBezTo>
                <a:cubicBezTo>
                  <a:pt x="980" y="205"/>
                  <a:pt x="980" y="205"/>
                  <a:pt x="981" y="205"/>
                </a:cubicBezTo>
                <a:cubicBezTo>
                  <a:pt x="981" y="206"/>
                  <a:pt x="982" y="206"/>
                  <a:pt x="982" y="206"/>
                </a:cubicBezTo>
                <a:cubicBezTo>
                  <a:pt x="981" y="206"/>
                  <a:pt x="981" y="206"/>
                  <a:pt x="980" y="206"/>
                </a:cubicBezTo>
                <a:cubicBezTo>
                  <a:pt x="980" y="206"/>
                  <a:pt x="981" y="206"/>
                  <a:pt x="981" y="207"/>
                </a:cubicBezTo>
                <a:cubicBezTo>
                  <a:pt x="981" y="207"/>
                  <a:pt x="982" y="207"/>
                  <a:pt x="982" y="207"/>
                </a:cubicBezTo>
                <a:cubicBezTo>
                  <a:pt x="981" y="207"/>
                  <a:pt x="981" y="208"/>
                  <a:pt x="981" y="208"/>
                </a:cubicBezTo>
                <a:cubicBezTo>
                  <a:pt x="981" y="208"/>
                  <a:pt x="982" y="208"/>
                  <a:pt x="982" y="209"/>
                </a:cubicBezTo>
                <a:cubicBezTo>
                  <a:pt x="982" y="209"/>
                  <a:pt x="981" y="209"/>
                  <a:pt x="981" y="209"/>
                </a:cubicBezTo>
                <a:cubicBezTo>
                  <a:pt x="980" y="209"/>
                  <a:pt x="980" y="209"/>
                  <a:pt x="980" y="208"/>
                </a:cubicBezTo>
                <a:cubicBezTo>
                  <a:pt x="980" y="209"/>
                  <a:pt x="980" y="209"/>
                  <a:pt x="980" y="209"/>
                </a:cubicBezTo>
                <a:cubicBezTo>
                  <a:pt x="980" y="209"/>
                  <a:pt x="980" y="210"/>
                  <a:pt x="980" y="210"/>
                </a:cubicBezTo>
                <a:cubicBezTo>
                  <a:pt x="980" y="210"/>
                  <a:pt x="980" y="210"/>
                  <a:pt x="981" y="210"/>
                </a:cubicBezTo>
                <a:cubicBezTo>
                  <a:pt x="981" y="211"/>
                  <a:pt x="980" y="211"/>
                  <a:pt x="980" y="211"/>
                </a:cubicBezTo>
                <a:cubicBezTo>
                  <a:pt x="980" y="211"/>
                  <a:pt x="980" y="211"/>
                  <a:pt x="981" y="212"/>
                </a:cubicBezTo>
                <a:cubicBezTo>
                  <a:pt x="980" y="212"/>
                  <a:pt x="980" y="212"/>
                  <a:pt x="980" y="212"/>
                </a:cubicBezTo>
                <a:cubicBezTo>
                  <a:pt x="980" y="213"/>
                  <a:pt x="980" y="213"/>
                  <a:pt x="980" y="213"/>
                </a:cubicBezTo>
                <a:cubicBezTo>
                  <a:pt x="980" y="213"/>
                  <a:pt x="980" y="214"/>
                  <a:pt x="981" y="214"/>
                </a:cubicBezTo>
                <a:cubicBezTo>
                  <a:pt x="980" y="214"/>
                  <a:pt x="980" y="214"/>
                  <a:pt x="980" y="214"/>
                </a:cubicBezTo>
                <a:cubicBezTo>
                  <a:pt x="980" y="215"/>
                  <a:pt x="980" y="215"/>
                  <a:pt x="980" y="216"/>
                </a:cubicBezTo>
                <a:cubicBezTo>
                  <a:pt x="980" y="216"/>
                  <a:pt x="979" y="216"/>
                  <a:pt x="979" y="217"/>
                </a:cubicBezTo>
                <a:cubicBezTo>
                  <a:pt x="979" y="217"/>
                  <a:pt x="979" y="218"/>
                  <a:pt x="979" y="218"/>
                </a:cubicBezTo>
                <a:cubicBezTo>
                  <a:pt x="978" y="218"/>
                  <a:pt x="978" y="219"/>
                  <a:pt x="977" y="219"/>
                </a:cubicBezTo>
                <a:cubicBezTo>
                  <a:pt x="977" y="219"/>
                  <a:pt x="977" y="219"/>
                  <a:pt x="977" y="219"/>
                </a:cubicBezTo>
                <a:cubicBezTo>
                  <a:pt x="976" y="218"/>
                  <a:pt x="976" y="218"/>
                  <a:pt x="976" y="218"/>
                </a:cubicBezTo>
                <a:cubicBezTo>
                  <a:pt x="975" y="218"/>
                  <a:pt x="975" y="219"/>
                  <a:pt x="974" y="219"/>
                </a:cubicBezTo>
                <a:cubicBezTo>
                  <a:pt x="974" y="219"/>
                  <a:pt x="973" y="219"/>
                  <a:pt x="972" y="218"/>
                </a:cubicBezTo>
                <a:cubicBezTo>
                  <a:pt x="972" y="218"/>
                  <a:pt x="972" y="218"/>
                  <a:pt x="972" y="218"/>
                </a:cubicBezTo>
                <a:cubicBezTo>
                  <a:pt x="972" y="218"/>
                  <a:pt x="972" y="219"/>
                  <a:pt x="972" y="219"/>
                </a:cubicBezTo>
                <a:cubicBezTo>
                  <a:pt x="971" y="219"/>
                  <a:pt x="971" y="219"/>
                  <a:pt x="970" y="219"/>
                </a:cubicBezTo>
                <a:cubicBezTo>
                  <a:pt x="970" y="220"/>
                  <a:pt x="970" y="220"/>
                  <a:pt x="969" y="220"/>
                </a:cubicBezTo>
                <a:cubicBezTo>
                  <a:pt x="969" y="220"/>
                  <a:pt x="970" y="221"/>
                  <a:pt x="970" y="221"/>
                </a:cubicBezTo>
                <a:cubicBezTo>
                  <a:pt x="970" y="221"/>
                  <a:pt x="970" y="221"/>
                  <a:pt x="970" y="221"/>
                </a:cubicBezTo>
                <a:cubicBezTo>
                  <a:pt x="970" y="222"/>
                  <a:pt x="969" y="222"/>
                  <a:pt x="969" y="222"/>
                </a:cubicBezTo>
                <a:cubicBezTo>
                  <a:pt x="968" y="222"/>
                  <a:pt x="968" y="222"/>
                  <a:pt x="967" y="222"/>
                </a:cubicBezTo>
                <a:cubicBezTo>
                  <a:pt x="967" y="222"/>
                  <a:pt x="966" y="222"/>
                  <a:pt x="965" y="222"/>
                </a:cubicBezTo>
                <a:cubicBezTo>
                  <a:pt x="964" y="222"/>
                  <a:pt x="964" y="222"/>
                  <a:pt x="964" y="222"/>
                </a:cubicBezTo>
                <a:cubicBezTo>
                  <a:pt x="963" y="222"/>
                  <a:pt x="963" y="222"/>
                  <a:pt x="963" y="222"/>
                </a:cubicBezTo>
                <a:cubicBezTo>
                  <a:pt x="963" y="222"/>
                  <a:pt x="963" y="221"/>
                  <a:pt x="964" y="221"/>
                </a:cubicBezTo>
                <a:cubicBezTo>
                  <a:pt x="963" y="220"/>
                  <a:pt x="963" y="220"/>
                  <a:pt x="963" y="219"/>
                </a:cubicBezTo>
                <a:cubicBezTo>
                  <a:pt x="963" y="219"/>
                  <a:pt x="962" y="219"/>
                  <a:pt x="962" y="219"/>
                </a:cubicBezTo>
                <a:cubicBezTo>
                  <a:pt x="962" y="219"/>
                  <a:pt x="962" y="219"/>
                  <a:pt x="962" y="218"/>
                </a:cubicBezTo>
                <a:cubicBezTo>
                  <a:pt x="962" y="218"/>
                  <a:pt x="961" y="218"/>
                  <a:pt x="961" y="218"/>
                </a:cubicBezTo>
                <a:cubicBezTo>
                  <a:pt x="961" y="218"/>
                  <a:pt x="961" y="218"/>
                  <a:pt x="961" y="218"/>
                </a:cubicBezTo>
                <a:cubicBezTo>
                  <a:pt x="962" y="218"/>
                  <a:pt x="962" y="218"/>
                  <a:pt x="963" y="218"/>
                </a:cubicBezTo>
                <a:cubicBezTo>
                  <a:pt x="963" y="217"/>
                  <a:pt x="963" y="217"/>
                  <a:pt x="963" y="217"/>
                </a:cubicBezTo>
                <a:cubicBezTo>
                  <a:pt x="963" y="216"/>
                  <a:pt x="963" y="216"/>
                  <a:pt x="963" y="216"/>
                </a:cubicBezTo>
                <a:cubicBezTo>
                  <a:pt x="963" y="216"/>
                  <a:pt x="962" y="216"/>
                  <a:pt x="962" y="216"/>
                </a:cubicBezTo>
                <a:cubicBezTo>
                  <a:pt x="962" y="216"/>
                  <a:pt x="961" y="216"/>
                  <a:pt x="961" y="215"/>
                </a:cubicBezTo>
                <a:cubicBezTo>
                  <a:pt x="961" y="215"/>
                  <a:pt x="961" y="215"/>
                  <a:pt x="961" y="215"/>
                </a:cubicBezTo>
                <a:cubicBezTo>
                  <a:pt x="960" y="215"/>
                  <a:pt x="960" y="215"/>
                  <a:pt x="959" y="214"/>
                </a:cubicBezTo>
                <a:cubicBezTo>
                  <a:pt x="959" y="214"/>
                  <a:pt x="959" y="214"/>
                  <a:pt x="959" y="213"/>
                </a:cubicBezTo>
                <a:cubicBezTo>
                  <a:pt x="959" y="213"/>
                  <a:pt x="959" y="212"/>
                  <a:pt x="958" y="212"/>
                </a:cubicBezTo>
                <a:cubicBezTo>
                  <a:pt x="958" y="212"/>
                  <a:pt x="958" y="212"/>
                  <a:pt x="958" y="212"/>
                </a:cubicBezTo>
                <a:cubicBezTo>
                  <a:pt x="958" y="211"/>
                  <a:pt x="957" y="211"/>
                  <a:pt x="957" y="211"/>
                </a:cubicBezTo>
                <a:cubicBezTo>
                  <a:pt x="957" y="211"/>
                  <a:pt x="957" y="211"/>
                  <a:pt x="956" y="211"/>
                </a:cubicBezTo>
                <a:cubicBezTo>
                  <a:pt x="956" y="210"/>
                  <a:pt x="956" y="210"/>
                  <a:pt x="956" y="210"/>
                </a:cubicBezTo>
                <a:cubicBezTo>
                  <a:pt x="956" y="210"/>
                  <a:pt x="956" y="210"/>
                  <a:pt x="956" y="210"/>
                </a:cubicBezTo>
                <a:cubicBezTo>
                  <a:pt x="956" y="209"/>
                  <a:pt x="956" y="209"/>
                  <a:pt x="956" y="209"/>
                </a:cubicBezTo>
                <a:cubicBezTo>
                  <a:pt x="956" y="209"/>
                  <a:pt x="956" y="208"/>
                  <a:pt x="956" y="208"/>
                </a:cubicBezTo>
                <a:cubicBezTo>
                  <a:pt x="956" y="208"/>
                  <a:pt x="956" y="208"/>
                  <a:pt x="956" y="208"/>
                </a:cubicBezTo>
                <a:cubicBezTo>
                  <a:pt x="957" y="207"/>
                  <a:pt x="957" y="207"/>
                  <a:pt x="957" y="207"/>
                </a:cubicBezTo>
                <a:cubicBezTo>
                  <a:pt x="957" y="207"/>
                  <a:pt x="957" y="207"/>
                  <a:pt x="957" y="207"/>
                </a:cubicBezTo>
                <a:cubicBezTo>
                  <a:pt x="957" y="207"/>
                  <a:pt x="956" y="206"/>
                  <a:pt x="956" y="206"/>
                </a:cubicBezTo>
                <a:cubicBezTo>
                  <a:pt x="956" y="206"/>
                  <a:pt x="956" y="206"/>
                  <a:pt x="956" y="206"/>
                </a:cubicBezTo>
                <a:cubicBezTo>
                  <a:pt x="956" y="206"/>
                  <a:pt x="956" y="206"/>
                  <a:pt x="956" y="206"/>
                </a:cubicBezTo>
                <a:cubicBezTo>
                  <a:pt x="956" y="206"/>
                  <a:pt x="956" y="206"/>
                  <a:pt x="956" y="207"/>
                </a:cubicBezTo>
                <a:cubicBezTo>
                  <a:pt x="956" y="207"/>
                  <a:pt x="956" y="207"/>
                  <a:pt x="957" y="207"/>
                </a:cubicBezTo>
                <a:cubicBezTo>
                  <a:pt x="956" y="207"/>
                  <a:pt x="956" y="207"/>
                  <a:pt x="955" y="207"/>
                </a:cubicBezTo>
                <a:cubicBezTo>
                  <a:pt x="955" y="207"/>
                  <a:pt x="955" y="207"/>
                  <a:pt x="955" y="207"/>
                </a:cubicBezTo>
                <a:cubicBezTo>
                  <a:pt x="955" y="207"/>
                  <a:pt x="955" y="206"/>
                  <a:pt x="955" y="206"/>
                </a:cubicBezTo>
                <a:cubicBezTo>
                  <a:pt x="955" y="206"/>
                  <a:pt x="955" y="206"/>
                  <a:pt x="954" y="206"/>
                </a:cubicBezTo>
                <a:cubicBezTo>
                  <a:pt x="954" y="206"/>
                  <a:pt x="954" y="205"/>
                  <a:pt x="954" y="205"/>
                </a:cubicBezTo>
                <a:cubicBezTo>
                  <a:pt x="954" y="205"/>
                  <a:pt x="954" y="205"/>
                  <a:pt x="954" y="204"/>
                </a:cubicBezTo>
                <a:cubicBezTo>
                  <a:pt x="954" y="204"/>
                  <a:pt x="954" y="203"/>
                  <a:pt x="954" y="203"/>
                </a:cubicBezTo>
                <a:cubicBezTo>
                  <a:pt x="954" y="203"/>
                  <a:pt x="954" y="203"/>
                  <a:pt x="954" y="202"/>
                </a:cubicBezTo>
                <a:cubicBezTo>
                  <a:pt x="955" y="202"/>
                  <a:pt x="955" y="202"/>
                  <a:pt x="955" y="202"/>
                </a:cubicBezTo>
                <a:cubicBezTo>
                  <a:pt x="955" y="202"/>
                  <a:pt x="955" y="202"/>
                  <a:pt x="955" y="202"/>
                </a:cubicBezTo>
                <a:cubicBezTo>
                  <a:pt x="955" y="202"/>
                  <a:pt x="955" y="202"/>
                  <a:pt x="954" y="202"/>
                </a:cubicBezTo>
                <a:cubicBezTo>
                  <a:pt x="954" y="202"/>
                  <a:pt x="953" y="202"/>
                  <a:pt x="953" y="202"/>
                </a:cubicBezTo>
                <a:cubicBezTo>
                  <a:pt x="953" y="202"/>
                  <a:pt x="952" y="201"/>
                  <a:pt x="952" y="201"/>
                </a:cubicBezTo>
                <a:cubicBezTo>
                  <a:pt x="952" y="201"/>
                  <a:pt x="952" y="201"/>
                  <a:pt x="952" y="201"/>
                </a:cubicBezTo>
                <a:cubicBezTo>
                  <a:pt x="951" y="200"/>
                  <a:pt x="951" y="200"/>
                  <a:pt x="951" y="200"/>
                </a:cubicBezTo>
                <a:cubicBezTo>
                  <a:pt x="951" y="200"/>
                  <a:pt x="951" y="200"/>
                  <a:pt x="951" y="199"/>
                </a:cubicBezTo>
                <a:cubicBezTo>
                  <a:pt x="951" y="199"/>
                  <a:pt x="951" y="199"/>
                  <a:pt x="951" y="198"/>
                </a:cubicBezTo>
                <a:cubicBezTo>
                  <a:pt x="951" y="198"/>
                  <a:pt x="952" y="198"/>
                  <a:pt x="952" y="198"/>
                </a:cubicBezTo>
                <a:cubicBezTo>
                  <a:pt x="951" y="198"/>
                  <a:pt x="951" y="197"/>
                  <a:pt x="951" y="197"/>
                </a:cubicBezTo>
                <a:cubicBezTo>
                  <a:pt x="951" y="197"/>
                  <a:pt x="950" y="198"/>
                  <a:pt x="950" y="198"/>
                </a:cubicBezTo>
                <a:cubicBezTo>
                  <a:pt x="950" y="198"/>
                  <a:pt x="950" y="198"/>
                  <a:pt x="950" y="198"/>
                </a:cubicBezTo>
                <a:cubicBezTo>
                  <a:pt x="950" y="199"/>
                  <a:pt x="950" y="199"/>
                  <a:pt x="951" y="199"/>
                </a:cubicBezTo>
                <a:cubicBezTo>
                  <a:pt x="950" y="199"/>
                  <a:pt x="950" y="199"/>
                  <a:pt x="950" y="199"/>
                </a:cubicBezTo>
                <a:cubicBezTo>
                  <a:pt x="950" y="199"/>
                  <a:pt x="950" y="199"/>
                  <a:pt x="950" y="199"/>
                </a:cubicBezTo>
                <a:cubicBezTo>
                  <a:pt x="950" y="199"/>
                  <a:pt x="950" y="199"/>
                  <a:pt x="950" y="199"/>
                </a:cubicBezTo>
                <a:cubicBezTo>
                  <a:pt x="949" y="200"/>
                  <a:pt x="949" y="200"/>
                  <a:pt x="949" y="200"/>
                </a:cubicBezTo>
                <a:cubicBezTo>
                  <a:pt x="949" y="200"/>
                  <a:pt x="949" y="200"/>
                  <a:pt x="949" y="200"/>
                </a:cubicBezTo>
                <a:cubicBezTo>
                  <a:pt x="950" y="200"/>
                  <a:pt x="950" y="200"/>
                  <a:pt x="950" y="200"/>
                </a:cubicBezTo>
                <a:cubicBezTo>
                  <a:pt x="950" y="201"/>
                  <a:pt x="950" y="201"/>
                  <a:pt x="950" y="201"/>
                </a:cubicBezTo>
                <a:cubicBezTo>
                  <a:pt x="950" y="201"/>
                  <a:pt x="950" y="202"/>
                  <a:pt x="950" y="202"/>
                </a:cubicBezTo>
                <a:cubicBezTo>
                  <a:pt x="950" y="202"/>
                  <a:pt x="949" y="202"/>
                  <a:pt x="949" y="203"/>
                </a:cubicBezTo>
                <a:cubicBezTo>
                  <a:pt x="949" y="203"/>
                  <a:pt x="949" y="203"/>
                  <a:pt x="949" y="202"/>
                </a:cubicBezTo>
                <a:cubicBezTo>
                  <a:pt x="948" y="202"/>
                  <a:pt x="948" y="202"/>
                  <a:pt x="948" y="202"/>
                </a:cubicBezTo>
                <a:cubicBezTo>
                  <a:pt x="948" y="202"/>
                  <a:pt x="948" y="202"/>
                  <a:pt x="947" y="202"/>
                </a:cubicBezTo>
                <a:cubicBezTo>
                  <a:pt x="948" y="202"/>
                  <a:pt x="948" y="203"/>
                  <a:pt x="948" y="203"/>
                </a:cubicBezTo>
                <a:cubicBezTo>
                  <a:pt x="948" y="203"/>
                  <a:pt x="948" y="203"/>
                  <a:pt x="948" y="203"/>
                </a:cubicBezTo>
                <a:cubicBezTo>
                  <a:pt x="948" y="203"/>
                  <a:pt x="947" y="203"/>
                  <a:pt x="947" y="203"/>
                </a:cubicBezTo>
                <a:cubicBezTo>
                  <a:pt x="947" y="203"/>
                  <a:pt x="947" y="203"/>
                  <a:pt x="947" y="203"/>
                </a:cubicBezTo>
                <a:cubicBezTo>
                  <a:pt x="947" y="203"/>
                  <a:pt x="947" y="203"/>
                  <a:pt x="947" y="202"/>
                </a:cubicBezTo>
                <a:cubicBezTo>
                  <a:pt x="946" y="202"/>
                  <a:pt x="946" y="202"/>
                  <a:pt x="946" y="202"/>
                </a:cubicBezTo>
                <a:cubicBezTo>
                  <a:pt x="946" y="202"/>
                  <a:pt x="946" y="202"/>
                  <a:pt x="946" y="202"/>
                </a:cubicBezTo>
                <a:cubicBezTo>
                  <a:pt x="946" y="202"/>
                  <a:pt x="945" y="201"/>
                  <a:pt x="945" y="201"/>
                </a:cubicBezTo>
                <a:cubicBezTo>
                  <a:pt x="945" y="201"/>
                  <a:pt x="945" y="201"/>
                  <a:pt x="944" y="200"/>
                </a:cubicBezTo>
                <a:cubicBezTo>
                  <a:pt x="944" y="200"/>
                  <a:pt x="944" y="200"/>
                  <a:pt x="944" y="200"/>
                </a:cubicBezTo>
                <a:cubicBezTo>
                  <a:pt x="944" y="200"/>
                  <a:pt x="944" y="201"/>
                  <a:pt x="944" y="201"/>
                </a:cubicBezTo>
                <a:cubicBezTo>
                  <a:pt x="944" y="201"/>
                  <a:pt x="944" y="201"/>
                  <a:pt x="945" y="201"/>
                </a:cubicBezTo>
                <a:cubicBezTo>
                  <a:pt x="945" y="201"/>
                  <a:pt x="945" y="202"/>
                  <a:pt x="945" y="202"/>
                </a:cubicBezTo>
                <a:cubicBezTo>
                  <a:pt x="945" y="202"/>
                  <a:pt x="945" y="202"/>
                  <a:pt x="945" y="202"/>
                </a:cubicBezTo>
                <a:cubicBezTo>
                  <a:pt x="945" y="203"/>
                  <a:pt x="946" y="203"/>
                  <a:pt x="946" y="203"/>
                </a:cubicBezTo>
                <a:cubicBezTo>
                  <a:pt x="946" y="203"/>
                  <a:pt x="946" y="203"/>
                  <a:pt x="946" y="204"/>
                </a:cubicBezTo>
                <a:cubicBezTo>
                  <a:pt x="945" y="204"/>
                  <a:pt x="945" y="204"/>
                  <a:pt x="945" y="204"/>
                </a:cubicBezTo>
                <a:cubicBezTo>
                  <a:pt x="944" y="204"/>
                  <a:pt x="944" y="204"/>
                  <a:pt x="944" y="204"/>
                </a:cubicBezTo>
                <a:cubicBezTo>
                  <a:pt x="944" y="204"/>
                  <a:pt x="944" y="204"/>
                  <a:pt x="944" y="205"/>
                </a:cubicBezTo>
                <a:cubicBezTo>
                  <a:pt x="944" y="205"/>
                  <a:pt x="943" y="205"/>
                  <a:pt x="943" y="205"/>
                </a:cubicBezTo>
                <a:cubicBezTo>
                  <a:pt x="943" y="205"/>
                  <a:pt x="943" y="205"/>
                  <a:pt x="944" y="205"/>
                </a:cubicBezTo>
                <a:cubicBezTo>
                  <a:pt x="943" y="205"/>
                  <a:pt x="943" y="206"/>
                  <a:pt x="942" y="206"/>
                </a:cubicBezTo>
                <a:cubicBezTo>
                  <a:pt x="942" y="206"/>
                  <a:pt x="941" y="206"/>
                  <a:pt x="941" y="205"/>
                </a:cubicBezTo>
                <a:cubicBezTo>
                  <a:pt x="941" y="206"/>
                  <a:pt x="941" y="206"/>
                  <a:pt x="942" y="206"/>
                </a:cubicBezTo>
                <a:cubicBezTo>
                  <a:pt x="942" y="206"/>
                  <a:pt x="942" y="206"/>
                  <a:pt x="942" y="206"/>
                </a:cubicBezTo>
                <a:cubicBezTo>
                  <a:pt x="941" y="207"/>
                  <a:pt x="941" y="207"/>
                  <a:pt x="940" y="208"/>
                </a:cubicBezTo>
                <a:cubicBezTo>
                  <a:pt x="940" y="208"/>
                  <a:pt x="939" y="208"/>
                  <a:pt x="939" y="208"/>
                </a:cubicBezTo>
                <a:cubicBezTo>
                  <a:pt x="939" y="208"/>
                  <a:pt x="939" y="207"/>
                  <a:pt x="939" y="207"/>
                </a:cubicBezTo>
                <a:cubicBezTo>
                  <a:pt x="939" y="207"/>
                  <a:pt x="939" y="207"/>
                  <a:pt x="939" y="207"/>
                </a:cubicBezTo>
                <a:cubicBezTo>
                  <a:pt x="939" y="207"/>
                  <a:pt x="938" y="207"/>
                  <a:pt x="938" y="207"/>
                </a:cubicBezTo>
                <a:cubicBezTo>
                  <a:pt x="938" y="207"/>
                  <a:pt x="938" y="208"/>
                  <a:pt x="938" y="208"/>
                </a:cubicBezTo>
                <a:cubicBezTo>
                  <a:pt x="937" y="208"/>
                  <a:pt x="937" y="208"/>
                  <a:pt x="937" y="208"/>
                </a:cubicBezTo>
                <a:cubicBezTo>
                  <a:pt x="936" y="208"/>
                  <a:pt x="936" y="208"/>
                  <a:pt x="936" y="209"/>
                </a:cubicBezTo>
                <a:cubicBezTo>
                  <a:pt x="935" y="209"/>
                  <a:pt x="935" y="208"/>
                  <a:pt x="935" y="208"/>
                </a:cubicBezTo>
                <a:cubicBezTo>
                  <a:pt x="935" y="209"/>
                  <a:pt x="935" y="209"/>
                  <a:pt x="935" y="209"/>
                </a:cubicBezTo>
                <a:cubicBezTo>
                  <a:pt x="934" y="209"/>
                  <a:pt x="934" y="208"/>
                  <a:pt x="934" y="208"/>
                </a:cubicBezTo>
                <a:cubicBezTo>
                  <a:pt x="934" y="208"/>
                  <a:pt x="934" y="208"/>
                  <a:pt x="934" y="208"/>
                </a:cubicBezTo>
                <a:cubicBezTo>
                  <a:pt x="933" y="208"/>
                  <a:pt x="933" y="207"/>
                  <a:pt x="933" y="207"/>
                </a:cubicBezTo>
                <a:cubicBezTo>
                  <a:pt x="933" y="207"/>
                  <a:pt x="933" y="207"/>
                  <a:pt x="932" y="207"/>
                </a:cubicBezTo>
                <a:cubicBezTo>
                  <a:pt x="932" y="208"/>
                  <a:pt x="933" y="208"/>
                  <a:pt x="933" y="208"/>
                </a:cubicBezTo>
                <a:cubicBezTo>
                  <a:pt x="932" y="208"/>
                  <a:pt x="932" y="208"/>
                  <a:pt x="932" y="208"/>
                </a:cubicBezTo>
                <a:cubicBezTo>
                  <a:pt x="932" y="208"/>
                  <a:pt x="931" y="208"/>
                  <a:pt x="931" y="208"/>
                </a:cubicBezTo>
                <a:cubicBezTo>
                  <a:pt x="931" y="208"/>
                  <a:pt x="931" y="208"/>
                  <a:pt x="932" y="208"/>
                </a:cubicBezTo>
                <a:cubicBezTo>
                  <a:pt x="932" y="208"/>
                  <a:pt x="931" y="207"/>
                  <a:pt x="931" y="207"/>
                </a:cubicBezTo>
                <a:cubicBezTo>
                  <a:pt x="931" y="207"/>
                  <a:pt x="930" y="207"/>
                  <a:pt x="929" y="207"/>
                </a:cubicBezTo>
                <a:cubicBezTo>
                  <a:pt x="929" y="206"/>
                  <a:pt x="928" y="206"/>
                  <a:pt x="928" y="206"/>
                </a:cubicBezTo>
                <a:cubicBezTo>
                  <a:pt x="927" y="206"/>
                  <a:pt x="927" y="206"/>
                  <a:pt x="927" y="206"/>
                </a:cubicBezTo>
                <a:cubicBezTo>
                  <a:pt x="926" y="205"/>
                  <a:pt x="926" y="205"/>
                  <a:pt x="925" y="204"/>
                </a:cubicBezTo>
                <a:cubicBezTo>
                  <a:pt x="925" y="204"/>
                  <a:pt x="925" y="204"/>
                  <a:pt x="926" y="204"/>
                </a:cubicBezTo>
                <a:cubicBezTo>
                  <a:pt x="926" y="204"/>
                  <a:pt x="926" y="203"/>
                  <a:pt x="926" y="203"/>
                </a:cubicBezTo>
                <a:cubicBezTo>
                  <a:pt x="926" y="203"/>
                  <a:pt x="926" y="203"/>
                  <a:pt x="927" y="203"/>
                </a:cubicBezTo>
                <a:cubicBezTo>
                  <a:pt x="927" y="203"/>
                  <a:pt x="927" y="203"/>
                  <a:pt x="927" y="203"/>
                </a:cubicBezTo>
                <a:cubicBezTo>
                  <a:pt x="927" y="203"/>
                  <a:pt x="928" y="203"/>
                  <a:pt x="928" y="203"/>
                </a:cubicBezTo>
                <a:cubicBezTo>
                  <a:pt x="929" y="204"/>
                  <a:pt x="929" y="204"/>
                  <a:pt x="930" y="204"/>
                </a:cubicBezTo>
                <a:cubicBezTo>
                  <a:pt x="930" y="204"/>
                  <a:pt x="930" y="204"/>
                  <a:pt x="930" y="204"/>
                </a:cubicBezTo>
                <a:cubicBezTo>
                  <a:pt x="930" y="204"/>
                  <a:pt x="930" y="204"/>
                  <a:pt x="929" y="203"/>
                </a:cubicBezTo>
                <a:cubicBezTo>
                  <a:pt x="930" y="203"/>
                  <a:pt x="930" y="203"/>
                  <a:pt x="930" y="203"/>
                </a:cubicBezTo>
                <a:cubicBezTo>
                  <a:pt x="930" y="203"/>
                  <a:pt x="931" y="203"/>
                  <a:pt x="931" y="203"/>
                </a:cubicBezTo>
                <a:cubicBezTo>
                  <a:pt x="931" y="203"/>
                  <a:pt x="931" y="203"/>
                  <a:pt x="931" y="203"/>
                </a:cubicBezTo>
                <a:cubicBezTo>
                  <a:pt x="930" y="203"/>
                  <a:pt x="930" y="203"/>
                  <a:pt x="929" y="203"/>
                </a:cubicBezTo>
                <a:cubicBezTo>
                  <a:pt x="929" y="203"/>
                  <a:pt x="929" y="203"/>
                  <a:pt x="929" y="203"/>
                </a:cubicBezTo>
                <a:cubicBezTo>
                  <a:pt x="928" y="203"/>
                  <a:pt x="928" y="202"/>
                  <a:pt x="928" y="202"/>
                </a:cubicBezTo>
                <a:cubicBezTo>
                  <a:pt x="928" y="202"/>
                  <a:pt x="928" y="202"/>
                  <a:pt x="929" y="202"/>
                </a:cubicBezTo>
                <a:cubicBezTo>
                  <a:pt x="929" y="202"/>
                  <a:pt x="929" y="201"/>
                  <a:pt x="929" y="201"/>
                </a:cubicBezTo>
                <a:cubicBezTo>
                  <a:pt x="929" y="201"/>
                  <a:pt x="929" y="201"/>
                  <a:pt x="928" y="201"/>
                </a:cubicBezTo>
                <a:cubicBezTo>
                  <a:pt x="928" y="201"/>
                  <a:pt x="929" y="201"/>
                  <a:pt x="929" y="200"/>
                </a:cubicBezTo>
                <a:cubicBezTo>
                  <a:pt x="928" y="200"/>
                  <a:pt x="928" y="200"/>
                  <a:pt x="928" y="200"/>
                </a:cubicBezTo>
                <a:cubicBezTo>
                  <a:pt x="928" y="200"/>
                  <a:pt x="927" y="200"/>
                  <a:pt x="927" y="201"/>
                </a:cubicBezTo>
                <a:cubicBezTo>
                  <a:pt x="927" y="201"/>
                  <a:pt x="927" y="201"/>
                  <a:pt x="927" y="201"/>
                </a:cubicBezTo>
                <a:cubicBezTo>
                  <a:pt x="927" y="201"/>
                  <a:pt x="927" y="201"/>
                  <a:pt x="927" y="201"/>
                </a:cubicBezTo>
                <a:cubicBezTo>
                  <a:pt x="926" y="201"/>
                  <a:pt x="926" y="201"/>
                  <a:pt x="926" y="201"/>
                </a:cubicBezTo>
                <a:cubicBezTo>
                  <a:pt x="926" y="201"/>
                  <a:pt x="926" y="201"/>
                  <a:pt x="926" y="202"/>
                </a:cubicBezTo>
                <a:cubicBezTo>
                  <a:pt x="925" y="201"/>
                  <a:pt x="925" y="201"/>
                  <a:pt x="924" y="201"/>
                </a:cubicBezTo>
                <a:cubicBezTo>
                  <a:pt x="924" y="200"/>
                  <a:pt x="924" y="200"/>
                  <a:pt x="924" y="200"/>
                </a:cubicBezTo>
                <a:cubicBezTo>
                  <a:pt x="924" y="200"/>
                  <a:pt x="925" y="199"/>
                  <a:pt x="925" y="199"/>
                </a:cubicBezTo>
                <a:cubicBezTo>
                  <a:pt x="925" y="199"/>
                  <a:pt x="925" y="199"/>
                  <a:pt x="926" y="199"/>
                </a:cubicBezTo>
                <a:cubicBezTo>
                  <a:pt x="926" y="199"/>
                  <a:pt x="926" y="199"/>
                  <a:pt x="926" y="199"/>
                </a:cubicBezTo>
                <a:cubicBezTo>
                  <a:pt x="926" y="199"/>
                  <a:pt x="926" y="199"/>
                  <a:pt x="926" y="199"/>
                </a:cubicBezTo>
                <a:cubicBezTo>
                  <a:pt x="926" y="199"/>
                  <a:pt x="927" y="199"/>
                  <a:pt x="927" y="199"/>
                </a:cubicBezTo>
                <a:cubicBezTo>
                  <a:pt x="927" y="199"/>
                  <a:pt x="928" y="199"/>
                  <a:pt x="928" y="199"/>
                </a:cubicBezTo>
                <a:cubicBezTo>
                  <a:pt x="928" y="199"/>
                  <a:pt x="928" y="199"/>
                  <a:pt x="928" y="199"/>
                </a:cubicBezTo>
                <a:cubicBezTo>
                  <a:pt x="928" y="198"/>
                  <a:pt x="928" y="198"/>
                  <a:pt x="928" y="198"/>
                </a:cubicBezTo>
                <a:cubicBezTo>
                  <a:pt x="929" y="198"/>
                  <a:pt x="929" y="198"/>
                  <a:pt x="930" y="198"/>
                </a:cubicBezTo>
                <a:cubicBezTo>
                  <a:pt x="929" y="198"/>
                  <a:pt x="929" y="198"/>
                  <a:pt x="929" y="198"/>
                </a:cubicBezTo>
                <a:cubicBezTo>
                  <a:pt x="929" y="198"/>
                  <a:pt x="928" y="198"/>
                  <a:pt x="928" y="198"/>
                </a:cubicBezTo>
                <a:cubicBezTo>
                  <a:pt x="927" y="198"/>
                  <a:pt x="927" y="198"/>
                  <a:pt x="927" y="198"/>
                </a:cubicBezTo>
                <a:cubicBezTo>
                  <a:pt x="927" y="197"/>
                  <a:pt x="927" y="197"/>
                  <a:pt x="927" y="197"/>
                </a:cubicBezTo>
                <a:cubicBezTo>
                  <a:pt x="928" y="197"/>
                  <a:pt x="928" y="197"/>
                  <a:pt x="928" y="197"/>
                </a:cubicBezTo>
                <a:cubicBezTo>
                  <a:pt x="928" y="197"/>
                  <a:pt x="929" y="197"/>
                  <a:pt x="929" y="196"/>
                </a:cubicBezTo>
                <a:cubicBezTo>
                  <a:pt x="929" y="196"/>
                  <a:pt x="928" y="196"/>
                  <a:pt x="928" y="196"/>
                </a:cubicBezTo>
                <a:cubicBezTo>
                  <a:pt x="928" y="196"/>
                  <a:pt x="928" y="196"/>
                  <a:pt x="929" y="196"/>
                </a:cubicBezTo>
                <a:cubicBezTo>
                  <a:pt x="929" y="196"/>
                  <a:pt x="929" y="195"/>
                  <a:pt x="929" y="195"/>
                </a:cubicBezTo>
                <a:cubicBezTo>
                  <a:pt x="929" y="195"/>
                  <a:pt x="930" y="195"/>
                  <a:pt x="930" y="195"/>
                </a:cubicBezTo>
                <a:cubicBezTo>
                  <a:pt x="930" y="195"/>
                  <a:pt x="930" y="196"/>
                  <a:pt x="930" y="196"/>
                </a:cubicBezTo>
                <a:cubicBezTo>
                  <a:pt x="930" y="196"/>
                  <a:pt x="931" y="196"/>
                  <a:pt x="931" y="196"/>
                </a:cubicBezTo>
                <a:cubicBezTo>
                  <a:pt x="931" y="196"/>
                  <a:pt x="931" y="196"/>
                  <a:pt x="931" y="196"/>
                </a:cubicBezTo>
                <a:cubicBezTo>
                  <a:pt x="931" y="195"/>
                  <a:pt x="931" y="195"/>
                  <a:pt x="931" y="195"/>
                </a:cubicBezTo>
                <a:cubicBezTo>
                  <a:pt x="931" y="195"/>
                  <a:pt x="931" y="194"/>
                  <a:pt x="932" y="194"/>
                </a:cubicBezTo>
                <a:cubicBezTo>
                  <a:pt x="932" y="194"/>
                  <a:pt x="932" y="194"/>
                  <a:pt x="932" y="194"/>
                </a:cubicBezTo>
                <a:cubicBezTo>
                  <a:pt x="932" y="194"/>
                  <a:pt x="932" y="194"/>
                  <a:pt x="931" y="194"/>
                </a:cubicBezTo>
                <a:cubicBezTo>
                  <a:pt x="931" y="194"/>
                  <a:pt x="931" y="194"/>
                  <a:pt x="930" y="194"/>
                </a:cubicBezTo>
                <a:cubicBezTo>
                  <a:pt x="930" y="194"/>
                  <a:pt x="929" y="195"/>
                  <a:pt x="928" y="195"/>
                </a:cubicBezTo>
                <a:cubicBezTo>
                  <a:pt x="928" y="195"/>
                  <a:pt x="928" y="195"/>
                  <a:pt x="928" y="195"/>
                </a:cubicBezTo>
                <a:cubicBezTo>
                  <a:pt x="928" y="196"/>
                  <a:pt x="928" y="196"/>
                  <a:pt x="927" y="196"/>
                </a:cubicBezTo>
                <a:cubicBezTo>
                  <a:pt x="927" y="196"/>
                  <a:pt x="927" y="196"/>
                  <a:pt x="926" y="197"/>
                </a:cubicBezTo>
                <a:cubicBezTo>
                  <a:pt x="926" y="197"/>
                  <a:pt x="926" y="197"/>
                  <a:pt x="926" y="197"/>
                </a:cubicBezTo>
                <a:cubicBezTo>
                  <a:pt x="926" y="196"/>
                  <a:pt x="926" y="196"/>
                  <a:pt x="927" y="196"/>
                </a:cubicBezTo>
                <a:cubicBezTo>
                  <a:pt x="926" y="196"/>
                  <a:pt x="926" y="196"/>
                  <a:pt x="926" y="195"/>
                </a:cubicBezTo>
                <a:cubicBezTo>
                  <a:pt x="926" y="195"/>
                  <a:pt x="926" y="195"/>
                  <a:pt x="926" y="195"/>
                </a:cubicBezTo>
                <a:cubicBezTo>
                  <a:pt x="926" y="195"/>
                  <a:pt x="926" y="195"/>
                  <a:pt x="926" y="195"/>
                </a:cubicBezTo>
                <a:cubicBezTo>
                  <a:pt x="925" y="195"/>
                  <a:pt x="925" y="195"/>
                  <a:pt x="925" y="195"/>
                </a:cubicBezTo>
                <a:cubicBezTo>
                  <a:pt x="926" y="194"/>
                  <a:pt x="926" y="194"/>
                  <a:pt x="927" y="194"/>
                </a:cubicBezTo>
                <a:cubicBezTo>
                  <a:pt x="927" y="194"/>
                  <a:pt x="927" y="194"/>
                  <a:pt x="926" y="193"/>
                </a:cubicBezTo>
                <a:cubicBezTo>
                  <a:pt x="927" y="193"/>
                  <a:pt x="927" y="193"/>
                  <a:pt x="927" y="193"/>
                </a:cubicBezTo>
                <a:cubicBezTo>
                  <a:pt x="927" y="193"/>
                  <a:pt x="926" y="193"/>
                  <a:pt x="926" y="193"/>
                </a:cubicBezTo>
                <a:cubicBezTo>
                  <a:pt x="925" y="193"/>
                  <a:pt x="925" y="194"/>
                  <a:pt x="924" y="194"/>
                </a:cubicBezTo>
                <a:cubicBezTo>
                  <a:pt x="924" y="194"/>
                  <a:pt x="924" y="194"/>
                  <a:pt x="924" y="194"/>
                </a:cubicBezTo>
                <a:cubicBezTo>
                  <a:pt x="923" y="193"/>
                  <a:pt x="923" y="193"/>
                  <a:pt x="923" y="193"/>
                </a:cubicBezTo>
                <a:cubicBezTo>
                  <a:pt x="924" y="193"/>
                  <a:pt x="924" y="193"/>
                  <a:pt x="924" y="193"/>
                </a:cubicBezTo>
                <a:cubicBezTo>
                  <a:pt x="924" y="193"/>
                  <a:pt x="924" y="193"/>
                  <a:pt x="924" y="193"/>
                </a:cubicBezTo>
                <a:cubicBezTo>
                  <a:pt x="924" y="193"/>
                  <a:pt x="924" y="193"/>
                  <a:pt x="924" y="192"/>
                </a:cubicBezTo>
                <a:cubicBezTo>
                  <a:pt x="925" y="192"/>
                  <a:pt x="925" y="192"/>
                  <a:pt x="925" y="192"/>
                </a:cubicBezTo>
                <a:cubicBezTo>
                  <a:pt x="925" y="192"/>
                  <a:pt x="925" y="192"/>
                  <a:pt x="924" y="192"/>
                </a:cubicBezTo>
                <a:cubicBezTo>
                  <a:pt x="924" y="192"/>
                  <a:pt x="924" y="192"/>
                  <a:pt x="924" y="192"/>
                </a:cubicBezTo>
                <a:cubicBezTo>
                  <a:pt x="924" y="192"/>
                  <a:pt x="923" y="192"/>
                  <a:pt x="923" y="192"/>
                </a:cubicBezTo>
                <a:cubicBezTo>
                  <a:pt x="923" y="192"/>
                  <a:pt x="923" y="192"/>
                  <a:pt x="923" y="192"/>
                </a:cubicBezTo>
                <a:cubicBezTo>
                  <a:pt x="923" y="192"/>
                  <a:pt x="923" y="192"/>
                  <a:pt x="923" y="192"/>
                </a:cubicBezTo>
                <a:cubicBezTo>
                  <a:pt x="923" y="191"/>
                  <a:pt x="923" y="191"/>
                  <a:pt x="923" y="191"/>
                </a:cubicBezTo>
                <a:cubicBezTo>
                  <a:pt x="923" y="191"/>
                  <a:pt x="923" y="191"/>
                  <a:pt x="923" y="191"/>
                </a:cubicBezTo>
                <a:cubicBezTo>
                  <a:pt x="923" y="191"/>
                  <a:pt x="923" y="191"/>
                  <a:pt x="924" y="191"/>
                </a:cubicBezTo>
                <a:cubicBezTo>
                  <a:pt x="924" y="191"/>
                  <a:pt x="924" y="191"/>
                  <a:pt x="924" y="191"/>
                </a:cubicBezTo>
                <a:cubicBezTo>
                  <a:pt x="925" y="191"/>
                  <a:pt x="925" y="191"/>
                  <a:pt x="926" y="191"/>
                </a:cubicBezTo>
                <a:cubicBezTo>
                  <a:pt x="926" y="191"/>
                  <a:pt x="926" y="191"/>
                  <a:pt x="926" y="191"/>
                </a:cubicBezTo>
                <a:cubicBezTo>
                  <a:pt x="927" y="191"/>
                  <a:pt x="927" y="191"/>
                  <a:pt x="928" y="191"/>
                </a:cubicBezTo>
                <a:cubicBezTo>
                  <a:pt x="928" y="191"/>
                  <a:pt x="928" y="191"/>
                  <a:pt x="929" y="191"/>
                </a:cubicBezTo>
                <a:cubicBezTo>
                  <a:pt x="929" y="191"/>
                  <a:pt x="929" y="191"/>
                  <a:pt x="929" y="192"/>
                </a:cubicBezTo>
                <a:cubicBezTo>
                  <a:pt x="929" y="191"/>
                  <a:pt x="929" y="191"/>
                  <a:pt x="930" y="191"/>
                </a:cubicBezTo>
                <a:cubicBezTo>
                  <a:pt x="930" y="191"/>
                  <a:pt x="930" y="191"/>
                  <a:pt x="931" y="190"/>
                </a:cubicBezTo>
                <a:cubicBezTo>
                  <a:pt x="931" y="190"/>
                  <a:pt x="931" y="190"/>
                  <a:pt x="932" y="190"/>
                </a:cubicBezTo>
                <a:cubicBezTo>
                  <a:pt x="932" y="191"/>
                  <a:pt x="932" y="191"/>
                  <a:pt x="932" y="191"/>
                </a:cubicBezTo>
                <a:cubicBezTo>
                  <a:pt x="932" y="191"/>
                  <a:pt x="931" y="191"/>
                  <a:pt x="931" y="191"/>
                </a:cubicBezTo>
                <a:cubicBezTo>
                  <a:pt x="931" y="192"/>
                  <a:pt x="931" y="192"/>
                  <a:pt x="931" y="192"/>
                </a:cubicBezTo>
                <a:cubicBezTo>
                  <a:pt x="932" y="192"/>
                  <a:pt x="932" y="192"/>
                  <a:pt x="933" y="192"/>
                </a:cubicBezTo>
                <a:cubicBezTo>
                  <a:pt x="933" y="192"/>
                  <a:pt x="933" y="191"/>
                  <a:pt x="933" y="191"/>
                </a:cubicBezTo>
                <a:cubicBezTo>
                  <a:pt x="933" y="191"/>
                  <a:pt x="933" y="191"/>
                  <a:pt x="933" y="191"/>
                </a:cubicBezTo>
                <a:cubicBezTo>
                  <a:pt x="933" y="191"/>
                  <a:pt x="933" y="191"/>
                  <a:pt x="933" y="191"/>
                </a:cubicBezTo>
                <a:cubicBezTo>
                  <a:pt x="934" y="191"/>
                  <a:pt x="934" y="190"/>
                  <a:pt x="935" y="190"/>
                </a:cubicBezTo>
                <a:cubicBezTo>
                  <a:pt x="935" y="190"/>
                  <a:pt x="935" y="190"/>
                  <a:pt x="936" y="190"/>
                </a:cubicBezTo>
                <a:cubicBezTo>
                  <a:pt x="935" y="190"/>
                  <a:pt x="935" y="189"/>
                  <a:pt x="935" y="189"/>
                </a:cubicBezTo>
                <a:cubicBezTo>
                  <a:pt x="935" y="189"/>
                  <a:pt x="935" y="189"/>
                  <a:pt x="935" y="189"/>
                </a:cubicBezTo>
                <a:cubicBezTo>
                  <a:pt x="935" y="189"/>
                  <a:pt x="934" y="189"/>
                  <a:pt x="934" y="189"/>
                </a:cubicBezTo>
                <a:cubicBezTo>
                  <a:pt x="934" y="189"/>
                  <a:pt x="934" y="190"/>
                  <a:pt x="934" y="190"/>
                </a:cubicBezTo>
                <a:cubicBezTo>
                  <a:pt x="934" y="190"/>
                  <a:pt x="934" y="190"/>
                  <a:pt x="934" y="190"/>
                </a:cubicBezTo>
                <a:cubicBezTo>
                  <a:pt x="933" y="190"/>
                  <a:pt x="933" y="190"/>
                  <a:pt x="933" y="190"/>
                </a:cubicBezTo>
                <a:cubicBezTo>
                  <a:pt x="933" y="190"/>
                  <a:pt x="933" y="190"/>
                  <a:pt x="933" y="190"/>
                </a:cubicBezTo>
                <a:cubicBezTo>
                  <a:pt x="933" y="189"/>
                  <a:pt x="933" y="189"/>
                  <a:pt x="934" y="189"/>
                </a:cubicBezTo>
                <a:cubicBezTo>
                  <a:pt x="933" y="189"/>
                  <a:pt x="933" y="189"/>
                  <a:pt x="933" y="189"/>
                </a:cubicBezTo>
                <a:cubicBezTo>
                  <a:pt x="933" y="189"/>
                  <a:pt x="932" y="190"/>
                  <a:pt x="932" y="190"/>
                </a:cubicBezTo>
                <a:cubicBezTo>
                  <a:pt x="931" y="190"/>
                  <a:pt x="931" y="190"/>
                  <a:pt x="931" y="190"/>
                </a:cubicBezTo>
                <a:cubicBezTo>
                  <a:pt x="931" y="190"/>
                  <a:pt x="931" y="190"/>
                  <a:pt x="931" y="189"/>
                </a:cubicBezTo>
                <a:cubicBezTo>
                  <a:pt x="930" y="189"/>
                  <a:pt x="930" y="189"/>
                  <a:pt x="930" y="190"/>
                </a:cubicBezTo>
                <a:cubicBezTo>
                  <a:pt x="930" y="190"/>
                  <a:pt x="930" y="190"/>
                  <a:pt x="930" y="190"/>
                </a:cubicBezTo>
                <a:cubicBezTo>
                  <a:pt x="930" y="190"/>
                  <a:pt x="929" y="190"/>
                  <a:pt x="929" y="190"/>
                </a:cubicBezTo>
                <a:cubicBezTo>
                  <a:pt x="929" y="190"/>
                  <a:pt x="929" y="190"/>
                  <a:pt x="929" y="190"/>
                </a:cubicBezTo>
                <a:cubicBezTo>
                  <a:pt x="928" y="190"/>
                  <a:pt x="928" y="190"/>
                  <a:pt x="928" y="190"/>
                </a:cubicBezTo>
                <a:cubicBezTo>
                  <a:pt x="927" y="190"/>
                  <a:pt x="926" y="190"/>
                  <a:pt x="926" y="190"/>
                </a:cubicBezTo>
                <a:cubicBezTo>
                  <a:pt x="926" y="190"/>
                  <a:pt x="925" y="190"/>
                  <a:pt x="925" y="190"/>
                </a:cubicBezTo>
                <a:cubicBezTo>
                  <a:pt x="925" y="190"/>
                  <a:pt x="924" y="191"/>
                  <a:pt x="924" y="191"/>
                </a:cubicBezTo>
                <a:cubicBezTo>
                  <a:pt x="924" y="190"/>
                  <a:pt x="924" y="190"/>
                  <a:pt x="923" y="190"/>
                </a:cubicBezTo>
                <a:cubicBezTo>
                  <a:pt x="923" y="190"/>
                  <a:pt x="923" y="190"/>
                  <a:pt x="923" y="190"/>
                </a:cubicBezTo>
                <a:cubicBezTo>
                  <a:pt x="923" y="190"/>
                  <a:pt x="923" y="190"/>
                  <a:pt x="923" y="190"/>
                </a:cubicBezTo>
                <a:cubicBezTo>
                  <a:pt x="923" y="190"/>
                  <a:pt x="923" y="189"/>
                  <a:pt x="923" y="189"/>
                </a:cubicBezTo>
                <a:cubicBezTo>
                  <a:pt x="924" y="189"/>
                  <a:pt x="924" y="189"/>
                  <a:pt x="924" y="189"/>
                </a:cubicBezTo>
                <a:cubicBezTo>
                  <a:pt x="924" y="189"/>
                  <a:pt x="924" y="189"/>
                  <a:pt x="924" y="189"/>
                </a:cubicBezTo>
                <a:cubicBezTo>
                  <a:pt x="923" y="189"/>
                  <a:pt x="923" y="189"/>
                  <a:pt x="923" y="189"/>
                </a:cubicBezTo>
                <a:cubicBezTo>
                  <a:pt x="923" y="189"/>
                  <a:pt x="923" y="189"/>
                  <a:pt x="923" y="189"/>
                </a:cubicBezTo>
                <a:cubicBezTo>
                  <a:pt x="923" y="189"/>
                  <a:pt x="923" y="189"/>
                  <a:pt x="923" y="189"/>
                </a:cubicBezTo>
                <a:cubicBezTo>
                  <a:pt x="923" y="189"/>
                  <a:pt x="924" y="189"/>
                  <a:pt x="924" y="189"/>
                </a:cubicBezTo>
                <a:cubicBezTo>
                  <a:pt x="924" y="189"/>
                  <a:pt x="925" y="189"/>
                  <a:pt x="925" y="189"/>
                </a:cubicBezTo>
                <a:cubicBezTo>
                  <a:pt x="926" y="188"/>
                  <a:pt x="926" y="188"/>
                  <a:pt x="926" y="188"/>
                </a:cubicBezTo>
                <a:cubicBezTo>
                  <a:pt x="926" y="188"/>
                  <a:pt x="925" y="188"/>
                  <a:pt x="925" y="188"/>
                </a:cubicBezTo>
                <a:cubicBezTo>
                  <a:pt x="925" y="188"/>
                  <a:pt x="925" y="188"/>
                  <a:pt x="924" y="188"/>
                </a:cubicBezTo>
                <a:cubicBezTo>
                  <a:pt x="924" y="188"/>
                  <a:pt x="924" y="188"/>
                  <a:pt x="923" y="188"/>
                </a:cubicBezTo>
                <a:cubicBezTo>
                  <a:pt x="924" y="188"/>
                  <a:pt x="924" y="188"/>
                  <a:pt x="924" y="188"/>
                </a:cubicBezTo>
                <a:cubicBezTo>
                  <a:pt x="923" y="188"/>
                  <a:pt x="923" y="187"/>
                  <a:pt x="922" y="187"/>
                </a:cubicBezTo>
                <a:cubicBezTo>
                  <a:pt x="922" y="187"/>
                  <a:pt x="922" y="187"/>
                  <a:pt x="922" y="187"/>
                </a:cubicBezTo>
                <a:cubicBezTo>
                  <a:pt x="923" y="187"/>
                  <a:pt x="923" y="187"/>
                  <a:pt x="924" y="187"/>
                </a:cubicBezTo>
                <a:cubicBezTo>
                  <a:pt x="924" y="187"/>
                  <a:pt x="924" y="186"/>
                  <a:pt x="924" y="186"/>
                </a:cubicBezTo>
                <a:cubicBezTo>
                  <a:pt x="925" y="186"/>
                  <a:pt x="925" y="186"/>
                  <a:pt x="925" y="186"/>
                </a:cubicBezTo>
                <a:cubicBezTo>
                  <a:pt x="925" y="186"/>
                  <a:pt x="926" y="186"/>
                  <a:pt x="926" y="186"/>
                </a:cubicBezTo>
                <a:cubicBezTo>
                  <a:pt x="927" y="186"/>
                  <a:pt x="927" y="187"/>
                  <a:pt x="928" y="187"/>
                </a:cubicBezTo>
                <a:cubicBezTo>
                  <a:pt x="928" y="187"/>
                  <a:pt x="928" y="187"/>
                  <a:pt x="928" y="187"/>
                </a:cubicBezTo>
                <a:cubicBezTo>
                  <a:pt x="929" y="187"/>
                  <a:pt x="929" y="187"/>
                  <a:pt x="930" y="187"/>
                </a:cubicBezTo>
                <a:cubicBezTo>
                  <a:pt x="930" y="186"/>
                  <a:pt x="931" y="186"/>
                  <a:pt x="931" y="186"/>
                </a:cubicBezTo>
                <a:cubicBezTo>
                  <a:pt x="931" y="186"/>
                  <a:pt x="930" y="186"/>
                  <a:pt x="930" y="186"/>
                </a:cubicBezTo>
                <a:cubicBezTo>
                  <a:pt x="930" y="186"/>
                  <a:pt x="930" y="186"/>
                  <a:pt x="930" y="186"/>
                </a:cubicBezTo>
                <a:cubicBezTo>
                  <a:pt x="929" y="186"/>
                  <a:pt x="928" y="186"/>
                  <a:pt x="928" y="186"/>
                </a:cubicBezTo>
                <a:cubicBezTo>
                  <a:pt x="928" y="186"/>
                  <a:pt x="927" y="186"/>
                  <a:pt x="927" y="186"/>
                </a:cubicBezTo>
                <a:cubicBezTo>
                  <a:pt x="926" y="186"/>
                  <a:pt x="926" y="186"/>
                  <a:pt x="925" y="186"/>
                </a:cubicBezTo>
                <a:cubicBezTo>
                  <a:pt x="925" y="186"/>
                  <a:pt x="924" y="186"/>
                  <a:pt x="924" y="186"/>
                </a:cubicBezTo>
                <a:cubicBezTo>
                  <a:pt x="924" y="186"/>
                  <a:pt x="924" y="186"/>
                  <a:pt x="923" y="186"/>
                </a:cubicBezTo>
                <a:cubicBezTo>
                  <a:pt x="924" y="185"/>
                  <a:pt x="924" y="185"/>
                  <a:pt x="924" y="185"/>
                </a:cubicBezTo>
                <a:cubicBezTo>
                  <a:pt x="924" y="185"/>
                  <a:pt x="923" y="185"/>
                  <a:pt x="923" y="185"/>
                </a:cubicBezTo>
                <a:cubicBezTo>
                  <a:pt x="923" y="184"/>
                  <a:pt x="923" y="184"/>
                  <a:pt x="923" y="184"/>
                </a:cubicBezTo>
                <a:cubicBezTo>
                  <a:pt x="923" y="184"/>
                  <a:pt x="923" y="184"/>
                  <a:pt x="923" y="184"/>
                </a:cubicBezTo>
                <a:cubicBezTo>
                  <a:pt x="924" y="184"/>
                  <a:pt x="924" y="184"/>
                  <a:pt x="924" y="185"/>
                </a:cubicBezTo>
                <a:cubicBezTo>
                  <a:pt x="924" y="185"/>
                  <a:pt x="924" y="185"/>
                  <a:pt x="924" y="185"/>
                </a:cubicBezTo>
                <a:cubicBezTo>
                  <a:pt x="925" y="185"/>
                  <a:pt x="925" y="185"/>
                  <a:pt x="925" y="185"/>
                </a:cubicBezTo>
                <a:cubicBezTo>
                  <a:pt x="925" y="185"/>
                  <a:pt x="925" y="184"/>
                  <a:pt x="925" y="184"/>
                </a:cubicBezTo>
                <a:cubicBezTo>
                  <a:pt x="925" y="184"/>
                  <a:pt x="926" y="184"/>
                  <a:pt x="926" y="184"/>
                </a:cubicBezTo>
                <a:cubicBezTo>
                  <a:pt x="926" y="184"/>
                  <a:pt x="926" y="185"/>
                  <a:pt x="927" y="185"/>
                </a:cubicBezTo>
                <a:cubicBezTo>
                  <a:pt x="927" y="185"/>
                  <a:pt x="927" y="185"/>
                  <a:pt x="927" y="185"/>
                </a:cubicBezTo>
                <a:cubicBezTo>
                  <a:pt x="927" y="185"/>
                  <a:pt x="928" y="185"/>
                  <a:pt x="928" y="185"/>
                </a:cubicBezTo>
                <a:cubicBezTo>
                  <a:pt x="928" y="185"/>
                  <a:pt x="927" y="184"/>
                  <a:pt x="927" y="184"/>
                </a:cubicBezTo>
                <a:cubicBezTo>
                  <a:pt x="927" y="184"/>
                  <a:pt x="928" y="184"/>
                  <a:pt x="928" y="184"/>
                </a:cubicBezTo>
                <a:cubicBezTo>
                  <a:pt x="928" y="184"/>
                  <a:pt x="929" y="184"/>
                  <a:pt x="929" y="184"/>
                </a:cubicBezTo>
                <a:cubicBezTo>
                  <a:pt x="929" y="184"/>
                  <a:pt x="929" y="184"/>
                  <a:pt x="929" y="184"/>
                </a:cubicBezTo>
                <a:cubicBezTo>
                  <a:pt x="929" y="183"/>
                  <a:pt x="929" y="183"/>
                  <a:pt x="929" y="183"/>
                </a:cubicBezTo>
                <a:cubicBezTo>
                  <a:pt x="929" y="183"/>
                  <a:pt x="930" y="183"/>
                  <a:pt x="930" y="183"/>
                </a:cubicBezTo>
                <a:cubicBezTo>
                  <a:pt x="930" y="183"/>
                  <a:pt x="931" y="183"/>
                  <a:pt x="931" y="183"/>
                </a:cubicBezTo>
                <a:cubicBezTo>
                  <a:pt x="931" y="184"/>
                  <a:pt x="931" y="184"/>
                  <a:pt x="931" y="184"/>
                </a:cubicBezTo>
                <a:cubicBezTo>
                  <a:pt x="931" y="184"/>
                  <a:pt x="931" y="184"/>
                  <a:pt x="931" y="184"/>
                </a:cubicBezTo>
                <a:cubicBezTo>
                  <a:pt x="932" y="184"/>
                  <a:pt x="932" y="184"/>
                  <a:pt x="932" y="184"/>
                </a:cubicBezTo>
                <a:cubicBezTo>
                  <a:pt x="932" y="184"/>
                  <a:pt x="932" y="184"/>
                  <a:pt x="932" y="184"/>
                </a:cubicBezTo>
                <a:cubicBezTo>
                  <a:pt x="932" y="184"/>
                  <a:pt x="932" y="183"/>
                  <a:pt x="932" y="183"/>
                </a:cubicBezTo>
                <a:cubicBezTo>
                  <a:pt x="932" y="183"/>
                  <a:pt x="931" y="183"/>
                  <a:pt x="931" y="183"/>
                </a:cubicBezTo>
                <a:cubicBezTo>
                  <a:pt x="930" y="183"/>
                  <a:pt x="930" y="182"/>
                  <a:pt x="930" y="182"/>
                </a:cubicBezTo>
                <a:cubicBezTo>
                  <a:pt x="929" y="182"/>
                  <a:pt x="928" y="182"/>
                  <a:pt x="928" y="182"/>
                </a:cubicBezTo>
                <a:cubicBezTo>
                  <a:pt x="928" y="182"/>
                  <a:pt x="928" y="182"/>
                  <a:pt x="928" y="182"/>
                </a:cubicBezTo>
                <a:cubicBezTo>
                  <a:pt x="928" y="182"/>
                  <a:pt x="928" y="182"/>
                  <a:pt x="928" y="181"/>
                </a:cubicBezTo>
                <a:cubicBezTo>
                  <a:pt x="929" y="182"/>
                  <a:pt x="929" y="182"/>
                  <a:pt x="929" y="182"/>
                </a:cubicBezTo>
                <a:cubicBezTo>
                  <a:pt x="929" y="182"/>
                  <a:pt x="929" y="181"/>
                  <a:pt x="930" y="181"/>
                </a:cubicBezTo>
                <a:cubicBezTo>
                  <a:pt x="930" y="182"/>
                  <a:pt x="930" y="182"/>
                  <a:pt x="930" y="182"/>
                </a:cubicBezTo>
                <a:cubicBezTo>
                  <a:pt x="931" y="182"/>
                  <a:pt x="931" y="182"/>
                  <a:pt x="931" y="182"/>
                </a:cubicBezTo>
                <a:cubicBezTo>
                  <a:pt x="931" y="182"/>
                  <a:pt x="931" y="181"/>
                  <a:pt x="931" y="181"/>
                </a:cubicBezTo>
                <a:cubicBezTo>
                  <a:pt x="932" y="182"/>
                  <a:pt x="932" y="182"/>
                  <a:pt x="932" y="182"/>
                </a:cubicBezTo>
                <a:cubicBezTo>
                  <a:pt x="933" y="182"/>
                  <a:pt x="933" y="182"/>
                  <a:pt x="934" y="182"/>
                </a:cubicBezTo>
                <a:cubicBezTo>
                  <a:pt x="934" y="182"/>
                  <a:pt x="934" y="182"/>
                  <a:pt x="934" y="182"/>
                </a:cubicBezTo>
                <a:cubicBezTo>
                  <a:pt x="935" y="182"/>
                  <a:pt x="935" y="182"/>
                  <a:pt x="936" y="181"/>
                </a:cubicBezTo>
                <a:cubicBezTo>
                  <a:pt x="936" y="181"/>
                  <a:pt x="936" y="181"/>
                  <a:pt x="936" y="181"/>
                </a:cubicBezTo>
                <a:cubicBezTo>
                  <a:pt x="936" y="181"/>
                  <a:pt x="936" y="181"/>
                  <a:pt x="936" y="181"/>
                </a:cubicBezTo>
                <a:cubicBezTo>
                  <a:pt x="935" y="181"/>
                  <a:pt x="935" y="181"/>
                  <a:pt x="934" y="181"/>
                </a:cubicBezTo>
                <a:cubicBezTo>
                  <a:pt x="934" y="181"/>
                  <a:pt x="934" y="181"/>
                  <a:pt x="934" y="181"/>
                </a:cubicBezTo>
                <a:cubicBezTo>
                  <a:pt x="934" y="181"/>
                  <a:pt x="934" y="181"/>
                  <a:pt x="934" y="181"/>
                </a:cubicBezTo>
                <a:cubicBezTo>
                  <a:pt x="934" y="181"/>
                  <a:pt x="934" y="181"/>
                  <a:pt x="934" y="181"/>
                </a:cubicBezTo>
                <a:cubicBezTo>
                  <a:pt x="934" y="181"/>
                  <a:pt x="933" y="181"/>
                  <a:pt x="932" y="181"/>
                </a:cubicBezTo>
                <a:cubicBezTo>
                  <a:pt x="932" y="181"/>
                  <a:pt x="932" y="181"/>
                  <a:pt x="931" y="180"/>
                </a:cubicBezTo>
                <a:cubicBezTo>
                  <a:pt x="932" y="180"/>
                  <a:pt x="932" y="180"/>
                  <a:pt x="932" y="180"/>
                </a:cubicBezTo>
                <a:cubicBezTo>
                  <a:pt x="932" y="180"/>
                  <a:pt x="932" y="180"/>
                  <a:pt x="932" y="180"/>
                </a:cubicBezTo>
                <a:cubicBezTo>
                  <a:pt x="932" y="179"/>
                  <a:pt x="932" y="179"/>
                  <a:pt x="932" y="179"/>
                </a:cubicBezTo>
                <a:cubicBezTo>
                  <a:pt x="933" y="179"/>
                  <a:pt x="933" y="179"/>
                  <a:pt x="933" y="180"/>
                </a:cubicBezTo>
                <a:cubicBezTo>
                  <a:pt x="933" y="180"/>
                  <a:pt x="934" y="180"/>
                  <a:pt x="934" y="180"/>
                </a:cubicBezTo>
                <a:cubicBezTo>
                  <a:pt x="934" y="180"/>
                  <a:pt x="935" y="180"/>
                  <a:pt x="935" y="180"/>
                </a:cubicBezTo>
                <a:cubicBezTo>
                  <a:pt x="935" y="180"/>
                  <a:pt x="935" y="180"/>
                  <a:pt x="936" y="180"/>
                </a:cubicBezTo>
                <a:cubicBezTo>
                  <a:pt x="936" y="180"/>
                  <a:pt x="937" y="180"/>
                  <a:pt x="937" y="181"/>
                </a:cubicBezTo>
                <a:cubicBezTo>
                  <a:pt x="938" y="181"/>
                  <a:pt x="938" y="181"/>
                  <a:pt x="939" y="181"/>
                </a:cubicBezTo>
                <a:cubicBezTo>
                  <a:pt x="939" y="181"/>
                  <a:pt x="939" y="181"/>
                  <a:pt x="940" y="181"/>
                </a:cubicBezTo>
                <a:cubicBezTo>
                  <a:pt x="939" y="181"/>
                  <a:pt x="939" y="181"/>
                  <a:pt x="939" y="181"/>
                </a:cubicBezTo>
                <a:cubicBezTo>
                  <a:pt x="939" y="181"/>
                  <a:pt x="939" y="181"/>
                  <a:pt x="938" y="181"/>
                </a:cubicBezTo>
                <a:cubicBezTo>
                  <a:pt x="938" y="181"/>
                  <a:pt x="938" y="180"/>
                  <a:pt x="937" y="180"/>
                </a:cubicBezTo>
                <a:cubicBezTo>
                  <a:pt x="937" y="180"/>
                  <a:pt x="937" y="180"/>
                  <a:pt x="936" y="179"/>
                </a:cubicBezTo>
                <a:cubicBezTo>
                  <a:pt x="936" y="179"/>
                  <a:pt x="936" y="179"/>
                  <a:pt x="936" y="179"/>
                </a:cubicBezTo>
                <a:cubicBezTo>
                  <a:pt x="936" y="179"/>
                  <a:pt x="937" y="179"/>
                  <a:pt x="937" y="179"/>
                </a:cubicBezTo>
                <a:cubicBezTo>
                  <a:pt x="937" y="179"/>
                  <a:pt x="937" y="179"/>
                  <a:pt x="937" y="179"/>
                </a:cubicBezTo>
                <a:cubicBezTo>
                  <a:pt x="937" y="179"/>
                  <a:pt x="938" y="180"/>
                  <a:pt x="938" y="180"/>
                </a:cubicBezTo>
                <a:cubicBezTo>
                  <a:pt x="938" y="180"/>
                  <a:pt x="939" y="180"/>
                  <a:pt x="939" y="180"/>
                </a:cubicBezTo>
                <a:cubicBezTo>
                  <a:pt x="939" y="180"/>
                  <a:pt x="939" y="180"/>
                  <a:pt x="939" y="180"/>
                </a:cubicBezTo>
                <a:cubicBezTo>
                  <a:pt x="940" y="180"/>
                  <a:pt x="940" y="180"/>
                  <a:pt x="940" y="180"/>
                </a:cubicBezTo>
                <a:cubicBezTo>
                  <a:pt x="940" y="180"/>
                  <a:pt x="940" y="180"/>
                  <a:pt x="940" y="180"/>
                </a:cubicBezTo>
                <a:cubicBezTo>
                  <a:pt x="940" y="180"/>
                  <a:pt x="940" y="180"/>
                  <a:pt x="940" y="180"/>
                </a:cubicBezTo>
                <a:cubicBezTo>
                  <a:pt x="940" y="180"/>
                  <a:pt x="940" y="180"/>
                  <a:pt x="940" y="179"/>
                </a:cubicBezTo>
                <a:cubicBezTo>
                  <a:pt x="940" y="179"/>
                  <a:pt x="939" y="179"/>
                  <a:pt x="939" y="179"/>
                </a:cubicBezTo>
                <a:cubicBezTo>
                  <a:pt x="938" y="179"/>
                  <a:pt x="938" y="179"/>
                  <a:pt x="937" y="179"/>
                </a:cubicBezTo>
                <a:cubicBezTo>
                  <a:pt x="937" y="179"/>
                  <a:pt x="938" y="179"/>
                  <a:pt x="938" y="179"/>
                </a:cubicBezTo>
                <a:cubicBezTo>
                  <a:pt x="938" y="179"/>
                  <a:pt x="938" y="179"/>
                  <a:pt x="938" y="179"/>
                </a:cubicBezTo>
                <a:cubicBezTo>
                  <a:pt x="939" y="179"/>
                  <a:pt x="939" y="179"/>
                  <a:pt x="939" y="179"/>
                </a:cubicBezTo>
                <a:cubicBezTo>
                  <a:pt x="939" y="179"/>
                  <a:pt x="939" y="179"/>
                  <a:pt x="939" y="178"/>
                </a:cubicBezTo>
                <a:cubicBezTo>
                  <a:pt x="940" y="178"/>
                  <a:pt x="940" y="178"/>
                  <a:pt x="941" y="178"/>
                </a:cubicBezTo>
                <a:cubicBezTo>
                  <a:pt x="940" y="178"/>
                  <a:pt x="940" y="178"/>
                  <a:pt x="940" y="178"/>
                </a:cubicBezTo>
                <a:cubicBezTo>
                  <a:pt x="940" y="178"/>
                  <a:pt x="940" y="178"/>
                  <a:pt x="940" y="178"/>
                </a:cubicBezTo>
                <a:cubicBezTo>
                  <a:pt x="939" y="178"/>
                  <a:pt x="939" y="178"/>
                  <a:pt x="939" y="178"/>
                </a:cubicBezTo>
                <a:cubicBezTo>
                  <a:pt x="939" y="178"/>
                  <a:pt x="940" y="177"/>
                  <a:pt x="940" y="177"/>
                </a:cubicBezTo>
                <a:cubicBezTo>
                  <a:pt x="940" y="177"/>
                  <a:pt x="941" y="177"/>
                  <a:pt x="941" y="177"/>
                </a:cubicBezTo>
                <a:cubicBezTo>
                  <a:pt x="941" y="177"/>
                  <a:pt x="942" y="177"/>
                  <a:pt x="942" y="177"/>
                </a:cubicBezTo>
                <a:cubicBezTo>
                  <a:pt x="942" y="177"/>
                  <a:pt x="943" y="177"/>
                  <a:pt x="943" y="177"/>
                </a:cubicBezTo>
                <a:cubicBezTo>
                  <a:pt x="943" y="177"/>
                  <a:pt x="942" y="177"/>
                  <a:pt x="942" y="177"/>
                </a:cubicBezTo>
                <a:cubicBezTo>
                  <a:pt x="942" y="176"/>
                  <a:pt x="942" y="176"/>
                  <a:pt x="942" y="176"/>
                </a:cubicBezTo>
                <a:cubicBezTo>
                  <a:pt x="942" y="176"/>
                  <a:pt x="943" y="176"/>
                  <a:pt x="943" y="176"/>
                </a:cubicBezTo>
                <a:cubicBezTo>
                  <a:pt x="943" y="176"/>
                  <a:pt x="943" y="176"/>
                  <a:pt x="943" y="176"/>
                </a:cubicBezTo>
                <a:cubicBezTo>
                  <a:pt x="944" y="176"/>
                  <a:pt x="944" y="176"/>
                  <a:pt x="944" y="176"/>
                </a:cubicBezTo>
                <a:cubicBezTo>
                  <a:pt x="945" y="176"/>
                  <a:pt x="945" y="176"/>
                  <a:pt x="945" y="176"/>
                </a:cubicBezTo>
                <a:cubicBezTo>
                  <a:pt x="945" y="177"/>
                  <a:pt x="945" y="177"/>
                  <a:pt x="945" y="177"/>
                </a:cubicBezTo>
                <a:cubicBezTo>
                  <a:pt x="945" y="177"/>
                  <a:pt x="945" y="177"/>
                  <a:pt x="946" y="178"/>
                </a:cubicBezTo>
                <a:cubicBezTo>
                  <a:pt x="946" y="178"/>
                  <a:pt x="945" y="178"/>
                  <a:pt x="945" y="178"/>
                </a:cubicBezTo>
                <a:cubicBezTo>
                  <a:pt x="945" y="178"/>
                  <a:pt x="945" y="178"/>
                  <a:pt x="945" y="178"/>
                </a:cubicBezTo>
                <a:cubicBezTo>
                  <a:pt x="945" y="178"/>
                  <a:pt x="945" y="178"/>
                  <a:pt x="945" y="178"/>
                </a:cubicBezTo>
                <a:cubicBezTo>
                  <a:pt x="946" y="178"/>
                  <a:pt x="946" y="178"/>
                  <a:pt x="946" y="178"/>
                </a:cubicBezTo>
                <a:cubicBezTo>
                  <a:pt x="946" y="178"/>
                  <a:pt x="946" y="177"/>
                  <a:pt x="946" y="177"/>
                </a:cubicBezTo>
                <a:cubicBezTo>
                  <a:pt x="947" y="177"/>
                  <a:pt x="947" y="177"/>
                  <a:pt x="947" y="177"/>
                </a:cubicBezTo>
                <a:cubicBezTo>
                  <a:pt x="947" y="177"/>
                  <a:pt x="948" y="177"/>
                  <a:pt x="948" y="177"/>
                </a:cubicBezTo>
                <a:cubicBezTo>
                  <a:pt x="949" y="177"/>
                  <a:pt x="949" y="177"/>
                  <a:pt x="949" y="177"/>
                </a:cubicBezTo>
                <a:cubicBezTo>
                  <a:pt x="949" y="177"/>
                  <a:pt x="950" y="177"/>
                  <a:pt x="950" y="177"/>
                </a:cubicBezTo>
                <a:cubicBezTo>
                  <a:pt x="950" y="177"/>
                  <a:pt x="950" y="177"/>
                  <a:pt x="950" y="177"/>
                </a:cubicBezTo>
                <a:cubicBezTo>
                  <a:pt x="950" y="176"/>
                  <a:pt x="950" y="176"/>
                  <a:pt x="951" y="176"/>
                </a:cubicBezTo>
                <a:cubicBezTo>
                  <a:pt x="950" y="176"/>
                  <a:pt x="950" y="176"/>
                  <a:pt x="950" y="176"/>
                </a:cubicBezTo>
                <a:cubicBezTo>
                  <a:pt x="950" y="175"/>
                  <a:pt x="951" y="175"/>
                  <a:pt x="951" y="175"/>
                </a:cubicBezTo>
                <a:cubicBezTo>
                  <a:pt x="951" y="175"/>
                  <a:pt x="952" y="175"/>
                  <a:pt x="952" y="175"/>
                </a:cubicBezTo>
                <a:cubicBezTo>
                  <a:pt x="952" y="175"/>
                  <a:pt x="952" y="174"/>
                  <a:pt x="953" y="174"/>
                </a:cubicBezTo>
                <a:cubicBezTo>
                  <a:pt x="952" y="174"/>
                  <a:pt x="952" y="174"/>
                  <a:pt x="951" y="174"/>
                </a:cubicBezTo>
                <a:cubicBezTo>
                  <a:pt x="951" y="174"/>
                  <a:pt x="951" y="174"/>
                  <a:pt x="951" y="173"/>
                </a:cubicBezTo>
                <a:cubicBezTo>
                  <a:pt x="952" y="173"/>
                  <a:pt x="952" y="173"/>
                  <a:pt x="953" y="173"/>
                </a:cubicBezTo>
                <a:cubicBezTo>
                  <a:pt x="952" y="173"/>
                  <a:pt x="952" y="173"/>
                  <a:pt x="952" y="173"/>
                </a:cubicBezTo>
                <a:cubicBezTo>
                  <a:pt x="952" y="173"/>
                  <a:pt x="951" y="173"/>
                  <a:pt x="951" y="173"/>
                </a:cubicBezTo>
                <a:cubicBezTo>
                  <a:pt x="951" y="173"/>
                  <a:pt x="951" y="173"/>
                  <a:pt x="951" y="173"/>
                </a:cubicBezTo>
                <a:cubicBezTo>
                  <a:pt x="950" y="173"/>
                  <a:pt x="950" y="173"/>
                  <a:pt x="950" y="173"/>
                </a:cubicBezTo>
                <a:cubicBezTo>
                  <a:pt x="950" y="173"/>
                  <a:pt x="950" y="174"/>
                  <a:pt x="950" y="174"/>
                </a:cubicBezTo>
                <a:cubicBezTo>
                  <a:pt x="950" y="174"/>
                  <a:pt x="949" y="174"/>
                  <a:pt x="949" y="174"/>
                </a:cubicBezTo>
                <a:cubicBezTo>
                  <a:pt x="949" y="174"/>
                  <a:pt x="950" y="174"/>
                  <a:pt x="950" y="174"/>
                </a:cubicBezTo>
                <a:cubicBezTo>
                  <a:pt x="950" y="174"/>
                  <a:pt x="950" y="175"/>
                  <a:pt x="950" y="175"/>
                </a:cubicBezTo>
                <a:cubicBezTo>
                  <a:pt x="949" y="175"/>
                  <a:pt x="949" y="176"/>
                  <a:pt x="948" y="176"/>
                </a:cubicBezTo>
                <a:cubicBezTo>
                  <a:pt x="948" y="176"/>
                  <a:pt x="947" y="176"/>
                  <a:pt x="947" y="176"/>
                </a:cubicBezTo>
                <a:cubicBezTo>
                  <a:pt x="947" y="176"/>
                  <a:pt x="946" y="176"/>
                  <a:pt x="946" y="176"/>
                </a:cubicBezTo>
                <a:cubicBezTo>
                  <a:pt x="946" y="176"/>
                  <a:pt x="945" y="176"/>
                  <a:pt x="945" y="176"/>
                </a:cubicBezTo>
                <a:cubicBezTo>
                  <a:pt x="945" y="176"/>
                  <a:pt x="945" y="175"/>
                  <a:pt x="945" y="175"/>
                </a:cubicBezTo>
                <a:cubicBezTo>
                  <a:pt x="945" y="175"/>
                  <a:pt x="946" y="175"/>
                  <a:pt x="946" y="175"/>
                </a:cubicBezTo>
                <a:cubicBezTo>
                  <a:pt x="946" y="175"/>
                  <a:pt x="946" y="175"/>
                  <a:pt x="946" y="175"/>
                </a:cubicBezTo>
                <a:cubicBezTo>
                  <a:pt x="946" y="175"/>
                  <a:pt x="946" y="175"/>
                  <a:pt x="945" y="175"/>
                </a:cubicBezTo>
                <a:cubicBezTo>
                  <a:pt x="945" y="175"/>
                  <a:pt x="945" y="175"/>
                  <a:pt x="944" y="175"/>
                </a:cubicBezTo>
                <a:cubicBezTo>
                  <a:pt x="944" y="175"/>
                  <a:pt x="944" y="175"/>
                  <a:pt x="944" y="175"/>
                </a:cubicBezTo>
                <a:cubicBezTo>
                  <a:pt x="944" y="175"/>
                  <a:pt x="945" y="174"/>
                  <a:pt x="945" y="174"/>
                </a:cubicBezTo>
                <a:cubicBezTo>
                  <a:pt x="945" y="174"/>
                  <a:pt x="946" y="174"/>
                  <a:pt x="946" y="174"/>
                </a:cubicBezTo>
                <a:cubicBezTo>
                  <a:pt x="946" y="173"/>
                  <a:pt x="946" y="173"/>
                  <a:pt x="946" y="173"/>
                </a:cubicBezTo>
                <a:cubicBezTo>
                  <a:pt x="946" y="173"/>
                  <a:pt x="946" y="173"/>
                  <a:pt x="946" y="173"/>
                </a:cubicBezTo>
                <a:cubicBezTo>
                  <a:pt x="946" y="173"/>
                  <a:pt x="946" y="172"/>
                  <a:pt x="947" y="172"/>
                </a:cubicBezTo>
                <a:cubicBezTo>
                  <a:pt x="947" y="172"/>
                  <a:pt x="947" y="172"/>
                  <a:pt x="947" y="172"/>
                </a:cubicBezTo>
                <a:cubicBezTo>
                  <a:pt x="947" y="171"/>
                  <a:pt x="947" y="171"/>
                  <a:pt x="947" y="171"/>
                </a:cubicBezTo>
                <a:cubicBezTo>
                  <a:pt x="948" y="171"/>
                  <a:pt x="948" y="171"/>
                  <a:pt x="949" y="171"/>
                </a:cubicBezTo>
                <a:cubicBezTo>
                  <a:pt x="948" y="171"/>
                  <a:pt x="948" y="171"/>
                  <a:pt x="948" y="171"/>
                </a:cubicBezTo>
                <a:cubicBezTo>
                  <a:pt x="948" y="171"/>
                  <a:pt x="948" y="171"/>
                  <a:pt x="948" y="171"/>
                </a:cubicBezTo>
                <a:cubicBezTo>
                  <a:pt x="949" y="170"/>
                  <a:pt x="949" y="170"/>
                  <a:pt x="949" y="170"/>
                </a:cubicBezTo>
                <a:cubicBezTo>
                  <a:pt x="949" y="170"/>
                  <a:pt x="949" y="170"/>
                  <a:pt x="949" y="170"/>
                </a:cubicBezTo>
                <a:cubicBezTo>
                  <a:pt x="949" y="170"/>
                  <a:pt x="949" y="170"/>
                  <a:pt x="949" y="170"/>
                </a:cubicBezTo>
                <a:cubicBezTo>
                  <a:pt x="950" y="170"/>
                  <a:pt x="950" y="170"/>
                  <a:pt x="950" y="170"/>
                </a:cubicBezTo>
                <a:cubicBezTo>
                  <a:pt x="950" y="170"/>
                  <a:pt x="950" y="170"/>
                  <a:pt x="950" y="170"/>
                </a:cubicBezTo>
                <a:cubicBezTo>
                  <a:pt x="950" y="170"/>
                  <a:pt x="950" y="170"/>
                  <a:pt x="950" y="170"/>
                </a:cubicBezTo>
                <a:cubicBezTo>
                  <a:pt x="951" y="170"/>
                  <a:pt x="951" y="170"/>
                  <a:pt x="951" y="170"/>
                </a:cubicBezTo>
                <a:cubicBezTo>
                  <a:pt x="952" y="170"/>
                  <a:pt x="952" y="170"/>
                  <a:pt x="952" y="170"/>
                </a:cubicBezTo>
                <a:cubicBezTo>
                  <a:pt x="952" y="170"/>
                  <a:pt x="952" y="169"/>
                  <a:pt x="953" y="169"/>
                </a:cubicBezTo>
                <a:cubicBezTo>
                  <a:pt x="952" y="169"/>
                  <a:pt x="952" y="169"/>
                  <a:pt x="952" y="169"/>
                </a:cubicBezTo>
                <a:cubicBezTo>
                  <a:pt x="952" y="169"/>
                  <a:pt x="951" y="169"/>
                  <a:pt x="951" y="169"/>
                </a:cubicBezTo>
                <a:cubicBezTo>
                  <a:pt x="952" y="169"/>
                  <a:pt x="952" y="168"/>
                  <a:pt x="952" y="168"/>
                </a:cubicBezTo>
                <a:cubicBezTo>
                  <a:pt x="953" y="168"/>
                  <a:pt x="953" y="168"/>
                  <a:pt x="954" y="168"/>
                </a:cubicBezTo>
                <a:cubicBezTo>
                  <a:pt x="954" y="168"/>
                  <a:pt x="954" y="168"/>
                  <a:pt x="954" y="168"/>
                </a:cubicBezTo>
                <a:cubicBezTo>
                  <a:pt x="954" y="168"/>
                  <a:pt x="953" y="168"/>
                  <a:pt x="953" y="168"/>
                </a:cubicBezTo>
                <a:cubicBezTo>
                  <a:pt x="953" y="168"/>
                  <a:pt x="954" y="167"/>
                  <a:pt x="954" y="167"/>
                </a:cubicBezTo>
                <a:cubicBezTo>
                  <a:pt x="954" y="167"/>
                  <a:pt x="954" y="167"/>
                  <a:pt x="955" y="167"/>
                </a:cubicBezTo>
                <a:cubicBezTo>
                  <a:pt x="955" y="167"/>
                  <a:pt x="955" y="167"/>
                  <a:pt x="955" y="167"/>
                </a:cubicBezTo>
                <a:cubicBezTo>
                  <a:pt x="955" y="167"/>
                  <a:pt x="955" y="167"/>
                  <a:pt x="955" y="166"/>
                </a:cubicBezTo>
                <a:cubicBezTo>
                  <a:pt x="956" y="166"/>
                  <a:pt x="956" y="166"/>
                  <a:pt x="956" y="166"/>
                </a:cubicBezTo>
                <a:cubicBezTo>
                  <a:pt x="957" y="166"/>
                  <a:pt x="957" y="166"/>
                  <a:pt x="957" y="166"/>
                </a:cubicBezTo>
                <a:cubicBezTo>
                  <a:pt x="957" y="166"/>
                  <a:pt x="958" y="166"/>
                  <a:pt x="958" y="166"/>
                </a:cubicBezTo>
                <a:cubicBezTo>
                  <a:pt x="958" y="165"/>
                  <a:pt x="958" y="165"/>
                  <a:pt x="958" y="165"/>
                </a:cubicBezTo>
                <a:cubicBezTo>
                  <a:pt x="958" y="165"/>
                  <a:pt x="958" y="165"/>
                  <a:pt x="958" y="165"/>
                </a:cubicBezTo>
                <a:cubicBezTo>
                  <a:pt x="958" y="165"/>
                  <a:pt x="958" y="165"/>
                  <a:pt x="957" y="165"/>
                </a:cubicBezTo>
                <a:cubicBezTo>
                  <a:pt x="957" y="165"/>
                  <a:pt x="957" y="165"/>
                  <a:pt x="957" y="165"/>
                </a:cubicBezTo>
                <a:cubicBezTo>
                  <a:pt x="957" y="165"/>
                  <a:pt x="956" y="165"/>
                  <a:pt x="956" y="165"/>
                </a:cubicBezTo>
                <a:cubicBezTo>
                  <a:pt x="956" y="165"/>
                  <a:pt x="956" y="164"/>
                  <a:pt x="956" y="164"/>
                </a:cubicBezTo>
                <a:cubicBezTo>
                  <a:pt x="956" y="164"/>
                  <a:pt x="956" y="164"/>
                  <a:pt x="956" y="164"/>
                </a:cubicBezTo>
                <a:cubicBezTo>
                  <a:pt x="956" y="164"/>
                  <a:pt x="956" y="164"/>
                  <a:pt x="956" y="164"/>
                </a:cubicBezTo>
                <a:cubicBezTo>
                  <a:pt x="956" y="163"/>
                  <a:pt x="956" y="163"/>
                  <a:pt x="957" y="163"/>
                </a:cubicBezTo>
                <a:cubicBezTo>
                  <a:pt x="957" y="164"/>
                  <a:pt x="957" y="164"/>
                  <a:pt x="958" y="164"/>
                </a:cubicBezTo>
                <a:cubicBezTo>
                  <a:pt x="958" y="164"/>
                  <a:pt x="958" y="164"/>
                  <a:pt x="958" y="164"/>
                </a:cubicBezTo>
                <a:cubicBezTo>
                  <a:pt x="958" y="163"/>
                  <a:pt x="958" y="163"/>
                  <a:pt x="958" y="163"/>
                </a:cubicBezTo>
                <a:cubicBezTo>
                  <a:pt x="957" y="163"/>
                  <a:pt x="957" y="163"/>
                  <a:pt x="957" y="163"/>
                </a:cubicBezTo>
                <a:cubicBezTo>
                  <a:pt x="957" y="163"/>
                  <a:pt x="957" y="163"/>
                  <a:pt x="957" y="162"/>
                </a:cubicBezTo>
                <a:cubicBezTo>
                  <a:pt x="957" y="162"/>
                  <a:pt x="957" y="162"/>
                  <a:pt x="957" y="162"/>
                </a:cubicBezTo>
                <a:cubicBezTo>
                  <a:pt x="957" y="162"/>
                  <a:pt x="958" y="162"/>
                  <a:pt x="958" y="163"/>
                </a:cubicBezTo>
                <a:cubicBezTo>
                  <a:pt x="958" y="163"/>
                  <a:pt x="958" y="163"/>
                  <a:pt x="958" y="163"/>
                </a:cubicBezTo>
                <a:cubicBezTo>
                  <a:pt x="958" y="162"/>
                  <a:pt x="958" y="162"/>
                  <a:pt x="958" y="162"/>
                </a:cubicBezTo>
                <a:cubicBezTo>
                  <a:pt x="958" y="162"/>
                  <a:pt x="958" y="162"/>
                  <a:pt x="958" y="162"/>
                </a:cubicBezTo>
                <a:cubicBezTo>
                  <a:pt x="958" y="162"/>
                  <a:pt x="958" y="162"/>
                  <a:pt x="958" y="162"/>
                </a:cubicBezTo>
                <a:cubicBezTo>
                  <a:pt x="958" y="161"/>
                  <a:pt x="958" y="161"/>
                  <a:pt x="958" y="161"/>
                </a:cubicBezTo>
                <a:cubicBezTo>
                  <a:pt x="958" y="161"/>
                  <a:pt x="958" y="161"/>
                  <a:pt x="958" y="161"/>
                </a:cubicBezTo>
                <a:cubicBezTo>
                  <a:pt x="959" y="161"/>
                  <a:pt x="959" y="161"/>
                  <a:pt x="959" y="161"/>
                </a:cubicBezTo>
                <a:cubicBezTo>
                  <a:pt x="959" y="161"/>
                  <a:pt x="959" y="161"/>
                  <a:pt x="960" y="161"/>
                </a:cubicBezTo>
                <a:cubicBezTo>
                  <a:pt x="960" y="161"/>
                  <a:pt x="960" y="161"/>
                  <a:pt x="960" y="161"/>
                </a:cubicBezTo>
                <a:cubicBezTo>
                  <a:pt x="959" y="161"/>
                  <a:pt x="959" y="160"/>
                  <a:pt x="959" y="160"/>
                </a:cubicBezTo>
                <a:cubicBezTo>
                  <a:pt x="959" y="160"/>
                  <a:pt x="959" y="160"/>
                  <a:pt x="959" y="160"/>
                </a:cubicBezTo>
                <a:cubicBezTo>
                  <a:pt x="959" y="160"/>
                  <a:pt x="958" y="160"/>
                  <a:pt x="958" y="160"/>
                </a:cubicBezTo>
                <a:cubicBezTo>
                  <a:pt x="958" y="160"/>
                  <a:pt x="958" y="160"/>
                  <a:pt x="957" y="160"/>
                </a:cubicBezTo>
                <a:cubicBezTo>
                  <a:pt x="958" y="159"/>
                  <a:pt x="958" y="159"/>
                  <a:pt x="959" y="159"/>
                </a:cubicBezTo>
                <a:cubicBezTo>
                  <a:pt x="959" y="159"/>
                  <a:pt x="960" y="159"/>
                  <a:pt x="960" y="159"/>
                </a:cubicBezTo>
                <a:cubicBezTo>
                  <a:pt x="960" y="159"/>
                  <a:pt x="960" y="159"/>
                  <a:pt x="961" y="159"/>
                </a:cubicBezTo>
                <a:cubicBezTo>
                  <a:pt x="961" y="159"/>
                  <a:pt x="961" y="159"/>
                  <a:pt x="962" y="159"/>
                </a:cubicBezTo>
                <a:cubicBezTo>
                  <a:pt x="962" y="159"/>
                  <a:pt x="962" y="159"/>
                  <a:pt x="962" y="159"/>
                </a:cubicBezTo>
                <a:cubicBezTo>
                  <a:pt x="962" y="159"/>
                  <a:pt x="962" y="159"/>
                  <a:pt x="962" y="158"/>
                </a:cubicBezTo>
                <a:cubicBezTo>
                  <a:pt x="962" y="159"/>
                  <a:pt x="962" y="159"/>
                  <a:pt x="961" y="159"/>
                </a:cubicBezTo>
                <a:cubicBezTo>
                  <a:pt x="961" y="159"/>
                  <a:pt x="961" y="159"/>
                  <a:pt x="961" y="159"/>
                </a:cubicBezTo>
                <a:cubicBezTo>
                  <a:pt x="961" y="158"/>
                  <a:pt x="961" y="158"/>
                  <a:pt x="961" y="158"/>
                </a:cubicBezTo>
                <a:cubicBezTo>
                  <a:pt x="960" y="158"/>
                  <a:pt x="960" y="158"/>
                  <a:pt x="959" y="158"/>
                </a:cubicBezTo>
                <a:cubicBezTo>
                  <a:pt x="959" y="158"/>
                  <a:pt x="959" y="158"/>
                  <a:pt x="958" y="158"/>
                </a:cubicBezTo>
                <a:cubicBezTo>
                  <a:pt x="959" y="157"/>
                  <a:pt x="959" y="157"/>
                  <a:pt x="959" y="157"/>
                </a:cubicBezTo>
                <a:cubicBezTo>
                  <a:pt x="959" y="157"/>
                  <a:pt x="959" y="157"/>
                  <a:pt x="959" y="157"/>
                </a:cubicBezTo>
                <a:cubicBezTo>
                  <a:pt x="959" y="157"/>
                  <a:pt x="959" y="157"/>
                  <a:pt x="959" y="157"/>
                </a:cubicBezTo>
                <a:cubicBezTo>
                  <a:pt x="959" y="157"/>
                  <a:pt x="960" y="157"/>
                  <a:pt x="960" y="157"/>
                </a:cubicBezTo>
                <a:cubicBezTo>
                  <a:pt x="960" y="157"/>
                  <a:pt x="960" y="157"/>
                  <a:pt x="960" y="157"/>
                </a:cubicBezTo>
                <a:cubicBezTo>
                  <a:pt x="960" y="157"/>
                  <a:pt x="960" y="157"/>
                  <a:pt x="960" y="157"/>
                </a:cubicBezTo>
                <a:cubicBezTo>
                  <a:pt x="960" y="157"/>
                  <a:pt x="960" y="156"/>
                  <a:pt x="960" y="156"/>
                </a:cubicBezTo>
                <a:cubicBezTo>
                  <a:pt x="960" y="156"/>
                  <a:pt x="960" y="156"/>
                  <a:pt x="960" y="156"/>
                </a:cubicBezTo>
                <a:cubicBezTo>
                  <a:pt x="960" y="156"/>
                  <a:pt x="960" y="156"/>
                  <a:pt x="959" y="156"/>
                </a:cubicBezTo>
                <a:cubicBezTo>
                  <a:pt x="960" y="156"/>
                  <a:pt x="960" y="156"/>
                  <a:pt x="960" y="155"/>
                </a:cubicBezTo>
                <a:cubicBezTo>
                  <a:pt x="960" y="156"/>
                  <a:pt x="960" y="156"/>
                  <a:pt x="960" y="156"/>
                </a:cubicBezTo>
                <a:cubicBezTo>
                  <a:pt x="960" y="156"/>
                  <a:pt x="961" y="156"/>
                  <a:pt x="961" y="156"/>
                </a:cubicBezTo>
                <a:cubicBezTo>
                  <a:pt x="961" y="156"/>
                  <a:pt x="961" y="156"/>
                  <a:pt x="961" y="155"/>
                </a:cubicBezTo>
                <a:cubicBezTo>
                  <a:pt x="961" y="155"/>
                  <a:pt x="961" y="155"/>
                  <a:pt x="961" y="155"/>
                </a:cubicBezTo>
                <a:cubicBezTo>
                  <a:pt x="961" y="155"/>
                  <a:pt x="961" y="155"/>
                  <a:pt x="961" y="155"/>
                </a:cubicBezTo>
                <a:cubicBezTo>
                  <a:pt x="961" y="155"/>
                  <a:pt x="961" y="155"/>
                  <a:pt x="961" y="155"/>
                </a:cubicBezTo>
                <a:cubicBezTo>
                  <a:pt x="962" y="155"/>
                  <a:pt x="962" y="155"/>
                  <a:pt x="962" y="155"/>
                </a:cubicBezTo>
                <a:cubicBezTo>
                  <a:pt x="962" y="155"/>
                  <a:pt x="962" y="155"/>
                  <a:pt x="961" y="154"/>
                </a:cubicBezTo>
                <a:cubicBezTo>
                  <a:pt x="961" y="154"/>
                  <a:pt x="961" y="154"/>
                  <a:pt x="961" y="154"/>
                </a:cubicBezTo>
                <a:cubicBezTo>
                  <a:pt x="961" y="154"/>
                  <a:pt x="961" y="154"/>
                  <a:pt x="961" y="154"/>
                </a:cubicBezTo>
                <a:cubicBezTo>
                  <a:pt x="961" y="154"/>
                  <a:pt x="961" y="154"/>
                  <a:pt x="961" y="154"/>
                </a:cubicBezTo>
                <a:cubicBezTo>
                  <a:pt x="962" y="154"/>
                  <a:pt x="962" y="153"/>
                  <a:pt x="963" y="153"/>
                </a:cubicBezTo>
                <a:cubicBezTo>
                  <a:pt x="963" y="153"/>
                  <a:pt x="963" y="153"/>
                  <a:pt x="963" y="153"/>
                </a:cubicBezTo>
                <a:cubicBezTo>
                  <a:pt x="964" y="153"/>
                  <a:pt x="964" y="153"/>
                  <a:pt x="964" y="153"/>
                </a:cubicBezTo>
                <a:cubicBezTo>
                  <a:pt x="964" y="153"/>
                  <a:pt x="964" y="153"/>
                  <a:pt x="964" y="153"/>
                </a:cubicBezTo>
                <a:cubicBezTo>
                  <a:pt x="965" y="153"/>
                  <a:pt x="965" y="153"/>
                  <a:pt x="966" y="152"/>
                </a:cubicBezTo>
                <a:cubicBezTo>
                  <a:pt x="966" y="152"/>
                  <a:pt x="966" y="152"/>
                  <a:pt x="966" y="152"/>
                </a:cubicBezTo>
                <a:cubicBezTo>
                  <a:pt x="967" y="152"/>
                  <a:pt x="967" y="152"/>
                  <a:pt x="968" y="152"/>
                </a:cubicBezTo>
                <a:cubicBezTo>
                  <a:pt x="968" y="152"/>
                  <a:pt x="969" y="153"/>
                  <a:pt x="969" y="153"/>
                </a:cubicBezTo>
                <a:cubicBezTo>
                  <a:pt x="969" y="153"/>
                  <a:pt x="969" y="153"/>
                  <a:pt x="969" y="152"/>
                </a:cubicBezTo>
                <a:cubicBezTo>
                  <a:pt x="969" y="152"/>
                  <a:pt x="969" y="152"/>
                  <a:pt x="968" y="152"/>
                </a:cubicBezTo>
                <a:cubicBezTo>
                  <a:pt x="968" y="152"/>
                  <a:pt x="968" y="152"/>
                  <a:pt x="968" y="152"/>
                </a:cubicBezTo>
                <a:cubicBezTo>
                  <a:pt x="968" y="152"/>
                  <a:pt x="967" y="152"/>
                  <a:pt x="967" y="152"/>
                </a:cubicBezTo>
                <a:cubicBezTo>
                  <a:pt x="967" y="152"/>
                  <a:pt x="967" y="152"/>
                  <a:pt x="967" y="151"/>
                </a:cubicBezTo>
                <a:cubicBezTo>
                  <a:pt x="966" y="152"/>
                  <a:pt x="966" y="152"/>
                  <a:pt x="966" y="152"/>
                </a:cubicBezTo>
                <a:cubicBezTo>
                  <a:pt x="965" y="152"/>
                  <a:pt x="965" y="152"/>
                  <a:pt x="964" y="151"/>
                </a:cubicBezTo>
                <a:cubicBezTo>
                  <a:pt x="964" y="151"/>
                  <a:pt x="965" y="151"/>
                  <a:pt x="965" y="151"/>
                </a:cubicBezTo>
                <a:cubicBezTo>
                  <a:pt x="965" y="151"/>
                  <a:pt x="965" y="151"/>
                  <a:pt x="966" y="151"/>
                </a:cubicBezTo>
                <a:cubicBezTo>
                  <a:pt x="966" y="151"/>
                  <a:pt x="966" y="151"/>
                  <a:pt x="967" y="151"/>
                </a:cubicBezTo>
                <a:cubicBezTo>
                  <a:pt x="966" y="150"/>
                  <a:pt x="966" y="150"/>
                  <a:pt x="966" y="150"/>
                </a:cubicBezTo>
                <a:cubicBezTo>
                  <a:pt x="966" y="150"/>
                  <a:pt x="966" y="150"/>
                  <a:pt x="966" y="150"/>
                </a:cubicBezTo>
                <a:cubicBezTo>
                  <a:pt x="967" y="150"/>
                  <a:pt x="967" y="150"/>
                  <a:pt x="967" y="150"/>
                </a:cubicBezTo>
                <a:cubicBezTo>
                  <a:pt x="967" y="150"/>
                  <a:pt x="968" y="150"/>
                  <a:pt x="968" y="150"/>
                </a:cubicBezTo>
                <a:cubicBezTo>
                  <a:pt x="968" y="150"/>
                  <a:pt x="968" y="150"/>
                  <a:pt x="969" y="150"/>
                </a:cubicBezTo>
                <a:cubicBezTo>
                  <a:pt x="969" y="150"/>
                  <a:pt x="969" y="151"/>
                  <a:pt x="969" y="151"/>
                </a:cubicBezTo>
                <a:cubicBezTo>
                  <a:pt x="969" y="151"/>
                  <a:pt x="969" y="150"/>
                  <a:pt x="969" y="150"/>
                </a:cubicBezTo>
                <a:cubicBezTo>
                  <a:pt x="969" y="150"/>
                  <a:pt x="969" y="150"/>
                  <a:pt x="968" y="150"/>
                </a:cubicBezTo>
                <a:cubicBezTo>
                  <a:pt x="968" y="149"/>
                  <a:pt x="968" y="149"/>
                  <a:pt x="968" y="149"/>
                </a:cubicBezTo>
                <a:cubicBezTo>
                  <a:pt x="968" y="149"/>
                  <a:pt x="968" y="149"/>
                  <a:pt x="968" y="148"/>
                </a:cubicBezTo>
                <a:cubicBezTo>
                  <a:pt x="968" y="148"/>
                  <a:pt x="969" y="148"/>
                  <a:pt x="969" y="148"/>
                </a:cubicBezTo>
                <a:cubicBezTo>
                  <a:pt x="969" y="148"/>
                  <a:pt x="969" y="148"/>
                  <a:pt x="969" y="148"/>
                </a:cubicBezTo>
                <a:cubicBezTo>
                  <a:pt x="969" y="148"/>
                  <a:pt x="968" y="148"/>
                  <a:pt x="968" y="148"/>
                </a:cubicBezTo>
                <a:cubicBezTo>
                  <a:pt x="968" y="148"/>
                  <a:pt x="967" y="148"/>
                  <a:pt x="967" y="149"/>
                </a:cubicBezTo>
                <a:cubicBezTo>
                  <a:pt x="967" y="149"/>
                  <a:pt x="966" y="149"/>
                  <a:pt x="966" y="149"/>
                </a:cubicBezTo>
                <a:cubicBezTo>
                  <a:pt x="966" y="148"/>
                  <a:pt x="967" y="148"/>
                  <a:pt x="967" y="148"/>
                </a:cubicBezTo>
                <a:cubicBezTo>
                  <a:pt x="967" y="148"/>
                  <a:pt x="966" y="148"/>
                  <a:pt x="966" y="148"/>
                </a:cubicBezTo>
                <a:cubicBezTo>
                  <a:pt x="966" y="147"/>
                  <a:pt x="966" y="147"/>
                  <a:pt x="967" y="147"/>
                </a:cubicBezTo>
                <a:cubicBezTo>
                  <a:pt x="967" y="147"/>
                  <a:pt x="967" y="147"/>
                  <a:pt x="967" y="147"/>
                </a:cubicBezTo>
                <a:cubicBezTo>
                  <a:pt x="968" y="147"/>
                  <a:pt x="968" y="147"/>
                  <a:pt x="968" y="147"/>
                </a:cubicBezTo>
                <a:cubicBezTo>
                  <a:pt x="969" y="147"/>
                  <a:pt x="969" y="147"/>
                  <a:pt x="970" y="147"/>
                </a:cubicBezTo>
                <a:cubicBezTo>
                  <a:pt x="970" y="147"/>
                  <a:pt x="970" y="147"/>
                  <a:pt x="971" y="146"/>
                </a:cubicBezTo>
                <a:cubicBezTo>
                  <a:pt x="970" y="146"/>
                  <a:pt x="970" y="146"/>
                  <a:pt x="970" y="146"/>
                </a:cubicBezTo>
                <a:cubicBezTo>
                  <a:pt x="969" y="146"/>
                  <a:pt x="969" y="146"/>
                  <a:pt x="968" y="146"/>
                </a:cubicBezTo>
                <a:cubicBezTo>
                  <a:pt x="968" y="146"/>
                  <a:pt x="968" y="146"/>
                  <a:pt x="968" y="146"/>
                </a:cubicBezTo>
                <a:cubicBezTo>
                  <a:pt x="968" y="145"/>
                  <a:pt x="968" y="145"/>
                  <a:pt x="968" y="145"/>
                </a:cubicBezTo>
                <a:cubicBezTo>
                  <a:pt x="969" y="145"/>
                  <a:pt x="969" y="145"/>
                  <a:pt x="969" y="145"/>
                </a:cubicBezTo>
                <a:cubicBezTo>
                  <a:pt x="969" y="145"/>
                  <a:pt x="969" y="145"/>
                  <a:pt x="969" y="145"/>
                </a:cubicBezTo>
                <a:cubicBezTo>
                  <a:pt x="969" y="145"/>
                  <a:pt x="969" y="146"/>
                  <a:pt x="969" y="146"/>
                </a:cubicBezTo>
                <a:cubicBezTo>
                  <a:pt x="969" y="146"/>
                  <a:pt x="970" y="146"/>
                  <a:pt x="970" y="146"/>
                </a:cubicBezTo>
                <a:cubicBezTo>
                  <a:pt x="970" y="145"/>
                  <a:pt x="971" y="145"/>
                  <a:pt x="971" y="145"/>
                </a:cubicBezTo>
                <a:cubicBezTo>
                  <a:pt x="971" y="145"/>
                  <a:pt x="971" y="146"/>
                  <a:pt x="972" y="146"/>
                </a:cubicBezTo>
                <a:cubicBezTo>
                  <a:pt x="972" y="146"/>
                  <a:pt x="972" y="146"/>
                  <a:pt x="972" y="146"/>
                </a:cubicBezTo>
                <a:cubicBezTo>
                  <a:pt x="972" y="147"/>
                  <a:pt x="972" y="147"/>
                  <a:pt x="972" y="147"/>
                </a:cubicBezTo>
                <a:cubicBezTo>
                  <a:pt x="972" y="147"/>
                  <a:pt x="972" y="147"/>
                  <a:pt x="972" y="147"/>
                </a:cubicBezTo>
                <a:cubicBezTo>
                  <a:pt x="972" y="146"/>
                  <a:pt x="972" y="146"/>
                  <a:pt x="972" y="146"/>
                </a:cubicBezTo>
                <a:cubicBezTo>
                  <a:pt x="972" y="146"/>
                  <a:pt x="972" y="146"/>
                  <a:pt x="972" y="146"/>
                </a:cubicBezTo>
                <a:cubicBezTo>
                  <a:pt x="973" y="146"/>
                  <a:pt x="973" y="146"/>
                  <a:pt x="973" y="146"/>
                </a:cubicBezTo>
                <a:cubicBezTo>
                  <a:pt x="973" y="145"/>
                  <a:pt x="973" y="145"/>
                  <a:pt x="973" y="145"/>
                </a:cubicBezTo>
                <a:cubicBezTo>
                  <a:pt x="972" y="145"/>
                  <a:pt x="972" y="145"/>
                  <a:pt x="972" y="145"/>
                </a:cubicBezTo>
                <a:cubicBezTo>
                  <a:pt x="972" y="145"/>
                  <a:pt x="972" y="145"/>
                  <a:pt x="972" y="145"/>
                </a:cubicBezTo>
                <a:cubicBezTo>
                  <a:pt x="973" y="145"/>
                  <a:pt x="973" y="145"/>
                  <a:pt x="973" y="145"/>
                </a:cubicBezTo>
                <a:cubicBezTo>
                  <a:pt x="973" y="145"/>
                  <a:pt x="973" y="145"/>
                  <a:pt x="974" y="144"/>
                </a:cubicBezTo>
                <a:cubicBezTo>
                  <a:pt x="973" y="144"/>
                  <a:pt x="973" y="144"/>
                  <a:pt x="973" y="144"/>
                </a:cubicBezTo>
                <a:cubicBezTo>
                  <a:pt x="974" y="144"/>
                  <a:pt x="974" y="144"/>
                  <a:pt x="974" y="144"/>
                </a:cubicBezTo>
                <a:cubicBezTo>
                  <a:pt x="975" y="144"/>
                  <a:pt x="975" y="144"/>
                  <a:pt x="975" y="145"/>
                </a:cubicBezTo>
                <a:cubicBezTo>
                  <a:pt x="975" y="145"/>
                  <a:pt x="975" y="144"/>
                  <a:pt x="976" y="144"/>
                </a:cubicBezTo>
                <a:cubicBezTo>
                  <a:pt x="976" y="145"/>
                  <a:pt x="976" y="145"/>
                  <a:pt x="976" y="145"/>
                </a:cubicBezTo>
                <a:cubicBezTo>
                  <a:pt x="976" y="145"/>
                  <a:pt x="976" y="145"/>
                  <a:pt x="976" y="145"/>
                </a:cubicBezTo>
                <a:cubicBezTo>
                  <a:pt x="976" y="145"/>
                  <a:pt x="977" y="145"/>
                  <a:pt x="977" y="145"/>
                </a:cubicBezTo>
                <a:cubicBezTo>
                  <a:pt x="977" y="145"/>
                  <a:pt x="977" y="144"/>
                  <a:pt x="977" y="144"/>
                </a:cubicBezTo>
                <a:cubicBezTo>
                  <a:pt x="977" y="144"/>
                  <a:pt x="977" y="144"/>
                  <a:pt x="978" y="144"/>
                </a:cubicBezTo>
                <a:cubicBezTo>
                  <a:pt x="978" y="143"/>
                  <a:pt x="978" y="143"/>
                  <a:pt x="978" y="143"/>
                </a:cubicBezTo>
                <a:cubicBezTo>
                  <a:pt x="977" y="143"/>
                  <a:pt x="977" y="143"/>
                  <a:pt x="977" y="143"/>
                </a:cubicBezTo>
                <a:cubicBezTo>
                  <a:pt x="977" y="143"/>
                  <a:pt x="976" y="143"/>
                  <a:pt x="976" y="143"/>
                </a:cubicBezTo>
                <a:cubicBezTo>
                  <a:pt x="976" y="143"/>
                  <a:pt x="975" y="143"/>
                  <a:pt x="975" y="143"/>
                </a:cubicBezTo>
                <a:cubicBezTo>
                  <a:pt x="974" y="143"/>
                  <a:pt x="974" y="143"/>
                  <a:pt x="973" y="144"/>
                </a:cubicBezTo>
                <a:cubicBezTo>
                  <a:pt x="972" y="144"/>
                  <a:pt x="972" y="143"/>
                  <a:pt x="972" y="143"/>
                </a:cubicBezTo>
                <a:cubicBezTo>
                  <a:pt x="972" y="143"/>
                  <a:pt x="972" y="143"/>
                  <a:pt x="972" y="143"/>
                </a:cubicBezTo>
                <a:cubicBezTo>
                  <a:pt x="973" y="143"/>
                  <a:pt x="973" y="143"/>
                  <a:pt x="974" y="143"/>
                </a:cubicBezTo>
                <a:cubicBezTo>
                  <a:pt x="974" y="143"/>
                  <a:pt x="974" y="143"/>
                  <a:pt x="974" y="142"/>
                </a:cubicBezTo>
                <a:cubicBezTo>
                  <a:pt x="974" y="142"/>
                  <a:pt x="974" y="142"/>
                  <a:pt x="974" y="142"/>
                </a:cubicBezTo>
                <a:cubicBezTo>
                  <a:pt x="974" y="142"/>
                  <a:pt x="974" y="142"/>
                  <a:pt x="974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75" y="141"/>
                  <a:pt x="976" y="142"/>
                  <a:pt x="976" y="142"/>
                </a:cubicBezTo>
                <a:cubicBezTo>
                  <a:pt x="976" y="142"/>
                  <a:pt x="976" y="142"/>
                  <a:pt x="976" y="142"/>
                </a:cubicBezTo>
                <a:cubicBezTo>
                  <a:pt x="976" y="142"/>
                  <a:pt x="976" y="142"/>
                  <a:pt x="976" y="141"/>
                </a:cubicBezTo>
                <a:cubicBezTo>
                  <a:pt x="976" y="141"/>
                  <a:pt x="976" y="141"/>
                  <a:pt x="976" y="141"/>
                </a:cubicBezTo>
                <a:cubicBezTo>
                  <a:pt x="976" y="141"/>
                  <a:pt x="977" y="141"/>
                  <a:pt x="977" y="141"/>
                </a:cubicBezTo>
                <a:cubicBezTo>
                  <a:pt x="977" y="141"/>
                  <a:pt x="977" y="141"/>
                  <a:pt x="977" y="141"/>
                </a:cubicBezTo>
                <a:cubicBezTo>
                  <a:pt x="977" y="141"/>
                  <a:pt x="977" y="141"/>
                  <a:pt x="977" y="140"/>
                </a:cubicBezTo>
                <a:cubicBezTo>
                  <a:pt x="977" y="140"/>
                  <a:pt x="977" y="140"/>
                  <a:pt x="977" y="140"/>
                </a:cubicBezTo>
                <a:cubicBezTo>
                  <a:pt x="978" y="140"/>
                  <a:pt x="978" y="140"/>
                  <a:pt x="978" y="140"/>
                </a:cubicBezTo>
                <a:cubicBezTo>
                  <a:pt x="978" y="140"/>
                  <a:pt x="978" y="140"/>
                  <a:pt x="978" y="140"/>
                </a:cubicBezTo>
                <a:cubicBezTo>
                  <a:pt x="977" y="140"/>
                  <a:pt x="977" y="140"/>
                  <a:pt x="977" y="140"/>
                </a:cubicBezTo>
                <a:cubicBezTo>
                  <a:pt x="977" y="140"/>
                  <a:pt x="977" y="140"/>
                  <a:pt x="977" y="140"/>
                </a:cubicBezTo>
                <a:cubicBezTo>
                  <a:pt x="977" y="139"/>
                  <a:pt x="977" y="139"/>
                  <a:pt x="978" y="139"/>
                </a:cubicBezTo>
                <a:cubicBezTo>
                  <a:pt x="978" y="139"/>
                  <a:pt x="978" y="139"/>
                  <a:pt x="979" y="139"/>
                </a:cubicBezTo>
                <a:cubicBezTo>
                  <a:pt x="979" y="139"/>
                  <a:pt x="979" y="139"/>
                  <a:pt x="979" y="139"/>
                </a:cubicBezTo>
                <a:cubicBezTo>
                  <a:pt x="980" y="139"/>
                  <a:pt x="980" y="138"/>
                  <a:pt x="980" y="138"/>
                </a:cubicBezTo>
                <a:cubicBezTo>
                  <a:pt x="980" y="138"/>
                  <a:pt x="979" y="138"/>
                  <a:pt x="979" y="138"/>
                </a:cubicBezTo>
                <a:cubicBezTo>
                  <a:pt x="979" y="137"/>
                  <a:pt x="979" y="137"/>
                  <a:pt x="979" y="137"/>
                </a:cubicBezTo>
                <a:cubicBezTo>
                  <a:pt x="980" y="137"/>
                  <a:pt x="980" y="137"/>
                  <a:pt x="980" y="136"/>
                </a:cubicBezTo>
                <a:cubicBezTo>
                  <a:pt x="980" y="137"/>
                  <a:pt x="980" y="137"/>
                  <a:pt x="980" y="137"/>
                </a:cubicBezTo>
                <a:cubicBezTo>
                  <a:pt x="980" y="137"/>
                  <a:pt x="981" y="137"/>
                  <a:pt x="981" y="137"/>
                </a:cubicBezTo>
                <a:cubicBezTo>
                  <a:pt x="981" y="137"/>
                  <a:pt x="981" y="138"/>
                  <a:pt x="981" y="138"/>
                </a:cubicBezTo>
                <a:cubicBezTo>
                  <a:pt x="981" y="138"/>
                  <a:pt x="982" y="138"/>
                  <a:pt x="982" y="139"/>
                </a:cubicBezTo>
                <a:cubicBezTo>
                  <a:pt x="982" y="138"/>
                  <a:pt x="982" y="138"/>
                  <a:pt x="981" y="138"/>
                </a:cubicBezTo>
                <a:cubicBezTo>
                  <a:pt x="982" y="138"/>
                  <a:pt x="982" y="138"/>
                  <a:pt x="982" y="138"/>
                </a:cubicBezTo>
                <a:cubicBezTo>
                  <a:pt x="983" y="138"/>
                  <a:pt x="983" y="138"/>
                  <a:pt x="983" y="138"/>
                </a:cubicBezTo>
                <a:cubicBezTo>
                  <a:pt x="983" y="138"/>
                  <a:pt x="983" y="138"/>
                  <a:pt x="983" y="137"/>
                </a:cubicBezTo>
                <a:cubicBezTo>
                  <a:pt x="983" y="137"/>
                  <a:pt x="983" y="137"/>
                  <a:pt x="982" y="137"/>
                </a:cubicBezTo>
                <a:cubicBezTo>
                  <a:pt x="982" y="137"/>
                  <a:pt x="981" y="137"/>
                  <a:pt x="981" y="137"/>
                </a:cubicBezTo>
                <a:cubicBezTo>
                  <a:pt x="981" y="137"/>
                  <a:pt x="981" y="136"/>
                  <a:pt x="981" y="136"/>
                </a:cubicBezTo>
                <a:cubicBezTo>
                  <a:pt x="981" y="136"/>
                  <a:pt x="982" y="136"/>
                  <a:pt x="983" y="136"/>
                </a:cubicBezTo>
                <a:cubicBezTo>
                  <a:pt x="983" y="136"/>
                  <a:pt x="983" y="136"/>
                  <a:pt x="983" y="136"/>
                </a:cubicBezTo>
                <a:cubicBezTo>
                  <a:pt x="983" y="136"/>
                  <a:pt x="983" y="137"/>
                  <a:pt x="984" y="137"/>
                </a:cubicBezTo>
                <a:cubicBezTo>
                  <a:pt x="984" y="137"/>
                  <a:pt x="984" y="138"/>
                  <a:pt x="985" y="138"/>
                </a:cubicBezTo>
                <a:cubicBezTo>
                  <a:pt x="985" y="138"/>
                  <a:pt x="985" y="138"/>
                  <a:pt x="985" y="139"/>
                </a:cubicBezTo>
                <a:cubicBezTo>
                  <a:pt x="985" y="138"/>
                  <a:pt x="986" y="138"/>
                  <a:pt x="986" y="138"/>
                </a:cubicBezTo>
                <a:cubicBezTo>
                  <a:pt x="986" y="138"/>
                  <a:pt x="986" y="138"/>
                  <a:pt x="985" y="137"/>
                </a:cubicBezTo>
                <a:cubicBezTo>
                  <a:pt x="985" y="137"/>
                  <a:pt x="984" y="137"/>
                  <a:pt x="984" y="137"/>
                </a:cubicBezTo>
                <a:cubicBezTo>
                  <a:pt x="984" y="136"/>
                  <a:pt x="984" y="136"/>
                  <a:pt x="984" y="136"/>
                </a:cubicBezTo>
                <a:cubicBezTo>
                  <a:pt x="984" y="136"/>
                  <a:pt x="984" y="136"/>
                  <a:pt x="983" y="135"/>
                </a:cubicBezTo>
                <a:cubicBezTo>
                  <a:pt x="984" y="135"/>
                  <a:pt x="984" y="135"/>
                  <a:pt x="984" y="134"/>
                </a:cubicBezTo>
                <a:cubicBezTo>
                  <a:pt x="985" y="134"/>
                  <a:pt x="985" y="134"/>
                  <a:pt x="985" y="134"/>
                </a:cubicBezTo>
                <a:cubicBezTo>
                  <a:pt x="986" y="134"/>
                  <a:pt x="986" y="134"/>
                  <a:pt x="986" y="134"/>
                </a:cubicBezTo>
                <a:cubicBezTo>
                  <a:pt x="986" y="134"/>
                  <a:pt x="986" y="135"/>
                  <a:pt x="986" y="135"/>
                </a:cubicBezTo>
                <a:cubicBezTo>
                  <a:pt x="986" y="135"/>
                  <a:pt x="986" y="136"/>
                  <a:pt x="986" y="136"/>
                </a:cubicBezTo>
                <a:cubicBezTo>
                  <a:pt x="986" y="136"/>
                  <a:pt x="986" y="136"/>
                  <a:pt x="986" y="137"/>
                </a:cubicBezTo>
                <a:cubicBezTo>
                  <a:pt x="986" y="136"/>
                  <a:pt x="987" y="136"/>
                  <a:pt x="987" y="136"/>
                </a:cubicBezTo>
                <a:cubicBezTo>
                  <a:pt x="987" y="136"/>
                  <a:pt x="987" y="136"/>
                  <a:pt x="987" y="135"/>
                </a:cubicBezTo>
                <a:cubicBezTo>
                  <a:pt x="987" y="135"/>
                  <a:pt x="987" y="135"/>
                  <a:pt x="987" y="135"/>
                </a:cubicBezTo>
                <a:cubicBezTo>
                  <a:pt x="987" y="134"/>
                  <a:pt x="988" y="134"/>
                  <a:pt x="988" y="133"/>
                </a:cubicBezTo>
                <a:cubicBezTo>
                  <a:pt x="988" y="133"/>
                  <a:pt x="989" y="133"/>
                  <a:pt x="989" y="133"/>
                </a:cubicBezTo>
                <a:cubicBezTo>
                  <a:pt x="989" y="134"/>
                  <a:pt x="989" y="134"/>
                  <a:pt x="989" y="135"/>
                </a:cubicBezTo>
                <a:cubicBezTo>
                  <a:pt x="989" y="135"/>
                  <a:pt x="989" y="136"/>
                  <a:pt x="989" y="136"/>
                </a:cubicBezTo>
                <a:cubicBezTo>
                  <a:pt x="989" y="136"/>
                  <a:pt x="989" y="136"/>
                  <a:pt x="989" y="137"/>
                </a:cubicBezTo>
                <a:cubicBezTo>
                  <a:pt x="989" y="137"/>
                  <a:pt x="988" y="137"/>
                  <a:pt x="988" y="137"/>
                </a:cubicBezTo>
                <a:cubicBezTo>
                  <a:pt x="988" y="137"/>
                  <a:pt x="988" y="137"/>
                  <a:pt x="988" y="137"/>
                </a:cubicBezTo>
                <a:cubicBezTo>
                  <a:pt x="989" y="137"/>
                  <a:pt x="989" y="137"/>
                  <a:pt x="989" y="137"/>
                </a:cubicBezTo>
                <a:cubicBezTo>
                  <a:pt x="989" y="137"/>
                  <a:pt x="990" y="136"/>
                  <a:pt x="990" y="136"/>
                </a:cubicBezTo>
                <a:cubicBezTo>
                  <a:pt x="990" y="136"/>
                  <a:pt x="990" y="136"/>
                  <a:pt x="990" y="135"/>
                </a:cubicBezTo>
                <a:cubicBezTo>
                  <a:pt x="991" y="136"/>
                  <a:pt x="991" y="136"/>
                  <a:pt x="991" y="136"/>
                </a:cubicBezTo>
                <a:cubicBezTo>
                  <a:pt x="991" y="136"/>
                  <a:pt x="992" y="136"/>
                  <a:pt x="992" y="136"/>
                </a:cubicBezTo>
                <a:cubicBezTo>
                  <a:pt x="992" y="136"/>
                  <a:pt x="992" y="135"/>
                  <a:pt x="991" y="135"/>
                </a:cubicBezTo>
                <a:cubicBezTo>
                  <a:pt x="991" y="135"/>
                  <a:pt x="991" y="135"/>
                  <a:pt x="990" y="135"/>
                </a:cubicBezTo>
                <a:cubicBezTo>
                  <a:pt x="990" y="135"/>
                  <a:pt x="990" y="134"/>
                  <a:pt x="990" y="134"/>
                </a:cubicBezTo>
                <a:cubicBezTo>
                  <a:pt x="990" y="134"/>
                  <a:pt x="991" y="134"/>
                  <a:pt x="991" y="134"/>
                </a:cubicBezTo>
                <a:cubicBezTo>
                  <a:pt x="991" y="134"/>
                  <a:pt x="991" y="133"/>
                  <a:pt x="991" y="133"/>
                </a:cubicBezTo>
                <a:cubicBezTo>
                  <a:pt x="991" y="133"/>
                  <a:pt x="992" y="133"/>
                  <a:pt x="992" y="133"/>
                </a:cubicBezTo>
                <a:cubicBezTo>
                  <a:pt x="992" y="133"/>
                  <a:pt x="992" y="133"/>
                  <a:pt x="992" y="134"/>
                </a:cubicBezTo>
                <a:cubicBezTo>
                  <a:pt x="993" y="134"/>
                  <a:pt x="993" y="133"/>
                  <a:pt x="993" y="133"/>
                </a:cubicBezTo>
                <a:cubicBezTo>
                  <a:pt x="993" y="133"/>
                  <a:pt x="993" y="133"/>
                  <a:pt x="993" y="133"/>
                </a:cubicBezTo>
                <a:cubicBezTo>
                  <a:pt x="994" y="133"/>
                  <a:pt x="994" y="133"/>
                  <a:pt x="994" y="133"/>
                </a:cubicBezTo>
                <a:cubicBezTo>
                  <a:pt x="994" y="133"/>
                  <a:pt x="995" y="133"/>
                  <a:pt x="995" y="133"/>
                </a:cubicBezTo>
                <a:cubicBezTo>
                  <a:pt x="995" y="134"/>
                  <a:pt x="996" y="134"/>
                  <a:pt x="996" y="134"/>
                </a:cubicBezTo>
                <a:cubicBezTo>
                  <a:pt x="996" y="134"/>
                  <a:pt x="996" y="135"/>
                  <a:pt x="997" y="135"/>
                </a:cubicBezTo>
                <a:cubicBezTo>
                  <a:pt x="997" y="135"/>
                  <a:pt x="997" y="134"/>
                  <a:pt x="997" y="134"/>
                </a:cubicBezTo>
                <a:cubicBezTo>
                  <a:pt x="996" y="134"/>
                  <a:pt x="996" y="134"/>
                  <a:pt x="996" y="133"/>
                </a:cubicBezTo>
                <a:cubicBezTo>
                  <a:pt x="996" y="133"/>
                  <a:pt x="996" y="133"/>
                  <a:pt x="996" y="133"/>
                </a:cubicBezTo>
                <a:cubicBezTo>
                  <a:pt x="996" y="133"/>
                  <a:pt x="996" y="132"/>
                  <a:pt x="996" y="132"/>
                </a:cubicBezTo>
                <a:cubicBezTo>
                  <a:pt x="996" y="132"/>
                  <a:pt x="995" y="132"/>
                  <a:pt x="995" y="132"/>
                </a:cubicBezTo>
                <a:cubicBezTo>
                  <a:pt x="995" y="132"/>
                  <a:pt x="995" y="132"/>
                  <a:pt x="995" y="132"/>
                </a:cubicBezTo>
                <a:cubicBezTo>
                  <a:pt x="994" y="132"/>
                  <a:pt x="994" y="132"/>
                  <a:pt x="994" y="132"/>
                </a:cubicBezTo>
                <a:cubicBezTo>
                  <a:pt x="993" y="131"/>
                  <a:pt x="993" y="131"/>
                  <a:pt x="992" y="131"/>
                </a:cubicBezTo>
                <a:cubicBezTo>
                  <a:pt x="992" y="131"/>
                  <a:pt x="992" y="130"/>
                  <a:pt x="992" y="130"/>
                </a:cubicBezTo>
                <a:cubicBezTo>
                  <a:pt x="993" y="130"/>
                  <a:pt x="993" y="130"/>
                  <a:pt x="994" y="130"/>
                </a:cubicBezTo>
                <a:cubicBezTo>
                  <a:pt x="994" y="130"/>
                  <a:pt x="994" y="130"/>
                  <a:pt x="994" y="130"/>
                </a:cubicBezTo>
                <a:cubicBezTo>
                  <a:pt x="995" y="130"/>
                  <a:pt x="995" y="130"/>
                  <a:pt x="995" y="130"/>
                </a:cubicBezTo>
                <a:cubicBezTo>
                  <a:pt x="995" y="130"/>
                  <a:pt x="995" y="130"/>
                  <a:pt x="995" y="130"/>
                </a:cubicBezTo>
                <a:cubicBezTo>
                  <a:pt x="996" y="130"/>
                  <a:pt x="996" y="130"/>
                  <a:pt x="996" y="130"/>
                </a:cubicBezTo>
                <a:cubicBezTo>
                  <a:pt x="997" y="130"/>
                  <a:pt x="997" y="130"/>
                  <a:pt x="998" y="131"/>
                </a:cubicBezTo>
                <a:cubicBezTo>
                  <a:pt x="998" y="131"/>
                  <a:pt x="999" y="131"/>
                  <a:pt x="999" y="131"/>
                </a:cubicBezTo>
                <a:cubicBezTo>
                  <a:pt x="999" y="131"/>
                  <a:pt x="1000" y="131"/>
                  <a:pt x="1000" y="131"/>
                </a:cubicBezTo>
                <a:cubicBezTo>
                  <a:pt x="1000" y="131"/>
                  <a:pt x="1001" y="131"/>
                  <a:pt x="1001" y="131"/>
                </a:cubicBezTo>
                <a:cubicBezTo>
                  <a:pt x="1001" y="131"/>
                  <a:pt x="1000" y="131"/>
                  <a:pt x="1000" y="132"/>
                </a:cubicBezTo>
                <a:cubicBezTo>
                  <a:pt x="1000" y="132"/>
                  <a:pt x="1001" y="132"/>
                  <a:pt x="1001" y="132"/>
                </a:cubicBezTo>
                <a:cubicBezTo>
                  <a:pt x="1001" y="132"/>
                  <a:pt x="1001" y="132"/>
                  <a:pt x="1001" y="133"/>
                </a:cubicBezTo>
                <a:cubicBezTo>
                  <a:pt x="1002" y="133"/>
                  <a:pt x="1002" y="133"/>
                  <a:pt x="1003" y="133"/>
                </a:cubicBezTo>
                <a:cubicBezTo>
                  <a:pt x="1003" y="133"/>
                  <a:pt x="1003" y="133"/>
                  <a:pt x="1003" y="132"/>
                </a:cubicBezTo>
                <a:cubicBezTo>
                  <a:pt x="1003" y="132"/>
                  <a:pt x="1003" y="132"/>
                  <a:pt x="1003" y="132"/>
                </a:cubicBezTo>
                <a:cubicBezTo>
                  <a:pt x="1003" y="132"/>
                  <a:pt x="1002" y="132"/>
                  <a:pt x="1002" y="132"/>
                </a:cubicBezTo>
                <a:cubicBezTo>
                  <a:pt x="1002" y="132"/>
                  <a:pt x="1002" y="132"/>
                  <a:pt x="1003" y="132"/>
                </a:cubicBezTo>
                <a:cubicBezTo>
                  <a:pt x="1002" y="131"/>
                  <a:pt x="1002" y="131"/>
                  <a:pt x="1002" y="131"/>
                </a:cubicBezTo>
                <a:cubicBezTo>
                  <a:pt x="1002" y="131"/>
                  <a:pt x="1002" y="131"/>
                  <a:pt x="1002" y="130"/>
                </a:cubicBezTo>
                <a:cubicBezTo>
                  <a:pt x="1002" y="130"/>
                  <a:pt x="1003" y="130"/>
                  <a:pt x="1003" y="130"/>
                </a:cubicBezTo>
                <a:cubicBezTo>
                  <a:pt x="1003" y="130"/>
                  <a:pt x="1003" y="130"/>
                  <a:pt x="1003" y="130"/>
                </a:cubicBezTo>
                <a:cubicBezTo>
                  <a:pt x="1003" y="130"/>
                  <a:pt x="1003" y="130"/>
                  <a:pt x="1003" y="129"/>
                </a:cubicBezTo>
                <a:cubicBezTo>
                  <a:pt x="1003" y="129"/>
                  <a:pt x="1003" y="129"/>
                  <a:pt x="1003" y="129"/>
                </a:cubicBezTo>
                <a:cubicBezTo>
                  <a:pt x="1004" y="129"/>
                  <a:pt x="1004" y="129"/>
                  <a:pt x="1004" y="129"/>
                </a:cubicBezTo>
                <a:cubicBezTo>
                  <a:pt x="1004" y="129"/>
                  <a:pt x="1004" y="128"/>
                  <a:pt x="1005" y="128"/>
                </a:cubicBezTo>
                <a:cubicBezTo>
                  <a:pt x="1005" y="129"/>
                  <a:pt x="1005" y="129"/>
                  <a:pt x="1006" y="129"/>
                </a:cubicBezTo>
                <a:cubicBezTo>
                  <a:pt x="1006" y="129"/>
                  <a:pt x="1006" y="129"/>
                  <a:pt x="1006" y="129"/>
                </a:cubicBezTo>
                <a:cubicBezTo>
                  <a:pt x="1006" y="129"/>
                  <a:pt x="1006" y="129"/>
                  <a:pt x="1006" y="128"/>
                </a:cubicBezTo>
                <a:cubicBezTo>
                  <a:pt x="1006" y="128"/>
                  <a:pt x="1006" y="128"/>
                  <a:pt x="1006" y="128"/>
                </a:cubicBezTo>
                <a:cubicBezTo>
                  <a:pt x="1006" y="128"/>
                  <a:pt x="1006" y="128"/>
                  <a:pt x="1006" y="128"/>
                </a:cubicBezTo>
                <a:cubicBezTo>
                  <a:pt x="1007" y="128"/>
                  <a:pt x="1007" y="128"/>
                  <a:pt x="1007" y="128"/>
                </a:cubicBezTo>
                <a:cubicBezTo>
                  <a:pt x="1007" y="128"/>
                  <a:pt x="1007" y="128"/>
                  <a:pt x="1007" y="128"/>
                </a:cubicBezTo>
                <a:cubicBezTo>
                  <a:pt x="1007" y="128"/>
                  <a:pt x="1007" y="127"/>
                  <a:pt x="1007" y="127"/>
                </a:cubicBezTo>
                <a:cubicBezTo>
                  <a:pt x="1007" y="127"/>
                  <a:pt x="1006" y="127"/>
                  <a:pt x="1006" y="127"/>
                </a:cubicBezTo>
                <a:cubicBezTo>
                  <a:pt x="1006" y="127"/>
                  <a:pt x="1006" y="126"/>
                  <a:pt x="1006" y="126"/>
                </a:cubicBezTo>
                <a:cubicBezTo>
                  <a:pt x="1006" y="126"/>
                  <a:pt x="1006" y="126"/>
                  <a:pt x="1006" y="126"/>
                </a:cubicBezTo>
                <a:cubicBezTo>
                  <a:pt x="1006" y="126"/>
                  <a:pt x="1007" y="126"/>
                  <a:pt x="1007" y="126"/>
                </a:cubicBezTo>
                <a:cubicBezTo>
                  <a:pt x="1007" y="126"/>
                  <a:pt x="1007" y="127"/>
                  <a:pt x="1007" y="127"/>
                </a:cubicBezTo>
                <a:cubicBezTo>
                  <a:pt x="1007" y="127"/>
                  <a:pt x="1007" y="126"/>
                  <a:pt x="1008" y="126"/>
                </a:cubicBezTo>
                <a:cubicBezTo>
                  <a:pt x="1008" y="126"/>
                  <a:pt x="1008" y="126"/>
                  <a:pt x="1007" y="125"/>
                </a:cubicBezTo>
                <a:cubicBezTo>
                  <a:pt x="1008" y="125"/>
                  <a:pt x="1008" y="125"/>
                  <a:pt x="1008" y="125"/>
                </a:cubicBezTo>
                <a:cubicBezTo>
                  <a:pt x="1009" y="125"/>
                  <a:pt x="1009" y="125"/>
                  <a:pt x="1009" y="125"/>
                </a:cubicBezTo>
                <a:cubicBezTo>
                  <a:pt x="1009" y="125"/>
                  <a:pt x="1010" y="126"/>
                  <a:pt x="1010" y="126"/>
                </a:cubicBezTo>
                <a:cubicBezTo>
                  <a:pt x="1010" y="126"/>
                  <a:pt x="1010" y="126"/>
                  <a:pt x="1010" y="126"/>
                </a:cubicBezTo>
                <a:cubicBezTo>
                  <a:pt x="1010" y="126"/>
                  <a:pt x="1010" y="126"/>
                  <a:pt x="1011" y="126"/>
                </a:cubicBezTo>
                <a:cubicBezTo>
                  <a:pt x="1011" y="126"/>
                  <a:pt x="1011" y="126"/>
                  <a:pt x="1010" y="125"/>
                </a:cubicBezTo>
                <a:cubicBezTo>
                  <a:pt x="1011" y="125"/>
                  <a:pt x="1011" y="125"/>
                  <a:pt x="1011" y="125"/>
                </a:cubicBezTo>
                <a:cubicBezTo>
                  <a:pt x="1011" y="125"/>
                  <a:pt x="1012" y="126"/>
                  <a:pt x="1012" y="126"/>
                </a:cubicBezTo>
                <a:cubicBezTo>
                  <a:pt x="1012" y="126"/>
                  <a:pt x="1012" y="126"/>
                  <a:pt x="1013" y="126"/>
                </a:cubicBezTo>
                <a:cubicBezTo>
                  <a:pt x="1013" y="126"/>
                  <a:pt x="1013" y="126"/>
                  <a:pt x="1013" y="126"/>
                </a:cubicBezTo>
                <a:cubicBezTo>
                  <a:pt x="1013" y="126"/>
                  <a:pt x="1013" y="126"/>
                  <a:pt x="1013" y="127"/>
                </a:cubicBezTo>
                <a:cubicBezTo>
                  <a:pt x="1012" y="127"/>
                  <a:pt x="1012" y="127"/>
                  <a:pt x="1012" y="127"/>
                </a:cubicBezTo>
                <a:cubicBezTo>
                  <a:pt x="1012" y="128"/>
                  <a:pt x="1011" y="128"/>
                  <a:pt x="1011" y="128"/>
                </a:cubicBezTo>
                <a:cubicBezTo>
                  <a:pt x="1011" y="129"/>
                  <a:pt x="1011" y="129"/>
                  <a:pt x="1011" y="129"/>
                </a:cubicBezTo>
                <a:cubicBezTo>
                  <a:pt x="1011" y="129"/>
                  <a:pt x="1011" y="129"/>
                  <a:pt x="1011" y="129"/>
                </a:cubicBezTo>
                <a:cubicBezTo>
                  <a:pt x="1011" y="130"/>
                  <a:pt x="1011" y="130"/>
                  <a:pt x="1011" y="130"/>
                </a:cubicBezTo>
                <a:cubicBezTo>
                  <a:pt x="1010" y="130"/>
                  <a:pt x="1010" y="131"/>
                  <a:pt x="1010" y="131"/>
                </a:cubicBezTo>
                <a:cubicBezTo>
                  <a:pt x="1010" y="131"/>
                  <a:pt x="1010" y="131"/>
                  <a:pt x="1010" y="132"/>
                </a:cubicBezTo>
                <a:cubicBezTo>
                  <a:pt x="1010" y="132"/>
                  <a:pt x="1010" y="132"/>
                  <a:pt x="1010" y="132"/>
                </a:cubicBezTo>
                <a:cubicBezTo>
                  <a:pt x="1010" y="132"/>
                  <a:pt x="1011" y="132"/>
                  <a:pt x="1011" y="132"/>
                </a:cubicBezTo>
                <a:cubicBezTo>
                  <a:pt x="1011" y="132"/>
                  <a:pt x="1012" y="131"/>
                  <a:pt x="1012" y="131"/>
                </a:cubicBezTo>
                <a:cubicBezTo>
                  <a:pt x="1012" y="131"/>
                  <a:pt x="1012" y="130"/>
                  <a:pt x="1013" y="130"/>
                </a:cubicBezTo>
                <a:cubicBezTo>
                  <a:pt x="1012" y="130"/>
                  <a:pt x="1012" y="130"/>
                  <a:pt x="1012" y="130"/>
                </a:cubicBezTo>
                <a:cubicBezTo>
                  <a:pt x="1012" y="130"/>
                  <a:pt x="1013" y="129"/>
                  <a:pt x="1013" y="129"/>
                </a:cubicBezTo>
                <a:cubicBezTo>
                  <a:pt x="1013" y="129"/>
                  <a:pt x="1014" y="128"/>
                  <a:pt x="1014" y="128"/>
                </a:cubicBezTo>
                <a:cubicBezTo>
                  <a:pt x="1014" y="127"/>
                  <a:pt x="1014" y="127"/>
                  <a:pt x="1014" y="127"/>
                </a:cubicBezTo>
                <a:cubicBezTo>
                  <a:pt x="1015" y="126"/>
                  <a:pt x="1015" y="126"/>
                  <a:pt x="1016" y="125"/>
                </a:cubicBezTo>
                <a:cubicBezTo>
                  <a:pt x="1016" y="125"/>
                  <a:pt x="1016" y="125"/>
                  <a:pt x="1016" y="125"/>
                </a:cubicBezTo>
                <a:cubicBezTo>
                  <a:pt x="1016" y="126"/>
                  <a:pt x="1017" y="126"/>
                  <a:pt x="1017" y="126"/>
                </a:cubicBezTo>
                <a:cubicBezTo>
                  <a:pt x="1017" y="126"/>
                  <a:pt x="1017" y="127"/>
                  <a:pt x="1017" y="127"/>
                </a:cubicBezTo>
                <a:cubicBezTo>
                  <a:pt x="1016" y="127"/>
                  <a:pt x="1016" y="127"/>
                  <a:pt x="1016" y="127"/>
                </a:cubicBezTo>
                <a:cubicBezTo>
                  <a:pt x="1016" y="127"/>
                  <a:pt x="1016" y="128"/>
                  <a:pt x="1016" y="128"/>
                </a:cubicBezTo>
                <a:cubicBezTo>
                  <a:pt x="1016" y="128"/>
                  <a:pt x="1016" y="128"/>
                  <a:pt x="1017" y="128"/>
                </a:cubicBezTo>
                <a:cubicBezTo>
                  <a:pt x="1016" y="128"/>
                  <a:pt x="1016" y="129"/>
                  <a:pt x="1016" y="129"/>
                </a:cubicBezTo>
                <a:cubicBezTo>
                  <a:pt x="1016" y="129"/>
                  <a:pt x="1016" y="130"/>
                  <a:pt x="1016" y="130"/>
                </a:cubicBezTo>
                <a:cubicBezTo>
                  <a:pt x="1016" y="130"/>
                  <a:pt x="1016" y="130"/>
                  <a:pt x="1017" y="130"/>
                </a:cubicBezTo>
                <a:cubicBezTo>
                  <a:pt x="1017" y="129"/>
                  <a:pt x="1017" y="129"/>
                  <a:pt x="1017" y="129"/>
                </a:cubicBezTo>
                <a:cubicBezTo>
                  <a:pt x="1017" y="129"/>
                  <a:pt x="1017" y="129"/>
                  <a:pt x="1017" y="129"/>
                </a:cubicBezTo>
                <a:cubicBezTo>
                  <a:pt x="1018" y="129"/>
                  <a:pt x="1018" y="129"/>
                  <a:pt x="1018" y="129"/>
                </a:cubicBezTo>
                <a:cubicBezTo>
                  <a:pt x="1018" y="129"/>
                  <a:pt x="1018" y="129"/>
                  <a:pt x="1018" y="129"/>
                </a:cubicBezTo>
                <a:cubicBezTo>
                  <a:pt x="1018" y="129"/>
                  <a:pt x="1018" y="129"/>
                  <a:pt x="1018" y="128"/>
                </a:cubicBezTo>
                <a:cubicBezTo>
                  <a:pt x="1018" y="128"/>
                  <a:pt x="1019" y="128"/>
                  <a:pt x="1019" y="128"/>
                </a:cubicBezTo>
                <a:cubicBezTo>
                  <a:pt x="1019" y="128"/>
                  <a:pt x="1019" y="128"/>
                  <a:pt x="1019" y="128"/>
                </a:cubicBezTo>
                <a:cubicBezTo>
                  <a:pt x="1019" y="128"/>
                  <a:pt x="1019" y="128"/>
                  <a:pt x="1019" y="127"/>
                </a:cubicBezTo>
                <a:cubicBezTo>
                  <a:pt x="1019" y="127"/>
                  <a:pt x="1019" y="127"/>
                  <a:pt x="1019" y="127"/>
                </a:cubicBezTo>
                <a:cubicBezTo>
                  <a:pt x="1019" y="127"/>
                  <a:pt x="1019" y="127"/>
                  <a:pt x="1019" y="127"/>
                </a:cubicBezTo>
                <a:cubicBezTo>
                  <a:pt x="1020" y="127"/>
                  <a:pt x="1020" y="127"/>
                  <a:pt x="1020" y="126"/>
                </a:cubicBezTo>
                <a:cubicBezTo>
                  <a:pt x="1020" y="126"/>
                  <a:pt x="1020" y="126"/>
                  <a:pt x="1020" y="126"/>
                </a:cubicBezTo>
                <a:cubicBezTo>
                  <a:pt x="1020" y="126"/>
                  <a:pt x="1020" y="126"/>
                  <a:pt x="1020" y="126"/>
                </a:cubicBezTo>
                <a:cubicBezTo>
                  <a:pt x="1019" y="126"/>
                  <a:pt x="1019" y="126"/>
                  <a:pt x="1019" y="126"/>
                </a:cubicBezTo>
                <a:cubicBezTo>
                  <a:pt x="1019" y="126"/>
                  <a:pt x="1019" y="126"/>
                  <a:pt x="1019" y="126"/>
                </a:cubicBezTo>
                <a:cubicBezTo>
                  <a:pt x="1019" y="125"/>
                  <a:pt x="1019" y="125"/>
                  <a:pt x="1019" y="125"/>
                </a:cubicBezTo>
                <a:cubicBezTo>
                  <a:pt x="1019" y="125"/>
                  <a:pt x="1019" y="125"/>
                  <a:pt x="1020" y="125"/>
                </a:cubicBezTo>
                <a:cubicBezTo>
                  <a:pt x="1020" y="125"/>
                  <a:pt x="1020" y="125"/>
                  <a:pt x="1020" y="125"/>
                </a:cubicBezTo>
                <a:cubicBezTo>
                  <a:pt x="1021" y="125"/>
                  <a:pt x="1021" y="125"/>
                  <a:pt x="1021" y="125"/>
                </a:cubicBezTo>
                <a:cubicBezTo>
                  <a:pt x="1021" y="125"/>
                  <a:pt x="1021" y="125"/>
                  <a:pt x="1021" y="125"/>
                </a:cubicBezTo>
                <a:cubicBezTo>
                  <a:pt x="1021" y="125"/>
                  <a:pt x="1021" y="125"/>
                  <a:pt x="1021" y="124"/>
                </a:cubicBezTo>
                <a:cubicBezTo>
                  <a:pt x="1021" y="124"/>
                  <a:pt x="1021" y="124"/>
                  <a:pt x="1021" y="124"/>
                </a:cubicBezTo>
                <a:cubicBezTo>
                  <a:pt x="1021" y="124"/>
                  <a:pt x="1021" y="124"/>
                  <a:pt x="1021" y="124"/>
                </a:cubicBezTo>
                <a:cubicBezTo>
                  <a:pt x="1022" y="124"/>
                  <a:pt x="1022" y="124"/>
                  <a:pt x="1022" y="124"/>
                </a:cubicBezTo>
                <a:cubicBezTo>
                  <a:pt x="1022" y="124"/>
                  <a:pt x="1023" y="124"/>
                  <a:pt x="1023" y="124"/>
                </a:cubicBezTo>
                <a:cubicBezTo>
                  <a:pt x="1023" y="124"/>
                  <a:pt x="1023" y="124"/>
                  <a:pt x="1024" y="124"/>
                </a:cubicBezTo>
                <a:cubicBezTo>
                  <a:pt x="1024" y="124"/>
                  <a:pt x="1024" y="124"/>
                  <a:pt x="1024" y="124"/>
                </a:cubicBezTo>
                <a:cubicBezTo>
                  <a:pt x="1024" y="124"/>
                  <a:pt x="1024" y="125"/>
                  <a:pt x="1024" y="125"/>
                </a:cubicBezTo>
                <a:cubicBezTo>
                  <a:pt x="1024" y="125"/>
                  <a:pt x="1024" y="125"/>
                  <a:pt x="1024" y="125"/>
                </a:cubicBezTo>
                <a:cubicBezTo>
                  <a:pt x="1024" y="125"/>
                  <a:pt x="1025" y="125"/>
                  <a:pt x="1025" y="125"/>
                </a:cubicBezTo>
                <a:cubicBezTo>
                  <a:pt x="1025" y="125"/>
                  <a:pt x="1025" y="125"/>
                  <a:pt x="1025" y="125"/>
                </a:cubicBezTo>
                <a:cubicBezTo>
                  <a:pt x="1025" y="126"/>
                  <a:pt x="1025" y="126"/>
                  <a:pt x="1025" y="126"/>
                </a:cubicBezTo>
                <a:cubicBezTo>
                  <a:pt x="1024" y="126"/>
                  <a:pt x="1024" y="126"/>
                  <a:pt x="1023" y="126"/>
                </a:cubicBezTo>
                <a:cubicBezTo>
                  <a:pt x="1023" y="126"/>
                  <a:pt x="1023" y="126"/>
                  <a:pt x="1023" y="126"/>
                </a:cubicBezTo>
                <a:cubicBezTo>
                  <a:pt x="1023" y="126"/>
                  <a:pt x="1023" y="126"/>
                  <a:pt x="1022" y="126"/>
                </a:cubicBezTo>
                <a:cubicBezTo>
                  <a:pt x="1022" y="126"/>
                  <a:pt x="1022" y="127"/>
                  <a:pt x="1022" y="127"/>
                </a:cubicBezTo>
                <a:cubicBezTo>
                  <a:pt x="1023" y="127"/>
                  <a:pt x="1023" y="127"/>
                  <a:pt x="1023" y="127"/>
                </a:cubicBezTo>
                <a:cubicBezTo>
                  <a:pt x="1023" y="127"/>
                  <a:pt x="1023" y="127"/>
                  <a:pt x="1023" y="127"/>
                </a:cubicBezTo>
                <a:cubicBezTo>
                  <a:pt x="1023" y="127"/>
                  <a:pt x="1023" y="127"/>
                  <a:pt x="1023" y="127"/>
                </a:cubicBezTo>
                <a:cubicBezTo>
                  <a:pt x="1023" y="128"/>
                  <a:pt x="1022" y="128"/>
                  <a:pt x="1022" y="128"/>
                </a:cubicBezTo>
                <a:cubicBezTo>
                  <a:pt x="1023" y="128"/>
                  <a:pt x="1023" y="128"/>
                  <a:pt x="1023" y="128"/>
                </a:cubicBezTo>
                <a:cubicBezTo>
                  <a:pt x="1023" y="128"/>
                  <a:pt x="1024" y="128"/>
                  <a:pt x="1024" y="127"/>
                </a:cubicBezTo>
                <a:cubicBezTo>
                  <a:pt x="1024" y="127"/>
                  <a:pt x="1025" y="127"/>
                  <a:pt x="1025" y="127"/>
                </a:cubicBezTo>
                <a:cubicBezTo>
                  <a:pt x="1025" y="128"/>
                  <a:pt x="1025" y="128"/>
                  <a:pt x="1025" y="128"/>
                </a:cubicBezTo>
                <a:cubicBezTo>
                  <a:pt x="1025" y="128"/>
                  <a:pt x="1024" y="128"/>
                  <a:pt x="1024" y="128"/>
                </a:cubicBezTo>
                <a:cubicBezTo>
                  <a:pt x="1024" y="128"/>
                  <a:pt x="1024" y="129"/>
                  <a:pt x="1023" y="129"/>
                </a:cubicBezTo>
                <a:cubicBezTo>
                  <a:pt x="1023" y="129"/>
                  <a:pt x="1023" y="129"/>
                  <a:pt x="1022" y="129"/>
                </a:cubicBezTo>
                <a:cubicBezTo>
                  <a:pt x="1023" y="129"/>
                  <a:pt x="1023" y="129"/>
                  <a:pt x="1024" y="129"/>
                </a:cubicBezTo>
                <a:cubicBezTo>
                  <a:pt x="1024" y="129"/>
                  <a:pt x="1024" y="129"/>
                  <a:pt x="1025" y="129"/>
                </a:cubicBezTo>
                <a:cubicBezTo>
                  <a:pt x="1025" y="129"/>
                  <a:pt x="1025" y="129"/>
                  <a:pt x="1025" y="129"/>
                </a:cubicBezTo>
                <a:cubicBezTo>
                  <a:pt x="1025" y="129"/>
                  <a:pt x="1025" y="129"/>
                  <a:pt x="1026" y="129"/>
                </a:cubicBezTo>
                <a:cubicBezTo>
                  <a:pt x="1026" y="129"/>
                  <a:pt x="1026" y="130"/>
                  <a:pt x="1026" y="130"/>
                </a:cubicBezTo>
                <a:cubicBezTo>
                  <a:pt x="1026" y="130"/>
                  <a:pt x="1026" y="130"/>
                  <a:pt x="1027" y="129"/>
                </a:cubicBezTo>
                <a:cubicBezTo>
                  <a:pt x="1027" y="129"/>
                  <a:pt x="1027" y="129"/>
                  <a:pt x="1027" y="129"/>
                </a:cubicBezTo>
                <a:cubicBezTo>
                  <a:pt x="1026" y="129"/>
                  <a:pt x="1026" y="128"/>
                  <a:pt x="1026" y="128"/>
                </a:cubicBezTo>
                <a:cubicBezTo>
                  <a:pt x="1026" y="128"/>
                  <a:pt x="1026" y="128"/>
                  <a:pt x="1026" y="128"/>
                </a:cubicBezTo>
                <a:cubicBezTo>
                  <a:pt x="1026" y="128"/>
                  <a:pt x="1027" y="127"/>
                  <a:pt x="1027" y="127"/>
                </a:cubicBezTo>
                <a:cubicBezTo>
                  <a:pt x="1027" y="127"/>
                  <a:pt x="1027" y="127"/>
                  <a:pt x="1027" y="126"/>
                </a:cubicBezTo>
                <a:cubicBezTo>
                  <a:pt x="1027" y="126"/>
                  <a:pt x="1028" y="126"/>
                  <a:pt x="1028" y="126"/>
                </a:cubicBezTo>
                <a:cubicBezTo>
                  <a:pt x="1028" y="126"/>
                  <a:pt x="1029" y="126"/>
                  <a:pt x="1029" y="126"/>
                </a:cubicBezTo>
                <a:cubicBezTo>
                  <a:pt x="1029" y="126"/>
                  <a:pt x="1030" y="127"/>
                  <a:pt x="1030" y="127"/>
                </a:cubicBezTo>
                <a:cubicBezTo>
                  <a:pt x="1030" y="127"/>
                  <a:pt x="1030" y="127"/>
                  <a:pt x="1030" y="127"/>
                </a:cubicBezTo>
                <a:cubicBezTo>
                  <a:pt x="1030" y="127"/>
                  <a:pt x="1030" y="127"/>
                  <a:pt x="1029" y="127"/>
                </a:cubicBezTo>
                <a:cubicBezTo>
                  <a:pt x="1029" y="128"/>
                  <a:pt x="1029" y="128"/>
                  <a:pt x="1029" y="128"/>
                </a:cubicBezTo>
                <a:cubicBezTo>
                  <a:pt x="1030" y="128"/>
                  <a:pt x="1030" y="128"/>
                  <a:pt x="1030" y="128"/>
                </a:cubicBezTo>
                <a:cubicBezTo>
                  <a:pt x="1030" y="128"/>
                  <a:pt x="1030" y="128"/>
                  <a:pt x="1030" y="127"/>
                </a:cubicBezTo>
                <a:cubicBezTo>
                  <a:pt x="1031" y="127"/>
                  <a:pt x="1031" y="127"/>
                  <a:pt x="1031" y="127"/>
                </a:cubicBezTo>
                <a:cubicBezTo>
                  <a:pt x="1031" y="128"/>
                  <a:pt x="1031" y="128"/>
                  <a:pt x="1031" y="128"/>
                </a:cubicBezTo>
                <a:cubicBezTo>
                  <a:pt x="1031" y="128"/>
                  <a:pt x="1031" y="128"/>
                  <a:pt x="1031" y="128"/>
                </a:cubicBezTo>
                <a:cubicBezTo>
                  <a:pt x="1032" y="128"/>
                  <a:pt x="1032" y="127"/>
                  <a:pt x="1032" y="127"/>
                </a:cubicBezTo>
                <a:cubicBezTo>
                  <a:pt x="1032" y="127"/>
                  <a:pt x="1033" y="127"/>
                  <a:pt x="1033" y="127"/>
                </a:cubicBezTo>
                <a:cubicBezTo>
                  <a:pt x="1033" y="127"/>
                  <a:pt x="1033" y="127"/>
                  <a:pt x="1033" y="127"/>
                </a:cubicBezTo>
                <a:cubicBezTo>
                  <a:pt x="1033" y="128"/>
                  <a:pt x="1034" y="128"/>
                  <a:pt x="1034" y="128"/>
                </a:cubicBezTo>
                <a:cubicBezTo>
                  <a:pt x="1034" y="128"/>
                  <a:pt x="1034" y="128"/>
                  <a:pt x="1034" y="128"/>
                </a:cubicBezTo>
                <a:cubicBezTo>
                  <a:pt x="1034" y="128"/>
                  <a:pt x="1033" y="128"/>
                  <a:pt x="1033" y="129"/>
                </a:cubicBezTo>
                <a:cubicBezTo>
                  <a:pt x="1033" y="129"/>
                  <a:pt x="1033" y="129"/>
                  <a:pt x="1033" y="129"/>
                </a:cubicBezTo>
                <a:cubicBezTo>
                  <a:pt x="1033" y="129"/>
                  <a:pt x="1034" y="129"/>
                  <a:pt x="1034" y="129"/>
                </a:cubicBezTo>
                <a:cubicBezTo>
                  <a:pt x="1034" y="129"/>
                  <a:pt x="1034" y="128"/>
                  <a:pt x="1035" y="128"/>
                </a:cubicBezTo>
                <a:cubicBezTo>
                  <a:pt x="1035" y="128"/>
                  <a:pt x="1035" y="128"/>
                  <a:pt x="1036" y="128"/>
                </a:cubicBezTo>
                <a:cubicBezTo>
                  <a:pt x="1036" y="129"/>
                  <a:pt x="1037" y="129"/>
                  <a:pt x="1037" y="129"/>
                </a:cubicBezTo>
                <a:cubicBezTo>
                  <a:pt x="1037" y="129"/>
                  <a:pt x="1038" y="129"/>
                  <a:pt x="1038" y="129"/>
                </a:cubicBezTo>
                <a:cubicBezTo>
                  <a:pt x="1038" y="129"/>
                  <a:pt x="1039" y="129"/>
                  <a:pt x="1039" y="129"/>
                </a:cubicBezTo>
                <a:cubicBezTo>
                  <a:pt x="1039" y="129"/>
                  <a:pt x="1039" y="129"/>
                  <a:pt x="1039" y="130"/>
                </a:cubicBezTo>
                <a:cubicBezTo>
                  <a:pt x="1039" y="130"/>
                  <a:pt x="1039" y="130"/>
                  <a:pt x="1040" y="130"/>
                </a:cubicBezTo>
                <a:cubicBezTo>
                  <a:pt x="1040" y="130"/>
                  <a:pt x="1040" y="130"/>
                  <a:pt x="1040" y="130"/>
                </a:cubicBezTo>
                <a:cubicBezTo>
                  <a:pt x="1039" y="130"/>
                  <a:pt x="1039" y="130"/>
                  <a:pt x="1039" y="130"/>
                </a:cubicBezTo>
                <a:cubicBezTo>
                  <a:pt x="1038" y="131"/>
                  <a:pt x="1037" y="131"/>
                  <a:pt x="1037" y="131"/>
                </a:cubicBezTo>
                <a:cubicBezTo>
                  <a:pt x="1036" y="131"/>
                  <a:pt x="1036" y="132"/>
                  <a:pt x="1035" y="132"/>
                </a:cubicBezTo>
                <a:cubicBezTo>
                  <a:pt x="1035" y="132"/>
                  <a:pt x="1034" y="132"/>
                  <a:pt x="1034" y="132"/>
                </a:cubicBezTo>
                <a:cubicBezTo>
                  <a:pt x="1033" y="132"/>
                  <a:pt x="1032" y="132"/>
                  <a:pt x="1032" y="132"/>
                </a:cubicBezTo>
                <a:cubicBezTo>
                  <a:pt x="1031" y="132"/>
                  <a:pt x="1031" y="132"/>
                  <a:pt x="1030" y="132"/>
                </a:cubicBezTo>
                <a:cubicBezTo>
                  <a:pt x="1030" y="132"/>
                  <a:pt x="1029" y="132"/>
                  <a:pt x="1029" y="132"/>
                </a:cubicBezTo>
                <a:cubicBezTo>
                  <a:pt x="1028" y="132"/>
                  <a:pt x="1028" y="132"/>
                  <a:pt x="1027" y="131"/>
                </a:cubicBezTo>
                <a:cubicBezTo>
                  <a:pt x="1027" y="131"/>
                  <a:pt x="1027" y="132"/>
                  <a:pt x="1027" y="132"/>
                </a:cubicBezTo>
                <a:cubicBezTo>
                  <a:pt x="1027" y="132"/>
                  <a:pt x="1027" y="132"/>
                  <a:pt x="1028" y="132"/>
                </a:cubicBezTo>
                <a:cubicBezTo>
                  <a:pt x="1028" y="132"/>
                  <a:pt x="1028" y="132"/>
                  <a:pt x="1029" y="132"/>
                </a:cubicBezTo>
                <a:cubicBezTo>
                  <a:pt x="1029" y="132"/>
                  <a:pt x="1029" y="132"/>
                  <a:pt x="1030" y="133"/>
                </a:cubicBezTo>
                <a:cubicBezTo>
                  <a:pt x="1030" y="133"/>
                  <a:pt x="1030" y="133"/>
                  <a:pt x="1031" y="133"/>
                </a:cubicBezTo>
                <a:cubicBezTo>
                  <a:pt x="1031" y="133"/>
                  <a:pt x="1031" y="133"/>
                  <a:pt x="1031" y="133"/>
                </a:cubicBezTo>
                <a:cubicBezTo>
                  <a:pt x="1031" y="133"/>
                  <a:pt x="1031" y="133"/>
                  <a:pt x="1032" y="134"/>
                </a:cubicBezTo>
                <a:cubicBezTo>
                  <a:pt x="1032" y="134"/>
                  <a:pt x="1032" y="134"/>
                  <a:pt x="1032" y="134"/>
                </a:cubicBezTo>
                <a:cubicBezTo>
                  <a:pt x="1032" y="134"/>
                  <a:pt x="1032" y="134"/>
                  <a:pt x="1032" y="134"/>
                </a:cubicBezTo>
                <a:cubicBezTo>
                  <a:pt x="1032" y="135"/>
                  <a:pt x="1032" y="135"/>
                  <a:pt x="1033" y="135"/>
                </a:cubicBezTo>
                <a:cubicBezTo>
                  <a:pt x="1033" y="135"/>
                  <a:pt x="1033" y="135"/>
                  <a:pt x="1033" y="135"/>
                </a:cubicBezTo>
                <a:cubicBezTo>
                  <a:pt x="1033" y="135"/>
                  <a:pt x="1033" y="134"/>
                  <a:pt x="1034" y="134"/>
                </a:cubicBezTo>
                <a:cubicBezTo>
                  <a:pt x="1034" y="134"/>
                  <a:pt x="1034" y="135"/>
                  <a:pt x="1034" y="135"/>
                </a:cubicBezTo>
                <a:cubicBezTo>
                  <a:pt x="1034" y="135"/>
                  <a:pt x="1035" y="135"/>
                  <a:pt x="1035" y="135"/>
                </a:cubicBezTo>
                <a:cubicBezTo>
                  <a:pt x="1035" y="135"/>
                  <a:pt x="1035" y="135"/>
                  <a:pt x="1035" y="134"/>
                </a:cubicBezTo>
                <a:cubicBezTo>
                  <a:pt x="1035" y="134"/>
                  <a:pt x="1035" y="134"/>
                  <a:pt x="1035" y="134"/>
                </a:cubicBezTo>
                <a:cubicBezTo>
                  <a:pt x="1035" y="134"/>
                  <a:pt x="1035" y="134"/>
                  <a:pt x="1035" y="134"/>
                </a:cubicBezTo>
                <a:cubicBezTo>
                  <a:pt x="1035" y="134"/>
                  <a:pt x="1036" y="134"/>
                  <a:pt x="1036" y="134"/>
                </a:cubicBezTo>
                <a:cubicBezTo>
                  <a:pt x="1036" y="134"/>
                  <a:pt x="1036" y="135"/>
                  <a:pt x="1036" y="135"/>
                </a:cubicBezTo>
                <a:cubicBezTo>
                  <a:pt x="1036" y="134"/>
                  <a:pt x="1036" y="134"/>
                  <a:pt x="1036" y="134"/>
                </a:cubicBezTo>
                <a:cubicBezTo>
                  <a:pt x="1036" y="134"/>
                  <a:pt x="1036" y="134"/>
                  <a:pt x="1037" y="134"/>
                </a:cubicBezTo>
                <a:cubicBezTo>
                  <a:pt x="1037" y="134"/>
                  <a:pt x="1037" y="134"/>
                  <a:pt x="1037" y="134"/>
                </a:cubicBezTo>
                <a:cubicBezTo>
                  <a:pt x="1037" y="134"/>
                  <a:pt x="1038" y="134"/>
                  <a:pt x="1038" y="135"/>
                </a:cubicBezTo>
                <a:cubicBezTo>
                  <a:pt x="1038" y="135"/>
                  <a:pt x="1038" y="135"/>
                  <a:pt x="1038" y="135"/>
                </a:cubicBezTo>
                <a:cubicBezTo>
                  <a:pt x="1038" y="135"/>
                  <a:pt x="1038" y="135"/>
                  <a:pt x="1038" y="135"/>
                </a:cubicBezTo>
                <a:cubicBezTo>
                  <a:pt x="1038" y="135"/>
                  <a:pt x="1038" y="135"/>
                  <a:pt x="1038" y="135"/>
                </a:cubicBezTo>
                <a:cubicBezTo>
                  <a:pt x="1039" y="135"/>
                  <a:pt x="1039" y="135"/>
                  <a:pt x="1039" y="135"/>
                </a:cubicBezTo>
                <a:cubicBezTo>
                  <a:pt x="1040" y="135"/>
                  <a:pt x="1040" y="135"/>
                  <a:pt x="1040" y="135"/>
                </a:cubicBezTo>
                <a:cubicBezTo>
                  <a:pt x="1040" y="135"/>
                  <a:pt x="1040" y="136"/>
                  <a:pt x="1040" y="136"/>
                </a:cubicBezTo>
                <a:cubicBezTo>
                  <a:pt x="1040" y="136"/>
                  <a:pt x="1040" y="136"/>
                  <a:pt x="1040" y="136"/>
                </a:cubicBezTo>
                <a:cubicBezTo>
                  <a:pt x="1040" y="136"/>
                  <a:pt x="1040" y="136"/>
                  <a:pt x="1041" y="135"/>
                </a:cubicBezTo>
                <a:cubicBezTo>
                  <a:pt x="1041" y="135"/>
                  <a:pt x="1041" y="135"/>
                  <a:pt x="1041" y="135"/>
                </a:cubicBezTo>
                <a:cubicBezTo>
                  <a:pt x="1041" y="135"/>
                  <a:pt x="1042" y="135"/>
                  <a:pt x="1042" y="135"/>
                </a:cubicBezTo>
                <a:cubicBezTo>
                  <a:pt x="1042" y="135"/>
                  <a:pt x="1042" y="135"/>
                  <a:pt x="1042" y="135"/>
                </a:cubicBezTo>
                <a:cubicBezTo>
                  <a:pt x="1042" y="135"/>
                  <a:pt x="1042" y="134"/>
                  <a:pt x="1041" y="134"/>
                </a:cubicBezTo>
                <a:cubicBezTo>
                  <a:pt x="1041" y="134"/>
                  <a:pt x="1041" y="134"/>
                  <a:pt x="1041" y="134"/>
                </a:cubicBezTo>
                <a:cubicBezTo>
                  <a:pt x="1042" y="134"/>
                  <a:pt x="1042" y="134"/>
                  <a:pt x="1042" y="134"/>
                </a:cubicBezTo>
                <a:cubicBezTo>
                  <a:pt x="1042" y="134"/>
                  <a:pt x="1043" y="134"/>
                  <a:pt x="1043" y="134"/>
                </a:cubicBezTo>
                <a:cubicBezTo>
                  <a:pt x="1043" y="134"/>
                  <a:pt x="1043" y="134"/>
                  <a:pt x="1043" y="134"/>
                </a:cubicBezTo>
                <a:cubicBezTo>
                  <a:pt x="1043" y="134"/>
                  <a:pt x="1043" y="134"/>
                  <a:pt x="1042" y="134"/>
                </a:cubicBezTo>
                <a:cubicBezTo>
                  <a:pt x="1042" y="134"/>
                  <a:pt x="1042" y="133"/>
                  <a:pt x="1042" y="133"/>
                </a:cubicBezTo>
                <a:cubicBezTo>
                  <a:pt x="1042" y="133"/>
                  <a:pt x="1042" y="133"/>
                  <a:pt x="1042" y="133"/>
                </a:cubicBezTo>
                <a:cubicBezTo>
                  <a:pt x="1043" y="133"/>
                  <a:pt x="1043" y="133"/>
                  <a:pt x="1043" y="133"/>
                </a:cubicBezTo>
                <a:cubicBezTo>
                  <a:pt x="1044" y="133"/>
                  <a:pt x="1044" y="133"/>
                  <a:pt x="1045" y="134"/>
                </a:cubicBezTo>
                <a:cubicBezTo>
                  <a:pt x="1045" y="134"/>
                  <a:pt x="1045" y="134"/>
                  <a:pt x="1045" y="134"/>
                </a:cubicBezTo>
                <a:cubicBezTo>
                  <a:pt x="1045" y="134"/>
                  <a:pt x="1046" y="134"/>
                  <a:pt x="1046" y="135"/>
                </a:cubicBezTo>
                <a:cubicBezTo>
                  <a:pt x="1046" y="134"/>
                  <a:pt x="1046" y="134"/>
                  <a:pt x="1046" y="134"/>
                </a:cubicBezTo>
                <a:cubicBezTo>
                  <a:pt x="1047" y="134"/>
                  <a:pt x="1047" y="134"/>
                  <a:pt x="1047" y="135"/>
                </a:cubicBezTo>
                <a:cubicBezTo>
                  <a:pt x="1047" y="135"/>
                  <a:pt x="1047" y="135"/>
                  <a:pt x="1047" y="135"/>
                </a:cubicBezTo>
                <a:cubicBezTo>
                  <a:pt x="1048" y="135"/>
                  <a:pt x="1048" y="135"/>
                  <a:pt x="1048" y="135"/>
                </a:cubicBezTo>
                <a:cubicBezTo>
                  <a:pt x="1048" y="135"/>
                  <a:pt x="1048" y="135"/>
                  <a:pt x="1048" y="136"/>
                </a:cubicBezTo>
                <a:cubicBezTo>
                  <a:pt x="1048" y="136"/>
                  <a:pt x="1047" y="136"/>
                  <a:pt x="1047" y="136"/>
                </a:cubicBezTo>
                <a:cubicBezTo>
                  <a:pt x="1047" y="136"/>
                  <a:pt x="1047" y="136"/>
                  <a:pt x="1046" y="136"/>
                </a:cubicBezTo>
                <a:cubicBezTo>
                  <a:pt x="1046" y="136"/>
                  <a:pt x="1045" y="136"/>
                  <a:pt x="1045" y="136"/>
                </a:cubicBezTo>
                <a:cubicBezTo>
                  <a:pt x="1045" y="136"/>
                  <a:pt x="1044" y="135"/>
                  <a:pt x="1044" y="135"/>
                </a:cubicBezTo>
                <a:cubicBezTo>
                  <a:pt x="1044" y="135"/>
                  <a:pt x="1044" y="135"/>
                  <a:pt x="1044" y="135"/>
                </a:cubicBezTo>
                <a:cubicBezTo>
                  <a:pt x="1044" y="135"/>
                  <a:pt x="1044" y="135"/>
                  <a:pt x="1043" y="135"/>
                </a:cubicBezTo>
                <a:cubicBezTo>
                  <a:pt x="1043" y="135"/>
                  <a:pt x="1043" y="136"/>
                  <a:pt x="1043" y="136"/>
                </a:cubicBezTo>
                <a:cubicBezTo>
                  <a:pt x="1043" y="136"/>
                  <a:pt x="1043" y="136"/>
                  <a:pt x="1044" y="137"/>
                </a:cubicBezTo>
                <a:cubicBezTo>
                  <a:pt x="1044" y="136"/>
                  <a:pt x="1044" y="136"/>
                  <a:pt x="1044" y="136"/>
                </a:cubicBezTo>
                <a:cubicBezTo>
                  <a:pt x="1045" y="136"/>
                  <a:pt x="1045" y="136"/>
                  <a:pt x="1045" y="136"/>
                </a:cubicBezTo>
                <a:cubicBezTo>
                  <a:pt x="1045" y="137"/>
                  <a:pt x="1045" y="137"/>
                  <a:pt x="1045" y="137"/>
                </a:cubicBezTo>
                <a:cubicBezTo>
                  <a:pt x="1045" y="137"/>
                  <a:pt x="1046" y="137"/>
                  <a:pt x="1046" y="137"/>
                </a:cubicBezTo>
                <a:cubicBezTo>
                  <a:pt x="1046" y="137"/>
                  <a:pt x="1047" y="137"/>
                  <a:pt x="1047" y="137"/>
                </a:cubicBezTo>
                <a:cubicBezTo>
                  <a:pt x="1047" y="137"/>
                  <a:pt x="1047" y="137"/>
                  <a:pt x="1047" y="137"/>
                </a:cubicBezTo>
                <a:cubicBezTo>
                  <a:pt x="1047" y="137"/>
                  <a:pt x="1047" y="137"/>
                  <a:pt x="1047" y="137"/>
                </a:cubicBezTo>
                <a:cubicBezTo>
                  <a:pt x="1048" y="137"/>
                  <a:pt x="1048" y="137"/>
                  <a:pt x="1048" y="137"/>
                </a:cubicBezTo>
                <a:cubicBezTo>
                  <a:pt x="1048" y="137"/>
                  <a:pt x="1048" y="137"/>
                  <a:pt x="1048" y="137"/>
                </a:cubicBezTo>
                <a:cubicBezTo>
                  <a:pt x="1048" y="137"/>
                  <a:pt x="1048" y="137"/>
                  <a:pt x="1048" y="138"/>
                </a:cubicBezTo>
                <a:cubicBezTo>
                  <a:pt x="1048" y="138"/>
                  <a:pt x="1048" y="138"/>
                  <a:pt x="1048" y="138"/>
                </a:cubicBezTo>
                <a:cubicBezTo>
                  <a:pt x="1048" y="138"/>
                  <a:pt x="1049" y="137"/>
                  <a:pt x="1049" y="137"/>
                </a:cubicBezTo>
                <a:cubicBezTo>
                  <a:pt x="1049" y="137"/>
                  <a:pt x="1049" y="137"/>
                  <a:pt x="1050" y="137"/>
                </a:cubicBezTo>
                <a:cubicBezTo>
                  <a:pt x="1050" y="137"/>
                  <a:pt x="1050" y="137"/>
                  <a:pt x="1050" y="137"/>
                </a:cubicBezTo>
                <a:cubicBezTo>
                  <a:pt x="1050" y="137"/>
                  <a:pt x="1050" y="137"/>
                  <a:pt x="1050" y="137"/>
                </a:cubicBezTo>
                <a:cubicBezTo>
                  <a:pt x="1050" y="138"/>
                  <a:pt x="1050" y="138"/>
                  <a:pt x="1049" y="138"/>
                </a:cubicBezTo>
                <a:cubicBezTo>
                  <a:pt x="1050" y="138"/>
                  <a:pt x="1050" y="138"/>
                  <a:pt x="1050" y="138"/>
                </a:cubicBezTo>
                <a:cubicBezTo>
                  <a:pt x="1051" y="138"/>
                  <a:pt x="1051" y="138"/>
                  <a:pt x="1051" y="138"/>
                </a:cubicBezTo>
                <a:cubicBezTo>
                  <a:pt x="1051" y="138"/>
                  <a:pt x="1050" y="138"/>
                  <a:pt x="1050" y="138"/>
                </a:cubicBezTo>
                <a:cubicBezTo>
                  <a:pt x="1050" y="139"/>
                  <a:pt x="1050" y="139"/>
                  <a:pt x="1049" y="139"/>
                </a:cubicBezTo>
                <a:cubicBezTo>
                  <a:pt x="1050" y="139"/>
                  <a:pt x="1050" y="139"/>
                  <a:pt x="1051" y="139"/>
                </a:cubicBezTo>
                <a:cubicBezTo>
                  <a:pt x="1051" y="139"/>
                  <a:pt x="1051" y="138"/>
                  <a:pt x="1051" y="138"/>
                </a:cubicBezTo>
                <a:cubicBezTo>
                  <a:pt x="1051" y="138"/>
                  <a:pt x="1051" y="138"/>
                  <a:pt x="1051" y="138"/>
                </a:cubicBezTo>
                <a:cubicBezTo>
                  <a:pt x="1051" y="138"/>
                  <a:pt x="1051" y="138"/>
                  <a:pt x="1052" y="137"/>
                </a:cubicBezTo>
                <a:cubicBezTo>
                  <a:pt x="1052" y="137"/>
                  <a:pt x="1052" y="137"/>
                  <a:pt x="1053" y="137"/>
                </a:cubicBezTo>
                <a:cubicBezTo>
                  <a:pt x="1053" y="138"/>
                  <a:pt x="1053" y="138"/>
                  <a:pt x="1054" y="138"/>
                </a:cubicBezTo>
                <a:cubicBezTo>
                  <a:pt x="1054" y="138"/>
                  <a:pt x="1054" y="138"/>
                  <a:pt x="1054" y="138"/>
                </a:cubicBezTo>
                <a:cubicBezTo>
                  <a:pt x="1054" y="137"/>
                  <a:pt x="1053" y="137"/>
                  <a:pt x="1053" y="137"/>
                </a:cubicBezTo>
                <a:cubicBezTo>
                  <a:pt x="1053" y="137"/>
                  <a:pt x="1053" y="137"/>
                  <a:pt x="1053" y="137"/>
                </a:cubicBezTo>
                <a:cubicBezTo>
                  <a:pt x="1054" y="137"/>
                  <a:pt x="1054" y="137"/>
                  <a:pt x="1054" y="137"/>
                </a:cubicBezTo>
                <a:cubicBezTo>
                  <a:pt x="1055" y="137"/>
                  <a:pt x="1055" y="138"/>
                  <a:pt x="1055" y="138"/>
                </a:cubicBezTo>
                <a:cubicBezTo>
                  <a:pt x="1056" y="138"/>
                  <a:pt x="1056" y="138"/>
                  <a:pt x="1057" y="138"/>
                </a:cubicBezTo>
                <a:cubicBezTo>
                  <a:pt x="1057" y="138"/>
                  <a:pt x="1057" y="138"/>
                  <a:pt x="1058" y="138"/>
                </a:cubicBezTo>
                <a:cubicBezTo>
                  <a:pt x="1058" y="138"/>
                  <a:pt x="1058" y="138"/>
                  <a:pt x="1059" y="138"/>
                </a:cubicBezTo>
                <a:cubicBezTo>
                  <a:pt x="1059" y="138"/>
                  <a:pt x="1059" y="138"/>
                  <a:pt x="1059" y="138"/>
                </a:cubicBezTo>
                <a:cubicBezTo>
                  <a:pt x="1059" y="138"/>
                  <a:pt x="1060" y="138"/>
                  <a:pt x="1060" y="138"/>
                </a:cubicBezTo>
                <a:cubicBezTo>
                  <a:pt x="1060" y="138"/>
                  <a:pt x="1061" y="138"/>
                  <a:pt x="1061" y="139"/>
                </a:cubicBezTo>
                <a:cubicBezTo>
                  <a:pt x="1061" y="138"/>
                  <a:pt x="1061" y="138"/>
                  <a:pt x="1061" y="138"/>
                </a:cubicBezTo>
                <a:cubicBezTo>
                  <a:pt x="1062" y="138"/>
                  <a:pt x="1062" y="139"/>
                  <a:pt x="1063" y="139"/>
                </a:cubicBezTo>
                <a:cubicBezTo>
                  <a:pt x="1065" y="139"/>
                  <a:pt x="1067" y="140"/>
                  <a:pt x="1069" y="141"/>
                </a:cubicBezTo>
                <a:cubicBezTo>
                  <a:pt x="1070" y="142"/>
                  <a:pt x="1071" y="142"/>
                  <a:pt x="1073" y="143"/>
                </a:cubicBezTo>
                <a:cubicBezTo>
                  <a:pt x="1073" y="143"/>
                  <a:pt x="1073" y="143"/>
                  <a:pt x="1073" y="144"/>
                </a:cubicBezTo>
                <a:cubicBezTo>
                  <a:pt x="1074" y="144"/>
                  <a:pt x="1074" y="144"/>
                  <a:pt x="1074" y="144"/>
                </a:cubicBezTo>
                <a:cubicBezTo>
                  <a:pt x="1075" y="144"/>
                  <a:pt x="1075" y="145"/>
                  <a:pt x="1076" y="145"/>
                </a:cubicBezTo>
                <a:cubicBezTo>
                  <a:pt x="1076" y="145"/>
                  <a:pt x="1076" y="145"/>
                  <a:pt x="1077" y="146"/>
                </a:cubicBezTo>
                <a:cubicBezTo>
                  <a:pt x="1076" y="145"/>
                  <a:pt x="1076" y="145"/>
                  <a:pt x="1076" y="145"/>
                </a:cubicBezTo>
                <a:cubicBezTo>
                  <a:pt x="1076" y="145"/>
                  <a:pt x="1076" y="145"/>
                  <a:pt x="1076" y="145"/>
                </a:cubicBezTo>
                <a:cubicBezTo>
                  <a:pt x="1077" y="145"/>
                  <a:pt x="1077" y="145"/>
                  <a:pt x="1077" y="145"/>
                </a:cubicBezTo>
                <a:cubicBezTo>
                  <a:pt x="1077" y="145"/>
                  <a:pt x="1078" y="146"/>
                  <a:pt x="1079" y="146"/>
                </a:cubicBezTo>
                <a:cubicBezTo>
                  <a:pt x="1079" y="146"/>
                  <a:pt x="1079" y="146"/>
                  <a:pt x="1079" y="146"/>
                </a:cubicBezTo>
                <a:cubicBezTo>
                  <a:pt x="1080" y="146"/>
                  <a:pt x="1080" y="147"/>
                  <a:pt x="1081" y="147"/>
                </a:cubicBezTo>
                <a:cubicBezTo>
                  <a:pt x="1081" y="147"/>
                  <a:pt x="1081" y="147"/>
                  <a:pt x="1082" y="147"/>
                </a:cubicBezTo>
                <a:cubicBezTo>
                  <a:pt x="1081" y="146"/>
                  <a:pt x="1081" y="146"/>
                  <a:pt x="1081" y="146"/>
                </a:cubicBezTo>
                <a:cubicBezTo>
                  <a:pt x="1081" y="146"/>
                  <a:pt x="1081" y="146"/>
                  <a:pt x="1081" y="145"/>
                </a:cubicBezTo>
                <a:cubicBezTo>
                  <a:pt x="1081" y="145"/>
                  <a:pt x="1081" y="146"/>
                  <a:pt x="1081" y="146"/>
                </a:cubicBezTo>
                <a:cubicBezTo>
                  <a:pt x="1082" y="146"/>
                  <a:pt x="1082" y="146"/>
                  <a:pt x="1082" y="146"/>
                </a:cubicBezTo>
                <a:cubicBezTo>
                  <a:pt x="1082" y="147"/>
                  <a:pt x="1082" y="147"/>
                  <a:pt x="1082" y="147"/>
                </a:cubicBezTo>
                <a:cubicBezTo>
                  <a:pt x="1083" y="147"/>
                  <a:pt x="1084" y="148"/>
                  <a:pt x="1084" y="148"/>
                </a:cubicBezTo>
                <a:cubicBezTo>
                  <a:pt x="1084" y="148"/>
                  <a:pt x="1084" y="149"/>
                  <a:pt x="1084" y="149"/>
                </a:cubicBezTo>
                <a:cubicBezTo>
                  <a:pt x="1085" y="149"/>
                  <a:pt x="1085" y="149"/>
                  <a:pt x="1086" y="149"/>
                </a:cubicBezTo>
                <a:cubicBezTo>
                  <a:pt x="1086" y="149"/>
                  <a:pt x="1086" y="149"/>
                  <a:pt x="1086" y="149"/>
                </a:cubicBezTo>
                <a:cubicBezTo>
                  <a:pt x="1086" y="149"/>
                  <a:pt x="1087" y="149"/>
                  <a:pt x="1087" y="149"/>
                </a:cubicBezTo>
                <a:cubicBezTo>
                  <a:pt x="1087" y="149"/>
                  <a:pt x="1088" y="150"/>
                  <a:pt x="1088" y="150"/>
                </a:cubicBezTo>
                <a:cubicBezTo>
                  <a:pt x="1088" y="150"/>
                  <a:pt x="1088" y="151"/>
                  <a:pt x="1088" y="151"/>
                </a:cubicBezTo>
                <a:cubicBezTo>
                  <a:pt x="1089" y="151"/>
                  <a:pt x="1089" y="151"/>
                  <a:pt x="1089" y="151"/>
                </a:cubicBezTo>
                <a:cubicBezTo>
                  <a:pt x="1089" y="152"/>
                  <a:pt x="1090" y="152"/>
                  <a:pt x="1090" y="152"/>
                </a:cubicBezTo>
                <a:cubicBezTo>
                  <a:pt x="1090" y="152"/>
                  <a:pt x="1090" y="152"/>
                  <a:pt x="1090" y="152"/>
                </a:cubicBezTo>
                <a:cubicBezTo>
                  <a:pt x="1091" y="152"/>
                  <a:pt x="1091" y="152"/>
                  <a:pt x="1091" y="153"/>
                </a:cubicBezTo>
                <a:cubicBezTo>
                  <a:pt x="1091" y="153"/>
                  <a:pt x="1091" y="153"/>
                  <a:pt x="1091" y="153"/>
                </a:cubicBezTo>
                <a:cubicBezTo>
                  <a:pt x="1091" y="154"/>
                  <a:pt x="1091" y="154"/>
                  <a:pt x="1091" y="154"/>
                </a:cubicBezTo>
                <a:cubicBezTo>
                  <a:pt x="1091" y="155"/>
                  <a:pt x="1090" y="155"/>
                  <a:pt x="1090" y="155"/>
                </a:cubicBezTo>
                <a:cubicBezTo>
                  <a:pt x="1090" y="156"/>
                  <a:pt x="1090" y="156"/>
                  <a:pt x="1090" y="156"/>
                </a:cubicBezTo>
                <a:cubicBezTo>
                  <a:pt x="1090" y="156"/>
                  <a:pt x="1090" y="156"/>
                  <a:pt x="1090" y="156"/>
                </a:cubicBezTo>
                <a:cubicBezTo>
                  <a:pt x="1089" y="157"/>
                  <a:pt x="1089" y="157"/>
                  <a:pt x="1089" y="157"/>
                </a:cubicBezTo>
                <a:cubicBezTo>
                  <a:pt x="1088" y="158"/>
                  <a:pt x="1088" y="158"/>
                  <a:pt x="1088" y="158"/>
                </a:cubicBezTo>
                <a:cubicBezTo>
                  <a:pt x="1088" y="158"/>
                  <a:pt x="1087" y="159"/>
                  <a:pt x="1086" y="160"/>
                </a:cubicBezTo>
                <a:cubicBezTo>
                  <a:pt x="1085" y="160"/>
                  <a:pt x="1085" y="160"/>
                  <a:pt x="1084" y="160"/>
                </a:cubicBezTo>
                <a:cubicBezTo>
                  <a:pt x="1084" y="160"/>
                  <a:pt x="1083" y="160"/>
                  <a:pt x="1082" y="160"/>
                </a:cubicBezTo>
                <a:cubicBezTo>
                  <a:pt x="1082" y="160"/>
                  <a:pt x="1082" y="160"/>
                  <a:pt x="1082" y="160"/>
                </a:cubicBezTo>
                <a:cubicBezTo>
                  <a:pt x="1081" y="160"/>
                  <a:pt x="1080" y="160"/>
                  <a:pt x="1080" y="160"/>
                </a:cubicBezTo>
                <a:cubicBezTo>
                  <a:pt x="1080" y="160"/>
                  <a:pt x="1080" y="161"/>
                  <a:pt x="1080" y="161"/>
                </a:cubicBezTo>
                <a:cubicBezTo>
                  <a:pt x="1079" y="161"/>
                  <a:pt x="1078" y="161"/>
                  <a:pt x="1077" y="161"/>
                </a:cubicBezTo>
                <a:cubicBezTo>
                  <a:pt x="1076" y="161"/>
                  <a:pt x="1075" y="160"/>
                  <a:pt x="1074" y="160"/>
                </a:cubicBezTo>
                <a:cubicBezTo>
                  <a:pt x="1073" y="160"/>
                  <a:pt x="1072" y="160"/>
                  <a:pt x="1072" y="160"/>
                </a:cubicBezTo>
                <a:cubicBezTo>
                  <a:pt x="1071" y="160"/>
                  <a:pt x="1071" y="159"/>
                  <a:pt x="1070" y="159"/>
                </a:cubicBezTo>
                <a:cubicBezTo>
                  <a:pt x="1070" y="159"/>
                  <a:pt x="1070" y="159"/>
                  <a:pt x="1069" y="159"/>
                </a:cubicBezTo>
                <a:cubicBezTo>
                  <a:pt x="1069" y="159"/>
                  <a:pt x="1069" y="159"/>
                  <a:pt x="1069" y="159"/>
                </a:cubicBezTo>
                <a:cubicBezTo>
                  <a:pt x="1068" y="159"/>
                  <a:pt x="1067" y="159"/>
                  <a:pt x="1067" y="159"/>
                </a:cubicBezTo>
                <a:cubicBezTo>
                  <a:pt x="1067" y="159"/>
                  <a:pt x="1067" y="159"/>
                  <a:pt x="1067" y="159"/>
                </a:cubicBezTo>
                <a:cubicBezTo>
                  <a:pt x="1066" y="159"/>
                  <a:pt x="1066" y="159"/>
                  <a:pt x="1066" y="158"/>
                </a:cubicBezTo>
                <a:cubicBezTo>
                  <a:pt x="1066" y="159"/>
                  <a:pt x="1065" y="159"/>
                  <a:pt x="1065" y="159"/>
                </a:cubicBezTo>
                <a:cubicBezTo>
                  <a:pt x="1064" y="158"/>
                  <a:pt x="1064" y="158"/>
                  <a:pt x="1064" y="158"/>
                </a:cubicBezTo>
                <a:cubicBezTo>
                  <a:pt x="1064" y="158"/>
                  <a:pt x="1064" y="158"/>
                  <a:pt x="1064" y="157"/>
                </a:cubicBezTo>
                <a:cubicBezTo>
                  <a:pt x="1063" y="157"/>
                  <a:pt x="1063" y="157"/>
                  <a:pt x="1062" y="157"/>
                </a:cubicBezTo>
                <a:cubicBezTo>
                  <a:pt x="1062" y="157"/>
                  <a:pt x="1062" y="157"/>
                  <a:pt x="1061" y="157"/>
                </a:cubicBezTo>
                <a:cubicBezTo>
                  <a:pt x="1062" y="157"/>
                  <a:pt x="1062" y="157"/>
                  <a:pt x="1062" y="157"/>
                </a:cubicBezTo>
                <a:cubicBezTo>
                  <a:pt x="1061" y="157"/>
                  <a:pt x="1061" y="157"/>
                  <a:pt x="1060" y="157"/>
                </a:cubicBezTo>
                <a:cubicBezTo>
                  <a:pt x="1060" y="157"/>
                  <a:pt x="1060" y="157"/>
                  <a:pt x="1060" y="157"/>
                </a:cubicBezTo>
                <a:cubicBezTo>
                  <a:pt x="1059" y="157"/>
                  <a:pt x="1059" y="157"/>
                  <a:pt x="1058" y="157"/>
                </a:cubicBezTo>
                <a:cubicBezTo>
                  <a:pt x="1058" y="157"/>
                  <a:pt x="1058" y="157"/>
                  <a:pt x="1058" y="157"/>
                </a:cubicBezTo>
                <a:cubicBezTo>
                  <a:pt x="1058" y="157"/>
                  <a:pt x="1058" y="157"/>
                  <a:pt x="1058" y="157"/>
                </a:cubicBezTo>
                <a:cubicBezTo>
                  <a:pt x="1058" y="156"/>
                  <a:pt x="1059" y="156"/>
                  <a:pt x="1059" y="156"/>
                </a:cubicBezTo>
                <a:cubicBezTo>
                  <a:pt x="1059" y="156"/>
                  <a:pt x="1058" y="156"/>
                  <a:pt x="1058" y="156"/>
                </a:cubicBezTo>
                <a:cubicBezTo>
                  <a:pt x="1058" y="156"/>
                  <a:pt x="1058" y="156"/>
                  <a:pt x="1058" y="156"/>
                </a:cubicBezTo>
                <a:cubicBezTo>
                  <a:pt x="1057" y="156"/>
                  <a:pt x="1057" y="156"/>
                  <a:pt x="1056" y="156"/>
                </a:cubicBezTo>
                <a:cubicBezTo>
                  <a:pt x="1056" y="156"/>
                  <a:pt x="1055" y="156"/>
                  <a:pt x="1055" y="155"/>
                </a:cubicBezTo>
                <a:cubicBezTo>
                  <a:pt x="1055" y="155"/>
                  <a:pt x="1055" y="155"/>
                  <a:pt x="1055" y="156"/>
                </a:cubicBezTo>
                <a:cubicBezTo>
                  <a:pt x="1054" y="156"/>
                  <a:pt x="1054" y="155"/>
                  <a:pt x="1054" y="155"/>
                </a:cubicBezTo>
                <a:cubicBezTo>
                  <a:pt x="1053" y="155"/>
                  <a:pt x="1052" y="154"/>
                  <a:pt x="1051" y="154"/>
                </a:cubicBezTo>
                <a:cubicBezTo>
                  <a:pt x="1051" y="154"/>
                  <a:pt x="1051" y="154"/>
                  <a:pt x="1051" y="153"/>
                </a:cubicBezTo>
                <a:cubicBezTo>
                  <a:pt x="1051" y="153"/>
                  <a:pt x="1050" y="153"/>
                  <a:pt x="1050" y="153"/>
                </a:cubicBezTo>
                <a:cubicBezTo>
                  <a:pt x="1050" y="153"/>
                  <a:pt x="1049" y="153"/>
                  <a:pt x="1049" y="153"/>
                </a:cubicBezTo>
                <a:cubicBezTo>
                  <a:pt x="1049" y="153"/>
                  <a:pt x="1049" y="153"/>
                  <a:pt x="1048" y="153"/>
                </a:cubicBezTo>
                <a:cubicBezTo>
                  <a:pt x="1048" y="153"/>
                  <a:pt x="1048" y="153"/>
                  <a:pt x="1048" y="153"/>
                </a:cubicBezTo>
                <a:cubicBezTo>
                  <a:pt x="1048" y="153"/>
                  <a:pt x="1049" y="153"/>
                  <a:pt x="1049" y="154"/>
                </a:cubicBezTo>
                <a:cubicBezTo>
                  <a:pt x="1049" y="154"/>
                  <a:pt x="1049" y="154"/>
                  <a:pt x="1049" y="155"/>
                </a:cubicBezTo>
                <a:cubicBezTo>
                  <a:pt x="1050" y="155"/>
                  <a:pt x="1050" y="155"/>
                  <a:pt x="1051" y="155"/>
                </a:cubicBezTo>
                <a:cubicBezTo>
                  <a:pt x="1051" y="156"/>
                  <a:pt x="1051" y="156"/>
                  <a:pt x="1051" y="156"/>
                </a:cubicBezTo>
                <a:cubicBezTo>
                  <a:pt x="1052" y="156"/>
                  <a:pt x="1052" y="156"/>
                  <a:pt x="1053" y="156"/>
                </a:cubicBezTo>
                <a:cubicBezTo>
                  <a:pt x="1053" y="156"/>
                  <a:pt x="1053" y="156"/>
                  <a:pt x="1053" y="157"/>
                </a:cubicBezTo>
                <a:cubicBezTo>
                  <a:pt x="1053" y="157"/>
                  <a:pt x="1052" y="157"/>
                  <a:pt x="1052" y="157"/>
                </a:cubicBezTo>
                <a:cubicBezTo>
                  <a:pt x="1052" y="157"/>
                  <a:pt x="1052" y="157"/>
                  <a:pt x="1051" y="157"/>
                </a:cubicBezTo>
                <a:cubicBezTo>
                  <a:pt x="1051" y="157"/>
                  <a:pt x="1052" y="157"/>
                  <a:pt x="1052" y="158"/>
                </a:cubicBezTo>
                <a:cubicBezTo>
                  <a:pt x="1052" y="157"/>
                  <a:pt x="1053" y="157"/>
                  <a:pt x="1054" y="157"/>
                </a:cubicBezTo>
                <a:cubicBezTo>
                  <a:pt x="1054" y="157"/>
                  <a:pt x="1054" y="157"/>
                  <a:pt x="1054" y="157"/>
                </a:cubicBezTo>
                <a:cubicBezTo>
                  <a:pt x="1055" y="157"/>
                  <a:pt x="1055" y="157"/>
                  <a:pt x="1055" y="157"/>
                </a:cubicBezTo>
                <a:cubicBezTo>
                  <a:pt x="1055" y="157"/>
                  <a:pt x="1055" y="158"/>
                  <a:pt x="1054" y="158"/>
                </a:cubicBezTo>
                <a:cubicBezTo>
                  <a:pt x="1054" y="158"/>
                  <a:pt x="1054" y="158"/>
                  <a:pt x="1054" y="158"/>
                </a:cubicBezTo>
                <a:cubicBezTo>
                  <a:pt x="1055" y="158"/>
                  <a:pt x="1055" y="158"/>
                  <a:pt x="1055" y="158"/>
                </a:cubicBezTo>
                <a:cubicBezTo>
                  <a:pt x="1055" y="158"/>
                  <a:pt x="1055" y="158"/>
                  <a:pt x="1055" y="159"/>
                </a:cubicBezTo>
                <a:cubicBezTo>
                  <a:pt x="1055" y="159"/>
                  <a:pt x="1054" y="159"/>
                  <a:pt x="1054" y="159"/>
                </a:cubicBezTo>
                <a:cubicBezTo>
                  <a:pt x="1054" y="159"/>
                  <a:pt x="1054" y="159"/>
                  <a:pt x="1054" y="159"/>
                </a:cubicBezTo>
                <a:cubicBezTo>
                  <a:pt x="1054" y="159"/>
                  <a:pt x="1054" y="159"/>
                  <a:pt x="1055" y="159"/>
                </a:cubicBezTo>
                <a:cubicBezTo>
                  <a:pt x="1055" y="159"/>
                  <a:pt x="1055" y="159"/>
                  <a:pt x="1055" y="159"/>
                </a:cubicBezTo>
                <a:cubicBezTo>
                  <a:pt x="1056" y="159"/>
                  <a:pt x="1056" y="159"/>
                  <a:pt x="1056" y="159"/>
                </a:cubicBezTo>
                <a:cubicBezTo>
                  <a:pt x="1056" y="159"/>
                  <a:pt x="1057" y="159"/>
                  <a:pt x="1057" y="159"/>
                </a:cubicBezTo>
                <a:cubicBezTo>
                  <a:pt x="1057" y="159"/>
                  <a:pt x="1057" y="159"/>
                  <a:pt x="1058" y="159"/>
                </a:cubicBezTo>
                <a:cubicBezTo>
                  <a:pt x="1058" y="159"/>
                  <a:pt x="1059" y="160"/>
                  <a:pt x="1060" y="160"/>
                </a:cubicBezTo>
                <a:cubicBezTo>
                  <a:pt x="1060" y="160"/>
                  <a:pt x="1061" y="161"/>
                  <a:pt x="1061" y="161"/>
                </a:cubicBezTo>
                <a:cubicBezTo>
                  <a:pt x="1061" y="161"/>
                  <a:pt x="1062" y="161"/>
                  <a:pt x="1062" y="161"/>
                </a:cubicBezTo>
                <a:cubicBezTo>
                  <a:pt x="1062" y="161"/>
                  <a:pt x="1062" y="162"/>
                  <a:pt x="1061" y="162"/>
                </a:cubicBezTo>
                <a:cubicBezTo>
                  <a:pt x="1061" y="162"/>
                  <a:pt x="1061" y="162"/>
                  <a:pt x="1061" y="162"/>
                </a:cubicBezTo>
                <a:cubicBezTo>
                  <a:pt x="1061" y="162"/>
                  <a:pt x="1062" y="162"/>
                  <a:pt x="1062" y="162"/>
                </a:cubicBezTo>
                <a:cubicBezTo>
                  <a:pt x="1062" y="163"/>
                  <a:pt x="1062" y="163"/>
                  <a:pt x="1062" y="163"/>
                </a:cubicBezTo>
                <a:cubicBezTo>
                  <a:pt x="1062" y="163"/>
                  <a:pt x="1062" y="164"/>
                  <a:pt x="1062" y="164"/>
                </a:cubicBezTo>
                <a:cubicBezTo>
                  <a:pt x="1061" y="164"/>
                  <a:pt x="1061" y="164"/>
                  <a:pt x="1061" y="164"/>
                </a:cubicBezTo>
                <a:cubicBezTo>
                  <a:pt x="1061" y="165"/>
                  <a:pt x="1060" y="165"/>
                  <a:pt x="1060" y="165"/>
                </a:cubicBezTo>
                <a:cubicBezTo>
                  <a:pt x="1061" y="165"/>
                  <a:pt x="1061" y="165"/>
                  <a:pt x="1061" y="165"/>
                </a:cubicBezTo>
                <a:cubicBezTo>
                  <a:pt x="1061" y="166"/>
                  <a:pt x="1061" y="166"/>
                  <a:pt x="1061" y="166"/>
                </a:cubicBezTo>
                <a:cubicBezTo>
                  <a:pt x="1062" y="166"/>
                  <a:pt x="1062" y="167"/>
                  <a:pt x="1063" y="167"/>
                </a:cubicBezTo>
                <a:cubicBezTo>
                  <a:pt x="1063" y="167"/>
                  <a:pt x="1063" y="168"/>
                  <a:pt x="1063" y="168"/>
                </a:cubicBezTo>
                <a:cubicBezTo>
                  <a:pt x="1063" y="168"/>
                  <a:pt x="1063" y="168"/>
                  <a:pt x="1064" y="168"/>
                </a:cubicBezTo>
                <a:cubicBezTo>
                  <a:pt x="1064" y="169"/>
                  <a:pt x="1064" y="169"/>
                  <a:pt x="1064" y="169"/>
                </a:cubicBezTo>
                <a:cubicBezTo>
                  <a:pt x="1064" y="169"/>
                  <a:pt x="1064" y="170"/>
                  <a:pt x="1064" y="170"/>
                </a:cubicBezTo>
                <a:cubicBezTo>
                  <a:pt x="1064" y="170"/>
                  <a:pt x="1064" y="170"/>
                  <a:pt x="1063" y="170"/>
                </a:cubicBezTo>
                <a:cubicBezTo>
                  <a:pt x="1064" y="171"/>
                  <a:pt x="1064" y="171"/>
                  <a:pt x="1064" y="171"/>
                </a:cubicBezTo>
                <a:cubicBezTo>
                  <a:pt x="1064" y="171"/>
                  <a:pt x="1064" y="171"/>
                  <a:pt x="1064" y="172"/>
                </a:cubicBezTo>
                <a:cubicBezTo>
                  <a:pt x="1065" y="172"/>
                  <a:pt x="1066" y="172"/>
                  <a:pt x="1067" y="172"/>
                </a:cubicBezTo>
                <a:cubicBezTo>
                  <a:pt x="1067" y="172"/>
                  <a:pt x="1067" y="172"/>
                  <a:pt x="1068" y="172"/>
                </a:cubicBezTo>
                <a:cubicBezTo>
                  <a:pt x="1068" y="172"/>
                  <a:pt x="1068" y="172"/>
                  <a:pt x="1068" y="172"/>
                </a:cubicBezTo>
                <a:cubicBezTo>
                  <a:pt x="1068" y="172"/>
                  <a:pt x="1069" y="172"/>
                  <a:pt x="1069" y="173"/>
                </a:cubicBezTo>
                <a:cubicBezTo>
                  <a:pt x="1069" y="173"/>
                  <a:pt x="1070" y="173"/>
                  <a:pt x="1070" y="173"/>
                </a:cubicBezTo>
                <a:cubicBezTo>
                  <a:pt x="1070" y="173"/>
                  <a:pt x="1070" y="174"/>
                  <a:pt x="1070" y="174"/>
                </a:cubicBezTo>
                <a:cubicBezTo>
                  <a:pt x="1070" y="174"/>
                  <a:pt x="1070" y="174"/>
                  <a:pt x="1071" y="174"/>
                </a:cubicBezTo>
                <a:cubicBezTo>
                  <a:pt x="1071" y="174"/>
                  <a:pt x="1072" y="174"/>
                  <a:pt x="1072" y="174"/>
                </a:cubicBezTo>
                <a:cubicBezTo>
                  <a:pt x="1073" y="174"/>
                  <a:pt x="1073" y="175"/>
                  <a:pt x="1073" y="175"/>
                </a:cubicBezTo>
                <a:cubicBezTo>
                  <a:pt x="1074" y="175"/>
                  <a:pt x="1074" y="175"/>
                  <a:pt x="1075" y="175"/>
                </a:cubicBezTo>
                <a:cubicBezTo>
                  <a:pt x="1075" y="175"/>
                  <a:pt x="1075" y="175"/>
                  <a:pt x="1076" y="176"/>
                </a:cubicBezTo>
                <a:cubicBezTo>
                  <a:pt x="1076" y="176"/>
                  <a:pt x="1076" y="176"/>
                  <a:pt x="1076" y="176"/>
                </a:cubicBezTo>
                <a:cubicBezTo>
                  <a:pt x="1077" y="175"/>
                  <a:pt x="1077" y="175"/>
                  <a:pt x="1078" y="175"/>
                </a:cubicBezTo>
                <a:cubicBezTo>
                  <a:pt x="1078" y="175"/>
                  <a:pt x="1078" y="175"/>
                  <a:pt x="1078" y="175"/>
                </a:cubicBezTo>
                <a:cubicBezTo>
                  <a:pt x="1079" y="175"/>
                  <a:pt x="1079" y="175"/>
                  <a:pt x="1079" y="175"/>
                </a:cubicBezTo>
                <a:cubicBezTo>
                  <a:pt x="1079" y="174"/>
                  <a:pt x="1079" y="174"/>
                  <a:pt x="1079" y="174"/>
                </a:cubicBezTo>
                <a:cubicBezTo>
                  <a:pt x="1079" y="173"/>
                  <a:pt x="1079" y="173"/>
                  <a:pt x="1079" y="173"/>
                </a:cubicBezTo>
                <a:cubicBezTo>
                  <a:pt x="1079" y="173"/>
                  <a:pt x="1079" y="173"/>
                  <a:pt x="1079" y="173"/>
                </a:cubicBezTo>
                <a:cubicBezTo>
                  <a:pt x="1079" y="173"/>
                  <a:pt x="1079" y="173"/>
                  <a:pt x="1079" y="172"/>
                </a:cubicBezTo>
                <a:cubicBezTo>
                  <a:pt x="1078" y="172"/>
                  <a:pt x="1078" y="172"/>
                  <a:pt x="1078" y="172"/>
                </a:cubicBezTo>
                <a:cubicBezTo>
                  <a:pt x="1078" y="172"/>
                  <a:pt x="1078" y="172"/>
                  <a:pt x="1078" y="171"/>
                </a:cubicBezTo>
                <a:cubicBezTo>
                  <a:pt x="1077" y="172"/>
                  <a:pt x="1077" y="172"/>
                  <a:pt x="1077" y="172"/>
                </a:cubicBezTo>
                <a:cubicBezTo>
                  <a:pt x="1076" y="172"/>
                  <a:pt x="1076" y="172"/>
                  <a:pt x="1076" y="172"/>
                </a:cubicBezTo>
                <a:cubicBezTo>
                  <a:pt x="1076" y="172"/>
                  <a:pt x="1075" y="172"/>
                  <a:pt x="1075" y="172"/>
                </a:cubicBezTo>
                <a:cubicBezTo>
                  <a:pt x="1074" y="172"/>
                  <a:pt x="1074" y="172"/>
                  <a:pt x="1074" y="171"/>
                </a:cubicBezTo>
                <a:cubicBezTo>
                  <a:pt x="1073" y="171"/>
                  <a:pt x="1073" y="171"/>
                  <a:pt x="1073" y="170"/>
                </a:cubicBezTo>
                <a:cubicBezTo>
                  <a:pt x="1072" y="170"/>
                  <a:pt x="1072" y="170"/>
                  <a:pt x="1071" y="170"/>
                </a:cubicBezTo>
                <a:cubicBezTo>
                  <a:pt x="1071" y="170"/>
                  <a:pt x="1071" y="169"/>
                  <a:pt x="1071" y="169"/>
                </a:cubicBezTo>
                <a:cubicBezTo>
                  <a:pt x="1071" y="169"/>
                  <a:pt x="1070" y="168"/>
                  <a:pt x="1070" y="168"/>
                </a:cubicBezTo>
                <a:cubicBezTo>
                  <a:pt x="1070" y="168"/>
                  <a:pt x="1071" y="168"/>
                  <a:pt x="1071" y="168"/>
                </a:cubicBezTo>
                <a:cubicBezTo>
                  <a:pt x="1071" y="168"/>
                  <a:pt x="1072" y="168"/>
                  <a:pt x="1072" y="168"/>
                </a:cubicBezTo>
                <a:cubicBezTo>
                  <a:pt x="1072" y="168"/>
                  <a:pt x="1072" y="167"/>
                  <a:pt x="1072" y="167"/>
                </a:cubicBezTo>
                <a:cubicBezTo>
                  <a:pt x="1072" y="167"/>
                  <a:pt x="1072" y="167"/>
                  <a:pt x="1072" y="167"/>
                </a:cubicBezTo>
                <a:cubicBezTo>
                  <a:pt x="1072" y="167"/>
                  <a:pt x="1072" y="167"/>
                  <a:pt x="1072" y="166"/>
                </a:cubicBezTo>
                <a:cubicBezTo>
                  <a:pt x="1072" y="166"/>
                  <a:pt x="1072" y="166"/>
                  <a:pt x="1072" y="166"/>
                </a:cubicBezTo>
                <a:cubicBezTo>
                  <a:pt x="1072" y="166"/>
                  <a:pt x="1073" y="166"/>
                  <a:pt x="1073" y="166"/>
                </a:cubicBezTo>
                <a:cubicBezTo>
                  <a:pt x="1074" y="166"/>
                  <a:pt x="1074" y="166"/>
                  <a:pt x="1074" y="167"/>
                </a:cubicBezTo>
                <a:cubicBezTo>
                  <a:pt x="1075" y="167"/>
                  <a:pt x="1075" y="167"/>
                  <a:pt x="1076" y="167"/>
                </a:cubicBezTo>
                <a:cubicBezTo>
                  <a:pt x="1076" y="167"/>
                  <a:pt x="1077" y="168"/>
                  <a:pt x="1077" y="168"/>
                </a:cubicBezTo>
                <a:cubicBezTo>
                  <a:pt x="1077" y="168"/>
                  <a:pt x="1077" y="168"/>
                  <a:pt x="1078" y="168"/>
                </a:cubicBezTo>
                <a:cubicBezTo>
                  <a:pt x="1078" y="168"/>
                  <a:pt x="1079" y="169"/>
                  <a:pt x="1080" y="169"/>
                </a:cubicBezTo>
                <a:cubicBezTo>
                  <a:pt x="1080" y="169"/>
                  <a:pt x="1080" y="169"/>
                  <a:pt x="1080" y="169"/>
                </a:cubicBezTo>
                <a:cubicBezTo>
                  <a:pt x="1081" y="169"/>
                  <a:pt x="1081" y="169"/>
                  <a:pt x="1081" y="169"/>
                </a:cubicBezTo>
                <a:cubicBezTo>
                  <a:pt x="1083" y="170"/>
                  <a:pt x="1084" y="170"/>
                  <a:pt x="1085" y="171"/>
                </a:cubicBezTo>
                <a:cubicBezTo>
                  <a:pt x="1085" y="171"/>
                  <a:pt x="1086" y="171"/>
                  <a:pt x="1086" y="172"/>
                </a:cubicBezTo>
                <a:cubicBezTo>
                  <a:pt x="1087" y="172"/>
                  <a:pt x="1087" y="171"/>
                  <a:pt x="1087" y="171"/>
                </a:cubicBezTo>
                <a:cubicBezTo>
                  <a:pt x="1087" y="171"/>
                  <a:pt x="1088" y="171"/>
                  <a:pt x="1088" y="171"/>
                </a:cubicBezTo>
                <a:cubicBezTo>
                  <a:pt x="1088" y="170"/>
                  <a:pt x="1088" y="170"/>
                  <a:pt x="1088" y="170"/>
                </a:cubicBezTo>
                <a:cubicBezTo>
                  <a:pt x="1088" y="170"/>
                  <a:pt x="1089" y="170"/>
                  <a:pt x="1089" y="170"/>
                </a:cubicBezTo>
                <a:cubicBezTo>
                  <a:pt x="1089" y="170"/>
                  <a:pt x="1090" y="170"/>
                  <a:pt x="1090" y="169"/>
                </a:cubicBezTo>
                <a:cubicBezTo>
                  <a:pt x="1089" y="169"/>
                  <a:pt x="1089" y="168"/>
                  <a:pt x="1088" y="168"/>
                </a:cubicBezTo>
                <a:cubicBezTo>
                  <a:pt x="1088" y="167"/>
                  <a:pt x="1087" y="167"/>
                  <a:pt x="1086" y="166"/>
                </a:cubicBezTo>
                <a:cubicBezTo>
                  <a:pt x="1086" y="166"/>
                  <a:pt x="1086" y="165"/>
                  <a:pt x="1086" y="165"/>
                </a:cubicBezTo>
                <a:cubicBezTo>
                  <a:pt x="1086" y="165"/>
                  <a:pt x="1086" y="164"/>
                  <a:pt x="1086" y="164"/>
                </a:cubicBezTo>
                <a:cubicBezTo>
                  <a:pt x="1086" y="164"/>
                  <a:pt x="1087" y="164"/>
                  <a:pt x="1087" y="163"/>
                </a:cubicBezTo>
                <a:cubicBezTo>
                  <a:pt x="1088" y="163"/>
                  <a:pt x="1088" y="163"/>
                  <a:pt x="1089" y="162"/>
                </a:cubicBezTo>
                <a:cubicBezTo>
                  <a:pt x="1089" y="162"/>
                  <a:pt x="1089" y="162"/>
                  <a:pt x="1089" y="162"/>
                </a:cubicBezTo>
                <a:cubicBezTo>
                  <a:pt x="1089" y="161"/>
                  <a:pt x="1090" y="161"/>
                  <a:pt x="1090" y="161"/>
                </a:cubicBezTo>
                <a:cubicBezTo>
                  <a:pt x="1091" y="161"/>
                  <a:pt x="1091" y="161"/>
                  <a:pt x="1092" y="161"/>
                </a:cubicBezTo>
                <a:cubicBezTo>
                  <a:pt x="1092" y="161"/>
                  <a:pt x="1093" y="160"/>
                  <a:pt x="1093" y="160"/>
                </a:cubicBezTo>
                <a:cubicBezTo>
                  <a:pt x="1094" y="160"/>
                  <a:pt x="1094" y="159"/>
                  <a:pt x="1095" y="158"/>
                </a:cubicBezTo>
                <a:cubicBezTo>
                  <a:pt x="1095" y="158"/>
                  <a:pt x="1095" y="158"/>
                  <a:pt x="1096" y="158"/>
                </a:cubicBezTo>
                <a:cubicBezTo>
                  <a:pt x="1096" y="158"/>
                  <a:pt x="1097" y="158"/>
                  <a:pt x="1097" y="158"/>
                </a:cubicBezTo>
                <a:cubicBezTo>
                  <a:pt x="1098" y="159"/>
                  <a:pt x="1098" y="159"/>
                  <a:pt x="1098" y="159"/>
                </a:cubicBezTo>
                <a:cubicBezTo>
                  <a:pt x="1099" y="159"/>
                  <a:pt x="1099" y="159"/>
                  <a:pt x="1100" y="159"/>
                </a:cubicBezTo>
                <a:cubicBezTo>
                  <a:pt x="1101" y="159"/>
                  <a:pt x="1101" y="159"/>
                  <a:pt x="1102" y="159"/>
                </a:cubicBezTo>
                <a:cubicBezTo>
                  <a:pt x="1102" y="160"/>
                  <a:pt x="1102" y="160"/>
                  <a:pt x="1102" y="160"/>
                </a:cubicBezTo>
                <a:cubicBezTo>
                  <a:pt x="1102" y="160"/>
                  <a:pt x="1102" y="160"/>
                  <a:pt x="1102" y="161"/>
                </a:cubicBezTo>
                <a:cubicBezTo>
                  <a:pt x="1103" y="160"/>
                  <a:pt x="1103" y="160"/>
                  <a:pt x="1103" y="160"/>
                </a:cubicBezTo>
                <a:cubicBezTo>
                  <a:pt x="1104" y="160"/>
                  <a:pt x="1104" y="160"/>
                  <a:pt x="1105" y="161"/>
                </a:cubicBezTo>
                <a:cubicBezTo>
                  <a:pt x="1105" y="161"/>
                  <a:pt x="1105" y="161"/>
                  <a:pt x="1105" y="162"/>
                </a:cubicBezTo>
                <a:cubicBezTo>
                  <a:pt x="1105" y="162"/>
                  <a:pt x="1106" y="162"/>
                  <a:pt x="1106" y="162"/>
                </a:cubicBezTo>
                <a:cubicBezTo>
                  <a:pt x="1106" y="162"/>
                  <a:pt x="1106" y="161"/>
                  <a:pt x="1106" y="161"/>
                </a:cubicBezTo>
                <a:cubicBezTo>
                  <a:pt x="1106" y="160"/>
                  <a:pt x="1105" y="160"/>
                  <a:pt x="1105" y="160"/>
                </a:cubicBezTo>
                <a:cubicBezTo>
                  <a:pt x="1105" y="160"/>
                  <a:pt x="1106" y="160"/>
                  <a:pt x="1106" y="159"/>
                </a:cubicBezTo>
                <a:cubicBezTo>
                  <a:pt x="1106" y="159"/>
                  <a:pt x="1106" y="158"/>
                  <a:pt x="1106" y="158"/>
                </a:cubicBezTo>
                <a:cubicBezTo>
                  <a:pt x="1106" y="158"/>
                  <a:pt x="1106" y="157"/>
                  <a:pt x="1106" y="157"/>
                </a:cubicBezTo>
                <a:cubicBezTo>
                  <a:pt x="1106" y="157"/>
                  <a:pt x="1106" y="157"/>
                  <a:pt x="1106" y="157"/>
                </a:cubicBezTo>
                <a:cubicBezTo>
                  <a:pt x="1106" y="157"/>
                  <a:pt x="1106" y="157"/>
                  <a:pt x="1106" y="156"/>
                </a:cubicBezTo>
                <a:cubicBezTo>
                  <a:pt x="1106" y="156"/>
                  <a:pt x="1106" y="156"/>
                  <a:pt x="1106" y="156"/>
                </a:cubicBezTo>
                <a:cubicBezTo>
                  <a:pt x="1106" y="156"/>
                  <a:pt x="1106" y="156"/>
                  <a:pt x="1106" y="156"/>
                </a:cubicBezTo>
                <a:cubicBezTo>
                  <a:pt x="1106" y="156"/>
                  <a:pt x="1106" y="155"/>
                  <a:pt x="1106" y="155"/>
                </a:cubicBezTo>
                <a:cubicBezTo>
                  <a:pt x="1106" y="155"/>
                  <a:pt x="1106" y="155"/>
                  <a:pt x="1105" y="155"/>
                </a:cubicBezTo>
                <a:cubicBezTo>
                  <a:pt x="1105" y="154"/>
                  <a:pt x="1104" y="154"/>
                  <a:pt x="1104" y="154"/>
                </a:cubicBezTo>
                <a:cubicBezTo>
                  <a:pt x="1103" y="154"/>
                  <a:pt x="1103" y="154"/>
                  <a:pt x="1102" y="154"/>
                </a:cubicBezTo>
                <a:cubicBezTo>
                  <a:pt x="1102" y="154"/>
                  <a:pt x="1102" y="153"/>
                  <a:pt x="1102" y="153"/>
                </a:cubicBezTo>
                <a:cubicBezTo>
                  <a:pt x="1102" y="153"/>
                  <a:pt x="1102" y="152"/>
                  <a:pt x="1102" y="152"/>
                </a:cubicBezTo>
                <a:cubicBezTo>
                  <a:pt x="1103" y="152"/>
                  <a:pt x="1103" y="151"/>
                  <a:pt x="1103" y="150"/>
                </a:cubicBezTo>
                <a:cubicBezTo>
                  <a:pt x="1103" y="150"/>
                  <a:pt x="1103" y="150"/>
                  <a:pt x="1103" y="150"/>
                </a:cubicBezTo>
                <a:cubicBezTo>
                  <a:pt x="1103" y="150"/>
                  <a:pt x="1103" y="150"/>
                  <a:pt x="1103" y="150"/>
                </a:cubicBezTo>
                <a:cubicBezTo>
                  <a:pt x="1103" y="149"/>
                  <a:pt x="1103" y="149"/>
                  <a:pt x="1103" y="149"/>
                </a:cubicBezTo>
                <a:cubicBezTo>
                  <a:pt x="1103" y="149"/>
                  <a:pt x="1103" y="149"/>
                  <a:pt x="1103" y="149"/>
                </a:cubicBezTo>
                <a:cubicBezTo>
                  <a:pt x="1103" y="149"/>
                  <a:pt x="1103" y="148"/>
                  <a:pt x="1103" y="148"/>
                </a:cubicBezTo>
                <a:cubicBezTo>
                  <a:pt x="1103" y="148"/>
                  <a:pt x="1103" y="148"/>
                  <a:pt x="1103" y="147"/>
                </a:cubicBezTo>
                <a:cubicBezTo>
                  <a:pt x="1103" y="147"/>
                  <a:pt x="1102" y="146"/>
                  <a:pt x="1102" y="146"/>
                </a:cubicBezTo>
                <a:cubicBezTo>
                  <a:pt x="1102" y="145"/>
                  <a:pt x="1101" y="145"/>
                  <a:pt x="1101" y="145"/>
                </a:cubicBezTo>
                <a:cubicBezTo>
                  <a:pt x="1100" y="144"/>
                  <a:pt x="1099" y="144"/>
                  <a:pt x="1098" y="143"/>
                </a:cubicBezTo>
                <a:cubicBezTo>
                  <a:pt x="1098" y="143"/>
                  <a:pt x="1098" y="143"/>
                  <a:pt x="1098" y="143"/>
                </a:cubicBezTo>
                <a:cubicBezTo>
                  <a:pt x="1098" y="143"/>
                  <a:pt x="1099" y="143"/>
                  <a:pt x="1099" y="143"/>
                </a:cubicBezTo>
                <a:cubicBezTo>
                  <a:pt x="1100" y="143"/>
                  <a:pt x="1101" y="144"/>
                  <a:pt x="1101" y="144"/>
                </a:cubicBezTo>
                <a:cubicBezTo>
                  <a:pt x="1102" y="144"/>
                  <a:pt x="1102" y="144"/>
                  <a:pt x="1103" y="144"/>
                </a:cubicBezTo>
                <a:cubicBezTo>
                  <a:pt x="1103" y="144"/>
                  <a:pt x="1104" y="144"/>
                  <a:pt x="1104" y="144"/>
                </a:cubicBezTo>
                <a:cubicBezTo>
                  <a:pt x="1105" y="144"/>
                  <a:pt x="1105" y="144"/>
                  <a:pt x="1106" y="144"/>
                </a:cubicBezTo>
                <a:cubicBezTo>
                  <a:pt x="1107" y="144"/>
                  <a:pt x="1108" y="144"/>
                  <a:pt x="1109" y="144"/>
                </a:cubicBezTo>
                <a:cubicBezTo>
                  <a:pt x="1110" y="145"/>
                  <a:pt x="1110" y="145"/>
                  <a:pt x="1111" y="145"/>
                </a:cubicBezTo>
                <a:cubicBezTo>
                  <a:pt x="1110" y="145"/>
                  <a:pt x="1110" y="146"/>
                  <a:pt x="1110" y="146"/>
                </a:cubicBezTo>
                <a:cubicBezTo>
                  <a:pt x="1111" y="146"/>
                  <a:pt x="1111" y="147"/>
                  <a:pt x="1112" y="147"/>
                </a:cubicBezTo>
                <a:cubicBezTo>
                  <a:pt x="1112" y="147"/>
                  <a:pt x="1112" y="147"/>
                  <a:pt x="1113" y="147"/>
                </a:cubicBezTo>
                <a:cubicBezTo>
                  <a:pt x="1113" y="147"/>
                  <a:pt x="1113" y="147"/>
                  <a:pt x="1113" y="148"/>
                </a:cubicBezTo>
                <a:cubicBezTo>
                  <a:pt x="1114" y="148"/>
                  <a:pt x="1114" y="149"/>
                  <a:pt x="1115" y="149"/>
                </a:cubicBezTo>
                <a:cubicBezTo>
                  <a:pt x="1114" y="149"/>
                  <a:pt x="1114" y="149"/>
                  <a:pt x="1114" y="150"/>
                </a:cubicBezTo>
                <a:cubicBezTo>
                  <a:pt x="1114" y="150"/>
                  <a:pt x="1113" y="150"/>
                  <a:pt x="1112" y="149"/>
                </a:cubicBezTo>
                <a:cubicBezTo>
                  <a:pt x="1112" y="150"/>
                  <a:pt x="1112" y="150"/>
                  <a:pt x="1112" y="150"/>
                </a:cubicBezTo>
                <a:cubicBezTo>
                  <a:pt x="1111" y="150"/>
                  <a:pt x="1110" y="150"/>
                  <a:pt x="1110" y="150"/>
                </a:cubicBezTo>
                <a:cubicBezTo>
                  <a:pt x="1110" y="150"/>
                  <a:pt x="1109" y="150"/>
                  <a:pt x="1109" y="150"/>
                </a:cubicBezTo>
                <a:cubicBezTo>
                  <a:pt x="1109" y="150"/>
                  <a:pt x="1109" y="150"/>
                  <a:pt x="1109" y="151"/>
                </a:cubicBezTo>
                <a:cubicBezTo>
                  <a:pt x="1109" y="151"/>
                  <a:pt x="1109" y="151"/>
                  <a:pt x="1109" y="151"/>
                </a:cubicBezTo>
                <a:cubicBezTo>
                  <a:pt x="1109" y="151"/>
                  <a:pt x="1108" y="151"/>
                  <a:pt x="1108" y="151"/>
                </a:cubicBezTo>
                <a:cubicBezTo>
                  <a:pt x="1108" y="151"/>
                  <a:pt x="1108" y="151"/>
                  <a:pt x="1108" y="151"/>
                </a:cubicBezTo>
                <a:cubicBezTo>
                  <a:pt x="1108" y="152"/>
                  <a:pt x="1108" y="152"/>
                  <a:pt x="1108" y="152"/>
                </a:cubicBezTo>
                <a:cubicBezTo>
                  <a:pt x="1108" y="152"/>
                  <a:pt x="1108" y="152"/>
                  <a:pt x="1109" y="153"/>
                </a:cubicBezTo>
                <a:cubicBezTo>
                  <a:pt x="1109" y="153"/>
                  <a:pt x="1110" y="154"/>
                  <a:pt x="1111" y="154"/>
                </a:cubicBezTo>
                <a:cubicBezTo>
                  <a:pt x="1112" y="155"/>
                  <a:pt x="1112" y="155"/>
                  <a:pt x="1113" y="156"/>
                </a:cubicBezTo>
                <a:cubicBezTo>
                  <a:pt x="1113" y="156"/>
                  <a:pt x="1114" y="156"/>
                  <a:pt x="1114" y="156"/>
                </a:cubicBezTo>
                <a:cubicBezTo>
                  <a:pt x="1115" y="156"/>
                  <a:pt x="1115" y="156"/>
                  <a:pt x="1116" y="156"/>
                </a:cubicBezTo>
                <a:cubicBezTo>
                  <a:pt x="1116" y="156"/>
                  <a:pt x="1116" y="156"/>
                  <a:pt x="1116" y="157"/>
                </a:cubicBezTo>
                <a:cubicBezTo>
                  <a:pt x="1116" y="156"/>
                  <a:pt x="1117" y="156"/>
                  <a:pt x="1117" y="156"/>
                </a:cubicBezTo>
                <a:cubicBezTo>
                  <a:pt x="1117" y="156"/>
                  <a:pt x="1118" y="156"/>
                  <a:pt x="1118" y="156"/>
                </a:cubicBezTo>
                <a:cubicBezTo>
                  <a:pt x="1118" y="156"/>
                  <a:pt x="1118" y="156"/>
                  <a:pt x="1118" y="156"/>
                </a:cubicBezTo>
                <a:cubicBezTo>
                  <a:pt x="1119" y="156"/>
                  <a:pt x="1120" y="156"/>
                  <a:pt x="1120" y="156"/>
                </a:cubicBezTo>
                <a:cubicBezTo>
                  <a:pt x="1121" y="155"/>
                  <a:pt x="1121" y="155"/>
                  <a:pt x="1121" y="155"/>
                </a:cubicBezTo>
                <a:cubicBezTo>
                  <a:pt x="1121" y="154"/>
                  <a:pt x="1121" y="154"/>
                  <a:pt x="1121" y="154"/>
                </a:cubicBezTo>
                <a:cubicBezTo>
                  <a:pt x="1121" y="153"/>
                  <a:pt x="1121" y="153"/>
                  <a:pt x="1121" y="153"/>
                </a:cubicBezTo>
                <a:cubicBezTo>
                  <a:pt x="1121" y="153"/>
                  <a:pt x="1121" y="152"/>
                  <a:pt x="1121" y="152"/>
                </a:cubicBezTo>
                <a:cubicBezTo>
                  <a:pt x="1121" y="152"/>
                  <a:pt x="1121" y="152"/>
                  <a:pt x="1121" y="151"/>
                </a:cubicBezTo>
                <a:cubicBezTo>
                  <a:pt x="1121" y="151"/>
                  <a:pt x="1121" y="151"/>
                  <a:pt x="1121" y="151"/>
                </a:cubicBezTo>
                <a:cubicBezTo>
                  <a:pt x="1122" y="151"/>
                  <a:pt x="1123" y="151"/>
                  <a:pt x="1124" y="151"/>
                </a:cubicBezTo>
                <a:cubicBezTo>
                  <a:pt x="1125" y="151"/>
                  <a:pt x="1125" y="151"/>
                  <a:pt x="1125" y="151"/>
                </a:cubicBezTo>
                <a:cubicBezTo>
                  <a:pt x="1125" y="151"/>
                  <a:pt x="1126" y="151"/>
                  <a:pt x="1127" y="151"/>
                </a:cubicBezTo>
                <a:cubicBezTo>
                  <a:pt x="1127" y="151"/>
                  <a:pt x="1127" y="151"/>
                  <a:pt x="1127" y="151"/>
                </a:cubicBezTo>
                <a:cubicBezTo>
                  <a:pt x="1126" y="151"/>
                  <a:pt x="1126" y="150"/>
                  <a:pt x="1125" y="150"/>
                </a:cubicBezTo>
                <a:cubicBezTo>
                  <a:pt x="1125" y="150"/>
                  <a:pt x="1125" y="150"/>
                  <a:pt x="1125" y="149"/>
                </a:cubicBezTo>
                <a:cubicBezTo>
                  <a:pt x="1125" y="149"/>
                  <a:pt x="1125" y="149"/>
                  <a:pt x="1125" y="149"/>
                </a:cubicBezTo>
                <a:cubicBezTo>
                  <a:pt x="1125" y="150"/>
                  <a:pt x="1126" y="150"/>
                  <a:pt x="1126" y="150"/>
                </a:cubicBezTo>
                <a:cubicBezTo>
                  <a:pt x="1126" y="150"/>
                  <a:pt x="1127" y="150"/>
                  <a:pt x="1127" y="150"/>
                </a:cubicBezTo>
                <a:cubicBezTo>
                  <a:pt x="1128" y="149"/>
                  <a:pt x="1129" y="149"/>
                  <a:pt x="1129" y="148"/>
                </a:cubicBezTo>
                <a:cubicBezTo>
                  <a:pt x="1130" y="148"/>
                  <a:pt x="1130" y="148"/>
                  <a:pt x="1130" y="148"/>
                </a:cubicBezTo>
                <a:cubicBezTo>
                  <a:pt x="1131" y="148"/>
                  <a:pt x="1132" y="147"/>
                  <a:pt x="1133" y="147"/>
                </a:cubicBezTo>
                <a:cubicBezTo>
                  <a:pt x="1133" y="146"/>
                  <a:pt x="1133" y="146"/>
                  <a:pt x="1133" y="146"/>
                </a:cubicBezTo>
                <a:cubicBezTo>
                  <a:pt x="1133" y="146"/>
                  <a:pt x="1133" y="146"/>
                  <a:pt x="1133" y="146"/>
                </a:cubicBezTo>
                <a:cubicBezTo>
                  <a:pt x="1134" y="146"/>
                  <a:pt x="1134" y="146"/>
                  <a:pt x="1135" y="146"/>
                </a:cubicBezTo>
                <a:cubicBezTo>
                  <a:pt x="1135" y="146"/>
                  <a:pt x="1136" y="146"/>
                  <a:pt x="1136" y="146"/>
                </a:cubicBezTo>
                <a:cubicBezTo>
                  <a:pt x="1136" y="146"/>
                  <a:pt x="1136" y="146"/>
                  <a:pt x="1137" y="145"/>
                </a:cubicBezTo>
                <a:cubicBezTo>
                  <a:pt x="1137" y="145"/>
                  <a:pt x="1138" y="145"/>
                  <a:pt x="1139" y="145"/>
                </a:cubicBezTo>
                <a:cubicBezTo>
                  <a:pt x="1139" y="145"/>
                  <a:pt x="1139" y="146"/>
                  <a:pt x="1139" y="146"/>
                </a:cubicBezTo>
                <a:cubicBezTo>
                  <a:pt x="1139" y="146"/>
                  <a:pt x="1139" y="146"/>
                  <a:pt x="1139" y="146"/>
                </a:cubicBezTo>
                <a:cubicBezTo>
                  <a:pt x="1139" y="146"/>
                  <a:pt x="1139" y="146"/>
                  <a:pt x="1140" y="146"/>
                </a:cubicBezTo>
                <a:cubicBezTo>
                  <a:pt x="1139" y="147"/>
                  <a:pt x="1139" y="147"/>
                  <a:pt x="1139" y="147"/>
                </a:cubicBezTo>
                <a:cubicBezTo>
                  <a:pt x="1139" y="147"/>
                  <a:pt x="1139" y="147"/>
                  <a:pt x="1140" y="147"/>
                </a:cubicBezTo>
                <a:cubicBezTo>
                  <a:pt x="1140" y="147"/>
                  <a:pt x="1141" y="147"/>
                  <a:pt x="1141" y="147"/>
                </a:cubicBezTo>
                <a:cubicBezTo>
                  <a:pt x="1141" y="146"/>
                  <a:pt x="1141" y="146"/>
                  <a:pt x="1141" y="146"/>
                </a:cubicBezTo>
                <a:cubicBezTo>
                  <a:pt x="1141" y="146"/>
                  <a:pt x="1141" y="146"/>
                  <a:pt x="1141" y="146"/>
                </a:cubicBezTo>
                <a:cubicBezTo>
                  <a:pt x="1140" y="146"/>
                  <a:pt x="1140" y="145"/>
                  <a:pt x="1140" y="145"/>
                </a:cubicBezTo>
                <a:cubicBezTo>
                  <a:pt x="1140" y="145"/>
                  <a:pt x="1140" y="145"/>
                  <a:pt x="1140" y="145"/>
                </a:cubicBezTo>
                <a:cubicBezTo>
                  <a:pt x="1141" y="144"/>
                  <a:pt x="1141" y="144"/>
                  <a:pt x="1142" y="144"/>
                </a:cubicBezTo>
                <a:cubicBezTo>
                  <a:pt x="1142" y="144"/>
                  <a:pt x="1142" y="144"/>
                  <a:pt x="1142" y="144"/>
                </a:cubicBezTo>
                <a:cubicBezTo>
                  <a:pt x="1142" y="144"/>
                  <a:pt x="1143" y="144"/>
                  <a:pt x="1143" y="144"/>
                </a:cubicBezTo>
                <a:cubicBezTo>
                  <a:pt x="1142" y="144"/>
                  <a:pt x="1142" y="144"/>
                  <a:pt x="1142" y="144"/>
                </a:cubicBezTo>
                <a:cubicBezTo>
                  <a:pt x="1142" y="144"/>
                  <a:pt x="1142" y="144"/>
                  <a:pt x="1142" y="145"/>
                </a:cubicBezTo>
                <a:cubicBezTo>
                  <a:pt x="1142" y="145"/>
                  <a:pt x="1142" y="145"/>
                  <a:pt x="1143" y="145"/>
                </a:cubicBezTo>
                <a:cubicBezTo>
                  <a:pt x="1143" y="145"/>
                  <a:pt x="1143" y="145"/>
                  <a:pt x="1143" y="145"/>
                </a:cubicBezTo>
                <a:cubicBezTo>
                  <a:pt x="1144" y="145"/>
                  <a:pt x="1144" y="145"/>
                  <a:pt x="1144" y="145"/>
                </a:cubicBezTo>
                <a:cubicBezTo>
                  <a:pt x="1144" y="145"/>
                  <a:pt x="1144" y="145"/>
                  <a:pt x="1144" y="144"/>
                </a:cubicBezTo>
                <a:cubicBezTo>
                  <a:pt x="1144" y="144"/>
                  <a:pt x="1144" y="144"/>
                  <a:pt x="1143" y="144"/>
                </a:cubicBezTo>
                <a:cubicBezTo>
                  <a:pt x="1143" y="144"/>
                  <a:pt x="1143" y="143"/>
                  <a:pt x="1143" y="143"/>
                </a:cubicBezTo>
                <a:cubicBezTo>
                  <a:pt x="1143" y="143"/>
                  <a:pt x="1144" y="143"/>
                  <a:pt x="1144" y="143"/>
                </a:cubicBezTo>
                <a:cubicBezTo>
                  <a:pt x="1145" y="143"/>
                  <a:pt x="1146" y="143"/>
                  <a:pt x="1147" y="142"/>
                </a:cubicBezTo>
                <a:cubicBezTo>
                  <a:pt x="1148" y="142"/>
                  <a:pt x="1149" y="142"/>
                  <a:pt x="1149" y="142"/>
                </a:cubicBezTo>
                <a:cubicBezTo>
                  <a:pt x="1149" y="143"/>
                  <a:pt x="1149" y="143"/>
                  <a:pt x="1150" y="143"/>
                </a:cubicBezTo>
                <a:cubicBezTo>
                  <a:pt x="1149" y="143"/>
                  <a:pt x="1149" y="143"/>
                  <a:pt x="1148" y="143"/>
                </a:cubicBezTo>
                <a:cubicBezTo>
                  <a:pt x="1148" y="143"/>
                  <a:pt x="1148" y="143"/>
                  <a:pt x="1147" y="143"/>
                </a:cubicBezTo>
                <a:cubicBezTo>
                  <a:pt x="1147" y="143"/>
                  <a:pt x="1146" y="143"/>
                  <a:pt x="1145" y="143"/>
                </a:cubicBezTo>
                <a:cubicBezTo>
                  <a:pt x="1145" y="143"/>
                  <a:pt x="1145" y="144"/>
                  <a:pt x="1146" y="144"/>
                </a:cubicBezTo>
                <a:cubicBezTo>
                  <a:pt x="1146" y="144"/>
                  <a:pt x="1146" y="144"/>
                  <a:pt x="1146" y="144"/>
                </a:cubicBezTo>
                <a:cubicBezTo>
                  <a:pt x="1147" y="144"/>
                  <a:pt x="1147" y="144"/>
                  <a:pt x="1147" y="144"/>
                </a:cubicBezTo>
                <a:cubicBezTo>
                  <a:pt x="1147" y="144"/>
                  <a:pt x="1148" y="144"/>
                  <a:pt x="1148" y="145"/>
                </a:cubicBezTo>
                <a:cubicBezTo>
                  <a:pt x="1148" y="145"/>
                  <a:pt x="1148" y="145"/>
                  <a:pt x="1148" y="145"/>
                </a:cubicBezTo>
                <a:cubicBezTo>
                  <a:pt x="1147" y="145"/>
                  <a:pt x="1147" y="145"/>
                  <a:pt x="1147" y="145"/>
                </a:cubicBezTo>
                <a:cubicBezTo>
                  <a:pt x="1147" y="145"/>
                  <a:pt x="1148" y="146"/>
                  <a:pt x="1148" y="146"/>
                </a:cubicBezTo>
                <a:cubicBezTo>
                  <a:pt x="1148" y="146"/>
                  <a:pt x="1148" y="146"/>
                  <a:pt x="1147" y="146"/>
                </a:cubicBezTo>
                <a:cubicBezTo>
                  <a:pt x="1147" y="146"/>
                  <a:pt x="1147" y="146"/>
                  <a:pt x="1146" y="146"/>
                </a:cubicBezTo>
                <a:cubicBezTo>
                  <a:pt x="1146" y="147"/>
                  <a:pt x="1145" y="147"/>
                  <a:pt x="1145" y="147"/>
                </a:cubicBezTo>
                <a:cubicBezTo>
                  <a:pt x="1145" y="147"/>
                  <a:pt x="1145" y="147"/>
                  <a:pt x="1145" y="148"/>
                </a:cubicBezTo>
                <a:cubicBezTo>
                  <a:pt x="1145" y="148"/>
                  <a:pt x="1146" y="148"/>
                  <a:pt x="1146" y="148"/>
                </a:cubicBezTo>
                <a:cubicBezTo>
                  <a:pt x="1146" y="148"/>
                  <a:pt x="1147" y="148"/>
                  <a:pt x="1147" y="148"/>
                </a:cubicBezTo>
                <a:cubicBezTo>
                  <a:pt x="1147" y="148"/>
                  <a:pt x="1147" y="148"/>
                  <a:pt x="1148" y="148"/>
                </a:cubicBezTo>
                <a:cubicBezTo>
                  <a:pt x="1148" y="148"/>
                  <a:pt x="1148" y="148"/>
                  <a:pt x="1148" y="148"/>
                </a:cubicBezTo>
                <a:cubicBezTo>
                  <a:pt x="1149" y="148"/>
                  <a:pt x="1149" y="148"/>
                  <a:pt x="1150" y="148"/>
                </a:cubicBezTo>
                <a:cubicBezTo>
                  <a:pt x="1150" y="148"/>
                  <a:pt x="1150" y="149"/>
                  <a:pt x="1150" y="149"/>
                </a:cubicBezTo>
                <a:cubicBezTo>
                  <a:pt x="1150" y="149"/>
                  <a:pt x="1150" y="148"/>
                  <a:pt x="1150" y="148"/>
                </a:cubicBezTo>
                <a:cubicBezTo>
                  <a:pt x="1151" y="148"/>
                  <a:pt x="1151" y="148"/>
                  <a:pt x="1152" y="147"/>
                </a:cubicBezTo>
                <a:cubicBezTo>
                  <a:pt x="1152" y="147"/>
                  <a:pt x="1152" y="147"/>
                  <a:pt x="1152" y="147"/>
                </a:cubicBezTo>
                <a:cubicBezTo>
                  <a:pt x="1152" y="148"/>
                  <a:pt x="1152" y="148"/>
                  <a:pt x="1153" y="148"/>
                </a:cubicBezTo>
                <a:cubicBezTo>
                  <a:pt x="1153" y="148"/>
                  <a:pt x="1153" y="148"/>
                  <a:pt x="1153" y="148"/>
                </a:cubicBezTo>
                <a:cubicBezTo>
                  <a:pt x="1154" y="148"/>
                  <a:pt x="1154" y="148"/>
                  <a:pt x="1154" y="148"/>
                </a:cubicBezTo>
                <a:cubicBezTo>
                  <a:pt x="1154" y="148"/>
                  <a:pt x="1154" y="148"/>
                  <a:pt x="1154" y="148"/>
                </a:cubicBezTo>
                <a:cubicBezTo>
                  <a:pt x="1154" y="148"/>
                  <a:pt x="1154" y="147"/>
                  <a:pt x="1154" y="147"/>
                </a:cubicBezTo>
                <a:cubicBezTo>
                  <a:pt x="1154" y="147"/>
                  <a:pt x="1153" y="147"/>
                  <a:pt x="1153" y="147"/>
                </a:cubicBezTo>
                <a:cubicBezTo>
                  <a:pt x="1153" y="147"/>
                  <a:pt x="1153" y="147"/>
                  <a:pt x="1153" y="146"/>
                </a:cubicBezTo>
                <a:cubicBezTo>
                  <a:pt x="1154" y="146"/>
                  <a:pt x="1154" y="146"/>
                  <a:pt x="1154" y="146"/>
                </a:cubicBezTo>
                <a:cubicBezTo>
                  <a:pt x="1155" y="146"/>
                  <a:pt x="1155" y="146"/>
                  <a:pt x="1155" y="146"/>
                </a:cubicBezTo>
                <a:cubicBezTo>
                  <a:pt x="1156" y="146"/>
                  <a:pt x="1156" y="146"/>
                  <a:pt x="1156" y="146"/>
                </a:cubicBezTo>
                <a:cubicBezTo>
                  <a:pt x="1156" y="145"/>
                  <a:pt x="1157" y="145"/>
                  <a:pt x="1157" y="145"/>
                </a:cubicBezTo>
                <a:cubicBezTo>
                  <a:pt x="1158" y="145"/>
                  <a:pt x="1158" y="145"/>
                  <a:pt x="1158" y="145"/>
                </a:cubicBezTo>
                <a:cubicBezTo>
                  <a:pt x="1158" y="146"/>
                  <a:pt x="1159" y="146"/>
                  <a:pt x="1159" y="146"/>
                </a:cubicBezTo>
                <a:cubicBezTo>
                  <a:pt x="1159" y="146"/>
                  <a:pt x="1159" y="146"/>
                  <a:pt x="1159" y="145"/>
                </a:cubicBezTo>
                <a:cubicBezTo>
                  <a:pt x="1160" y="146"/>
                  <a:pt x="1160" y="146"/>
                  <a:pt x="1160" y="146"/>
                </a:cubicBezTo>
                <a:cubicBezTo>
                  <a:pt x="1161" y="146"/>
                  <a:pt x="1162" y="146"/>
                  <a:pt x="1163" y="146"/>
                </a:cubicBezTo>
                <a:cubicBezTo>
                  <a:pt x="1163" y="146"/>
                  <a:pt x="1163" y="146"/>
                  <a:pt x="1164" y="146"/>
                </a:cubicBezTo>
                <a:cubicBezTo>
                  <a:pt x="1164" y="146"/>
                  <a:pt x="1164" y="145"/>
                  <a:pt x="1164" y="145"/>
                </a:cubicBezTo>
                <a:cubicBezTo>
                  <a:pt x="1164" y="145"/>
                  <a:pt x="1164" y="145"/>
                  <a:pt x="1164" y="145"/>
                </a:cubicBezTo>
                <a:cubicBezTo>
                  <a:pt x="1165" y="145"/>
                  <a:pt x="1165" y="145"/>
                  <a:pt x="1166" y="145"/>
                </a:cubicBezTo>
                <a:cubicBezTo>
                  <a:pt x="1166" y="145"/>
                  <a:pt x="1166" y="145"/>
                  <a:pt x="1166" y="145"/>
                </a:cubicBezTo>
                <a:cubicBezTo>
                  <a:pt x="1166" y="144"/>
                  <a:pt x="1167" y="144"/>
                  <a:pt x="1167" y="144"/>
                </a:cubicBezTo>
                <a:cubicBezTo>
                  <a:pt x="1168" y="144"/>
                  <a:pt x="1168" y="144"/>
                  <a:pt x="1168" y="144"/>
                </a:cubicBezTo>
                <a:cubicBezTo>
                  <a:pt x="1169" y="144"/>
                  <a:pt x="1169" y="144"/>
                  <a:pt x="1170" y="143"/>
                </a:cubicBezTo>
                <a:cubicBezTo>
                  <a:pt x="1170" y="143"/>
                  <a:pt x="1170" y="143"/>
                  <a:pt x="1170" y="143"/>
                </a:cubicBezTo>
                <a:cubicBezTo>
                  <a:pt x="1171" y="143"/>
                  <a:pt x="1171" y="143"/>
                  <a:pt x="1171" y="143"/>
                </a:cubicBezTo>
                <a:cubicBezTo>
                  <a:pt x="1171" y="143"/>
                  <a:pt x="1171" y="143"/>
                  <a:pt x="1172" y="143"/>
                </a:cubicBezTo>
                <a:cubicBezTo>
                  <a:pt x="1171" y="144"/>
                  <a:pt x="1171" y="144"/>
                  <a:pt x="1171" y="144"/>
                </a:cubicBezTo>
                <a:cubicBezTo>
                  <a:pt x="1171" y="144"/>
                  <a:pt x="1171" y="144"/>
                  <a:pt x="1171" y="144"/>
                </a:cubicBezTo>
                <a:cubicBezTo>
                  <a:pt x="1172" y="145"/>
                  <a:pt x="1172" y="145"/>
                  <a:pt x="1173" y="145"/>
                </a:cubicBezTo>
                <a:cubicBezTo>
                  <a:pt x="1172" y="145"/>
                  <a:pt x="1172" y="145"/>
                  <a:pt x="1172" y="146"/>
                </a:cubicBezTo>
                <a:cubicBezTo>
                  <a:pt x="1172" y="146"/>
                  <a:pt x="1172" y="146"/>
                  <a:pt x="1171" y="146"/>
                </a:cubicBezTo>
                <a:cubicBezTo>
                  <a:pt x="1172" y="146"/>
                  <a:pt x="1172" y="147"/>
                  <a:pt x="1172" y="147"/>
                </a:cubicBezTo>
                <a:cubicBezTo>
                  <a:pt x="1172" y="147"/>
                  <a:pt x="1172" y="147"/>
                  <a:pt x="1172" y="147"/>
                </a:cubicBezTo>
                <a:cubicBezTo>
                  <a:pt x="1172" y="148"/>
                  <a:pt x="1172" y="148"/>
                  <a:pt x="1172" y="148"/>
                </a:cubicBezTo>
                <a:cubicBezTo>
                  <a:pt x="1173" y="148"/>
                  <a:pt x="1174" y="148"/>
                  <a:pt x="1175" y="148"/>
                </a:cubicBezTo>
                <a:cubicBezTo>
                  <a:pt x="1175" y="148"/>
                  <a:pt x="1176" y="148"/>
                  <a:pt x="1176" y="148"/>
                </a:cubicBezTo>
                <a:cubicBezTo>
                  <a:pt x="1176" y="148"/>
                  <a:pt x="1176" y="148"/>
                  <a:pt x="1176" y="148"/>
                </a:cubicBezTo>
                <a:cubicBezTo>
                  <a:pt x="1176" y="147"/>
                  <a:pt x="1176" y="147"/>
                  <a:pt x="1175" y="147"/>
                </a:cubicBezTo>
                <a:cubicBezTo>
                  <a:pt x="1175" y="147"/>
                  <a:pt x="1175" y="147"/>
                  <a:pt x="1174" y="146"/>
                </a:cubicBezTo>
                <a:cubicBezTo>
                  <a:pt x="1174" y="146"/>
                  <a:pt x="1174" y="146"/>
                  <a:pt x="1175" y="146"/>
                </a:cubicBezTo>
                <a:cubicBezTo>
                  <a:pt x="1175" y="146"/>
                  <a:pt x="1175" y="146"/>
                  <a:pt x="1175" y="145"/>
                </a:cubicBezTo>
                <a:cubicBezTo>
                  <a:pt x="1176" y="146"/>
                  <a:pt x="1176" y="146"/>
                  <a:pt x="1177" y="146"/>
                </a:cubicBezTo>
                <a:cubicBezTo>
                  <a:pt x="1177" y="146"/>
                  <a:pt x="1178" y="146"/>
                  <a:pt x="1178" y="146"/>
                </a:cubicBezTo>
                <a:cubicBezTo>
                  <a:pt x="1178" y="145"/>
                  <a:pt x="1179" y="145"/>
                  <a:pt x="1179" y="145"/>
                </a:cubicBezTo>
                <a:cubicBezTo>
                  <a:pt x="1179" y="145"/>
                  <a:pt x="1179" y="145"/>
                  <a:pt x="1180" y="145"/>
                </a:cubicBezTo>
                <a:cubicBezTo>
                  <a:pt x="1180" y="145"/>
                  <a:pt x="1180" y="145"/>
                  <a:pt x="1180" y="145"/>
                </a:cubicBezTo>
                <a:cubicBezTo>
                  <a:pt x="1181" y="145"/>
                  <a:pt x="1181" y="145"/>
                  <a:pt x="1182" y="145"/>
                </a:cubicBezTo>
                <a:cubicBezTo>
                  <a:pt x="1181" y="145"/>
                  <a:pt x="1181" y="145"/>
                  <a:pt x="1180" y="144"/>
                </a:cubicBezTo>
                <a:cubicBezTo>
                  <a:pt x="1180" y="144"/>
                  <a:pt x="1179" y="144"/>
                  <a:pt x="1179" y="144"/>
                </a:cubicBezTo>
                <a:cubicBezTo>
                  <a:pt x="1179" y="144"/>
                  <a:pt x="1179" y="143"/>
                  <a:pt x="1179" y="143"/>
                </a:cubicBezTo>
                <a:cubicBezTo>
                  <a:pt x="1179" y="143"/>
                  <a:pt x="1178" y="142"/>
                  <a:pt x="1178" y="142"/>
                </a:cubicBezTo>
                <a:cubicBezTo>
                  <a:pt x="1178" y="142"/>
                  <a:pt x="1178" y="142"/>
                  <a:pt x="1177" y="142"/>
                </a:cubicBezTo>
                <a:cubicBezTo>
                  <a:pt x="1177" y="142"/>
                  <a:pt x="1177" y="142"/>
                  <a:pt x="1177" y="142"/>
                </a:cubicBezTo>
                <a:cubicBezTo>
                  <a:pt x="1177" y="142"/>
                  <a:pt x="1177" y="142"/>
                  <a:pt x="1177" y="142"/>
                </a:cubicBezTo>
                <a:cubicBezTo>
                  <a:pt x="1176" y="141"/>
                  <a:pt x="1176" y="141"/>
                  <a:pt x="1176" y="140"/>
                </a:cubicBezTo>
                <a:cubicBezTo>
                  <a:pt x="1176" y="140"/>
                  <a:pt x="1176" y="140"/>
                  <a:pt x="1175" y="140"/>
                </a:cubicBezTo>
                <a:cubicBezTo>
                  <a:pt x="1175" y="139"/>
                  <a:pt x="1175" y="139"/>
                  <a:pt x="1175" y="139"/>
                </a:cubicBezTo>
                <a:cubicBezTo>
                  <a:pt x="1175" y="139"/>
                  <a:pt x="1175" y="139"/>
                  <a:pt x="1175" y="139"/>
                </a:cubicBezTo>
                <a:cubicBezTo>
                  <a:pt x="1175" y="138"/>
                  <a:pt x="1175" y="138"/>
                  <a:pt x="1176" y="138"/>
                </a:cubicBezTo>
                <a:cubicBezTo>
                  <a:pt x="1176" y="138"/>
                  <a:pt x="1176" y="138"/>
                  <a:pt x="1176" y="138"/>
                </a:cubicBezTo>
                <a:cubicBezTo>
                  <a:pt x="1176" y="138"/>
                  <a:pt x="1176" y="137"/>
                  <a:pt x="1175" y="137"/>
                </a:cubicBezTo>
                <a:cubicBezTo>
                  <a:pt x="1176" y="137"/>
                  <a:pt x="1176" y="137"/>
                  <a:pt x="1176" y="137"/>
                </a:cubicBezTo>
                <a:cubicBezTo>
                  <a:pt x="1177" y="137"/>
                  <a:pt x="1177" y="137"/>
                  <a:pt x="1177" y="137"/>
                </a:cubicBezTo>
                <a:cubicBezTo>
                  <a:pt x="1177" y="137"/>
                  <a:pt x="1178" y="137"/>
                  <a:pt x="1178" y="137"/>
                </a:cubicBezTo>
                <a:cubicBezTo>
                  <a:pt x="1178" y="137"/>
                  <a:pt x="1178" y="137"/>
                  <a:pt x="1179" y="137"/>
                </a:cubicBezTo>
                <a:cubicBezTo>
                  <a:pt x="1179" y="137"/>
                  <a:pt x="1179" y="137"/>
                  <a:pt x="1180" y="137"/>
                </a:cubicBezTo>
                <a:cubicBezTo>
                  <a:pt x="1180" y="137"/>
                  <a:pt x="1181" y="138"/>
                  <a:pt x="1181" y="138"/>
                </a:cubicBezTo>
                <a:cubicBezTo>
                  <a:pt x="1182" y="138"/>
                  <a:pt x="1184" y="138"/>
                  <a:pt x="1185" y="138"/>
                </a:cubicBezTo>
                <a:cubicBezTo>
                  <a:pt x="1187" y="138"/>
                  <a:pt x="1189" y="138"/>
                  <a:pt x="1191" y="139"/>
                </a:cubicBezTo>
                <a:cubicBezTo>
                  <a:pt x="1191" y="139"/>
                  <a:pt x="1192" y="139"/>
                  <a:pt x="1193" y="140"/>
                </a:cubicBezTo>
                <a:cubicBezTo>
                  <a:pt x="1194" y="140"/>
                  <a:pt x="1195" y="141"/>
                  <a:pt x="1196" y="141"/>
                </a:cubicBezTo>
                <a:cubicBezTo>
                  <a:pt x="1196" y="141"/>
                  <a:pt x="1196" y="141"/>
                  <a:pt x="1196" y="141"/>
                </a:cubicBezTo>
                <a:cubicBezTo>
                  <a:pt x="1196" y="142"/>
                  <a:pt x="1196" y="142"/>
                  <a:pt x="1196" y="142"/>
                </a:cubicBezTo>
                <a:cubicBezTo>
                  <a:pt x="1196" y="142"/>
                  <a:pt x="1196" y="142"/>
                  <a:pt x="1196" y="143"/>
                </a:cubicBezTo>
                <a:cubicBezTo>
                  <a:pt x="1197" y="143"/>
                  <a:pt x="1197" y="142"/>
                  <a:pt x="1198" y="142"/>
                </a:cubicBezTo>
                <a:cubicBezTo>
                  <a:pt x="1198" y="142"/>
                  <a:pt x="1199" y="142"/>
                  <a:pt x="1199" y="142"/>
                </a:cubicBezTo>
                <a:cubicBezTo>
                  <a:pt x="1200" y="142"/>
                  <a:pt x="1200" y="143"/>
                  <a:pt x="1200" y="143"/>
                </a:cubicBezTo>
                <a:cubicBezTo>
                  <a:pt x="1200" y="143"/>
                  <a:pt x="1201" y="143"/>
                  <a:pt x="1201" y="143"/>
                </a:cubicBezTo>
                <a:cubicBezTo>
                  <a:pt x="1201" y="143"/>
                  <a:pt x="1201" y="143"/>
                  <a:pt x="1201" y="144"/>
                </a:cubicBezTo>
                <a:cubicBezTo>
                  <a:pt x="1202" y="144"/>
                  <a:pt x="1202" y="144"/>
                  <a:pt x="1203" y="144"/>
                </a:cubicBezTo>
                <a:cubicBezTo>
                  <a:pt x="1204" y="145"/>
                  <a:pt x="1205" y="145"/>
                  <a:pt x="1206" y="146"/>
                </a:cubicBezTo>
                <a:cubicBezTo>
                  <a:pt x="1207" y="146"/>
                  <a:pt x="1208" y="146"/>
                  <a:pt x="1209" y="146"/>
                </a:cubicBezTo>
                <a:cubicBezTo>
                  <a:pt x="1210" y="146"/>
                  <a:pt x="1210" y="147"/>
                  <a:pt x="1210" y="147"/>
                </a:cubicBezTo>
                <a:cubicBezTo>
                  <a:pt x="1211" y="147"/>
                  <a:pt x="1211" y="148"/>
                  <a:pt x="1211" y="148"/>
                </a:cubicBezTo>
                <a:cubicBezTo>
                  <a:pt x="1212" y="148"/>
                  <a:pt x="1212" y="148"/>
                  <a:pt x="1213" y="149"/>
                </a:cubicBezTo>
                <a:cubicBezTo>
                  <a:pt x="1213" y="149"/>
                  <a:pt x="1214" y="149"/>
                  <a:pt x="1214" y="150"/>
                </a:cubicBezTo>
                <a:cubicBezTo>
                  <a:pt x="1215" y="150"/>
                  <a:pt x="1215" y="151"/>
                  <a:pt x="1215" y="151"/>
                </a:cubicBezTo>
                <a:cubicBezTo>
                  <a:pt x="1216" y="152"/>
                  <a:pt x="1216" y="152"/>
                  <a:pt x="1217" y="152"/>
                </a:cubicBezTo>
                <a:cubicBezTo>
                  <a:pt x="1217" y="152"/>
                  <a:pt x="1217" y="151"/>
                  <a:pt x="1217" y="151"/>
                </a:cubicBezTo>
                <a:cubicBezTo>
                  <a:pt x="1217" y="151"/>
                  <a:pt x="1217" y="151"/>
                  <a:pt x="1217" y="150"/>
                </a:cubicBezTo>
                <a:cubicBezTo>
                  <a:pt x="1217" y="150"/>
                  <a:pt x="1217" y="150"/>
                  <a:pt x="1217" y="150"/>
                </a:cubicBezTo>
                <a:cubicBezTo>
                  <a:pt x="1217" y="150"/>
                  <a:pt x="1217" y="150"/>
                  <a:pt x="1218" y="150"/>
                </a:cubicBezTo>
                <a:cubicBezTo>
                  <a:pt x="1217" y="150"/>
                  <a:pt x="1217" y="149"/>
                  <a:pt x="1217" y="149"/>
                </a:cubicBezTo>
                <a:cubicBezTo>
                  <a:pt x="1217" y="149"/>
                  <a:pt x="1217" y="149"/>
                  <a:pt x="1217" y="149"/>
                </a:cubicBezTo>
                <a:cubicBezTo>
                  <a:pt x="1217" y="148"/>
                  <a:pt x="1217" y="147"/>
                  <a:pt x="1218" y="147"/>
                </a:cubicBezTo>
                <a:cubicBezTo>
                  <a:pt x="1218" y="146"/>
                  <a:pt x="1218" y="146"/>
                  <a:pt x="1219" y="146"/>
                </a:cubicBezTo>
                <a:cubicBezTo>
                  <a:pt x="1218" y="146"/>
                  <a:pt x="1218" y="146"/>
                  <a:pt x="1218" y="146"/>
                </a:cubicBezTo>
                <a:cubicBezTo>
                  <a:pt x="1218" y="146"/>
                  <a:pt x="1218" y="146"/>
                  <a:pt x="1217" y="146"/>
                </a:cubicBezTo>
                <a:cubicBezTo>
                  <a:pt x="1217" y="146"/>
                  <a:pt x="1217" y="146"/>
                  <a:pt x="1216" y="146"/>
                </a:cubicBezTo>
                <a:cubicBezTo>
                  <a:pt x="1216" y="146"/>
                  <a:pt x="1216" y="146"/>
                  <a:pt x="1215" y="146"/>
                </a:cubicBezTo>
                <a:cubicBezTo>
                  <a:pt x="1215" y="146"/>
                  <a:pt x="1215" y="146"/>
                  <a:pt x="1214" y="146"/>
                </a:cubicBezTo>
                <a:cubicBezTo>
                  <a:pt x="1214" y="145"/>
                  <a:pt x="1213" y="144"/>
                  <a:pt x="1212" y="143"/>
                </a:cubicBezTo>
                <a:cubicBezTo>
                  <a:pt x="1212" y="143"/>
                  <a:pt x="1212" y="143"/>
                  <a:pt x="1212" y="143"/>
                </a:cubicBezTo>
                <a:cubicBezTo>
                  <a:pt x="1211" y="143"/>
                  <a:pt x="1211" y="143"/>
                  <a:pt x="1211" y="142"/>
                </a:cubicBezTo>
                <a:cubicBezTo>
                  <a:pt x="1211" y="142"/>
                  <a:pt x="1211" y="142"/>
                  <a:pt x="1211" y="141"/>
                </a:cubicBezTo>
                <a:cubicBezTo>
                  <a:pt x="1211" y="141"/>
                  <a:pt x="1211" y="141"/>
                  <a:pt x="1210" y="141"/>
                </a:cubicBezTo>
                <a:cubicBezTo>
                  <a:pt x="1210" y="141"/>
                  <a:pt x="1210" y="141"/>
                  <a:pt x="1209" y="142"/>
                </a:cubicBezTo>
                <a:cubicBezTo>
                  <a:pt x="1209" y="141"/>
                  <a:pt x="1208" y="141"/>
                  <a:pt x="1208" y="141"/>
                </a:cubicBezTo>
                <a:cubicBezTo>
                  <a:pt x="1208" y="141"/>
                  <a:pt x="1207" y="141"/>
                  <a:pt x="1207" y="141"/>
                </a:cubicBezTo>
                <a:cubicBezTo>
                  <a:pt x="1206" y="140"/>
                  <a:pt x="1206" y="140"/>
                  <a:pt x="1206" y="140"/>
                </a:cubicBezTo>
                <a:cubicBezTo>
                  <a:pt x="1205" y="140"/>
                  <a:pt x="1205" y="140"/>
                  <a:pt x="1205" y="141"/>
                </a:cubicBezTo>
                <a:cubicBezTo>
                  <a:pt x="1205" y="140"/>
                  <a:pt x="1205" y="140"/>
                  <a:pt x="1205" y="139"/>
                </a:cubicBezTo>
                <a:cubicBezTo>
                  <a:pt x="1204" y="139"/>
                  <a:pt x="1204" y="139"/>
                  <a:pt x="1204" y="139"/>
                </a:cubicBezTo>
                <a:cubicBezTo>
                  <a:pt x="1204" y="138"/>
                  <a:pt x="1203" y="137"/>
                  <a:pt x="1203" y="137"/>
                </a:cubicBezTo>
                <a:cubicBezTo>
                  <a:pt x="1203" y="137"/>
                  <a:pt x="1203" y="137"/>
                  <a:pt x="1203" y="136"/>
                </a:cubicBezTo>
                <a:cubicBezTo>
                  <a:pt x="1203" y="137"/>
                  <a:pt x="1204" y="137"/>
                  <a:pt x="1204" y="137"/>
                </a:cubicBezTo>
                <a:cubicBezTo>
                  <a:pt x="1204" y="137"/>
                  <a:pt x="1205" y="137"/>
                  <a:pt x="1205" y="136"/>
                </a:cubicBezTo>
                <a:cubicBezTo>
                  <a:pt x="1205" y="136"/>
                  <a:pt x="1205" y="136"/>
                  <a:pt x="1205" y="136"/>
                </a:cubicBezTo>
                <a:cubicBezTo>
                  <a:pt x="1205" y="135"/>
                  <a:pt x="1204" y="135"/>
                  <a:pt x="1203" y="135"/>
                </a:cubicBezTo>
                <a:cubicBezTo>
                  <a:pt x="1203" y="134"/>
                  <a:pt x="1203" y="134"/>
                  <a:pt x="1203" y="134"/>
                </a:cubicBezTo>
                <a:cubicBezTo>
                  <a:pt x="1204" y="133"/>
                  <a:pt x="1204" y="133"/>
                  <a:pt x="1204" y="133"/>
                </a:cubicBezTo>
                <a:cubicBezTo>
                  <a:pt x="1205" y="133"/>
                  <a:pt x="1205" y="133"/>
                  <a:pt x="1205" y="133"/>
                </a:cubicBezTo>
                <a:cubicBezTo>
                  <a:pt x="1205" y="133"/>
                  <a:pt x="1205" y="133"/>
                  <a:pt x="1204" y="133"/>
                </a:cubicBezTo>
                <a:cubicBezTo>
                  <a:pt x="1204" y="132"/>
                  <a:pt x="1203" y="132"/>
                  <a:pt x="1203" y="132"/>
                </a:cubicBezTo>
                <a:cubicBezTo>
                  <a:pt x="1203" y="132"/>
                  <a:pt x="1202" y="131"/>
                  <a:pt x="1202" y="131"/>
                </a:cubicBezTo>
                <a:cubicBezTo>
                  <a:pt x="1202" y="131"/>
                  <a:pt x="1202" y="131"/>
                  <a:pt x="1202" y="130"/>
                </a:cubicBezTo>
                <a:cubicBezTo>
                  <a:pt x="1201" y="130"/>
                  <a:pt x="1201" y="130"/>
                  <a:pt x="1201" y="131"/>
                </a:cubicBezTo>
                <a:cubicBezTo>
                  <a:pt x="1200" y="130"/>
                  <a:pt x="1200" y="130"/>
                  <a:pt x="1199" y="130"/>
                </a:cubicBezTo>
                <a:cubicBezTo>
                  <a:pt x="1200" y="129"/>
                  <a:pt x="1200" y="129"/>
                  <a:pt x="1200" y="128"/>
                </a:cubicBezTo>
                <a:cubicBezTo>
                  <a:pt x="1200" y="128"/>
                  <a:pt x="1200" y="128"/>
                  <a:pt x="1200" y="128"/>
                </a:cubicBezTo>
                <a:cubicBezTo>
                  <a:pt x="1200" y="127"/>
                  <a:pt x="1200" y="127"/>
                  <a:pt x="1200" y="127"/>
                </a:cubicBezTo>
                <a:cubicBezTo>
                  <a:pt x="1200" y="127"/>
                  <a:pt x="1200" y="127"/>
                  <a:pt x="1200" y="126"/>
                </a:cubicBezTo>
                <a:cubicBezTo>
                  <a:pt x="1200" y="126"/>
                  <a:pt x="1200" y="126"/>
                  <a:pt x="1201" y="126"/>
                </a:cubicBezTo>
                <a:cubicBezTo>
                  <a:pt x="1201" y="125"/>
                  <a:pt x="1202" y="125"/>
                  <a:pt x="1203" y="124"/>
                </a:cubicBezTo>
                <a:cubicBezTo>
                  <a:pt x="1203" y="124"/>
                  <a:pt x="1204" y="124"/>
                  <a:pt x="1204" y="124"/>
                </a:cubicBezTo>
                <a:cubicBezTo>
                  <a:pt x="1204" y="124"/>
                  <a:pt x="1205" y="124"/>
                  <a:pt x="1205" y="124"/>
                </a:cubicBezTo>
                <a:cubicBezTo>
                  <a:pt x="1205" y="123"/>
                  <a:pt x="1204" y="123"/>
                  <a:pt x="1204" y="123"/>
                </a:cubicBezTo>
                <a:cubicBezTo>
                  <a:pt x="1204" y="122"/>
                  <a:pt x="1204" y="122"/>
                  <a:pt x="1204" y="122"/>
                </a:cubicBezTo>
                <a:cubicBezTo>
                  <a:pt x="1205" y="122"/>
                  <a:pt x="1205" y="121"/>
                  <a:pt x="1205" y="121"/>
                </a:cubicBezTo>
                <a:cubicBezTo>
                  <a:pt x="1205" y="121"/>
                  <a:pt x="1205" y="120"/>
                  <a:pt x="1204" y="120"/>
                </a:cubicBezTo>
                <a:cubicBezTo>
                  <a:pt x="1204" y="120"/>
                  <a:pt x="1204" y="119"/>
                  <a:pt x="1204" y="119"/>
                </a:cubicBezTo>
                <a:cubicBezTo>
                  <a:pt x="1205" y="119"/>
                  <a:pt x="1205" y="119"/>
                  <a:pt x="1205" y="118"/>
                </a:cubicBezTo>
                <a:cubicBezTo>
                  <a:pt x="1205" y="118"/>
                  <a:pt x="1205" y="118"/>
                  <a:pt x="1205" y="118"/>
                </a:cubicBezTo>
                <a:cubicBezTo>
                  <a:pt x="1205" y="118"/>
                  <a:pt x="1205" y="117"/>
                  <a:pt x="1205" y="117"/>
                </a:cubicBezTo>
                <a:cubicBezTo>
                  <a:pt x="1205" y="117"/>
                  <a:pt x="1204" y="117"/>
                  <a:pt x="1204" y="116"/>
                </a:cubicBezTo>
                <a:cubicBezTo>
                  <a:pt x="1204" y="116"/>
                  <a:pt x="1205" y="116"/>
                  <a:pt x="1205" y="115"/>
                </a:cubicBezTo>
                <a:cubicBezTo>
                  <a:pt x="1205" y="115"/>
                  <a:pt x="1205" y="115"/>
                  <a:pt x="1205" y="115"/>
                </a:cubicBezTo>
                <a:cubicBezTo>
                  <a:pt x="1205" y="115"/>
                  <a:pt x="1205" y="114"/>
                  <a:pt x="1204" y="114"/>
                </a:cubicBezTo>
                <a:cubicBezTo>
                  <a:pt x="1205" y="114"/>
                  <a:pt x="1205" y="113"/>
                  <a:pt x="1205" y="113"/>
                </a:cubicBezTo>
                <a:cubicBezTo>
                  <a:pt x="1205" y="112"/>
                  <a:pt x="1205" y="112"/>
                  <a:pt x="1205" y="111"/>
                </a:cubicBezTo>
                <a:cubicBezTo>
                  <a:pt x="1205" y="111"/>
                  <a:pt x="1206" y="111"/>
                  <a:pt x="1206" y="111"/>
                </a:cubicBezTo>
                <a:cubicBezTo>
                  <a:pt x="1206" y="111"/>
                  <a:pt x="1207" y="111"/>
                  <a:pt x="1207" y="112"/>
                </a:cubicBezTo>
                <a:cubicBezTo>
                  <a:pt x="1207" y="112"/>
                  <a:pt x="1207" y="112"/>
                  <a:pt x="1206" y="112"/>
                </a:cubicBezTo>
                <a:cubicBezTo>
                  <a:pt x="1207" y="112"/>
                  <a:pt x="1207" y="112"/>
                  <a:pt x="1207" y="112"/>
                </a:cubicBezTo>
                <a:cubicBezTo>
                  <a:pt x="1207" y="112"/>
                  <a:pt x="1208" y="112"/>
                  <a:pt x="1208" y="112"/>
                </a:cubicBezTo>
                <a:cubicBezTo>
                  <a:pt x="1209" y="112"/>
                  <a:pt x="1209" y="112"/>
                  <a:pt x="1210" y="112"/>
                </a:cubicBezTo>
                <a:cubicBezTo>
                  <a:pt x="1210" y="112"/>
                  <a:pt x="1211" y="112"/>
                  <a:pt x="1211" y="112"/>
                </a:cubicBezTo>
                <a:cubicBezTo>
                  <a:pt x="1212" y="112"/>
                  <a:pt x="1212" y="112"/>
                  <a:pt x="1212" y="112"/>
                </a:cubicBezTo>
                <a:cubicBezTo>
                  <a:pt x="1213" y="112"/>
                  <a:pt x="1213" y="112"/>
                  <a:pt x="1213" y="113"/>
                </a:cubicBezTo>
                <a:cubicBezTo>
                  <a:pt x="1214" y="112"/>
                  <a:pt x="1214" y="112"/>
                  <a:pt x="1214" y="112"/>
                </a:cubicBezTo>
                <a:cubicBezTo>
                  <a:pt x="1215" y="112"/>
                  <a:pt x="1215" y="112"/>
                  <a:pt x="1216" y="113"/>
                </a:cubicBezTo>
                <a:cubicBezTo>
                  <a:pt x="1217" y="113"/>
                  <a:pt x="1218" y="113"/>
                  <a:pt x="1219" y="114"/>
                </a:cubicBezTo>
                <a:cubicBezTo>
                  <a:pt x="1220" y="114"/>
                  <a:pt x="1220" y="114"/>
                  <a:pt x="1221" y="114"/>
                </a:cubicBezTo>
                <a:cubicBezTo>
                  <a:pt x="1221" y="114"/>
                  <a:pt x="1221" y="114"/>
                  <a:pt x="1222" y="114"/>
                </a:cubicBezTo>
                <a:cubicBezTo>
                  <a:pt x="1222" y="115"/>
                  <a:pt x="1222" y="115"/>
                  <a:pt x="1222" y="115"/>
                </a:cubicBezTo>
                <a:cubicBezTo>
                  <a:pt x="1222" y="115"/>
                  <a:pt x="1221" y="115"/>
                  <a:pt x="1221" y="115"/>
                </a:cubicBezTo>
                <a:cubicBezTo>
                  <a:pt x="1221" y="116"/>
                  <a:pt x="1222" y="116"/>
                  <a:pt x="1222" y="116"/>
                </a:cubicBezTo>
                <a:cubicBezTo>
                  <a:pt x="1222" y="117"/>
                  <a:pt x="1222" y="117"/>
                  <a:pt x="1222" y="117"/>
                </a:cubicBezTo>
                <a:cubicBezTo>
                  <a:pt x="1222" y="117"/>
                  <a:pt x="1222" y="117"/>
                  <a:pt x="1222" y="118"/>
                </a:cubicBezTo>
                <a:cubicBezTo>
                  <a:pt x="1222" y="118"/>
                  <a:pt x="1222" y="119"/>
                  <a:pt x="1222" y="119"/>
                </a:cubicBezTo>
                <a:cubicBezTo>
                  <a:pt x="1222" y="119"/>
                  <a:pt x="1222" y="120"/>
                  <a:pt x="1223" y="120"/>
                </a:cubicBezTo>
                <a:cubicBezTo>
                  <a:pt x="1222" y="121"/>
                  <a:pt x="1222" y="121"/>
                  <a:pt x="1222" y="122"/>
                </a:cubicBezTo>
                <a:cubicBezTo>
                  <a:pt x="1222" y="122"/>
                  <a:pt x="1222" y="123"/>
                  <a:pt x="1222" y="123"/>
                </a:cubicBezTo>
                <a:cubicBezTo>
                  <a:pt x="1222" y="123"/>
                  <a:pt x="1222" y="123"/>
                  <a:pt x="1222" y="123"/>
                </a:cubicBezTo>
                <a:cubicBezTo>
                  <a:pt x="1222" y="123"/>
                  <a:pt x="1222" y="124"/>
                  <a:pt x="1222" y="124"/>
                </a:cubicBezTo>
                <a:cubicBezTo>
                  <a:pt x="1222" y="124"/>
                  <a:pt x="1222" y="124"/>
                  <a:pt x="1222" y="125"/>
                </a:cubicBezTo>
                <a:cubicBezTo>
                  <a:pt x="1222" y="125"/>
                  <a:pt x="1222" y="125"/>
                  <a:pt x="1221" y="125"/>
                </a:cubicBezTo>
                <a:cubicBezTo>
                  <a:pt x="1221" y="125"/>
                  <a:pt x="1222" y="125"/>
                  <a:pt x="1222" y="126"/>
                </a:cubicBezTo>
                <a:cubicBezTo>
                  <a:pt x="1222" y="126"/>
                  <a:pt x="1222" y="126"/>
                  <a:pt x="1223" y="127"/>
                </a:cubicBezTo>
                <a:cubicBezTo>
                  <a:pt x="1223" y="127"/>
                  <a:pt x="1223" y="127"/>
                  <a:pt x="1223" y="128"/>
                </a:cubicBezTo>
                <a:cubicBezTo>
                  <a:pt x="1224" y="128"/>
                  <a:pt x="1224" y="128"/>
                  <a:pt x="1225" y="128"/>
                </a:cubicBezTo>
                <a:cubicBezTo>
                  <a:pt x="1225" y="128"/>
                  <a:pt x="1225" y="128"/>
                  <a:pt x="1225" y="128"/>
                </a:cubicBezTo>
                <a:cubicBezTo>
                  <a:pt x="1225" y="128"/>
                  <a:pt x="1225" y="128"/>
                  <a:pt x="1226" y="128"/>
                </a:cubicBezTo>
                <a:cubicBezTo>
                  <a:pt x="1226" y="128"/>
                  <a:pt x="1226" y="128"/>
                  <a:pt x="1226" y="129"/>
                </a:cubicBezTo>
                <a:cubicBezTo>
                  <a:pt x="1226" y="129"/>
                  <a:pt x="1226" y="130"/>
                  <a:pt x="1227" y="130"/>
                </a:cubicBezTo>
                <a:cubicBezTo>
                  <a:pt x="1227" y="130"/>
                  <a:pt x="1227" y="131"/>
                  <a:pt x="1228" y="131"/>
                </a:cubicBezTo>
                <a:cubicBezTo>
                  <a:pt x="1228" y="131"/>
                  <a:pt x="1228" y="131"/>
                  <a:pt x="1228" y="132"/>
                </a:cubicBezTo>
                <a:cubicBezTo>
                  <a:pt x="1229" y="132"/>
                  <a:pt x="1229" y="133"/>
                  <a:pt x="1229" y="134"/>
                </a:cubicBezTo>
                <a:cubicBezTo>
                  <a:pt x="1229" y="134"/>
                  <a:pt x="1229" y="134"/>
                  <a:pt x="1229" y="135"/>
                </a:cubicBezTo>
                <a:cubicBezTo>
                  <a:pt x="1229" y="135"/>
                  <a:pt x="1229" y="135"/>
                  <a:pt x="1229" y="135"/>
                </a:cubicBezTo>
                <a:cubicBezTo>
                  <a:pt x="1229" y="135"/>
                  <a:pt x="1229" y="136"/>
                  <a:pt x="1229" y="136"/>
                </a:cubicBezTo>
                <a:cubicBezTo>
                  <a:pt x="1229" y="136"/>
                  <a:pt x="1230" y="136"/>
                  <a:pt x="1230" y="137"/>
                </a:cubicBezTo>
                <a:cubicBezTo>
                  <a:pt x="1230" y="137"/>
                  <a:pt x="1230" y="137"/>
                  <a:pt x="1230" y="138"/>
                </a:cubicBezTo>
                <a:cubicBezTo>
                  <a:pt x="1230" y="138"/>
                  <a:pt x="1231" y="139"/>
                  <a:pt x="1231" y="140"/>
                </a:cubicBezTo>
                <a:cubicBezTo>
                  <a:pt x="1231" y="140"/>
                  <a:pt x="1231" y="140"/>
                  <a:pt x="1231" y="141"/>
                </a:cubicBezTo>
                <a:cubicBezTo>
                  <a:pt x="1231" y="141"/>
                  <a:pt x="1231" y="141"/>
                  <a:pt x="1231" y="142"/>
                </a:cubicBezTo>
                <a:cubicBezTo>
                  <a:pt x="1232" y="142"/>
                  <a:pt x="1232" y="142"/>
                  <a:pt x="1233" y="142"/>
                </a:cubicBezTo>
                <a:cubicBezTo>
                  <a:pt x="1232" y="142"/>
                  <a:pt x="1232" y="143"/>
                  <a:pt x="1232" y="143"/>
                </a:cubicBezTo>
                <a:cubicBezTo>
                  <a:pt x="1232" y="143"/>
                  <a:pt x="1232" y="143"/>
                  <a:pt x="1232" y="143"/>
                </a:cubicBezTo>
                <a:cubicBezTo>
                  <a:pt x="1233" y="144"/>
                  <a:pt x="1233" y="144"/>
                  <a:pt x="1233" y="145"/>
                </a:cubicBezTo>
                <a:cubicBezTo>
                  <a:pt x="1233" y="146"/>
                  <a:pt x="1234" y="146"/>
                  <a:pt x="1235" y="147"/>
                </a:cubicBezTo>
                <a:cubicBezTo>
                  <a:pt x="1235" y="147"/>
                  <a:pt x="1236" y="148"/>
                  <a:pt x="1237" y="148"/>
                </a:cubicBezTo>
                <a:cubicBezTo>
                  <a:pt x="1237" y="148"/>
                  <a:pt x="1237" y="148"/>
                  <a:pt x="1237" y="148"/>
                </a:cubicBezTo>
                <a:cubicBezTo>
                  <a:pt x="1237" y="149"/>
                  <a:pt x="1238" y="149"/>
                  <a:pt x="1238" y="149"/>
                </a:cubicBezTo>
                <a:cubicBezTo>
                  <a:pt x="1239" y="149"/>
                  <a:pt x="1239" y="150"/>
                  <a:pt x="1240" y="150"/>
                </a:cubicBezTo>
                <a:cubicBezTo>
                  <a:pt x="1240" y="150"/>
                  <a:pt x="1240" y="150"/>
                  <a:pt x="1240" y="151"/>
                </a:cubicBezTo>
                <a:cubicBezTo>
                  <a:pt x="1239" y="151"/>
                  <a:pt x="1239" y="150"/>
                  <a:pt x="1239" y="150"/>
                </a:cubicBezTo>
                <a:cubicBezTo>
                  <a:pt x="1239" y="151"/>
                  <a:pt x="1239" y="151"/>
                  <a:pt x="1239" y="151"/>
                </a:cubicBezTo>
                <a:cubicBezTo>
                  <a:pt x="1239" y="152"/>
                  <a:pt x="1238" y="152"/>
                  <a:pt x="1238" y="152"/>
                </a:cubicBezTo>
                <a:cubicBezTo>
                  <a:pt x="1238" y="153"/>
                  <a:pt x="1239" y="153"/>
                  <a:pt x="1239" y="154"/>
                </a:cubicBezTo>
                <a:cubicBezTo>
                  <a:pt x="1239" y="154"/>
                  <a:pt x="1240" y="154"/>
                  <a:pt x="1240" y="155"/>
                </a:cubicBezTo>
                <a:cubicBezTo>
                  <a:pt x="1240" y="155"/>
                  <a:pt x="1240" y="155"/>
                  <a:pt x="1240" y="156"/>
                </a:cubicBezTo>
                <a:cubicBezTo>
                  <a:pt x="1240" y="156"/>
                  <a:pt x="1239" y="156"/>
                  <a:pt x="1239" y="156"/>
                </a:cubicBezTo>
                <a:cubicBezTo>
                  <a:pt x="1239" y="156"/>
                  <a:pt x="1239" y="157"/>
                  <a:pt x="1239" y="157"/>
                </a:cubicBezTo>
                <a:cubicBezTo>
                  <a:pt x="1239" y="157"/>
                  <a:pt x="1238" y="157"/>
                  <a:pt x="1238" y="157"/>
                </a:cubicBezTo>
                <a:cubicBezTo>
                  <a:pt x="1238" y="157"/>
                  <a:pt x="1238" y="157"/>
                  <a:pt x="1238" y="158"/>
                </a:cubicBezTo>
                <a:cubicBezTo>
                  <a:pt x="1238" y="158"/>
                  <a:pt x="1238" y="159"/>
                  <a:pt x="1238" y="159"/>
                </a:cubicBezTo>
                <a:cubicBezTo>
                  <a:pt x="1238" y="159"/>
                  <a:pt x="1237" y="159"/>
                  <a:pt x="1237" y="159"/>
                </a:cubicBezTo>
                <a:cubicBezTo>
                  <a:pt x="1237" y="160"/>
                  <a:pt x="1237" y="160"/>
                  <a:pt x="1237" y="160"/>
                </a:cubicBezTo>
                <a:cubicBezTo>
                  <a:pt x="1237" y="160"/>
                  <a:pt x="1238" y="160"/>
                  <a:pt x="1238" y="160"/>
                </a:cubicBezTo>
                <a:cubicBezTo>
                  <a:pt x="1238" y="160"/>
                  <a:pt x="1238" y="160"/>
                  <a:pt x="1238" y="160"/>
                </a:cubicBezTo>
                <a:cubicBezTo>
                  <a:pt x="1238" y="160"/>
                  <a:pt x="1237" y="160"/>
                  <a:pt x="1237" y="160"/>
                </a:cubicBezTo>
                <a:cubicBezTo>
                  <a:pt x="1236" y="161"/>
                  <a:pt x="1236" y="161"/>
                  <a:pt x="1236" y="162"/>
                </a:cubicBezTo>
                <a:cubicBezTo>
                  <a:pt x="1236" y="162"/>
                  <a:pt x="1236" y="162"/>
                  <a:pt x="1236" y="162"/>
                </a:cubicBezTo>
                <a:cubicBezTo>
                  <a:pt x="1235" y="162"/>
                  <a:pt x="1235" y="162"/>
                  <a:pt x="1234" y="162"/>
                </a:cubicBezTo>
                <a:cubicBezTo>
                  <a:pt x="1234" y="162"/>
                  <a:pt x="1234" y="162"/>
                  <a:pt x="1234" y="162"/>
                </a:cubicBezTo>
                <a:cubicBezTo>
                  <a:pt x="1235" y="163"/>
                  <a:pt x="1235" y="163"/>
                  <a:pt x="1235" y="163"/>
                </a:cubicBezTo>
                <a:cubicBezTo>
                  <a:pt x="1235" y="163"/>
                  <a:pt x="1235" y="164"/>
                  <a:pt x="1235" y="164"/>
                </a:cubicBezTo>
                <a:cubicBezTo>
                  <a:pt x="1235" y="164"/>
                  <a:pt x="1234" y="164"/>
                  <a:pt x="1234" y="164"/>
                </a:cubicBezTo>
                <a:cubicBezTo>
                  <a:pt x="1234" y="164"/>
                  <a:pt x="1233" y="164"/>
                  <a:pt x="1233" y="165"/>
                </a:cubicBezTo>
                <a:cubicBezTo>
                  <a:pt x="1232" y="164"/>
                  <a:pt x="1232" y="164"/>
                  <a:pt x="1231" y="164"/>
                </a:cubicBezTo>
                <a:cubicBezTo>
                  <a:pt x="1231" y="164"/>
                  <a:pt x="1230" y="164"/>
                  <a:pt x="1230" y="164"/>
                </a:cubicBezTo>
                <a:cubicBezTo>
                  <a:pt x="1230" y="163"/>
                  <a:pt x="1231" y="163"/>
                  <a:pt x="1232" y="163"/>
                </a:cubicBezTo>
                <a:cubicBezTo>
                  <a:pt x="1232" y="163"/>
                  <a:pt x="1232" y="163"/>
                  <a:pt x="1232" y="163"/>
                </a:cubicBezTo>
                <a:cubicBezTo>
                  <a:pt x="1231" y="163"/>
                  <a:pt x="1231" y="163"/>
                  <a:pt x="1231" y="163"/>
                </a:cubicBezTo>
                <a:cubicBezTo>
                  <a:pt x="1230" y="163"/>
                  <a:pt x="1230" y="163"/>
                  <a:pt x="1230" y="163"/>
                </a:cubicBezTo>
                <a:cubicBezTo>
                  <a:pt x="1230" y="163"/>
                  <a:pt x="1230" y="163"/>
                  <a:pt x="1229" y="163"/>
                </a:cubicBezTo>
                <a:cubicBezTo>
                  <a:pt x="1229" y="162"/>
                  <a:pt x="1228" y="162"/>
                  <a:pt x="1227" y="162"/>
                </a:cubicBezTo>
                <a:cubicBezTo>
                  <a:pt x="1227" y="162"/>
                  <a:pt x="1226" y="162"/>
                  <a:pt x="1226" y="162"/>
                </a:cubicBezTo>
                <a:cubicBezTo>
                  <a:pt x="1225" y="162"/>
                  <a:pt x="1224" y="162"/>
                  <a:pt x="1223" y="162"/>
                </a:cubicBezTo>
                <a:cubicBezTo>
                  <a:pt x="1222" y="162"/>
                  <a:pt x="1222" y="162"/>
                  <a:pt x="1221" y="162"/>
                </a:cubicBezTo>
                <a:cubicBezTo>
                  <a:pt x="1221" y="162"/>
                  <a:pt x="1221" y="162"/>
                  <a:pt x="1220" y="162"/>
                </a:cubicBezTo>
                <a:cubicBezTo>
                  <a:pt x="1221" y="163"/>
                  <a:pt x="1221" y="163"/>
                  <a:pt x="1221" y="163"/>
                </a:cubicBezTo>
                <a:cubicBezTo>
                  <a:pt x="1221" y="163"/>
                  <a:pt x="1221" y="163"/>
                  <a:pt x="1221" y="163"/>
                </a:cubicBezTo>
                <a:cubicBezTo>
                  <a:pt x="1222" y="163"/>
                  <a:pt x="1222" y="163"/>
                  <a:pt x="1222" y="162"/>
                </a:cubicBezTo>
                <a:cubicBezTo>
                  <a:pt x="1223" y="162"/>
                  <a:pt x="1223" y="162"/>
                  <a:pt x="1224" y="162"/>
                </a:cubicBezTo>
                <a:cubicBezTo>
                  <a:pt x="1224" y="163"/>
                  <a:pt x="1224" y="163"/>
                  <a:pt x="1224" y="163"/>
                </a:cubicBezTo>
                <a:cubicBezTo>
                  <a:pt x="1225" y="164"/>
                  <a:pt x="1225" y="164"/>
                  <a:pt x="1226" y="164"/>
                </a:cubicBezTo>
                <a:cubicBezTo>
                  <a:pt x="1227" y="165"/>
                  <a:pt x="1229" y="165"/>
                  <a:pt x="1230" y="165"/>
                </a:cubicBezTo>
                <a:cubicBezTo>
                  <a:pt x="1231" y="166"/>
                  <a:pt x="1231" y="166"/>
                  <a:pt x="1232" y="166"/>
                </a:cubicBezTo>
                <a:cubicBezTo>
                  <a:pt x="1232" y="166"/>
                  <a:pt x="1233" y="166"/>
                  <a:pt x="1234" y="166"/>
                </a:cubicBezTo>
                <a:cubicBezTo>
                  <a:pt x="1235" y="166"/>
                  <a:pt x="1235" y="166"/>
                  <a:pt x="1236" y="166"/>
                </a:cubicBezTo>
                <a:cubicBezTo>
                  <a:pt x="1236" y="167"/>
                  <a:pt x="1236" y="167"/>
                  <a:pt x="1236" y="167"/>
                </a:cubicBezTo>
                <a:cubicBezTo>
                  <a:pt x="1237" y="167"/>
                  <a:pt x="1238" y="167"/>
                  <a:pt x="1238" y="167"/>
                </a:cubicBezTo>
                <a:cubicBezTo>
                  <a:pt x="1239" y="167"/>
                  <a:pt x="1240" y="167"/>
                  <a:pt x="1240" y="167"/>
                </a:cubicBezTo>
                <a:cubicBezTo>
                  <a:pt x="1240" y="167"/>
                  <a:pt x="1240" y="167"/>
                  <a:pt x="1240" y="166"/>
                </a:cubicBezTo>
                <a:cubicBezTo>
                  <a:pt x="1240" y="166"/>
                  <a:pt x="1240" y="166"/>
                  <a:pt x="1240" y="166"/>
                </a:cubicBezTo>
                <a:cubicBezTo>
                  <a:pt x="1240" y="165"/>
                  <a:pt x="1240" y="165"/>
                  <a:pt x="1240" y="165"/>
                </a:cubicBezTo>
                <a:cubicBezTo>
                  <a:pt x="1240" y="165"/>
                  <a:pt x="1240" y="164"/>
                  <a:pt x="1241" y="164"/>
                </a:cubicBezTo>
                <a:cubicBezTo>
                  <a:pt x="1241" y="164"/>
                  <a:pt x="1242" y="164"/>
                  <a:pt x="1242" y="164"/>
                </a:cubicBezTo>
                <a:cubicBezTo>
                  <a:pt x="1242" y="164"/>
                  <a:pt x="1242" y="164"/>
                  <a:pt x="1242" y="164"/>
                </a:cubicBezTo>
                <a:cubicBezTo>
                  <a:pt x="1243" y="163"/>
                  <a:pt x="1243" y="163"/>
                  <a:pt x="1244" y="163"/>
                </a:cubicBezTo>
                <a:cubicBezTo>
                  <a:pt x="1244" y="163"/>
                  <a:pt x="1244" y="162"/>
                  <a:pt x="1244" y="162"/>
                </a:cubicBezTo>
                <a:cubicBezTo>
                  <a:pt x="1245" y="162"/>
                  <a:pt x="1245" y="161"/>
                  <a:pt x="1245" y="161"/>
                </a:cubicBezTo>
                <a:cubicBezTo>
                  <a:pt x="1245" y="160"/>
                  <a:pt x="1245" y="160"/>
                  <a:pt x="1245" y="159"/>
                </a:cubicBezTo>
                <a:cubicBezTo>
                  <a:pt x="1245" y="159"/>
                  <a:pt x="1245" y="159"/>
                  <a:pt x="1245" y="158"/>
                </a:cubicBezTo>
                <a:cubicBezTo>
                  <a:pt x="1246" y="158"/>
                  <a:pt x="1246" y="157"/>
                  <a:pt x="1247" y="157"/>
                </a:cubicBezTo>
                <a:cubicBezTo>
                  <a:pt x="1247" y="156"/>
                  <a:pt x="1247" y="156"/>
                  <a:pt x="1247" y="156"/>
                </a:cubicBezTo>
                <a:cubicBezTo>
                  <a:pt x="1247" y="155"/>
                  <a:pt x="1247" y="154"/>
                  <a:pt x="1246" y="153"/>
                </a:cubicBezTo>
                <a:cubicBezTo>
                  <a:pt x="1245" y="153"/>
                  <a:pt x="1245" y="152"/>
                  <a:pt x="1244" y="152"/>
                </a:cubicBezTo>
                <a:cubicBezTo>
                  <a:pt x="1244" y="151"/>
                  <a:pt x="1243" y="151"/>
                  <a:pt x="1243" y="151"/>
                </a:cubicBezTo>
                <a:cubicBezTo>
                  <a:pt x="1243" y="150"/>
                  <a:pt x="1243" y="150"/>
                  <a:pt x="1243" y="149"/>
                </a:cubicBezTo>
                <a:cubicBezTo>
                  <a:pt x="1244" y="149"/>
                  <a:pt x="1245" y="148"/>
                  <a:pt x="1245" y="148"/>
                </a:cubicBezTo>
                <a:cubicBezTo>
                  <a:pt x="1246" y="148"/>
                  <a:pt x="1246" y="148"/>
                  <a:pt x="1246" y="147"/>
                </a:cubicBezTo>
                <a:cubicBezTo>
                  <a:pt x="1247" y="148"/>
                  <a:pt x="1248" y="148"/>
                  <a:pt x="1248" y="148"/>
                </a:cubicBezTo>
                <a:cubicBezTo>
                  <a:pt x="1249" y="147"/>
                  <a:pt x="1250" y="147"/>
                  <a:pt x="1251" y="147"/>
                </a:cubicBezTo>
                <a:cubicBezTo>
                  <a:pt x="1251" y="147"/>
                  <a:pt x="1252" y="147"/>
                  <a:pt x="1252" y="147"/>
                </a:cubicBezTo>
                <a:cubicBezTo>
                  <a:pt x="1253" y="147"/>
                  <a:pt x="1253" y="148"/>
                  <a:pt x="1254" y="148"/>
                </a:cubicBezTo>
                <a:cubicBezTo>
                  <a:pt x="1254" y="148"/>
                  <a:pt x="1254" y="149"/>
                  <a:pt x="1254" y="149"/>
                </a:cubicBezTo>
                <a:cubicBezTo>
                  <a:pt x="1254" y="149"/>
                  <a:pt x="1255" y="150"/>
                  <a:pt x="1256" y="150"/>
                </a:cubicBezTo>
                <a:cubicBezTo>
                  <a:pt x="1256" y="150"/>
                  <a:pt x="1256" y="150"/>
                  <a:pt x="1256" y="151"/>
                </a:cubicBezTo>
                <a:cubicBezTo>
                  <a:pt x="1256" y="151"/>
                  <a:pt x="1256" y="151"/>
                  <a:pt x="1256" y="151"/>
                </a:cubicBezTo>
                <a:cubicBezTo>
                  <a:pt x="1257" y="151"/>
                  <a:pt x="1257" y="152"/>
                  <a:pt x="1258" y="152"/>
                </a:cubicBezTo>
                <a:cubicBezTo>
                  <a:pt x="1258" y="152"/>
                  <a:pt x="1257" y="153"/>
                  <a:pt x="1257" y="153"/>
                </a:cubicBezTo>
                <a:cubicBezTo>
                  <a:pt x="1258" y="153"/>
                  <a:pt x="1258" y="153"/>
                  <a:pt x="1258" y="154"/>
                </a:cubicBezTo>
                <a:cubicBezTo>
                  <a:pt x="1258" y="154"/>
                  <a:pt x="1258" y="154"/>
                  <a:pt x="1258" y="154"/>
                </a:cubicBezTo>
                <a:cubicBezTo>
                  <a:pt x="1259" y="155"/>
                  <a:pt x="1259" y="155"/>
                  <a:pt x="1259" y="155"/>
                </a:cubicBezTo>
                <a:cubicBezTo>
                  <a:pt x="1259" y="156"/>
                  <a:pt x="1259" y="156"/>
                  <a:pt x="1259" y="156"/>
                </a:cubicBezTo>
                <a:cubicBezTo>
                  <a:pt x="1259" y="156"/>
                  <a:pt x="1259" y="157"/>
                  <a:pt x="1259" y="157"/>
                </a:cubicBezTo>
                <a:cubicBezTo>
                  <a:pt x="1259" y="157"/>
                  <a:pt x="1259" y="157"/>
                  <a:pt x="1260" y="158"/>
                </a:cubicBezTo>
                <a:cubicBezTo>
                  <a:pt x="1260" y="158"/>
                  <a:pt x="1260" y="158"/>
                  <a:pt x="1261" y="158"/>
                </a:cubicBezTo>
                <a:cubicBezTo>
                  <a:pt x="1261" y="158"/>
                  <a:pt x="1262" y="158"/>
                  <a:pt x="1262" y="159"/>
                </a:cubicBezTo>
                <a:cubicBezTo>
                  <a:pt x="1263" y="159"/>
                  <a:pt x="1263" y="159"/>
                  <a:pt x="1264" y="159"/>
                </a:cubicBezTo>
                <a:cubicBezTo>
                  <a:pt x="1264" y="159"/>
                  <a:pt x="1265" y="159"/>
                  <a:pt x="1265" y="159"/>
                </a:cubicBezTo>
                <a:cubicBezTo>
                  <a:pt x="1266" y="159"/>
                  <a:pt x="1266" y="159"/>
                  <a:pt x="1267" y="159"/>
                </a:cubicBezTo>
                <a:cubicBezTo>
                  <a:pt x="1267" y="159"/>
                  <a:pt x="1267" y="159"/>
                  <a:pt x="1267" y="159"/>
                </a:cubicBezTo>
                <a:cubicBezTo>
                  <a:pt x="1267" y="159"/>
                  <a:pt x="1268" y="159"/>
                  <a:pt x="1268" y="158"/>
                </a:cubicBezTo>
                <a:cubicBezTo>
                  <a:pt x="1268" y="158"/>
                  <a:pt x="1267" y="158"/>
                  <a:pt x="1267" y="158"/>
                </a:cubicBezTo>
                <a:cubicBezTo>
                  <a:pt x="1267" y="158"/>
                  <a:pt x="1266" y="158"/>
                  <a:pt x="1266" y="158"/>
                </a:cubicBezTo>
                <a:cubicBezTo>
                  <a:pt x="1266" y="158"/>
                  <a:pt x="1266" y="158"/>
                  <a:pt x="1266" y="158"/>
                </a:cubicBezTo>
                <a:cubicBezTo>
                  <a:pt x="1265" y="158"/>
                  <a:pt x="1265" y="158"/>
                  <a:pt x="1265" y="158"/>
                </a:cubicBezTo>
                <a:cubicBezTo>
                  <a:pt x="1264" y="158"/>
                  <a:pt x="1264" y="158"/>
                  <a:pt x="1263" y="158"/>
                </a:cubicBezTo>
                <a:cubicBezTo>
                  <a:pt x="1263" y="158"/>
                  <a:pt x="1263" y="158"/>
                  <a:pt x="1262" y="157"/>
                </a:cubicBezTo>
                <a:cubicBezTo>
                  <a:pt x="1262" y="157"/>
                  <a:pt x="1261" y="157"/>
                  <a:pt x="1261" y="157"/>
                </a:cubicBezTo>
                <a:cubicBezTo>
                  <a:pt x="1261" y="157"/>
                  <a:pt x="1261" y="157"/>
                  <a:pt x="1260" y="156"/>
                </a:cubicBezTo>
                <a:cubicBezTo>
                  <a:pt x="1261" y="156"/>
                  <a:pt x="1261" y="156"/>
                  <a:pt x="1261" y="156"/>
                </a:cubicBezTo>
                <a:cubicBezTo>
                  <a:pt x="1261" y="156"/>
                  <a:pt x="1261" y="156"/>
                  <a:pt x="1260" y="155"/>
                </a:cubicBezTo>
                <a:cubicBezTo>
                  <a:pt x="1260" y="155"/>
                  <a:pt x="1260" y="155"/>
                  <a:pt x="1260" y="154"/>
                </a:cubicBezTo>
                <a:cubicBezTo>
                  <a:pt x="1260" y="154"/>
                  <a:pt x="1260" y="153"/>
                  <a:pt x="1260" y="153"/>
                </a:cubicBezTo>
                <a:cubicBezTo>
                  <a:pt x="1260" y="153"/>
                  <a:pt x="1261" y="153"/>
                  <a:pt x="1261" y="153"/>
                </a:cubicBezTo>
                <a:cubicBezTo>
                  <a:pt x="1262" y="153"/>
                  <a:pt x="1262" y="153"/>
                  <a:pt x="1262" y="153"/>
                </a:cubicBezTo>
                <a:cubicBezTo>
                  <a:pt x="1262" y="152"/>
                  <a:pt x="1262" y="152"/>
                  <a:pt x="1261" y="152"/>
                </a:cubicBezTo>
                <a:cubicBezTo>
                  <a:pt x="1261" y="152"/>
                  <a:pt x="1261" y="152"/>
                  <a:pt x="1261" y="151"/>
                </a:cubicBezTo>
                <a:cubicBezTo>
                  <a:pt x="1261" y="151"/>
                  <a:pt x="1261" y="151"/>
                  <a:pt x="1261" y="151"/>
                </a:cubicBezTo>
                <a:cubicBezTo>
                  <a:pt x="1261" y="151"/>
                  <a:pt x="1261" y="151"/>
                  <a:pt x="1261" y="151"/>
                </a:cubicBezTo>
                <a:cubicBezTo>
                  <a:pt x="1260" y="150"/>
                  <a:pt x="1260" y="150"/>
                  <a:pt x="1259" y="150"/>
                </a:cubicBezTo>
                <a:cubicBezTo>
                  <a:pt x="1259" y="150"/>
                  <a:pt x="1259" y="149"/>
                  <a:pt x="1259" y="149"/>
                </a:cubicBezTo>
                <a:cubicBezTo>
                  <a:pt x="1259" y="149"/>
                  <a:pt x="1258" y="148"/>
                  <a:pt x="1258" y="148"/>
                </a:cubicBezTo>
                <a:cubicBezTo>
                  <a:pt x="1257" y="148"/>
                  <a:pt x="1257" y="148"/>
                  <a:pt x="1256" y="148"/>
                </a:cubicBezTo>
                <a:cubicBezTo>
                  <a:pt x="1255" y="147"/>
                  <a:pt x="1254" y="147"/>
                  <a:pt x="1253" y="146"/>
                </a:cubicBezTo>
                <a:cubicBezTo>
                  <a:pt x="1253" y="146"/>
                  <a:pt x="1253" y="146"/>
                  <a:pt x="1253" y="145"/>
                </a:cubicBezTo>
                <a:cubicBezTo>
                  <a:pt x="1252" y="145"/>
                  <a:pt x="1252" y="145"/>
                  <a:pt x="1251" y="146"/>
                </a:cubicBezTo>
                <a:cubicBezTo>
                  <a:pt x="1251" y="145"/>
                  <a:pt x="1250" y="145"/>
                  <a:pt x="1249" y="144"/>
                </a:cubicBezTo>
                <a:cubicBezTo>
                  <a:pt x="1249" y="144"/>
                  <a:pt x="1249" y="144"/>
                  <a:pt x="1248" y="144"/>
                </a:cubicBezTo>
                <a:cubicBezTo>
                  <a:pt x="1248" y="144"/>
                  <a:pt x="1247" y="144"/>
                  <a:pt x="1247" y="144"/>
                </a:cubicBezTo>
                <a:cubicBezTo>
                  <a:pt x="1246" y="144"/>
                  <a:pt x="1246" y="144"/>
                  <a:pt x="1245" y="145"/>
                </a:cubicBezTo>
                <a:cubicBezTo>
                  <a:pt x="1245" y="145"/>
                  <a:pt x="1245" y="145"/>
                  <a:pt x="1245" y="146"/>
                </a:cubicBezTo>
                <a:cubicBezTo>
                  <a:pt x="1245" y="146"/>
                  <a:pt x="1244" y="146"/>
                  <a:pt x="1244" y="146"/>
                </a:cubicBezTo>
                <a:cubicBezTo>
                  <a:pt x="1243" y="146"/>
                  <a:pt x="1243" y="145"/>
                  <a:pt x="1242" y="145"/>
                </a:cubicBezTo>
                <a:cubicBezTo>
                  <a:pt x="1241" y="145"/>
                  <a:pt x="1241" y="145"/>
                  <a:pt x="1240" y="146"/>
                </a:cubicBezTo>
                <a:cubicBezTo>
                  <a:pt x="1240" y="145"/>
                  <a:pt x="1239" y="145"/>
                  <a:pt x="1239" y="145"/>
                </a:cubicBezTo>
                <a:cubicBezTo>
                  <a:pt x="1238" y="145"/>
                  <a:pt x="1238" y="145"/>
                  <a:pt x="1238" y="144"/>
                </a:cubicBezTo>
                <a:cubicBezTo>
                  <a:pt x="1238" y="144"/>
                  <a:pt x="1238" y="144"/>
                  <a:pt x="1238" y="144"/>
                </a:cubicBezTo>
                <a:cubicBezTo>
                  <a:pt x="1238" y="143"/>
                  <a:pt x="1238" y="143"/>
                  <a:pt x="1238" y="143"/>
                </a:cubicBezTo>
                <a:cubicBezTo>
                  <a:pt x="1238" y="142"/>
                  <a:pt x="1237" y="142"/>
                  <a:pt x="1236" y="141"/>
                </a:cubicBezTo>
                <a:cubicBezTo>
                  <a:pt x="1236" y="141"/>
                  <a:pt x="1236" y="140"/>
                  <a:pt x="1236" y="140"/>
                </a:cubicBezTo>
                <a:cubicBezTo>
                  <a:pt x="1236" y="139"/>
                  <a:pt x="1236" y="139"/>
                  <a:pt x="1236" y="138"/>
                </a:cubicBezTo>
                <a:cubicBezTo>
                  <a:pt x="1236" y="138"/>
                  <a:pt x="1235" y="137"/>
                  <a:pt x="1235" y="137"/>
                </a:cubicBezTo>
                <a:cubicBezTo>
                  <a:pt x="1235" y="137"/>
                  <a:pt x="1235" y="136"/>
                  <a:pt x="1236" y="136"/>
                </a:cubicBezTo>
                <a:cubicBezTo>
                  <a:pt x="1236" y="135"/>
                  <a:pt x="1236" y="134"/>
                  <a:pt x="1236" y="134"/>
                </a:cubicBezTo>
                <a:cubicBezTo>
                  <a:pt x="1236" y="133"/>
                  <a:pt x="1236" y="133"/>
                  <a:pt x="1235" y="132"/>
                </a:cubicBezTo>
                <a:cubicBezTo>
                  <a:pt x="1235" y="132"/>
                  <a:pt x="1235" y="131"/>
                  <a:pt x="1234" y="131"/>
                </a:cubicBezTo>
                <a:cubicBezTo>
                  <a:pt x="1234" y="131"/>
                  <a:pt x="1233" y="131"/>
                  <a:pt x="1233" y="131"/>
                </a:cubicBezTo>
                <a:cubicBezTo>
                  <a:pt x="1233" y="130"/>
                  <a:pt x="1232" y="130"/>
                  <a:pt x="1232" y="130"/>
                </a:cubicBezTo>
                <a:cubicBezTo>
                  <a:pt x="1232" y="129"/>
                  <a:pt x="1231" y="128"/>
                  <a:pt x="1230" y="128"/>
                </a:cubicBezTo>
                <a:cubicBezTo>
                  <a:pt x="1229" y="127"/>
                  <a:pt x="1228" y="127"/>
                  <a:pt x="1228" y="127"/>
                </a:cubicBezTo>
                <a:cubicBezTo>
                  <a:pt x="1228" y="126"/>
                  <a:pt x="1228" y="126"/>
                  <a:pt x="1228" y="126"/>
                </a:cubicBezTo>
                <a:cubicBezTo>
                  <a:pt x="1228" y="125"/>
                  <a:pt x="1229" y="125"/>
                  <a:pt x="1229" y="125"/>
                </a:cubicBezTo>
                <a:cubicBezTo>
                  <a:pt x="1229" y="124"/>
                  <a:pt x="1229" y="124"/>
                  <a:pt x="1229" y="123"/>
                </a:cubicBezTo>
                <a:cubicBezTo>
                  <a:pt x="1228" y="123"/>
                  <a:pt x="1228" y="123"/>
                  <a:pt x="1228" y="123"/>
                </a:cubicBezTo>
                <a:cubicBezTo>
                  <a:pt x="1228" y="123"/>
                  <a:pt x="1228" y="122"/>
                  <a:pt x="1228" y="122"/>
                </a:cubicBezTo>
                <a:cubicBezTo>
                  <a:pt x="1228" y="122"/>
                  <a:pt x="1229" y="122"/>
                  <a:pt x="1229" y="122"/>
                </a:cubicBezTo>
                <a:cubicBezTo>
                  <a:pt x="1230" y="121"/>
                  <a:pt x="1231" y="121"/>
                  <a:pt x="1231" y="121"/>
                </a:cubicBezTo>
                <a:cubicBezTo>
                  <a:pt x="1232" y="120"/>
                  <a:pt x="1232" y="120"/>
                  <a:pt x="1232" y="119"/>
                </a:cubicBezTo>
                <a:cubicBezTo>
                  <a:pt x="1232" y="118"/>
                  <a:pt x="1232" y="118"/>
                  <a:pt x="1232" y="117"/>
                </a:cubicBezTo>
                <a:cubicBezTo>
                  <a:pt x="1231" y="116"/>
                  <a:pt x="1230" y="115"/>
                  <a:pt x="1230" y="114"/>
                </a:cubicBezTo>
                <a:cubicBezTo>
                  <a:pt x="1230" y="114"/>
                  <a:pt x="1230" y="114"/>
                  <a:pt x="1231" y="113"/>
                </a:cubicBezTo>
                <a:cubicBezTo>
                  <a:pt x="1231" y="114"/>
                  <a:pt x="1232" y="114"/>
                  <a:pt x="1232" y="114"/>
                </a:cubicBezTo>
                <a:cubicBezTo>
                  <a:pt x="1232" y="115"/>
                  <a:pt x="1232" y="115"/>
                  <a:pt x="1232" y="115"/>
                </a:cubicBezTo>
                <a:cubicBezTo>
                  <a:pt x="1233" y="116"/>
                  <a:pt x="1233" y="116"/>
                  <a:pt x="1233" y="116"/>
                </a:cubicBezTo>
                <a:cubicBezTo>
                  <a:pt x="1233" y="116"/>
                  <a:pt x="1233" y="116"/>
                  <a:pt x="1234" y="116"/>
                </a:cubicBezTo>
                <a:cubicBezTo>
                  <a:pt x="1234" y="117"/>
                  <a:pt x="1234" y="117"/>
                  <a:pt x="1234" y="117"/>
                </a:cubicBezTo>
                <a:cubicBezTo>
                  <a:pt x="1234" y="118"/>
                  <a:pt x="1234" y="118"/>
                  <a:pt x="1235" y="118"/>
                </a:cubicBezTo>
                <a:cubicBezTo>
                  <a:pt x="1235" y="119"/>
                  <a:pt x="1234" y="119"/>
                  <a:pt x="1234" y="120"/>
                </a:cubicBezTo>
                <a:cubicBezTo>
                  <a:pt x="1235" y="120"/>
                  <a:pt x="1235" y="121"/>
                  <a:pt x="1235" y="121"/>
                </a:cubicBezTo>
                <a:cubicBezTo>
                  <a:pt x="1235" y="121"/>
                  <a:pt x="1235" y="122"/>
                  <a:pt x="1234" y="122"/>
                </a:cubicBezTo>
                <a:cubicBezTo>
                  <a:pt x="1235" y="122"/>
                  <a:pt x="1235" y="123"/>
                  <a:pt x="1235" y="123"/>
                </a:cubicBezTo>
                <a:cubicBezTo>
                  <a:pt x="1236" y="123"/>
                  <a:pt x="1236" y="124"/>
                  <a:pt x="1237" y="124"/>
                </a:cubicBezTo>
                <a:cubicBezTo>
                  <a:pt x="1237" y="124"/>
                  <a:pt x="1237" y="124"/>
                  <a:pt x="1237" y="125"/>
                </a:cubicBezTo>
                <a:cubicBezTo>
                  <a:pt x="1237" y="125"/>
                  <a:pt x="1237" y="125"/>
                  <a:pt x="1237" y="125"/>
                </a:cubicBezTo>
                <a:cubicBezTo>
                  <a:pt x="1237" y="125"/>
                  <a:pt x="1237" y="126"/>
                  <a:pt x="1237" y="126"/>
                </a:cubicBezTo>
                <a:cubicBezTo>
                  <a:pt x="1237" y="126"/>
                  <a:pt x="1237" y="126"/>
                  <a:pt x="1236" y="126"/>
                </a:cubicBezTo>
                <a:cubicBezTo>
                  <a:pt x="1236" y="126"/>
                  <a:pt x="1237" y="127"/>
                  <a:pt x="1237" y="127"/>
                </a:cubicBezTo>
                <a:cubicBezTo>
                  <a:pt x="1237" y="127"/>
                  <a:pt x="1238" y="127"/>
                  <a:pt x="1238" y="127"/>
                </a:cubicBezTo>
                <a:cubicBezTo>
                  <a:pt x="1239" y="127"/>
                  <a:pt x="1239" y="127"/>
                  <a:pt x="1240" y="128"/>
                </a:cubicBezTo>
                <a:cubicBezTo>
                  <a:pt x="1240" y="128"/>
                  <a:pt x="1241" y="128"/>
                  <a:pt x="1242" y="128"/>
                </a:cubicBezTo>
                <a:cubicBezTo>
                  <a:pt x="1242" y="128"/>
                  <a:pt x="1243" y="128"/>
                  <a:pt x="1243" y="128"/>
                </a:cubicBezTo>
                <a:cubicBezTo>
                  <a:pt x="1243" y="128"/>
                  <a:pt x="1244" y="128"/>
                  <a:pt x="1244" y="129"/>
                </a:cubicBezTo>
                <a:cubicBezTo>
                  <a:pt x="1244" y="129"/>
                  <a:pt x="1244" y="129"/>
                  <a:pt x="1244" y="129"/>
                </a:cubicBezTo>
                <a:cubicBezTo>
                  <a:pt x="1245" y="129"/>
                  <a:pt x="1245" y="129"/>
                  <a:pt x="1246" y="129"/>
                </a:cubicBezTo>
                <a:cubicBezTo>
                  <a:pt x="1246" y="129"/>
                  <a:pt x="1246" y="129"/>
                  <a:pt x="1247" y="129"/>
                </a:cubicBezTo>
                <a:cubicBezTo>
                  <a:pt x="1247" y="129"/>
                  <a:pt x="1248" y="129"/>
                  <a:pt x="1248" y="128"/>
                </a:cubicBezTo>
                <a:cubicBezTo>
                  <a:pt x="1248" y="129"/>
                  <a:pt x="1249" y="129"/>
                  <a:pt x="1249" y="129"/>
                </a:cubicBezTo>
                <a:cubicBezTo>
                  <a:pt x="1249" y="129"/>
                  <a:pt x="1250" y="130"/>
                  <a:pt x="1250" y="130"/>
                </a:cubicBezTo>
                <a:cubicBezTo>
                  <a:pt x="1251" y="130"/>
                  <a:pt x="1251" y="130"/>
                  <a:pt x="1252" y="130"/>
                </a:cubicBezTo>
                <a:cubicBezTo>
                  <a:pt x="1252" y="131"/>
                  <a:pt x="1253" y="131"/>
                  <a:pt x="1253" y="131"/>
                </a:cubicBezTo>
                <a:cubicBezTo>
                  <a:pt x="1254" y="131"/>
                  <a:pt x="1255" y="131"/>
                  <a:pt x="1255" y="131"/>
                </a:cubicBezTo>
                <a:cubicBezTo>
                  <a:pt x="1256" y="131"/>
                  <a:pt x="1256" y="131"/>
                  <a:pt x="1256" y="131"/>
                </a:cubicBezTo>
                <a:cubicBezTo>
                  <a:pt x="1256" y="131"/>
                  <a:pt x="1256" y="131"/>
                  <a:pt x="1255" y="131"/>
                </a:cubicBezTo>
                <a:cubicBezTo>
                  <a:pt x="1255" y="131"/>
                  <a:pt x="1254" y="131"/>
                  <a:pt x="1253" y="131"/>
                </a:cubicBezTo>
                <a:cubicBezTo>
                  <a:pt x="1253" y="130"/>
                  <a:pt x="1253" y="130"/>
                  <a:pt x="1253" y="130"/>
                </a:cubicBezTo>
                <a:cubicBezTo>
                  <a:pt x="1253" y="130"/>
                  <a:pt x="1252" y="130"/>
                  <a:pt x="1252" y="129"/>
                </a:cubicBezTo>
                <a:cubicBezTo>
                  <a:pt x="1252" y="129"/>
                  <a:pt x="1252" y="129"/>
                  <a:pt x="1252" y="128"/>
                </a:cubicBezTo>
                <a:cubicBezTo>
                  <a:pt x="1251" y="128"/>
                  <a:pt x="1250" y="128"/>
                  <a:pt x="1250" y="128"/>
                </a:cubicBezTo>
                <a:cubicBezTo>
                  <a:pt x="1250" y="128"/>
                  <a:pt x="1249" y="128"/>
                  <a:pt x="1249" y="127"/>
                </a:cubicBezTo>
                <a:cubicBezTo>
                  <a:pt x="1249" y="127"/>
                  <a:pt x="1249" y="127"/>
                  <a:pt x="1249" y="127"/>
                </a:cubicBezTo>
                <a:cubicBezTo>
                  <a:pt x="1249" y="127"/>
                  <a:pt x="1248" y="127"/>
                  <a:pt x="1248" y="128"/>
                </a:cubicBezTo>
                <a:cubicBezTo>
                  <a:pt x="1247" y="127"/>
                  <a:pt x="1246" y="127"/>
                  <a:pt x="1245" y="127"/>
                </a:cubicBezTo>
                <a:cubicBezTo>
                  <a:pt x="1245" y="127"/>
                  <a:pt x="1245" y="127"/>
                  <a:pt x="1244" y="126"/>
                </a:cubicBezTo>
                <a:cubicBezTo>
                  <a:pt x="1244" y="126"/>
                  <a:pt x="1243" y="126"/>
                  <a:pt x="1242" y="126"/>
                </a:cubicBezTo>
                <a:cubicBezTo>
                  <a:pt x="1242" y="125"/>
                  <a:pt x="1241" y="125"/>
                  <a:pt x="1240" y="125"/>
                </a:cubicBezTo>
                <a:cubicBezTo>
                  <a:pt x="1240" y="124"/>
                  <a:pt x="1240" y="124"/>
                  <a:pt x="1240" y="124"/>
                </a:cubicBezTo>
                <a:cubicBezTo>
                  <a:pt x="1240" y="123"/>
                  <a:pt x="1240" y="123"/>
                  <a:pt x="1239" y="123"/>
                </a:cubicBezTo>
                <a:cubicBezTo>
                  <a:pt x="1239" y="123"/>
                  <a:pt x="1238" y="122"/>
                  <a:pt x="1238" y="121"/>
                </a:cubicBezTo>
                <a:cubicBezTo>
                  <a:pt x="1238" y="121"/>
                  <a:pt x="1238" y="121"/>
                  <a:pt x="1239" y="121"/>
                </a:cubicBezTo>
                <a:cubicBezTo>
                  <a:pt x="1239" y="121"/>
                  <a:pt x="1239" y="121"/>
                  <a:pt x="1239" y="121"/>
                </a:cubicBezTo>
                <a:cubicBezTo>
                  <a:pt x="1240" y="121"/>
                  <a:pt x="1241" y="121"/>
                  <a:pt x="1241" y="121"/>
                </a:cubicBezTo>
                <a:cubicBezTo>
                  <a:pt x="1241" y="121"/>
                  <a:pt x="1242" y="121"/>
                  <a:pt x="1242" y="121"/>
                </a:cubicBezTo>
                <a:cubicBezTo>
                  <a:pt x="1242" y="121"/>
                  <a:pt x="1243" y="122"/>
                  <a:pt x="1243" y="122"/>
                </a:cubicBezTo>
                <a:cubicBezTo>
                  <a:pt x="1244" y="122"/>
                  <a:pt x="1245" y="123"/>
                  <a:pt x="1246" y="123"/>
                </a:cubicBezTo>
                <a:cubicBezTo>
                  <a:pt x="1247" y="123"/>
                  <a:pt x="1247" y="123"/>
                  <a:pt x="1248" y="123"/>
                </a:cubicBezTo>
                <a:cubicBezTo>
                  <a:pt x="1248" y="123"/>
                  <a:pt x="1249" y="122"/>
                  <a:pt x="1249" y="122"/>
                </a:cubicBezTo>
                <a:cubicBezTo>
                  <a:pt x="1249" y="121"/>
                  <a:pt x="1249" y="121"/>
                  <a:pt x="1248" y="120"/>
                </a:cubicBezTo>
                <a:cubicBezTo>
                  <a:pt x="1248" y="120"/>
                  <a:pt x="1247" y="120"/>
                  <a:pt x="1246" y="120"/>
                </a:cubicBezTo>
                <a:cubicBezTo>
                  <a:pt x="1246" y="120"/>
                  <a:pt x="1245" y="120"/>
                  <a:pt x="1244" y="120"/>
                </a:cubicBezTo>
                <a:cubicBezTo>
                  <a:pt x="1244" y="120"/>
                  <a:pt x="1244" y="120"/>
                  <a:pt x="1243" y="120"/>
                </a:cubicBezTo>
                <a:cubicBezTo>
                  <a:pt x="1244" y="120"/>
                  <a:pt x="1244" y="119"/>
                  <a:pt x="1244" y="119"/>
                </a:cubicBezTo>
                <a:cubicBezTo>
                  <a:pt x="1244" y="119"/>
                  <a:pt x="1244" y="119"/>
                  <a:pt x="1244" y="120"/>
                </a:cubicBezTo>
                <a:cubicBezTo>
                  <a:pt x="1245" y="120"/>
                  <a:pt x="1245" y="119"/>
                  <a:pt x="1245" y="119"/>
                </a:cubicBezTo>
                <a:cubicBezTo>
                  <a:pt x="1245" y="119"/>
                  <a:pt x="1245" y="119"/>
                  <a:pt x="1245" y="119"/>
                </a:cubicBezTo>
                <a:cubicBezTo>
                  <a:pt x="1246" y="118"/>
                  <a:pt x="1246" y="118"/>
                  <a:pt x="1247" y="117"/>
                </a:cubicBezTo>
                <a:cubicBezTo>
                  <a:pt x="1248" y="117"/>
                  <a:pt x="1248" y="117"/>
                  <a:pt x="1248" y="117"/>
                </a:cubicBezTo>
                <a:cubicBezTo>
                  <a:pt x="1249" y="117"/>
                  <a:pt x="1249" y="117"/>
                  <a:pt x="1250" y="118"/>
                </a:cubicBezTo>
                <a:cubicBezTo>
                  <a:pt x="1251" y="118"/>
                  <a:pt x="1252" y="118"/>
                  <a:pt x="1254" y="118"/>
                </a:cubicBezTo>
                <a:cubicBezTo>
                  <a:pt x="1254" y="119"/>
                  <a:pt x="1255" y="119"/>
                  <a:pt x="1255" y="119"/>
                </a:cubicBezTo>
                <a:cubicBezTo>
                  <a:pt x="1255" y="120"/>
                  <a:pt x="1256" y="120"/>
                  <a:pt x="1256" y="120"/>
                </a:cubicBezTo>
                <a:cubicBezTo>
                  <a:pt x="1257" y="120"/>
                  <a:pt x="1259" y="121"/>
                  <a:pt x="1260" y="121"/>
                </a:cubicBezTo>
                <a:cubicBezTo>
                  <a:pt x="1260" y="121"/>
                  <a:pt x="1260" y="122"/>
                  <a:pt x="1260" y="122"/>
                </a:cubicBezTo>
                <a:cubicBezTo>
                  <a:pt x="1260" y="122"/>
                  <a:pt x="1261" y="122"/>
                  <a:pt x="1261" y="122"/>
                </a:cubicBezTo>
                <a:cubicBezTo>
                  <a:pt x="1262" y="123"/>
                  <a:pt x="1263" y="124"/>
                  <a:pt x="1263" y="124"/>
                </a:cubicBezTo>
                <a:cubicBezTo>
                  <a:pt x="1264" y="124"/>
                  <a:pt x="1264" y="125"/>
                  <a:pt x="1265" y="125"/>
                </a:cubicBezTo>
                <a:cubicBezTo>
                  <a:pt x="1266" y="125"/>
                  <a:pt x="1267" y="125"/>
                  <a:pt x="1268" y="125"/>
                </a:cubicBezTo>
                <a:cubicBezTo>
                  <a:pt x="1269" y="125"/>
                  <a:pt x="1270" y="125"/>
                  <a:pt x="1271" y="124"/>
                </a:cubicBezTo>
                <a:cubicBezTo>
                  <a:pt x="1271" y="125"/>
                  <a:pt x="1271" y="125"/>
                  <a:pt x="1272" y="125"/>
                </a:cubicBezTo>
                <a:cubicBezTo>
                  <a:pt x="1272" y="125"/>
                  <a:pt x="1272" y="125"/>
                  <a:pt x="1272" y="125"/>
                </a:cubicBezTo>
                <a:cubicBezTo>
                  <a:pt x="1273" y="125"/>
                  <a:pt x="1273" y="125"/>
                  <a:pt x="1274" y="125"/>
                </a:cubicBezTo>
                <a:cubicBezTo>
                  <a:pt x="1273" y="126"/>
                  <a:pt x="1273" y="126"/>
                  <a:pt x="1273" y="127"/>
                </a:cubicBezTo>
                <a:cubicBezTo>
                  <a:pt x="1273" y="127"/>
                  <a:pt x="1273" y="127"/>
                  <a:pt x="1273" y="127"/>
                </a:cubicBezTo>
                <a:cubicBezTo>
                  <a:pt x="1273" y="128"/>
                  <a:pt x="1273" y="128"/>
                  <a:pt x="1273" y="128"/>
                </a:cubicBezTo>
                <a:cubicBezTo>
                  <a:pt x="1272" y="128"/>
                  <a:pt x="1272" y="128"/>
                  <a:pt x="1271" y="128"/>
                </a:cubicBezTo>
                <a:cubicBezTo>
                  <a:pt x="1271" y="129"/>
                  <a:pt x="1271" y="129"/>
                  <a:pt x="1271" y="129"/>
                </a:cubicBezTo>
                <a:cubicBezTo>
                  <a:pt x="1271" y="130"/>
                  <a:pt x="1271" y="130"/>
                  <a:pt x="1271" y="130"/>
                </a:cubicBezTo>
                <a:cubicBezTo>
                  <a:pt x="1271" y="131"/>
                  <a:pt x="1271" y="131"/>
                  <a:pt x="1271" y="131"/>
                </a:cubicBezTo>
                <a:cubicBezTo>
                  <a:pt x="1272" y="132"/>
                  <a:pt x="1272" y="132"/>
                  <a:pt x="1273" y="133"/>
                </a:cubicBezTo>
                <a:cubicBezTo>
                  <a:pt x="1273" y="133"/>
                  <a:pt x="1273" y="133"/>
                  <a:pt x="1273" y="134"/>
                </a:cubicBezTo>
                <a:cubicBezTo>
                  <a:pt x="1273" y="134"/>
                  <a:pt x="1272" y="134"/>
                  <a:pt x="1272" y="134"/>
                </a:cubicBezTo>
                <a:cubicBezTo>
                  <a:pt x="1272" y="135"/>
                  <a:pt x="1272" y="136"/>
                  <a:pt x="1272" y="136"/>
                </a:cubicBezTo>
                <a:cubicBezTo>
                  <a:pt x="1273" y="136"/>
                  <a:pt x="1273" y="136"/>
                  <a:pt x="1273" y="136"/>
                </a:cubicBezTo>
                <a:cubicBezTo>
                  <a:pt x="1273" y="136"/>
                  <a:pt x="1273" y="136"/>
                  <a:pt x="1274" y="136"/>
                </a:cubicBezTo>
                <a:cubicBezTo>
                  <a:pt x="1273" y="136"/>
                  <a:pt x="1273" y="135"/>
                  <a:pt x="1273" y="135"/>
                </a:cubicBezTo>
                <a:cubicBezTo>
                  <a:pt x="1274" y="135"/>
                  <a:pt x="1274" y="135"/>
                  <a:pt x="1274" y="135"/>
                </a:cubicBezTo>
                <a:cubicBezTo>
                  <a:pt x="1274" y="134"/>
                  <a:pt x="1274" y="134"/>
                  <a:pt x="1274" y="134"/>
                </a:cubicBezTo>
                <a:cubicBezTo>
                  <a:pt x="1274" y="134"/>
                  <a:pt x="1275" y="134"/>
                  <a:pt x="1275" y="134"/>
                </a:cubicBezTo>
                <a:cubicBezTo>
                  <a:pt x="1275" y="133"/>
                  <a:pt x="1276" y="133"/>
                  <a:pt x="1276" y="133"/>
                </a:cubicBezTo>
                <a:cubicBezTo>
                  <a:pt x="1276" y="133"/>
                  <a:pt x="1276" y="133"/>
                  <a:pt x="1277" y="133"/>
                </a:cubicBezTo>
                <a:cubicBezTo>
                  <a:pt x="1277" y="134"/>
                  <a:pt x="1277" y="134"/>
                  <a:pt x="1277" y="135"/>
                </a:cubicBezTo>
                <a:cubicBezTo>
                  <a:pt x="1277" y="135"/>
                  <a:pt x="1277" y="136"/>
                  <a:pt x="1277" y="136"/>
                </a:cubicBezTo>
                <a:cubicBezTo>
                  <a:pt x="1277" y="137"/>
                  <a:pt x="1277" y="137"/>
                  <a:pt x="1277" y="137"/>
                </a:cubicBezTo>
                <a:cubicBezTo>
                  <a:pt x="1277" y="137"/>
                  <a:pt x="1277" y="137"/>
                  <a:pt x="1276" y="137"/>
                </a:cubicBezTo>
                <a:cubicBezTo>
                  <a:pt x="1276" y="138"/>
                  <a:pt x="1276" y="138"/>
                  <a:pt x="1276" y="138"/>
                </a:cubicBezTo>
                <a:cubicBezTo>
                  <a:pt x="1276" y="138"/>
                  <a:pt x="1276" y="138"/>
                  <a:pt x="1276" y="138"/>
                </a:cubicBezTo>
                <a:cubicBezTo>
                  <a:pt x="1276" y="139"/>
                  <a:pt x="1277" y="139"/>
                  <a:pt x="1278" y="140"/>
                </a:cubicBezTo>
                <a:cubicBezTo>
                  <a:pt x="1278" y="140"/>
                  <a:pt x="1279" y="140"/>
                  <a:pt x="1280" y="140"/>
                </a:cubicBezTo>
                <a:cubicBezTo>
                  <a:pt x="1280" y="140"/>
                  <a:pt x="1281" y="140"/>
                  <a:pt x="1281" y="140"/>
                </a:cubicBezTo>
                <a:cubicBezTo>
                  <a:pt x="1282" y="141"/>
                  <a:pt x="1282" y="141"/>
                  <a:pt x="1282" y="141"/>
                </a:cubicBezTo>
                <a:cubicBezTo>
                  <a:pt x="1282" y="142"/>
                  <a:pt x="1282" y="142"/>
                  <a:pt x="1282" y="142"/>
                </a:cubicBezTo>
                <a:cubicBezTo>
                  <a:pt x="1282" y="143"/>
                  <a:pt x="1283" y="143"/>
                  <a:pt x="1283" y="143"/>
                </a:cubicBezTo>
                <a:cubicBezTo>
                  <a:pt x="1284" y="143"/>
                  <a:pt x="1285" y="143"/>
                  <a:pt x="1286" y="143"/>
                </a:cubicBezTo>
                <a:cubicBezTo>
                  <a:pt x="1286" y="144"/>
                  <a:pt x="1287" y="145"/>
                  <a:pt x="1288" y="145"/>
                </a:cubicBezTo>
                <a:cubicBezTo>
                  <a:pt x="1288" y="145"/>
                  <a:pt x="1288" y="145"/>
                  <a:pt x="1287" y="145"/>
                </a:cubicBezTo>
                <a:cubicBezTo>
                  <a:pt x="1288" y="145"/>
                  <a:pt x="1288" y="144"/>
                  <a:pt x="1288" y="144"/>
                </a:cubicBezTo>
                <a:cubicBezTo>
                  <a:pt x="1288" y="144"/>
                  <a:pt x="1289" y="143"/>
                  <a:pt x="1290" y="143"/>
                </a:cubicBezTo>
                <a:cubicBezTo>
                  <a:pt x="1290" y="143"/>
                  <a:pt x="1291" y="143"/>
                  <a:pt x="1291" y="143"/>
                </a:cubicBezTo>
                <a:cubicBezTo>
                  <a:pt x="1292" y="144"/>
                  <a:pt x="1292" y="144"/>
                  <a:pt x="1293" y="145"/>
                </a:cubicBezTo>
                <a:cubicBezTo>
                  <a:pt x="1294" y="145"/>
                  <a:pt x="1294" y="145"/>
                  <a:pt x="1295" y="145"/>
                </a:cubicBezTo>
                <a:cubicBezTo>
                  <a:pt x="1295" y="145"/>
                  <a:pt x="1296" y="146"/>
                  <a:pt x="1296" y="146"/>
                </a:cubicBezTo>
                <a:cubicBezTo>
                  <a:pt x="1296" y="147"/>
                  <a:pt x="1296" y="147"/>
                  <a:pt x="1296" y="148"/>
                </a:cubicBezTo>
                <a:cubicBezTo>
                  <a:pt x="1296" y="147"/>
                  <a:pt x="1296" y="147"/>
                  <a:pt x="1296" y="146"/>
                </a:cubicBezTo>
                <a:cubicBezTo>
                  <a:pt x="1296" y="146"/>
                  <a:pt x="1296" y="145"/>
                  <a:pt x="1296" y="145"/>
                </a:cubicBezTo>
                <a:cubicBezTo>
                  <a:pt x="1295" y="145"/>
                  <a:pt x="1295" y="145"/>
                  <a:pt x="1295" y="145"/>
                </a:cubicBezTo>
                <a:cubicBezTo>
                  <a:pt x="1294" y="145"/>
                  <a:pt x="1294" y="144"/>
                  <a:pt x="1293" y="144"/>
                </a:cubicBezTo>
                <a:cubicBezTo>
                  <a:pt x="1292" y="144"/>
                  <a:pt x="1292" y="143"/>
                  <a:pt x="1291" y="143"/>
                </a:cubicBezTo>
                <a:cubicBezTo>
                  <a:pt x="1290" y="143"/>
                  <a:pt x="1290" y="143"/>
                  <a:pt x="1289" y="143"/>
                </a:cubicBezTo>
                <a:cubicBezTo>
                  <a:pt x="1288" y="143"/>
                  <a:pt x="1288" y="143"/>
                  <a:pt x="1287" y="143"/>
                </a:cubicBezTo>
                <a:cubicBezTo>
                  <a:pt x="1287" y="143"/>
                  <a:pt x="1286" y="143"/>
                  <a:pt x="1286" y="143"/>
                </a:cubicBezTo>
                <a:cubicBezTo>
                  <a:pt x="1286" y="143"/>
                  <a:pt x="1286" y="143"/>
                  <a:pt x="1286" y="143"/>
                </a:cubicBezTo>
                <a:cubicBezTo>
                  <a:pt x="1285" y="143"/>
                  <a:pt x="1285" y="142"/>
                  <a:pt x="1284" y="142"/>
                </a:cubicBezTo>
                <a:cubicBezTo>
                  <a:pt x="1283" y="142"/>
                  <a:pt x="1283" y="141"/>
                  <a:pt x="1282" y="140"/>
                </a:cubicBezTo>
                <a:cubicBezTo>
                  <a:pt x="1282" y="140"/>
                  <a:pt x="1281" y="140"/>
                  <a:pt x="1281" y="140"/>
                </a:cubicBezTo>
                <a:cubicBezTo>
                  <a:pt x="1280" y="139"/>
                  <a:pt x="1280" y="139"/>
                  <a:pt x="1279" y="139"/>
                </a:cubicBezTo>
                <a:cubicBezTo>
                  <a:pt x="1279" y="139"/>
                  <a:pt x="1278" y="138"/>
                  <a:pt x="1278" y="138"/>
                </a:cubicBezTo>
                <a:cubicBezTo>
                  <a:pt x="1278" y="138"/>
                  <a:pt x="1279" y="138"/>
                  <a:pt x="1279" y="138"/>
                </a:cubicBezTo>
                <a:cubicBezTo>
                  <a:pt x="1279" y="138"/>
                  <a:pt x="1279" y="138"/>
                  <a:pt x="1280" y="138"/>
                </a:cubicBezTo>
                <a:cubicBezTo>
                  <a:pt x="1280" y="138"/>
                  <a:pt x="1281" y="137"/>
                  <a:pt x="1281" y="137"/>
                </a:cubicBezTo>
                <a:cubicBezTo>
                  <a:pt x="1281" y="137"/>
                  <a:pt x="1281" y="136"/>
                  <a:pt x="1281" y="136"/>
                </a:cubicBezTo>
                <a:cubicBezTo>
                  <a:pt x="1281" y="136"/>
                  <a:pt x="1280" y="135"/>
                  <a:pt x="1280" y="135"/>
                </a:cubicBezTo>
                <a:cubicBezTo>
                  <a:pt x="1279" y="134"/>
                  <a:pt x="1279" y="134"/>
                  <a:pt x="1279" y="133"/>
                </a:cubicBezTo>
                <a:cubicBezTo>
                  <a:pt x="1279" y="133"/>
                  <a:pt x="1278" y="132"/>
                  <a:pt x="1278" y="131"/>
                </a:cubicBezTo>
                <a:cubicBezTo>
                  <a:pt x="1277" y="131"/>
                  <a:pt x="1277" y="131"/>
                  <a:pt x="1277" y="131"/>
                </a:cubicBezTo>
                <a:cubicBezTo>
                  <a:pt x="1276" y="130"/>
                  <a:pt x="1276" y="130"/>
                  <a:pt x="1275" y="129"/>
                </a:cubicBezTo>
                <a:cubicBezTo>
                  <a:pt x="1276" y="129"/>
                  <a:pt x="1276" y="129"/>
                  <a:pt x="1276" y="129"/>
                </a:cubicBezTo>
                <a:cubicBezTo>
                  <a:pt x="1276" y="128"/>
                  <a:pt x="1276" y="128"/>
                  <a:pt x="1276" y="128"/>
                </a:cubicBezTo>
                <a:cubicBezTo>
                  <a:pt x="1276" y="127"/>
                  <a:pt x="1276" y="126"/>
                  <a:pt x="1276" y="126"/>
                </a:cubicBezTo>
                <a:cubicBezTo>
                  <a:pt x="1275" y="125"/>
                  <a:pt x="1275" y="125"/>
                  <a:pt x="1275" y="125"/>
                </a:cubicBezTo>
                <a:cubicBezTo>
                  <a:pt x="1274" y="125"/>
                  <a:pt x="1274" y="125"/>
                  <a:pt x="1274" y="125"/>
                </a:cubicBezTo>
                <a:cubicBezTo>
                  <a:pt x="1273" y="124"/>
                  <a:pt x="1273" y="124"/>
                  <a:pt x="1272" y="123"/>
                </a:cubicBezTo>
                <a:cubicBezTo>
                  <a:pt x="1271" y="123"/>
                  <a:pt x="1270" y="123"/>
                  <a:pt x="1269" y="123"/>
                </a:cubicBezTo>
                <a:cubicBezTo>
                  <a:pt x="1269" y="122"/>
                  <a:pt x="1268" y="122"/>
                  <a:pt x="1268" y="122"/>
                </a:cubicBezTo>
                <a:cubicBezTo>
                  <a:pt x="1268" y="121"/>
                  <a:pt x="1267" y="121"/>
                  <a:pt x="1266" y="121"/>
                </a:cubicBezTo>
                <a:cubicBezTo>
                  <a:pt x="1266" y="120"/>
                  <a:pt x="1267" y="120"/>
                  <a:pt x="1267" y="120"/>
                </a:cubicBezTo>
                <a:cubicBezTo>
                  <a:pt x="1266" y="120"/>
                  <a:pt x="1266" y="119"/>
                  <a:pt x="1266" y="119"/>
                </a:cubicBezTo>
                <a:cubicBezTo>
                  <a:pt x="1266" y="119"/>
                  <a:pt x="1266" y="119"/>
                  <a:pt x="1266" y="119"/>
                </a:cubicBezTo>
                <a:cubicBezTo>
                  <a:pt x="1266" y="119"/>
                  <a:pt x="1265" y="119"/>
                  <a:pt x="1265" y="119"/>
                </a:cubicBezTo>
                <a:cubicBezTo>
                  <a:pt x="1263" y="119"/>
                  <a:pt x="1262" y="118"/>
                  <a:pt x="1261" y="118"/>
                </a:cubicBezTo>
                <a:cubicBezTo>
                  <a:pt x="1260" y="118"/>
                  <a:pt x="1260" y="118"/>
                  <a:pt x="1259" y="118"/>
                </a:cubicBezTo>
                <a:cubicBezTo>
                  <a:pt x="1259" y="118"/>
                  <a:pt x="1258" y="117"/>
                  <a:pt x="1258" y="117"/>
                </a:cubicBezTo>
                <a:cubicBezTo>
                  <a:pt x="1258" y="117"/>
                  <a:pt x="1258" y="116"/>
                  <a:pt x="1258" y="116"/>
                </a:cubicBezTo>
                <a:cubicBezTo>
                  <a:pt x="1257" y="116"/>
                  <a:pt x="1257" y="116"/>
                  <a:pt x="1257" y="116"/>
                </a:cubicBezTo>
                <a:cubicBezTo>
                  <a:pt x="1257" y="116"/>
                  <a:pt x="1257" y="116"/>
                  <a:pt x="1257" y="115"/>
                </a:cubicBezTo>
                <a:cubicBezTo>
                  <a:pt x="1257" y="115"/>
                  <a:pt x="1257" y="114"/>
                  <a:pt x="1257" y="114"/>
                </a:cubicBezTo>
                <a:cubicBezTo>
                  <a:pt x="1257" y="113"/>
                  <a:pt x="1256" y="113"/>
                  <a:pt x="1256" y="112"/>
                </a:cubicBezTo>
                <a:cubicBezTo>
                  <a:pt x="1255" y="112"/>
                  <a:pt x="1254" y="111"/>
                  <a:pt x="1254" y="111"/>
                </a:cubicBezTo>
                <a:cubicBezTo>
                  <a:pt x="1254" y="111"/>
                  <a:pt x="1254" y="111"/>
                  <a:pt x="1254" y="111"/>
                </a:cubicBezTo>
                <a:cubicBezTo>
                  <a:pt x="1254" y="110"/>
                  <a:pt x="1254" y="110"/>
                  <a:pt x="1254" y="110"/>
                </a:cubicBezTo>
                <a:cubicBezTo>
                  <a:pt x="1254" y="110"/>
                  <a:pt x="1254" y="110"/>
                  <a:pt x="1253" y="110"/>
                </a:cubicBezTo>
                <a:cubicBezTo>
                  <a:pt x="1253" y="110"/>
                  <a:pt x="1253" y="109"/>
                  <a:pt x="1253" y="109"/>
                </a:cubicBezTo>
                <a:cubicBezTo>
                  <a:pt x="1253" y="109"/>
                  <a:pt x="1253" y="109"/>
                  <a:pt x="1253" y="109"/>
                </a:cubicBezTo>
                <a:cubicBezTo>
                  <a:pt x="1253" y="108"/>
                  <a:pt x="1253" y="108"/>
                  <a:pt x="1253" y="108"/>
                </a:cubicBezTo>
                <a:cubicBezTo>
                  <a:pt x="1253" y="108"/>
                  <a:pt x="1252" y="107"/>
                  <a:pt x="1252" y="107"/>
                </a:cubicBezTo>
                <a:cubicBezTo>
                  <a:pt x="1252" y="107"/>
                  <a:pt x="1253" y="107"/>
                  <a:pt x="1253" y="107"/>
                </a:cubicBezTo>
                <a:cubicBezTo>
                  <a:pt x="1254" y="107"/>
                  <a:pt x="1254" y="107"/>
                  <a:pt x="1255" y="107"/>
                </a:cubicBezTo>
                <a:cubicBezTo>
                  <a:pt x="1255" y="107"/>
                  <a:pt x="1256" y="106"/>
                  <a:pt x="1256" y="106"/>
                </a:cubicBezTo>
                <a:cubicBezTo>
                  <a:pt x="1257" y="106"/>
                  <a:pt x="1257" y="106"/>
                  <a:pt x="1258" y="106"/>
                </a:cubicBezTo>
                <a:cubicBezTo>
                  <a:pt x="1259" y="106"/>
                  <a:pt x="1260" y="106"/>
                  <a:pt x="1261" y="106"/>
                </a:cubicBezTo>
                <a:cubicBezTo>
                  <a:pt x="1263" y="106"/>
                  <a:pt x="1264" y="106"/>
                  <a:pt x="1266" y="106"/>
                </a:cubicBezTo>
                <a:cubicBezTo>
                  <a:pt x="1266" y="106"/>
                  <a:pt x="1267" y="106"/>
                  <a:pt x="1268" y="106"/>
                </a:cubicBezTo>
                <a:cubicBezTo>
                  <a:pt x="1268" y="106"/>
                  <a:pt x="1269" y="106"/>
                  <a:pt x="1269" y="106"/>
                </a:cubicBezTo>
                <a:cubicBezTo>
                  <a:pt x="1269" y="106"/>
                  <a:pt x="1270" y="106"/>
                  <a:pt x="1270" y="106"/>
                </a:cubicBezTo>
                <a:cubicBezTo>
                  <a:pt x="1271" y="106"/>
                  <a:pt x="1271" y="106"/>
                  <a:pt x="1272" y="106"/>
                </a:cubicBezTo>
                <a:cubicBezTo>
                  <a:pt x="1272" y="106"/>
                  <a:pt x="1272" y="105"/>
                  <a:pt x="1273" y="105"/>
                </a:cubicBezTo>
                <a:cubicBezTo>
                  <a:pt x="1273" y="105"/>
                  <a:pt x="1274" y="105"/>
                  <a:pt x="1275" y="105"/>
                </a:cubicBezTo>
                <a:cubicBezTo>
                  <a:pt x="1276" y="105"/>
                  <a:pt x="1278" y="105"/>
                  <a:pt x="1279" y="105"/>
                </a:cubicBezTo>
                <a:cubicBezTo>
                  <a:pt x="1279" y="105"/>
                  <a:pt x="1279" y="105"/>
                  <a:pt x="1279" y="105"/>
                </a:cubicBezTo>
                <a:cubicBezTo>
                  <a:pt x="1279" y="105"/>
                  <a:pt x="1279" y="105"/>
                  <a:pt x="1279" y="106"/>
                </a:cubicBezTo>
                <a:cubicBezTo>
                  <a:pt x="1279" y="106"/>
                  <a:pt x="1279" y="106"/>
                  <a:pt x="1279" y="106"/>
                </a:cubicBezTo>
                <a:cubicBezTo>
                  <a:pt x="1278" y="106"/>
                  <a:pt x="1278" y="106"/>
                  <a:pt x="1278" y="106"/>
                </a:cubicBezTo>
                <a:cubicBezTo>
                  <a:pt x="1277" y="107"/>
                  <a:pt x="1277" y="107"/>
                  <a:pt x="1276" y="108"/>
                </a:cubicBezTo>
                <a:cubicBezTo>
                  <a:pt x="1276" y="108"/>
                  <a:pt x="1276" y="108"/>
                  <a:pt x="1276" y="109"/>
                </a:cubicBezTo>
                <a:cubicBezTo>
                  <a:pt x="1277" y="109"/>
                  <a:pt x="1278" y="110"/>
                  <a:pt x="1278" y="110"/>
                </a:cubicBezTo>
                <a:cubicBezTo>
                  <a:pt x="1279" y="110"/>
                  <a:pt x="1280" y="110"/>
                  <a:pt x="1281" y="111"/>
                </a:cubicBezTo>
                <a:cubicBezTo>
                  <a:pt x="1280" y="110"/>
                  <a:pt x="1280" y="110"/>
                  <a:pt x="1279" y="110"/>
                </a:cubicBezTo>
                <a:cubicBezTo>
                  <a:pt x="1279" y="109"/>
                  <a:pt x="1278" y="109"/>
                  <a:pt x="1278" y="108"/>
                </a:cubicBezTo>
                <a:cubicBezTo>
                  <a:pt x="1278" y="108"/>
                  <a:pt x="1278" y="108"/>
                  <a:pt x="1278" y="108"/>
                </a:cubicBezTo>
                <a:cubicBezTo>
                  <a:pt x="1278" y="108"/>
                  <a:pt x="1278" y="107"/>
                  <a:pt x="1279" y="107"/>
                </a:cubicBezTo>
                <a:cubicBezTo>
                  <a:pt x="1280" y="107"/>
                  <a:pt x="1280" y="107"/>
                  <a:pt x="1281" y="107"/>
                </a:cubicBezTo>
                <a:cubicBezTo>
                  <a:pt x="1282" y="106"/>
                  <a:pt x="1282" y="106"/>
                  <a:pt x="1282" y="106"/>
                </a:cubicBezTo>
                <a:cubicBezTo>
                  <a:pt x="1282" y="105"/>
                  <a:pt x="1282" y="105"/>
                  <a:pt x="1282" y="104"/>
                </a:cubicBezTo>
                <a:cubicBezTo>
                  <a:pt x="1281" y="104"/>
                  <a:pt x="1281" y="104"/>
                  <a:pt x="1280" y="104"/>
                </a:cubicBezTo>
                <a:cubicBezTo>
                  <a:pt x="1280" y="104"/>
                  <a:pt x="1279" y="103"/>
                  <a:pt x="1279" y="103"/>
                </a:cubicBezTo>
                <a:cubicBezTo>
                  <a:pt x="1279" y="103"/>
                  <a:pt x="1279" y="103"/>
                  <a:pt x="1279" y="102"/>
                </a:cubicBezTo>
                <a:cubicBezTo>
                  <a:pt x="1279" y="102"/>
                  <a:pt x="1278" y="102"/>
                  <a:pt x="1277" y="102"/>
                </a:cubicBezTo>
                <a:cubicBezTo>
                  <a:pt x="1277" y="102"/>
                  <a:pt x="1277" y="102"/>
                  <a:pt x="1277" y="102"/>
                </a:cubicBezTo>
                <a:cubicBezTo>
                  <a:pt x="1276" y="102"/>
                  <a:pt x="1276" y="102"/>
                  <a:pt x="1276" y="102"/>
                </a:cubicBezTo>
                <a:cubicBezTo>
                  <a:pt x="1276" y="102"/>
                  <a:pt x="1276" y="101"/>
                  <a:pt x="1276" y="101"/>
                </a:cubicBezTo>
                <a:cubicBezTo>
                  <a:pt x="1275" y="101"/>
                  <a:pt x="1274" y="101"/>
                  <a:pt x="1274" y="101"/>
                </a:cubicBezTo>
                <a:cubicBezTo>
                  <a:pt x="1273" y="101"/>
                  <a:pt x="1273" y="101"/>
                  <a:pt x="1273" y="101"/>
                </a:cubicBezTo>
                <a:cubicBezTo>
                  <a:pt x="1272" y="100"/>
                  <a:pt x="1272" y="100"/>
                  <a:pt x="1271" y="99"/>
                </a:cubicBezTo>
                <a:cubicBezTo>
                  <a:pt x="1272" y="99"/>
                  <a:pt x="1272" y="99"/>
                  <a:pt x="1272" y="99"/>
                </a:cubicBezTo>
                <a:cubicBezTo>
                  <a:pt x="1272" y="99"/>
                  <a:pt x="1272" y="99"/>
                  <a:pt x="1272" y="99"/>
                </a:cubicBezTo>
                <a:cubicBezTo>
                  <a:pt x="1273" y="99"/>
                  <a:pt x="1273" y="99"/>
                  <a:pt x="1273" y="99"/>
                </a:cubicBezTo>
                <a:cubicBezTo>
                  <a:pt x="1273" y="99"/>
                  <a:pt x="1274" y="99"/>
                  <a:pt x="1274" y="99"/>
                </a:cubicBezTo>
                <a:cubicBezTo>
                  <a:pt x="1274" y="100"/>
                  <a:pt x="1275" y="100"/>
                  <a:pt x="1275" y="100"/>
                </a:cubicBezTo>
                <a:cubicBezTo>
                  <a:pt x="1276" y="100"/>
                  <a:pt x="1276" y="100"/>
                  <a:pt x="1277" y="100"/>
                </a:cubicBezTo>
                <a:cubicBezTo>
                  <a:pt x="1277" y="99"/>
                  <a:pt x="1276" y="99"/>
                  <a:pt x="1276" y="99"/>
                </a:cubicBezTo>
                <a:cubicBezTo>
                  <a:pt x="1276" y="99"/>
                  <a:pt x="1276" y="99"/>
                  <a:pt x="1276" y="99"/>
                </a:cubicBezTo>
                <a:cubicBezTo>
                  <a:pt x="1275" y="99"/>
                  <a:pt x="1275" y="99"/>
                  <a:pt x="1275" y="99"/>
                </a:cubicBezTo>
                <a:cubicBezTo>
                  <a:pt x="1274" y="99"/>
                  <a:pt x="1274" y="99"/>
                  <a:pt x="1273" y="98"/>
                </a:cubicBezTo>
                <a:cubicBezTo>
                  <a:pt x="1273" y="98"/>
                  <a:pt x="1273" y="98"/>
                  <a:pt x="1273" y="98"/>
                </a:cubicBezTo>
                <a:cubicBezTo>
                  <a:pt x="1273" y="98"/>
                  <a:pt x="1272" y="97"/>
                  <a:pt x="1272" y="97"/>
                </a:cubicBezTo>
                <a:cubicBezTo>
                  <a:pt x="1271" y="97"/>
                  <a:pt x="1271" y="97"/>
                  <a:pt x="1270" y="97"/>
                </a:cubicBezTo>
                <a:cubicBezTo>
                  <a:pt x="1270" y="97"/>
                  <a:pt x="1269" y="97"/>
                  <a:pt x="1269" y="97"/>
                </a:cubicBezTo>
                <a:cubicBezTo>
                  <a:pt x="1269" y="96"/>
                  <a:pt x="1269" y="96"/>
                  <a:pt x="1268" y="96"/>
                </a:cubicBezTo>
                <a:cubicBezTo>
                  <a:pt x="1269" y="96"/>
                  <a:pt x="1269" y="96"/>
                  <a:pt x="1269" y="96"/>
                </a:cubicBezTo>
                <a:cubicBezTo>
                  <a:pt x="1269" y="95"/>
                  <a:pt x="1269" y="95"/>
                  <a:pt x="1269" y="95"/>
                </a:cubicBezTo>
                <a:cubicBezTo>
                  <a:pt x="1269" y="95"/>
                  <a:pt x="1269" y="94"/>
                  <a:pt x="1268" y="94"/>
                </a:cubicBezTo>
                <a:cubicBezTo>
                  <a:pt x="1268" y="94"/>
                  <a:pt x="1269" y="94"/>
                  <a:pt x="1269" y="94"/>
                </a:cubicBezTo>
                <a:cubicBezTo>
                  <a:pt x="1269" y="94"/>
                  <a:pt x="1269" y="94"/>
                  <a:pt x="1270" y="94"/>
                </a:cubicBezTo>
                <a:cubicBezTo>
                  <a:pt x="1270" y="95"/>
                  <a:pt x="1270" y="95"/>
                  <a:pt x="1271" y="96"/>
                </a:cubicBezTo>
                <a:cubicBezTo>
                  <a:pt x="1271" y="96"/>
                  <a:pt x="1271" y="96"/>
                  <a:pt x="1272" y="96"/>
                </a:cubicBezTo>
                <a:cubicBezTo>
                  <a:pt x="1272" y="96"/>
                  <a:pt x="1272" y="96"/>
                  <a:pt x="1273" y="97"/>
                </a:cubicBezTo>
                <a:cubicBezTo>
                  <a:pt x="1273" y="97"/>
                  <a:pt x="1273" y="96"/>
                  <a:pt x="1273" y="96"/>
                </a:cubicBezTo>
                <a:cubicBezTo>
                  <a:pt x="1273" y="96"/>
                  <a:pt x="1273" y="96"/>
                  <a:pt x="1273" y="96"/>
                </a:cubicBezTo>
                <a:cubicBezTo>
                  <a:pt x="1273" y="96"/>
                  <a:pt x="1274" y="96"/>
                  <a:pt x="1274" y="95"/>
                </a:cubicBezTo>
                <a:cubicBezTo>
                  <a:pt x="1274" y="95"/>
                  <a:pt x="1275" y="94"/>
                  <a:pt x="1275" y="94"/>
                </a:cubicBezTo>
                <a:cubicBezTo>
                  <a:pt x="1274" y="94"/>
                  <a:pt x="1274" y="94"/>
                  <a:pt x="1274" y="93"/>
                </a:cubicBezTo>
                <a:cubicBezTo>
                  <a:pt x="1274" y="93"/>
                  <a:pt x="1274" y="93"/>
                  <a:pt x="1274" y="93"/>
                </a:cubicBezTo>
                <a:cubicBezTo>
                  <a:pt x="1275" y="93"/>
                  <a:pt x="1275" y="93"/>
                  <a:pt x="1275" y="94"/>
                </a:cubicBezTo>
                <a:cubicBezTo>
                  <a:pt x="1276" y="93"/>
                  <a:pt x="1276" y="93"/>
                  <a:pt x="1276" y="93"/>
                </a:cubicBezTo>
                <a:cubicBezTo>
                  <a:pt x="1275" y="93"/>
                  <a:pt x="1274" y="92"/>
                  <a:pt x="1273" y="92"/>
                </a:cubicBezTo>
                <a:cubicBezTo>
                  <a:pt x="1273" y="92"/>
                  <a:pt x="1273" y="92"/>
                  <a:pt x="1273" y="93"/>
                </a:cubicBezTo>
                <a:cubicBezTo>
                  <a:pt x="1272" y="93"/>
                  <a:pt x="1272" y="92"/>
                  <a:pt x="1272" y="92"/>
                </a:cubicBezTo>
                <a:cubicBezTo>
                  <a:pt x="1272" y="92"/>
                  <a:pt x="1272" y="92"/>
                  <a:pt x="1272" y="92"/>
                </a:cubicBezTo>
                <a:cubicBezTo>
                  <a:pt x="1272" y="92"/>
                  <a:pt x="1273" y="91"/>
                  <a:pt x="1273" y="91"/>
                </a:cubicBezTo>
                <a:cubicBezTo>
                  <a:pt x="1274" y="91"/>
                  <a:pt x="1275" y="91"/>
                  <a:pt x="1275" y="92"/>
                </a:cubicBezTo>
                <a:cubicBezTo>
                  <a:pt x="1276" y="92"/>
                  <a:pt x="1276" y="92"/>
                  <a:pt x="1277" y="92"/>
                </a:cubicBezTo>
                <a:cubicBezTo>
                  <a:pt x="1277" y="91"/>
                  <a:pt x="1277" y="91"/>
                  <a:pt x="1277" y="91"/>
                </a:cubicBezTo>
                <a:cubicBezTo>
                  <a:pt x="1277" y="91"/>
                  <a:pt x="1278" y="90"/>
                  <a:pt x="1278" y="90"/>
                </a:cubicBezTo>
                <a:cubicBezTo>
                  <a:pt x="1278" y="90"/>
                  <a:pt x="1278" y="90"/>
                  <a:pt x="1278" y="90"/>
                </a:cubicBezTo>
                <a:cubicBezTo>
                  <a:pt x="1278" y="89"/>
                  <a:pt x="1278" y="89"/>
                  <a:pt x="1279" y="89"/>
                </a:cubicBezTo>
                <a:cubicBezTo>
                  <a:pt x="1279" y="89"/>
                  <a:pt x="1279" y="89"/>
                  <a:pt x="1279" y="89"/>
                </a:cubicBezTo>
                <a:cubicBezTo>
                  <a:pt x="1279" y="89"/>
                  <a:pt x="1279" y="88"/>
                  <a:pt x="1280" y="88"/>
                </a:cubicBezTo>
                <a:cubicBezTo>
                  <a:pt x="1280" y="88"/>
                  <a:pt x="1280" y="88"/>
                  <a:pt x="1280" y="88"/>
                </a:cubicBezTo>
                <a:cubicBezTo>
                  <a:pt x="1280" y="88"/>
                  <a:pt x="1281" y="89"/>
                  <a:pt x="1281" y="89"/>
                </a:cubicBezTo>
                <a:cubicBezTo>
                  <a:pt x="1281" y="89"/>
                  <a:pt x="1281" y="89"/>
                  <a:pt x="1281" y="89"/>
                </a:cubicBezTo>
                <a:cubicBezTo>
                  <a:pt x="1282" y="89"/>
                  <a:pt x="1282" y="88"/>
                  <a:pt x="1282" y="88"/>
                </a:cubicBezTo>
                <a:cubicBezTo>
                  <a:pt x="1282" y="88"/>
                  <a:pt x="1282" y="88"/>
                  <a:pt x="1282" y="88"/>
                </a:cubicBezTo>
                <a:cubicBezTo>
                  <a:pt x="1282" y="88"/>
                  <a:pt x="1282" y="88"/>
                  <a:pt x="1282" y="87"/>
                </a:cubicBezTo>
                <a:cubicBezTo>
                  <a:pt x="1282" y="87"/>
                  <a:pt x="1282" y="87"/>
                  <a:pt x="1282" y="87"/>
                </a:cubicBezTo>
                <a:cubicBezTo>
                  <a:pt x="1283" y="87"/>
                  <a:pt x="1283" y="87"/>
                  <a:pt x="1284" y="87"/>
                </a:cubicBezTo>
                <a:cubicBezTo>
                  <a:pt x="1284" y="87"/>
                  <a:pt x="1284" y="87"/>
                  <a:pt x="1285" y="87"/>
                </a:cubicBezTo>
                <a:cubicBezTo>
                  <a:pt x="1285" y="87"/>
                  <a:pt x="1285" y="87"/>
                  <a:pt x="1285" y="86"/>
                </a:cubicBezTo>
                <a:cubicBezTo>
                  <a:pt x="1285" y="86"/>
                  <a:pt x="1286" y="86"/>
                  <a:pt x="1286" y="86"/>
                </a:cubicBezTo>
                <a:cubicBezTo>
                  <a:pt x="1286" y="87"/>
                  <a:pt x="1286" y="87"/>
                  <a:pt x="1287" y="87"/>
                </a:cubicBezTo>
                <a:cubicBezTo>
                  <a:pt x="1287" y="87"/>
                  <a:pt x="1288" y="87"/>
                  <a:pt x="1289" y="87"/>
                </a:cubicBezTo>
                <a:cubicBezTo>
                  <a:pt x="1289" y="87"/>
                  <a:pt x="1289" y="87"/>
                  <a:pt x="1289" y="86"/>
                </a:cubicBezTo>
                <a:cubicBezTo>
                  <a:pt x="1289" y="86"/>
                  <a:pt x="1289" y="86"/>
                  <a:pt x="1289" y="86"/>
                </a:cubicBezTo>
                <a:cubicBezTo>
                  <a:pt x="1290" y="86"/>
                  <a:pt x="1291" y="86"/>
                  <a:pt x="1291" y="86"/>
                </a:cubicBezTo>
                <a:cubicBezTo>
                  <a:pt x="1292" y="86"/>
                  <a:pt x="1293" y="86"/>
                  <a:pt x="1293" y="86"/>
                </a:cubicBezTo>
                <a:cubicBezTo>
                  <a:pt x="1293" y="86"/>
                  <a:pt x="1294" y="85"/>
                  <a:pt x="1294" y="85"/>
                </a:cubicBezTo>
                <a:cubicBezTo>
                  <a:pt x="1295" y="85"/>
                  <a:pt x="1296" y="85"/>
                  <a:pt x="1297" y="85"/>
                </a:cubicBezTo>
                <a:cubicBezTo>
                  <a:pt x="1297" y="85"/>
                  <a:pt x="1298" y="84"/>
                  <a:pt x="1298" y="84"/>
                </a:cubicBezTo>
                <a:cubicBezTo>
                  <a:pt x="1297" y="84"/>
                  <a:pt x="1297" y="84"/>
                  <a:pt x="1297" y="84"/>
                </a:cubicBezTo>
                <a:cubicBezTo>
                  <a:pt x="1296" y="84"/>
                  <a:pt x="1296" y="84"/>
                  <a:pt x="1295" y="84"/>
                </a:cubicBezTo>
                <a:cubicBezTo>
                  <a:pt x="1295" y="84"/>
                  <a:pt x="1294" y="84"/>
                  <a:pt x="1294" y="84"/>
                </a:cubicBezTo>
                <a:cubicBezTo>
                  <a:pt x="1294" y="84"/>
                  <a:pt x="1293" y="84"/>
                  <a:pt x="1293" y="84"/>
                </a:cubicBezTo>
                <a:cubicBezTo>
                  <a:pt x="1292" y="84"/>
                  <a:pt x="1292" y="84"/>
                  <a:pt x="1292" y="84"/>
                </a:cubicBezTo>
                <a:cubicBezTo>
                  <a:pt x="1292" y="83"/>
                  <a:pt x="1292" y="83"/>
                  <a:pt x="1292" y="82"/>
                </a:cubicBezTo>
                <a:cubicBezTo>
                  <a:pt x="1293" y="82"/>
                  <a:pt x="1293" y="82"/>
                  <a:pt x="1293" y="82"/>
                </a:cubicBezTo>
                <a:cubicBezTo>
                  <a:pt x="1293" y="82"/>
                  <a:pt x="1294" y="82"/>
                  <a:pt x="1294" y="81"/>
                </a:cubicBezTo>
                <a:cubicBezTo>
                  <a:pt x="1294" y="82"/>
                  <a:pt x="1294" y="82"/>
                  <a:pt x="1294" y="82"/>
                </a:cubicBezTo>
                <a:cubicBezTo>
                  <a:pt x="1294" y="82"/>
                  <a:pt x="1294" y="82"/>
                  <a:pt x="1294" y="82"/>
                </a:cubicBezTo>
                <a:cubicBezTo>
                  <a:pt x="1294" y="82"/>
                  <a:pt x="1295" y="82"/>
                  <a:pt x="1295" y="82"/>
                </a:cubicBezTo>
                <a:cubicBezTo>
                  <a:pt x="1295" y="82"/>
                  <a:pt x="1295" y="82"/>
                  <a:pt x="1296" y="82"/>
                </a:cubicBezTo>
                <a:cubicBezTo>
                  <a:pt x="1295" y="82"/>
                  <a:pt x="1295" y="81"/>
                  <a:pt x="1294" y="81"/>
                </a:cubicBezTo>
                <a:cubicBezTo>
                  <a:pt x="1295" y="81"/>
                  <a:pt x="1295" y="81"/>
                  <a:pt x="1296" y="81"/>
                </a:cubicBezTo>
                <a:cubicBezTo>
                  <a:pt x="1296" y="81"/>
                  <a:pt x="1297" y="81"/>
                  <a:pt x="1297" y="82"/>
                </a:cubicBezTo>
                <a:cubicBezTo>
                  <a:pt x="1297" y="82"/>
                  <a:pt x="1298" y="82"/>
                  <a:pt x="1298" y="82"/>
                </a:cubicBezTo>
                <a:cubicBezTo>
                  <a:pt x="1299" y="82"/>
                  <a:pt x="1299" y="82"/>
                  <a:pt x="1300" y="81"/>
                </a:cubicBezTo>
                <a:cubicBezTo>
                  <a:pt x="1300" y="82"/>
                  <a:pt x="1301" y="82"/>
                  <a:pt x="1301" y="82"/>
                </a:cubicBezTo>
                <a:cubicBezTo>
                  <a:pt x="1302" y="82"/>
                  <a:pt x="1303" y="82"/>
                  <a:pt x="1304" y="82"/>
                </a:cubicBezTo>
                <a:cubicBezTo>
                  <a:pt x="1305" y="82"/>
                  <a:pt x="1305" y="82"/>
                  <a:pt x="1306" y="82"/>
                </a:cubicBezTo>
                <a:cubicBezTo>
                  <a:pt x="1306" y="82"/>
                  <a:pt x="1306" y="83"/>
                  <a:pt x="1306" y="83"/>
                </a:cubicBezTo>
                <a:cubicBezTo>
                  <a:pt x="1306" y="83"/>
                  <a:pt x="1305" y="84"/>
                  <a:pt x="1305" y="84"/>
                </a:cubicBezTo>
                <a:cubicBezTo>
                  <a:pt x="1304" y="84"/>
                  <a:pt x="1304" y="85"/>
                  <a:pt x="1304" y="85"/>
                </a:cubicBezTo>
                <a:cubicBezTo>
                  <a:pt x="1305" y="85"/>
                  <a:pt x="1305" y="85"/>
                  <a:pt x="1306" y="86"/>
                </a:cubicBezTo>
                <a:cubicBezTo>
                  <a:pt x="1306" y="85"/>
                  <a:pt x="1306" y="85"/>
                  <a:pt x="1306" y="85"/>
                </a:cubicBezTo>
                <a:cubicBezTo>
                  <a:pt x="1307" y="84"/>
                  <a:pt x="1307" y="84"/>
                  <a:pt x="1308" y="84"/>
                </a:cubicBezTo>
                <a:cubicBezTo>
                  <a:pt x="1308" y="83"/>
                  <a:pt x="1307" y="83"/>
                  <a:pt x="1307" y="83"/>
                </a:cubicBezTo>
                <a:cubicBezTo>
                  <a:pt x="1308" y="83"/>
                  <a:pt x="1308" y="83"/>
                  <a:pt x="1308" y="83"/>
                </a:cubicBezTo>
                <a:cubicBezTo>
                  <a:pt x="1308" y="83"/>
                  <a:pt x="1308" y="83"/>
                  <a:pt x="1309" y="84"/>
                </a:cubicBezTo>
                <a:cubicBezTo>
                  <a:pt x="1309" y="84"/>
                  <a:pt x="1309" y="84"/>
                  <a:pt x="1309" y="85"/>
                </a:cubicBezTo>
                <a:cubicBezTo>
                  <a:pt x="1309" y="85"/>
                  <a:pt x="1309" y="85"/>
                  <a:pt x="1310" y="85"/>
                </a:cubicBezTo>
                <a:cubicBezTo>
                  <a:pt x="1310" y="85"/>
                  <a:pt x="1310" y="84"/>
                  <a:pt x="1310" y="84"/>
                </a:cubicBezTo>
                <a:cubicBezTo>
                  <a:pt x="1310" y="84"/>
                  <a:pt x="1310" y="84"/>
                  <a:pt x="1310" y="83"/>
                </a:cubicBezTo>
                <a:cubicBezTo>
                  <a:pt x="1310" y="83"/>
                  <a:pt x="1311" y="83"/>
                  <a:pt x="1311" y="83"/>
                </a:cubicBezTo>
                <a:cubicBezTo>
                  <a:pt x="1311" y="83"/>
                  <a:pt x="1311" y="83"/>
                  <a:pt x="1311" y="83"/>
                </a:cubicBezTo>
                <a:cubicBezTo>
                  <a:pt x="1311" y="83"/>
                  <a:pt x="1311" y="84"/>
                  <a:pt x="1311" y="84"/>
                </a:cubicBezTo>
                <a:cubicBezTo>
                  <a:pt x="1312" y="84"/>
                  <a:pt x="1313" y="84"/>
                  <a:pt x="1313" y="84"/>
                </a:cubicBezTo>
                <a:cubicBezTo>
                  <a:pt x="1313" y="83"/>
                  <a:pt x="1314" y="83"/>
                  <a:pt x="1314" y="83"/>
                </a:cubicBezTo>
                <a:cubicBezTo>
                  <a:pt x="1313" y="83"/>
                  <a:pt x="1313" y="83"/>
                  <a:pt x="1313" y="82"/>
                </a:cubicBezTo>
                <a:cubicBezTo>
                  <a:pt x="1313" y="82"/>
                  <a:pt x="1314" y="83"/>
                  <a:pt x="1314" y="83"/>
                </a:cubicBezTo>
                <a:cubicBezTo>
                  <a:pt x="1315" y="83"/>
                  <a:pt x="1315" y="82"/>
                  <a:pt x="1315" y="82"/>
                </a:cubicBezTo>
                <a:cubicBezTo>
                  <a:pt x="1315" y="82"/>
                  <a:pt x="1314" y="82"/>
                  <a:pt x="1314" y="82"/>
                </a:cubicBezTo>
                <a:cubicBezTo>
                  <a:pt x="1314" y="82"/>
                  <a:pt x="1315" y="81"/>
                  <a:pt x="1315" y="81"/>
                </a:cubicBezTo>
                <a:cubicBezTo>
                  <a:pt x="1316" y="81"/>
                  <a:pt x="1316" y="81"/>
                  <a:pt x="1317" y="82"/>
                </a:cubicBezTo>
                <a:cubicBezTo>
                  <a:pt x="1317" y="81"/>
                  <a:pt x="1318" y="81"/>
                  <a:pt x="1318" y="81"/>
                </a:cubicBezTo>
                <a:cubicBezTo>
                  <a:pt x="1318" y="81"/>
                  <a:pt x="1319" y="82"/>
                  <a:pt x="1319" y="82"/>
                </a:cubicBezTo>
                <a:cubicBezTo>
                  <a:pt x="1319" y="82"/>
                  <a:pt x="1319" y="82"/>
                  <a:pt x="1319" y="82"/>
                </a:cubicBezTo>
                <a:cubicBezTo>
                  <a:pt x="1319" y="82"/>
                  <a:pt x="1319" y="82"/>
                  <a:pt x="1319" y="82"/>
                </a:cubicBezTo>
                <a:cubicBezTo>
                  <a:pt x="1320" y="83"/>
                  <a:pt x="1320" y="83"/>
                  <a:pt x="1321" y="83"/>
                </a:cubicBezTo>
                <a:cubicBezTo>
                  <a:pt x="1321" y="83"/>
                  <a:pt x="1321" y="83"/>
                  <a:pt x="1321" y="84"/>
                </a:cubicBezTo>
                <a:cubicBezTo>
                  <a:pt x="1321" y="84"/>
                  <a:pt x="1321" y="84"/>
                  <a:pt x="1321" y="84"/>
                </a:cubicBezTo>
                <a:cubicBezTo>
                  <a:pt x="1321" y="85"/>
                  <a:pt x="1321" y="85"/>
                  <a:pt x="1320" y="86"/>
                </a:cubicBezTo>
                <a:cubicBezTo>
                  <a:pt x="1321" y="86"/>
                  <a:pt x="1321" y="86"/>
                  <a:pt x="1322" y="86"/>
                </a:cubicBezTo>
                <a:cubicBezTo>
                  <a:pt x="1322" y="85"/>
                  <a:pt x="1323" y="85"/>
                  <a:pt x="1323" y="84"/>
                </a:cubicBezTo>
                <a:cubicBezTo>
                  <a:pt x="1323" y="84"/>
                  <a:pt x="1323" y="83"/>
                  <a:pt x="1322" y="83"/>
                </a:cubicBezTo>
                <a:cubicBezTo>
                  <a:pt x="1322" y="82"/>
                  <a:pt x="1321" y="82"/>
                  <a:pt x="1321" y="82"/>
                </a:cubicBezTo>
                <a:cubicBezTo>
                  <a:pt x="1321" y="81"/>
                  <a:pt x="1320" y="81"/>
                  <a:pt x="1320" y="81"/>
                </a:cubicBezTo>
                <a:cubicBezTo>
                  <a:pt x="1319" y="81"/>
                  <a:pt x="1319" y="81"/>
                  <a:pt x="1318" y="81"/>
                </a:cubicBezTo>
                <a:cubicBezTo>
                  <a:pt x="1318" y="81"/>
                  <a:pt x="1318" y="81"/>
                  <a:pt x="1318" y="80"/>
                </a:cubicBezTo>
                <a:cubicBezTo>
                  <a:pt x="1317" y="80"/>
                  <a:pt x="1317" y="80"/>
                  <a:pt x="1316" y="80"/>
                </a:cubicBezTo>
                <a:cubicBezTo>
                  <a:pt x="1316" y="80"/>
                  <a:pt x="1316" y="80"/>
                  <a:pt x="1316" y="80"/>
                </a:cubicBezTo>
                <a:cubicBezTo>
                  <a:pt x="1316" y="80"/>
                  <a:pt x="1315" y="79"/>
                  <a:pt x="1315" y="79"/>
                </a:cubicBezTo>
                <a:cubicBezTo>
                  <a:pt x="1315" y="79"/>
                  <a:pt x="1315" y="79"/>
                  <a:pt x="1315" y="79"/>
                </a:cubicBezTo>
                <a:cubicBezTo>
                  <a:pt x="1315" y="79"/>
                  <a:pt x="1316" y="79"/>
                  <a:pt x="1316" y="78"/>
                </a:cubicBezTo>
                <a:cubicBezTo>
                  <a:pt x="1317" y="79"/>
                  <a:pt x="1317" y="79"/>
                  <a:pt x="1318" y="79"/>
                </a:cubicBezTo>
                <a:cubicBezTo>
                  <a:pt x="1319" y="79"/>
                  <a:pt x="1319" y="79"/>
                  <a:pt x="1319" y="79"/>
                </a:cubicBezTo>
                <a:cubicBezTo>
                  <a:pt x="1320" y="79"/>
                  <a:pt x="1320" y="79"/>
                  <a:pt x="1320" y="79"/>
                </a:cubicBezTo>
                <a:cubicBezTo>
                  <a:pt x="1321" y="79"/>
                  <a:pt x="1321" y="79"/>
                  <a:pt x="1321" y="79"/>
                </a:cubicBezTo>
                <a:cubicBezTo>
                  <a:pt x="1322" y="79"/>
                  <a:pt x="1322" y="79"/>
                  <a:pt x="1323" y="79"/>
                </a:cubicBezTo>
                <a:cubicBezTo>
                  <a:pt x="1323" y="79"/>
                  <a:pt x="1323" y="79"/>
                  <a:pt x="1324" y="80"/>
                </a:cubicBezTo>
                <a:cubicBezTo>
                  <a:pt x="1324" y="79"/>
                  <a:pt x="1325" y="79"/>
                  <a:pt x="1326" y="79"/>
                </a:cubicBezTo>
                <a:cubicBezTo>
                  <a:pt x="1327" y="80"/>
                  <a:pt x="1327" y="80"/>
                  <a:pt x="1328" y="80"/>
                </a:cubicBezTo>
                <a:cubicBezTo>
                  <a:pt x="1328" y="80"/>
                  <a:pt x="1328" y="80"/>
                  <a:pt x="1329" y="80"/>
                </a:cubicBezTo>
                <a:cubicBezTo>
                  <a:pt x="1329" y="80"/>
                  <a:pt x="1329" y="80"/>
                  <a:pt x="1330" y="81"/>
                </a:cubicBezTo>
                <a:cubicBezTo>
                  <a:pt x="1330" y="80"/>
                  <a:pt x="1330" y="80"/>
                  <a:pt x="1331" y="80"/>
                </a:cubicBezTo>
                <a:cubicBezTo>
                  <a:pt x="1331" y="80"/>
                  <a:pt x="1331" y="80"/>
                  <a:pt x="1330" y="80"/>
                </a:cubicBezTo>
                <a:cubicBezTo>
                  <a:pt x="1330" y="80"/>
                  <a:pt x="1329" y="79"/>
                  <a:pt x="1329" y="79"/>
                </a:cubicBezTo>
                <a:cubicBezTo>
                  <a:pt x="1328" y="79"/>
                  <a:pt x="1327" y="79"/>
                  <a:pt x="1327" y="78"/>
                </a:cubicBezTo>
                <a:cubicBezTo>
                  <a:pt x="1326" y="79"/>
                  <a:pt x="1326" y="79"/>
                  <a:pt x="1325" y="79"/>
                </a:cubicBezTo>
                <a:cubicBezTo>
                  <a:pt x="1324" y="78"/>
                  <a:pt x="1324" y="78"/>
                  <a:pt x="1323" y="78"/>
                </a:cubicBezTo>
                <a:cubicBezTo>
                  <a:pt x="1323" y="78"/>
                  <a:pt x="1323" y="78"/>
                  <a:pt x="1323" y="77"/>
                </a:cubicBezTo>
                <a:cubicBezTo>
                  <a:pt x="1323" y="77"/>
                  <a:pt x="1323" y="77"/>
                  <a:pt x="1323" y="77"/>
                </a:cubicBezTo>
                <a:cubicBezTo>
                  <a:pt x="1323" y="76"/>
                  <a:pt x="1324" y="76"/>
                  <a:pt x="1325" y="76"/>
                </a:cubicBezTo>
                <a:cubicBezTo>
                  <a:pt x="1324" y="76"/>
                  <a:pt x="1324" y="76"/>
                  <a:pt x="1323" y="76"/>
                </a:cubicBezTo>
                <a:cubicBezTo>
                  <a:pt x="1323" y="75"/>
                  <a:pt x="1322" y="75"/>
                  <a:pt x="1322" y="74"/>
                </a:cubicBezTo>
                <a:cubicBezTo>
                  <a:pt x="1321" y="74"/>
                  <a:pt x="1321" y="74"/>
                  <a:pt x="1321" y="74"/>
                </a:cubicBezTo>
                <a:cubicBezTo>
                  <a:pt x="1320" y="74"/>
                  <a:pt x="1320" y="73"/>
                  <a:pt x="1320" y="73"/>
                </a:cubicBezTo>
                <a:cubicBezTo>
                  <a:pt x="1320" y="73"/>
                  <a:pt x="1320" y="72"/>
                  <a:pt x="1320" y="72"/>
                </a:cubicBezTo>
                <a:cubicBezTo>
                  <a:pt x="1320" y="72"/>
                  <a:pt x="1320" y="72"/>
                  <a:pt x="1321" y="72"/>
                </a:cubicBezTo>
                <a:cubicBezTo>
                  <a:pt x="1321" y="72"/>
                  <a:pt x="1321" y="72"/>
                  <a:pt x="1321" y="71"/>
                </a:cubicBezTo>
                <a:cubicBezTo>
                  <a:pt x="1320" y="71"/>
                  <a:pt x="1320" y="71"/>
                  <a:pt x="1320" y="70"/>
                </a:cubicBezTo>
                <a:cubicBezTo>
                  <a:pt x="1320" y="69"/>
                  <a:pt x="1320" y="68"/>
                  <a:pt x="1320" y="67"/>
                </a:cubicBezTo>
                <a:cubicBezTo>
                  <a:pt x="1321" y="67"/>
                  <a:pt x="1321" y="67"/>
                  <a:pt x="1322" y="66"/>
                </a:cubicBezTo>
                <a:cubicBezTo>
                  <a:pt x="1322" y="66"/>
                  <a:pt x="1322" y="66"/>
                  <a:pt x="1322" y="65"/>
                </a:cubicBezTo>
                <a:cubicBezTo>
                  <a:pt x="1322" y="65"/>
                  <a:pt x="1322" y="65"/>
                  <a:pt x="1322" y="64"/>
                </a:cubicBezTo>
                <a:cubicBezTo>
                  <a:pt x="1323" y="64"/>
                  <a:pt x="1323" y="64"/>
                  <a:pt x="1323" y="64"/>
                </a:cubicBezTo>
                <a:cubicBezTo>
                  <a:pt x="1323" y="64"/>
                  <a:pt x="1323" y="63"/>
                  <a:pt x="1323" y="63"/>
                </a:cubicBezTo>
                <a:cubicBezTo>
                  <a:pt x="1323" y="63"/>
                  <a:pt x="1324" y="63"/>
                  <a:pt x="1324" y="63"/>
                </a:cubicBezTo>
                <a:cubicBezTo>
                  <a:pt x="1324" y="63"/>
                  <a:pt x="1324" y="63"/>
                  <a:pt x="1324" y="62"/>
                </a:cubicBezTo>
                <a:cubicBezTo>
                  <a:pt x="1325" y="62"/>
                  <a:pt x="1326" y="62"/>
                  <a:pt x="1326" y="62"/>
                </a:cubicBezTo>
                <a:cubicBezTo>
                  <a:pt x="1327" y="62"/>
                  <a:pt x="1327" y="62"/>
                  <a:pt x="1327" y="62"/>
                </a:cubicBezTo>
                <a:cubicBezTo>
                  <a:pt x="1327" y="62"/>
                  <a:pt x="1328" y="63"/>
                  <a:pt x="1328" y="63"/>
                </a:cubicBezTo>
                <a:cubicBezTo>
                  <a:pt x="1329" y="63"/>
                  <a:pt x="1329" y="63"/>
                  <a:pt x="1330" y="63"/>
                </a:cubicBezTo>
                <a:cubicBezTo>
                  <a:pt x="1330" y="63"/>
                  <a:pt x="1330" y="63"/>
                  <a:pt x="1331" y="63"/>
                </a:cubicBezTo>
                <a:cubicBezTo>
                  <a:pt x="1331" y="63"/>
                  <a:pt x="1331" y="64"/>
                  <a:pt x="1331" y="64"/>
                </a:cubicBezTo>
                <a:cubicBezTo>
                  <a:pt x="1332" y="64"/>
                  <a:pt x="1332" y="64"/>
                  <a:pt x="1333" y="65"/>
                </a:cubicBezTo>
                <a:cubicBezTo>
                  <a:pt x="1333" y="64"/>
                  <a:pt x="1334" y="64"/>
                  <a:pt x="1335" y="64"/>
                </a:cubicBezTo>
                <a:cubicBezTo>
                  <a:pt x="1335" y="64"/>
                  <a:pt x="1335" y="64"/>
                  <a:pt x="1335" y="64"/>
                </a:cubicBezTo>
                <a:cubicBezTo>
                  <a:pt x="1335" y="65"/>
                  <a:pt x="1335" y="65"/>
                  <a:pt x="1335" y="65"/>
                </a:cubicBezTo>
                <a:cubicBezTo>
                  <a:pt x="1335" y="66"/>
                  <a:pt x="1335" y="66"/>
                  <a:pt x="1335" y="66"/>
                </a:cubicBezTo>
                <a:cubicBezTo>
                  <a:pt x="1336" y="66"/>
                  <a:pt x="1337" y="66"/>
                  <a:pt x="1337" y="66"/>
                </a:cubicBezTo>
                <a:cubicBezTo>
                  <a:pt x="1337" y="67"/>
                  <a:pt x="1337" y="67"/>
                  <a:pt x="1337" y="67"/>
                </a:cubicBezTo>
                <a:cubicBezTo>
                  <a:pt x="1337" y="67"/>
                  <a:pt x="1336" y="67"/>
                  <a:pt x="1336" y="67"/>
                </a:cubicBezTo>
                <a:cubicBezTo>
                  <a:pt x="1336" y="67"/>
                  <a:pt x="1336" y="67"/>
                  <a:pt x="1336" y="67"/>
                </a:cubicBezTo>
                <a:cubicBezTo>
                  <a:pt x="1336" y="67"/>
                  <a:pt x="1335" y="68"/>
                  <a:pt x="1335" y="68"/>
                </a:cubicBezTo>
                <a:cubicBezTo>
                  <a:pt x="1335" y="68"/>
                  <a:pt x="1335" y="68"/>
                  <a:pt x="1335" y="69"/>
                </a:cubicBezTo>
                <a:cubicBezTo>
                  <a:pt x="1335" y="69"/>
                  <a:pt x="1334" y="69"/>
                  <a:pt x="1334" y="70"/>
                </a:cubicBezTo>
                <a:cubicBezTo>
                  <a:pt x="1333" y="70"/>
                  <a:pt x="1333" y="70"/>
                  <a:pt x="1332" y="70"/>
                </a:cubicBezTo>
                <a:cubicBezTo>
                  <a:pt x="1332" y="70"/>
                  <a:pt x="1332" y="70"/>
                  <a:pt x="1331" y="70"/>
                </a:cubicBezTo>
                <a:cubicBezTo>
                  <a:pt x="1332" y="70"/>
                  <a:pt x="1332" y="71"/>
                  <a:pt x="1332" y="71"/>
                </a:cubicBezTo>
                <a:cubicBezTo>
                  <a:pt x="1333" y="71"/>
                  <a:pt x="1334" y="71"/>
                  <a:pt x="1335" y="71"/>
                </a:cubicBezTo>
                <a:cubicBezTo>
                  <a:pt x="1336" y="70"/>
                  <a:pt x="1337" y="70"/>
                  <a:pt x="1337" y="69"/>
                </a:cubicBezTo>
                <a:cubicBezTo>
                  <a:pt x="1338" y="69"/>
                  <a:pt x="1338" y="69"/>
                  <a:pt x="1338" y="69"/>
                </a:cubicBezTo>
                <a:cubicBezTo>
                  <a:pt x="1338" y="70"/>
                  <a:pt x="1338" y="70"/>
                  <a:pt x="1338" y="70"/>
                </a:cubicBezTo>
                <a:cubicBezTo>
                  <a:pt x="1338" y="70"/>
                  <a:pt x="1338" y="70"/>
                  <a:pt x="1337" y="71"/>
                </a:cubicBezTo>
                <a:cubicBezTo>
                  <a:pt x="1337" y="71"/>
                  <a:pt x="1337" y="71"/>
                  <a:pt x="1337" y="71"/>
                </a:cubicBezTo>
                <a:cubicBezTo>
                  <a:pt x="1338" y="71"/>
                  <a:pt x="1338" y="71"/>
                  <a:pt x="1338" y="71"/>
                </a:cubicBezTo>
                <a:cubicBezTo>
                  <a:pt x="1339" y="71"/>
                  <a:pt x="1339" y="71"/>
                  <a:pt x="1340" y="71"/>
                </a:cubicBezTo>
                <a:cubicBezTo>
                  <a:pt x="1340" y="70"/>
                  <a:pt x="1340" y="70"/>
                  <a:pt x="1341" y="70"/>
                </a:cubicBezTo>
                <a:cubicBezTo>
                  <a:pt x="1341" y="71"/>
                  <a:pt x="1341" y="71"/>
                  <a:pt x="1341" y="71"/>
                </a:cubicBezTo>
                <a:cubicBezTo>
                  <a:pt x="1342" y="71"/>
                  <a:pt x="1342" y="71"/>
                  <a:pt x="1343" y="71"/>
                </a:cubicBezTo>
                <a:cubicBezTo>
                  <a:pt x="1343" y="71"/>
                  <a:pt x="1343" y="71"/>
                  <a:pt x="1343" y="70"/>
                </a:cubicBezTo>
                <a:cubicBezTo>
                  <a:pt x="1344" y="70"/>
                  <a:pt x="1344" y="70"/>
                  <a:pt x="1344" y="70"/>
                </a:cubicBezTo>
                <a:cubicBezTo>
                  <a:pt x="1344" y="70"/>
                  <a:pt x="1345" y="71"/>
                  <a:pt x="1345" y="71"/>
                </a:cubicBezTo>
                <a:cubicBezTo>
                  <a:pt x="1345" y="71"/>
                  <a:pt x="1346" y="71"/>
                  <a:pt x="1346" y="71"/>
                </a:cubicBezTo>
                <a:cubicBezTo>
                  <a:pt x="1346" y="71"/>
                  <a:pt x="1347" y="72"/>
                  <a:pt x="1347" y="72"/>
                </a:cubicBezTo>
                <a:cubicBezTo>
                  <a:pt x="1347" y="72"/>
                  <a:pt x="1347" y="72"/>
                  <a:pt x="1347" y="73"/>
                </a:cubicBezTo>
                <a:cubicBezTo>
                  <a:pt x="1347" y="73"/>
                  <a:pt x="1348" y="73"/>
                  <a:pt x="1348" y="74"/>
                </a:cubicBezTo>
                <a:cubicBezTo>
                  <a:pt x="1347" y="74"/>
                  <a:pt x="1347" y="74"/>
                  <a:pt x="1347" y="74"/>
                </a:cubicBezTo>
                <a:cubicBezTo>
                  <a:pt x="1347" y="74"/>
                  <a:pt x="1347" y="75"/>
                  <a:pt x="1347" y="75"/>
                </a:cubicBezTo>
                <a:cubicBezTo>
                  <a:pt x="1347" y="75"/>
                  <a:pt x="1346" y="76"/>
                  <a:pt x="1346" y="76"/>
                </a:cubicBezTo>
                <a:cubicBezTo>
                  <a:pt x="1346" y="76"/>
                  <a:pt x="1347" y="77"/>
                  <a:pt x="1347" y="78"/>
                </a:cubicBezTo>
                <a:cubicBezTo>
                  <a:pt x="1347" y="78"/>
                  <a:pt x="1347" y="78"/>
                  <a:pt x="1347" y="78"/>
                </a:cubicBezTo>
                <a:cubicBezTo>
                  <a:pt x="1346" y="78"/>
                  <a:pt x="1346" y="78"/>
                  <a:pt x="1346" y="78"/>
                </a:cubicBezTo>
                <a:cubicBezTo>
                  <a:pt x="1345" y="78"/>
                  <a:pt x="1345" y="79"/>
                  <a:pt x="1345" y="79"/>
                </a:cubicBezTo>
                <a:cubicBezTo>
                  <a:pt x="1345" y="79"/>
                  <a:pt x="1345" y="79"/>
                  <a:pt x="1345" y="79"/>
                </a:cubicBezTo>
                <a:cubicBezTo>
                  <a:pt x="1346" y="79"/>
                  <a:pt x="1347" y="79"/>
                  <a:pt x="1348" y="79"/>
                </a:cubicBezTo>
                <a:cubicBezTo>
                  <a:pt x="1348" y="79"/>
                  <a:pt x="1349" y="79"/>
                  <a:pt x="1349" y="79"/>
                </a:cubicBezTo>
                <a:cubicBezTo>
                  <a:pt x="1350" y="79"/>
                  <a:pt x="1351" y="79"/>
                  <a:pt x="1351" y="79"/>
                </a:cubicBezTo>
                <a:cubicBezTo>
                  <a:pt x="1352" y="79"/>
                  <a:pt x="1352" y="78"/>
                  <a:pt x="1352" y="78"/>
                </a:cubicBezTo>
                <a:cubicBezTo>
                  <a:pt x="1352" y="78"/>
                  <a:pt x="1352" y="77"/>
                  <a:pt x="1352" y="77"/>
                </a:cubicBezTo>
                <a:cubicBezTo>
                  <a:pt x="1352" y="76"/>
                  <a:pt x="1352" y="76"/>
                  <a:pt x="1352" y="76"/>
                </a:cubicBezTo>
                <a:cubicBezTo>
                  <a:pt x="1352" y="76"/>
                  <a:pt x="1352" y="75"/>
                  <a:pt x="1351" y="75"/>
                </a:cubicBezTo>
                <a:cubicBezTo>
                  <a:pt x="1351" y="75"/>
                  <a:pt x="1351" y="75"/>
                  <a:pt x="1350" y="75"/>
                </a:cubicBezTo>
                <a:cubicBezTo>
                  <a:pt x="1350" y="75"/>
                  <a:pt x="1350" y="75"/>
                  <a:pt x="1351" y="74"/>
                </a:cubicBezTo>
                <a:cubicBezTo>
                  <a:pt x="1351" y="74"/>
                  <a:pt x="1351" y="74"/>
                  <a:pt x="1351" y="74"/>
                </a:cubicBezTo>
                <a:cubicBezTo>
                  <a:pt x="1351" y="74"/>
                  <a:pt x="1352" y="74"/>
                  <a:pt x="1352" y="74"/>
                </a:cubicBezTo>
                <a:cubicBezTo>
                  <a:pt x="1352" y="74"/>
                  <a:pt x="1352" y="75"/>
                  <a:pt x="1353" y="75"/>
                </a:cubicBezTo>
                <a:cubicBezTo>
                  <a:pt x="1353" y="75"/>
                  <a:pt x="1353" y="75"/>
                  <a:pt x="1353" y="75"/>
                </a:cubicBezTo>
                <a:cubicBezTo>
                  <a:pt x="1354" y="75"/>
                  <a:pt x="1355" y="75"/>
                  <a:pt x="1355" y="75"/>
                </a:cubicBezTo>
                <a:cubicBezTo>
                  <a:pt x="1356" y="75"/>
                  <a:pt x="1357" y="74"/>
                  <a:pt x="1357" y="74"/>
                </a:cubicBezTo>
                <a:cubicBezTo>
                  <a:pt x="1357" y="74"/>
                  <a:pt x="1358" y="74"/>
                  <a:pt x="1358" y="74"/>
                </a:cubicBezTo>
                <a:cubicBezTo>
                  <a:pt x="1359" y="75"/>
                  <a:pt x="1359" y="75"/>
                  <a:pt x="1360" y="75"/>
                </a:cubicBezTo>
                <a:cubicBezTo>
                  <a:pt x="1360" y="75"/>
                  <a:pt x="1360" y="74"/>
                  <a:pt x="1360" y="74"/>
                </a:cubicBezTo>
                <a:cubicBezTo>
                  <a:pt x="1361" y="74"/>
                  <a:pt x="1361" y="74"/>
                  <a:pt x="1362" y="74"/>
                </a:cubicBezTo>
                <a:cubicBezTo>
                  <a:pt x="1362" y="74"/>
                  <a:pt x="1362" y="74"/>
                  <a:pt x="1362" y="74"/>
                </a:cubicBezTo>
                <a:cubicBezTo>
                  <a:pt x="1362" y="74"/>
                  <a:pt x="1363" y="74"/>
                  <a:pt x="1363" y="74"/>
                </a:cubicBezTo>
                <a:cubicBezTo>
                  <a:pt x="1363" y="74"/>
                  <a:pt x="1364" y="74"/>
                  <a:pt x="1364" y="74"/>
                </a:cubicBezTo>
                <a:cubicBezTo>
                  <a:pt x="1364" y="74"/>
                  <a:pt x="1365" y="74"/>
                  <a:pt x="1365" y="74"/>
                </a:cubicBezTo>
                <a:cubicBezTo>
                  <a:pt x="1365" y="74"/>
                  <a:pt x="1366" y="74"/>
                  <a:pt x="1366" y="74"/>
                </a:cubicBezTo>
                <a:cubicBezTo>
                  <a:pt x="1366" y="74"/>
                  <a:pt x="1366" y="75"/>
                  <a:pt x="1366" y="75"/>
                </a:cubicBezTo>
                <a:cubicBezTo>
                  <a:pt x="1366" y="75"/>
                  <a:pt x="1366" y="75"/>
                  <a:pt x="1366" y="75"/>
                </a:cubicBezTo>
                <a:cubicBezTo>
                  <a:pt x="1366" y="75"/>
                  <a:pt x="1366" y="75"/>
                  <a:pt x="1366" y="76"/>
                </a:cubicBezTo>
                <a:cubicBezTo>
                  <a:pt x="1367" y="76"/>
                  <a:pt x="1368" y="76"/>
                  <a:pt x="1368" y="76"/>
                </a:cubicBezTo>
                <a:cubicBezTo>
                  <a:pt x="1369" y="76"/>
                  <a:pt x="1369" y="76"/>
                  <a:pt x="1369" y="76"/>
                </a:cubicBezTo>
                <a:cubicBezTo>
                  <a:pt x="1369" y="77"/>
                  <a:pt x="1369" y="77"/>
                  <a:pt x="1370" y="77"/>
                </a:cubicBezTo>
                <a:cubicBezTo>
                  <a:pt x="1371" y="78"/>
                  <a:pt x="1373" y="79"/>
                  <a:pt x="1374" y="79"/>
                </a:cubicBezTo>
                <a:cubicBezTo>
                  <a:pt x="1374" y="80"/>
                  <a:pt x="1375" y="80"/>
                  <a:pt x="1375" y="80"/>
                </a:cubicBezTo>
                <a:cubicBezTo>
                  <a:pt x="1375" y="80"/>
                  <a:pt x="1375" y="80"/>
                  <a:pt x="1376" y="81"/>
                </a:cubicBezTo>
                <a:cubicBezTo>
                  <a:pt x="1375" y="81"/>
                  <a:pt x="1375" y="81"/>
                  <a:pt x="1375" y="81"/>
                </a:cubicBezTo>
                <a:cubicBezTo>
                  <a:pt x="1376" y="82"/>
                  <a:pt x="1377" y="82"/>
                  <a:pt x="1377" y="83"/>
                </a:cubicBezTo>
                <a:cubicBezTo>
                  <a:pt x="1377" y="83"/>
                  <a:pt x="1377" y="83"/>
                  <a:pt x="1378" y="83"/>
                </a:cubicBezTo>
                <a:cubicBezTo>
                  <a:pt x="1378" y="83"/>
                  <a:pt x="1378" y="83"/>
                  <a:pt x="1378" y="82"/>
                </a:cubicBezTo>
                <a:cubicBezTo>
                  <a:pt x="1378" y="82"/>
                  <a:pt x="1378" y="82"/>
                  <a:pt x="1379" y="82"/>
                </a:cubicBezTo>
                <a:cubicBezTo>
                  <a:pt x="1379" y="82"/>
                  <a:pt x="1379" y="82"/>
                  <a:pt x="1379" y="82"/>
                </a:cubicBezTo>
                <a:cubicBezTo>
                  <a:pt x="1379" y="82"/>
                  <a:pt x="1378" y="82"/>
                  <a:pt x="1378" y="82"/>
                </a:cubicBezTo>
                <a:cubicBezTo>
                  <a:pt x="1378" y="81"/>
                  <a:pt x="1377" y="81"/>
                  <a:pt x="1377" y="81"/>
                </a:cubicBezTo>
                <a:cubicBezTo>
                  <a:pt x="1377" y="81"/>
                  <a:pt x="1377" y="81"/>
                  <a:pt x="1377" y="81"/>
                </a:cubicBezTo>
                <a:cubicBezTo>
                  <a:pt x="1378" y="81"/>
                  <a:pt x="1378" y="80"/>
                  <a:pt x="1378" y="80"/>
                </a:cubicBezTo>
                <a:cubicBezTo>
                  <a:pt x="1379" y="80"/>
                  <a:pt x="1379" y="80"/>
                  <a:pt x="1379" y="81"/>
                </a:cubicBezTo>
                <a:cubicBezTo>
                  <a:pt x="1379" y="81"/>
                  <a:pt x="1379" y="81"/>
                  <a:pt x="1380" y="81"/>
                </a:cubicBezTo>
                <a:cubicBezTo>
                  <a:pt x="1380" y="81"/>
                  <a:pt x="1380" y="82"/>
                  <a:pt x="1380" y="82"/>
                </a:cubicBezTo>
                <a:cubicBezTo>
                  <a:pt x="1380" y="82"/>
                  <a:pt x="1380" y="82"/>
                  <a:pt x="1380" y="83"/>
                </a:cubicBezTo>
                <a:cubicBezTo>
                  <a:pt x="1381" y="83"/>
                  <a:pt x="1381" y="83"/>
                  <a:pt x="1382" y="84"/>
                </a:cubicBezTo>
                <a:cubicBezTo>
                  <a:pt x="1382" y="84"/>
                  <a:pt x="1382" y="84"/>
                  <a:pt x="1382" y="85"/>
                </a:cubicBezTo>
                <a:cubicBezTo>
                  <a:pt x="1382" y="85"/>
                  <a:pt x="1382" y="85"/>
                  <a:pt x="1383" y="85"/>
                </a:cubicBezTo>
                <a:cubicBezTo>
                  <a:pt x="1383" y="85"/>
                  <a:pt x="1383" y="85"/>
                  <a:pt x="1383" y="85"/>
                </a:cubicBezTo>
                <a:cubicBezTo>
                  <a:pt x="1383" y="85"/>
                  <a:pt x="1384" y="85"/>
                  <a:pt x="1384" y="85"/>
                </a:cubicBezTo>
                <a:cubicBezTo>
                  <a:pt x="1384" y="85"/>
                  <a:pt x="1384" y="85"/>
                  <a:pt x="1385" y="86"/>
                </a:cubicBezTo>
                <a:cubicBezTo>
                  <a:pt x="1385" y="86"/>
                  <a:pt x="1385" y="86"/>
                  <a:pt x="1385" y="86"/>
                </a:cubicBezTo>
                <a:cubicBezTo>
                  <a:pt x="1385" y="87"/>
                  <a:pt x="1385" y="87"/>
                  <a:pt x="1385" y="87"/>
                </a:cubicBezTo>
                <a:cubicBezTo>
                  <a:pt x="1385" y="87"/>
                  <a:pt x="1386" y="88"/>
                  <a:pt x="1386" y="88"/>
                </a:cubicBezTo>
                <a:cubicBezTo>
                  <a:pt x="1386" y="88"/>
                  <a:pt x="1386" y="88"/>
                  <a:pt x="1386" y="89"/>
                </a:cubicBezTo>
                <a:cubicBezTo>
                  <a:pt x="1386" y="89"/>
                  <a:pt x="1385" y="88"/>
                  <a:pt x="1385" y="88"/>
                </a:cubicBezTo>
                <a:cubicBezTo>
                  <a:pt x="1385" y="88"/>
                  <a:pt x="1385" y="88"/>
                  <a:pt x="1385" y="88"/>
                </a:cubicBezTo>
                <a:cubicBezTo>
                  <a:pt x="1385" y="88"/>
                  <a:pt x="1385" y="88"/>
                  <a:pt x="1385" y="87"/>
                </a:cubicBezTo>
                <a:cubicBezTo>
                  <a:pt x="1385" y="87"/>
                  <a:pt x="1384" y="87"/>
                  <a:pt x="1384" y="87"/>
                </a:cubicBezTo>
                <a:cubicBezTo>
                  <a:pt x="1384" y="87"/>
                  <a:pt x="1384" y="88"/>
                  <a:pt x="1384" y="88"/>
                </a:cubicBezTo>
                <a:cubicBezTo>
                  <a:pt x="1383" y="87"/>
                  <a:pt x="1383" y="87"/>
                  <a:pt x="1383" y="87"/>
                </a:cubicBezTo>
                <a:cubicBezTo>
                  <a:pt x="1382" y="87"/>
                  <a:pt x="1382" y="86"/>
                  <a:pt x="1381" y="86"/>
                </a:cubicBezTo>
                <a:cubicBezTo>
                  <a:pt x="1380" y="86"/>
                  <a:pt x="1380" y="86"/>
                  <a:pt x="1379" y="86"/>
                </a:cubicBezTo>
                <a:cubicBezTo>
                  <a:pt x="1379" y="86"/>
                  <a:pt x="1379" y="86"/>
                  <a:pt x="1379" y="86"/>
                </a:cubicBezTo>
                <a:cubicBezTo>
                  <a:pt x="1379" y="86"/>
                  <a:pt x="1379" y="86"/>
                  <a:pt x="1380" y="87"/>
                </a:cubicBezTo>
                <a:cubicBezTo>
                  <a:pt x="1380" y="87"/>
                  <a:pt x="1381" y="87"/>
                  <a:pt x="1381" y="87"/>
                </a:cubicBezTo>
                <a:cubicBezTo>
                  <a:pt x="1381" y="87"/>
                  <a:pt x="1381" y="87"/>
                  <a:pt x="1382" y="87"/>
                </a:cubicBezTo>
                <a:cubicBezTo>
                  <a:pt x="1382" y="88"/>
                  <a:pt x="1381" y="88"/>
                  <a:pt x="1381" y="88"/>
                </a:cubicBezTo>
                <a:cubicBezTo>
                  <a:pt x="1382" y="88"/>
                  <a:pt x="1382" y="88"/>
                  <a:pt x="1382" y="89"/>
                </a:cubicBezTo>
                <a:cubicBezTo>
                  <a:pt x="1382" y="89"/>
                  <a:pt x="1382" y="89"/>
                  <a:pt x="1382" y="89"/>
                </a:cubicBezTo>
                <a:cubicBezTo>
                  <a:pt x="1383" y="89"/>
                  <a:pt x="1383" y="89"/>
                  <a:pt x="1383" y="89"/>
                </a:cubicBezTo>
                <a:cubicBezTo>
                  <a:pt x="1383" y="89"/>
                  <a:pt x="1384" y="88"/>
                  <a:pt x="1384" y="88"/>
                </a:cubicBezTo>
                <a:cubicBezTo>
                  <a:pt x="1384" y="88"/>
                  <a:pt x="1384" y="88"/>
                  <a:pt x="1384" y="88"/>
                </a:cubicBezTo>
                <a:cubicBezTo>
                  <a:pt x="1384" y="89"/>
                  <a:pt x="1385" y="89"/>
                  <a:pt x="1385" y="89"/>
                </a:cubicBezTo>
                <a:cubicBezTo>
                  <a:pt x="1385" y="89"/>
                  <a:pt x="1385" y="89"/>
                  <a:pt x="1385" y="90"/>
                </a:cubicBezTo>
                <a:cubicBezTo>
                  <a:pt x="1386" y="89"/>
                  <a:pt x="1386" y="89"/>
                  <a:pt x="1386" y="89"/>
                </a:cubicBezTo>
                <a:cubicBezTo>
                  <a:pt x="1386" y="90"/>
                  <a:pt x="1387" y="90"/>
                  <a:pt x="1387" y="90"/>
                </a:cubicBezTo>
                <a:cubicBezTo>
                  <a:pt x="1387" y="90"/>
                  <a:pt x="1387" y="90"/>
                  <a:pt x="1387" y="90"/>
                </a:cubicBezTo>
                <a:cubicBezTo>
                  <a:pt x="1387" y="90"/>
                  <a:pt x="1387" y="90"/>
                  <a:pt x="1386" y="91"/>
                </a:cubicBezTo>
                <a:cubicBezTo>
                  <a:pt x="1387" y="91"/>
                  <a:pt x="1387" y="91"/>
                  <a:pt x="1387" y="92"/>
                </a:cubicBezTo>
                <a:cubicBezTo>
                  <a:pt x="1387" y="92"/>
                  <a:pt x="1387" y="93"/>
                  <a:pt x="1387" y="93"/>
                </a:cubicBezTo>
                <a:cubicBezTo>
                  <a:pt x="1387" y="94"/>
                  <a:pt x="1387" y="94"/>
                  <a:pt x="1387" y="95"/>
                </a:cubicBezTo>
                <a:cubicBezTo>
                  <a:pt x="1387" y="95"/>
                  <a:pt x="1386" y="95"/>
                  <a:pt x="1386" y="96"/>
                </a:cubicBezTo>
                <a:cubicBezTo>
                  <a:pt x="1386" y="96"/>
                  <a:pt x="1386" y="96"/>
                  <a:pt x="1385" y="96"/>
                </a:cubicBezTo>
                <a:cubicBezTo>
                  <a:pt x="1385" y="96"/>
                  <a:pt x="1385" y="96"/>
                  <a:pt x="1385" y="96"/>
                </a:cubicBezTo>
                <a:cubicBezTo>
                  <a:pt x="1385" y="96"/>
                  <a:pt x="1385" y="97"/>
                  <a:pt x="1385" y="97"/>
                </a:cubicBezTo>
                <a:cubicBezTo>
                  <a:pt x="1385" y="97"/>
                  <a:pt x="1384" y="97"/>
                  <a:pt x="1384" y="98"/>
                </a:cubicBezTo>
                <a:cubicBezTo>
                  <a:pt x="1384" y="98"/>
                  <a:pt x="1384" y="98"/>
                  <a:pt x="1384" y="98"/>
                </a:cubicBezTo>
                <a:cubicBezTo>
                  <a:pt x="1384" y="98"/>
                  <a:pt x="1384" y="98"/>
                  <a:pt x="1384" y="99"/>
                </a:cubicBezTo>
                <a:cubicBezTo>
                  <a:pt x="1384" y="99"/>
                  <a:pt x="1384" y="99"/>
                  <a:pt x="1384" y="99"/>
                </a:cubicBezTo>
                <a:cubicBezTo>
                  <a:pt x="1384" y="99"/>
                  <a:pt x="1383" y="99"/>
                  <a:pt x="1383" y="99"/>
                </a:cubicBezTo>
                <a:cubicBezTo>
                  <a:pt x="1383" y="99"/>
                  <a:pt x="1382" y="100"/>
                  <a:pt x="1382" y="100"/>
                </a:cubicBezTo>
                <a:cubicBezTo>
                  <a:pt x="1382" y="100"/>
                  <a:pt x="1382" y="100"/>
                  <a:pt x="1382" y="100"/>
                </a:cubicBezTo>
                <a:cubicBezTo>
                  <a:pt x="1382" y="101"/>
                  <a:pt x="1382" y="101"/>
                  <a:pt x="1381" y="101"/>
                </a:cubicBezTo>
                <a:cubicBezTo>
                  <a:pt x="1381" y="101"/>
                  <a:pt x="1381" y="102"/>
                  <a:pt x="1380" y="102"/>
                </a:cubicBezTo>
                <a:cubicBezTo>
                  <a:pt x="1380" y="102"/>
                  <a:pt x="1380" y="102"/>
                  <a:pt x="1381" y="102"/>
                </a:cubicBezTo>
                <a:cubicBezTo>
                  <a:pt x="1380" y="102"/>
                  <a:pt x="1380" y="102"/>
                  <a:pt x="1380" y="103"/>
                </a:cubicBezTo>
                <a:cubicBezTo>
                  <a:pt x="1379" y="103"/>
                  <a:pt x="1379" y="103"/>
                  <a:pt x="1379" y="103"/>
                </a:cubicBezTo>
                <a:cubicBezTo>
                  <a:pt x="1378" y="103"/>
                  <a:pt x="1378" y="103"/>
                  <a:pt x="1377" y="103"/>
                </a:cubicBezTo>
                <a:cubicBezTo>
                  <a:pt x="1377" y="103"/>
                  <a:pt x="1376" y="103"/>
                  <a:pt x="1376" y="103"/>
                </a:cubicBezTo>
                <a:cubicBezTo>
                  <a:pt x="1376" y="103"/>
                  <a:pt x="1377" y="103"/>
                  <a:pt x="1377" y="103"/>
                </a:cubicBezTo>
                <a:cubicBezTo>
                  <a:pt x="1377" y="103"/>
                  <a:pt x="1378" y="104"/>
                  <a:pt x="1378" y="104"/>
                </a:cubicBezTo>
                <a:cubicBezTo>
                  <a:pt x="1378" y="103"/>
                  <a:pt x="1379" y="103"/>
                  <a:pt x="1379" y="103"/>
                </a:cubicBezTo>
                <a:cubicBezTo>
                  <a:pt x="1379" y="103"/>
                  <a:pt x="1379" y="103"/>
                  <a:pt x="1379" y="103"/>
                </a:cubicBezTo>
                <a:cubicBezTo>
                  <a:pt x="1379" y="104"/>
                  <a:pt x="1380" y="104"/>
                  <a:pt x="1380" y="105"/>
                </a:cubicBezTo>
                <a:cubicBezTo>
                  <a:pt x="1379" y="105"/>
                  <a:pt x="1379" y="105"/>
                  <a:pt x="1378" y="106"/>
                </a:cubicBezTo>
                <a:cubicBezTo>
                  <a:pt x="1378" y="106"/>
                  <a:pt x="1378" y="106"/>
                  <a:pt x="1377" y="106"/>
                </a:cubicBezTo>
                <a:cubicBezTo>
                  <a:pt x="1377" y="107"/>
                  <a:pt x="1377" y="107"/>
                  <a:pt x="1376" y="108"/>
                </a:cubicBezTo>
                <a:cubicBezTo>
                  <a:pt x="1376" y="108"/>
                  <a:pt x="1377" y="108"/>
                  <a:pt x="1377" y="109"/>
                </a:cubicBezTo>
                <a:cubicBezTo>
                  <a:pt x="1377" y="109"/>
                  <a:pt x="1377" y="109"/>
                  <a:pt x="1377" y="109"/>
                </a:cubicBezTo>
                <a:cubicBezTo>
                  <a:pt x="1376" y="110"/>
                  <a:pt x="1376" y="110"/>
                  <a:pt x="1375" y="111"/>
                </a:cubicBezTo>
                <a:cubicBezTo>
                  <a:pt x="1375" y="111"/>
                  <a:pt x="1374" y="111"/>
                  <a:pt x="1374" y="111"/>
                </a:cubicBezTo>
                <a:cubicBezTo>
                  <a:pt x="1374" y="111"/>
                  <a:pt x="1373" y="110"/>
                  <a:pt x="1373" y="110"/>
                </a:cubicBezTo>
                <a:cubicBezTo>
                  <a:pt x="1373" y="110"/>
                  <a:pt x="1373" y="110"/>
                  <a:pt x="1372" y="110"/>
                </a:cubicBezTo>
                <a:cubicBezTo>
                  <a:pt x="1372" y="110"/>
                  <a:pt x="1372" y="111"/>
                  <a:pt x="1372" y="111"/>
                </a:cubicBezTo>
                <a:cubicBezTo>
                  <a:pt x="1372" y="111"/>
                  <a:pt x="1372" y="111"/>
                  <a:pt x="1372" y="111"/>
                </a:cubicBezTo>
                <a:cubicBezTo>
                  <a:pt x="1372" y="112"/>
                  <a:pt x="1372" y="112"/>
                  <a:pt x="1373" y="113"/>
                </a:cubicBezTo>
                <a:cubicBezTo>
                  <a:pt x="1372" y="113"/>
                  <a:pt x="1372" y="113"/>
                  <a:pt x="1372" y="113"/>
                </a:cubicBezTo>
                <a:cubicBezTo>
                  <a:pt x="1371" y="113"/>
                  <a:pt x="1371" y="113"/>
                  <a:pt x="1371" y="113"/>
                </a:cubicBezTo>
                <a:cubicBezTo>
                  <a:pt x="1370" y="114"/>
                  <a:pt x="1370" y="114"/>
                  <a:pt x="1370" y="114"/>
                </a:cubicBezTo>
                <a:cubicBezTo>
                  <a:pt x="1370" y="115"/>
                  <a:pt x="1370" y="115"/>
                  <a:pt x="1370" y="115"/>
                </a:cubicBezTo>
                <a:cubicBezTo>
                  <a:pt x="1370" y="116"/>
                  <a:pt x="1370" y="116"/>
                  <a:pt x="1370" y="116"/>
                </a:cubicBezTo>
                <a:cubicBezTo>
                  <a:pt x="1370" y="116"/>
                  <a:pt x="1370" y="117"/>
                  <a:pt x="1369" y="117"/>
                </a:cubicBezTo>
                <a:cubicBezTo>
                  <a:pt x="1370" y="117"/>
                  <a:pt x="1370" y="117"/>
                  <a:pt x="1370" y="117"/>
                </a:cubicBezTo>
                <a:cubicBezTo>
                  <a:pt x="1370" y="117"/>
                  <a:pt x="1370" y="118"/>
                  <a:pt x="1370" y="118"/>
                </a:cubicBezTo>
                <a:cubicBezTo>
                  <a:pt x="1370" y="118"/>
                  <a:pt x="1369" y="119"/>
                  <a:pt x="1369" y="119"/>
                </a:cubicBezTo>
                <a:cubicBezTo>
                  <a:pt x="1369" y="120"/>
                  <a:pt x="1368" y="120"/>
                  <a:pt x="1368" y="120"/>
                </a:cubicBezTo>
                <a:cubicBezTo>
                  <a:pt x="1368" y="120"/>
                  <a:pt x="1368" y="120"/>
                  <a:pt x="1368" y="120"/>
                </a:cubicBezTo>
                <a:cubicBezTo>
                  <a:pt x="1368" y="120"/>
                  <a:pt x="1368" y="120"/>
                  <a:pt x="1368" y="120"/>
                </a:cubicBezTo>
                <a:cubicBezTo>
                  <a:pt x="1368" y="120"/>
                  <a:pt x="1369" y="120"/>
                  <a:pt x="1369" y="120"/>
                </a:cubicBezTo>
                <a:cubicBezTo>
                  <a:pt x="1370" y="120"/>
                  <a:pt x="1370" y="120"/>
                  <a:pt x="1370" y="120"/>
                </a:cubicBezTo>
                <a:cubicBezTo>
                  <a:pt x="1371" y="119"/>
                  <a:pt x="1371" y="119"/>
                  <a:pt x="1371" y="119"/>
                </a:cubicBezTo>
                <a:cubicBezTo>
                  <a:pt x="1371" y="119"/>
                  <a:pt x="1371" y="119"/>
                  <a:pt x="1371" y="119"/>
                </a:cubicBezTo>
                <a:cubicBezTo>
                  <a:pt x="1371" y="119"/>
                  <a:pt x="1371" y="119"/>
                  <a:pt x="1371" y="118"/>
                </a:cubicBezTo>
                <a:cubicBezTo>
                  <a:pt x="1372" y="118"/>
                  <a:pt x="1372" y="119"/>
                  <a:pt x="1373" y="119"/>
                </a:cubicBezTo>
                <a:cubicBezTo>
                  <a:pt x="1373" y="119"/>
                  <a:pt x="1374" y="119"/>
                  <a:pt x="1374" y="119"/>
                </a:cubicBezTo>
                <a:cubicBezTo>
                  <a:pt x="1374" y="119"/>
                  <a:pt x="1373" y="118"/>
                  <a:pt x="1373" y="118"/>
                </a:cubicBezTo>
                <a:cubicBezTo>
                  <a:pt x="1372" y="118"/>
                  <a:pt x="1372" y="117"/>
                  <a:pt x="1371" y="117"/>
                </a:cubicBezTo>
                <a:cubicBezTo>
                  <a:pt x="1371" y="116"/>
                  <a:pt x="1371" y="116"/>
                  <a:pt x="1371" y="116"/>
                </a:cubicBezTo>
                <a:cubicBezTo>
                  <a:pt x="1371" y="115"/>
                  <a:pt x="1372" y="115"/>
                  <a:pt x="1372" y="115"/>
                </a:cubicBezTo>
                <a:cubicBezTo>
                  <a:pt x="1372" y="115"/>
                  <a:pt x="1373" y="115"/>
                  <a:pt x="1374" y="115"/>
                </a:cubicBezTo>
                <a:cubicBezTo>
                  <a:pt x="1375" y="115"/>
                  <a:pt x="1375" y="115"/>
                  <a:pt x="1376" y="116"/>
                </a:cubicBezTo>
                <a:cubicBezTo>
                  <a:pt x="1377" y="115"/>
                  <a:pt x="1377" y="115"/>
                  <a:pt x="1378" y="115"/>
                </a:cubicBezTo>
                <a:cubicBezTo>
                  <a:pt x="1378" y="115"/>
                  <a:pt x="1379" y="115"/>
                  <a:pt x="1379" y="115"/>
                </a:cubicBezTo>
                <a:cubicBezTo>
                  <a:pt x="1379" y="115"/>
                  <a:pt x="1379" y="115"/>
                  <a:pt x="1380" y="115"/>
                </a:cubicBezTo>
                <a:cubicBezTo>
                  <a:pt x="1379" y="115"/>
                  <a:pt x="1379" y="114"/>
                  <a:pt x="1379" y="114"/>
                </a:cubicBezTo>
                <a:cubicBezTo>
                  <a:pt x="1380" y="114"/>
                  <a:pt x="1380" y="114"/>
                  <a:pt x="1381" y="114"/>
                </a:cubicBezTo>
                <a:cubicBezTo>
                  <a:pt x="1381" y="114"/>
                  <a:pt x="1382" y="113"/>
                  <a:pt x="1382" y="113"/>
                </a:cubicBezTo>
                <a:cubicBezTo>
                  <a:pt x="1382" y="113"/>
                  <a:pt x="1382" y="112"/>
                  <a:pt x="1382" y="112"/>
                </a:cubicBezTo>
                <a:cubicBezTo>
                  <a:pt x="1382" y="112"/>
                  <a:pt x="1382" y="112"/>
                  <a:pt x="1382" y="112"/>
                </a:cubicBezTo>
                <a:cubicBezTo>
                  <a:pt x="1382" y="112"/>
                  <a:pt x="1382" y="112"/>
                  <a:pt x="1383" y="113"/>
                </a:cubicBezTo>
                <a:cubicBezTo>
                  <a:pt x="1383" y="113"/>
                  <a:pt x="1384" y="113"/>
                  <a:pt x="1384" y="113"/>
                </a:cubicBezTo>
                <a:cubicBezTo>
                  <a:pt x="1385" y="112"/>
                  <a:pt x="1385" y="112"/>
                  <a:pt x="1385" y="112"/>
                </a:cubicBezTo>
                <a:cubicBezTo>
                  <a:pt x="1385" y="112"/>
                  <a:pt x="1385" y="112"/>
                  <a:pt x="1385" y="111"/>
                </a:cubicBezTo>
                <a:cubicBezTo>
                  <a:pt x="1386" y="111"/>
                  <a:pt x="1386" y="111"/>
                  <a:pt x="1387" y="111"/>
                </a:cubicBezTo>
                <a:cubicBezTo>
                  <a:pt x="1387" y="111"/>
                  <a:pt x="1387" y="110"/>
                  <a:pt x="1388" y="110"/>
                </a:cubicBezTo>
                <a:cubicBezTo>
                  <a:pt x="1387" y="110"/>
                  <a:pt x="1387" y="110"/>
                  <a:pt x="1387" y="109"/>
                </a:cubicBezTo>
                <a:cubicBezTo>
                  <a:pt x="1386" y="110"/>
                  <a:pt x="1386" y="110"/>
                  <a:pt x="1385" y="110"/>
                </a:cubicBezTo>
                <a:cubicBezTo>
                  <a:pt x="1385" y="110"/>
                  <a:pt x="1385" y="110"/>
                  <a:pt x="1385" y="110"/>
                </a:cubicBezTo>
                <a:cubicBezTo>
                  <a:pt x="1384" y="110"/>
                  <a:pt x="1383" y="110"/>
                  <a:pt x="1383" y="111"/>
                </a:cubicBezTo>
                <a:cubicBezTo>
                  <a:pt x="1382" y="110"/>
                  <a:pt x="1382" y="110"/>
                  <a:pt x="1381" y="110"/>
                </a:cubicBezTo>
                <a:cubicBezTo>
                  <a:pt x="1381" y="110"/>
                  <a:pt x="1381" y="109"/>
                  <a:pt x="1381" y="109"/>
                </a:cubicBezTo>
                <a:cubicBezTo>
                  <a:pt x="1381" y="109"/>
                  <a:pt x="1382" y="108"/>
                  <a:pt x="1382" y="108"/>
                </a:cubicBezTo>
                <a:cubicBezTo>
                  <a:pt x="1382" y="108"/>
                  <a:pt x="1382" y="107"/>
                  <a:pt x="1382" y="107"/>
                </a:cubicBezTo>
                <a:cubicBezTo>
                  <a:pt x="1382" y="107"/>
                  <a:pt x="1383" y="107"/>
                  <a:pt x="1383" y="107"/>
                </a:cubicBezTo>
                <a:cubicBezTo>
                  <a:pt x="1384" y="107"/>
                  <a:pt x="1384" y="107"/>
                  <a:pt x="1385" y="107"/>
                </a:cubicBezTo>
                <a:cubicBezTo>
                  <a:pt x="1386" y="107"/>
                  <a:pt x="1386" y="108"/>
                  <a:pt x="1387" y="108"/>
                </a:cubicBezTo>
                <a:cubicBezTo>
                  <a:pt x="1387" y="108"/>
                  <a:pt x="1387" y="108"/>
                  <a:pt x="1388" y="108"/>
                </a:cubicBezTo>
                <a:cubicBezTo>
                  <a:pt x="1388" y="107"/>
                  <a:pt x="1388" y="107"/>
                  <a:pt x="1388" y="107"/>
                </a:cubicBezTo>
                <a:cubicBezTo>
                  <a:pt x="1388" y="107"/>
                  <a:pt x="1389" y="107"/>
                  <a:pt x="1390" y="107"/>
                </a:cubicBezTo>
                <a:cubicBezTo>
                  <a:pt x="1390" y="107"/>
                  <a:pt x="1390" y="107"/>
                  <a:pt x="1390" y="107"/>
                </a:cubicBezTo>
                <a:cubicBezTo>
                  <a:pt x="1389" y="108"/>
                  <a:pt x="1389" y="108"/>
                  <a:pt x="1389" y="108"/>
                </a:cubicBezTo>
                <a:cubicBezTo>
                  <a:pt x="1389" y="108"/>
                  <a:pt x="1389" y="108"/>
                  <a:pt x="1389" y="109"/>
                </a:cubicBezTo>
                <a:cubicBezTo>
                  <a:pt x="1390" y="109"/>
                  <a:pt x="1391" y="110"/>
                  <a:pt x="1392" y="111"/>
                </a:cubicBezTo>
                <a:cubicBezTo>
                  <a:pt x="1392" y="111"/>
                  <a:pt x="1393" y="111"/>
                  <a:pt x="1393" y="111"/>
                </a:cubicBezTo>
                <a:cubicBezTo>
                  <a:pt x="1393" y="111"/>
                  <a:pt x="1394" y="111"/>
                  <a:pt x="1394" y="111"/>
                </a:cubicBezTo>
                <a:cubicBezTo>
                  <a:pt x="1395" y="111"/>
                  <a:pt x="1396" y="111"/>
                  <a:pt x="1396" y="111"/>
                </a:cubicBezTo>
                <a:cubicBezTo>
                  <a:pt x="1397" y="111"/>
                  <a:pt x="1397" y="111"/>
                  <a:pt x="1398" y="111"/>
                </a:cubicBezTo>
                <a:cubicBezTo>
                  <a:pt x="1398" y="111"/>
                  <a:pt x="1398" y="110"/>
                  <a:pt x="1398" y="110"/>
                </a:cubicBezTo>
                <a:cubicBezTo>
                  <a:pt x="1397" y="110"/>
                  <a:pt x="1396" y="109"/>
                  <a:pt x="1396" y="108"/>
                </a:cubicBezTo>
                <a:cubicBezTo>
                  <a:pt x="1396" y="108"/>
                  <a:pt x="1396" y="108"/>
                  <a:pt x="1396" y="108"/>
                </a:cubicBezTo>
                <a:cubicBezTo>
                  <a:pt x="1396" y="108"/>
                  <a:pt x="1396" y="108"/>
                  <a:pt x="1397" y="108"/>
                </a:cubicBezTo>
                <a:cubicBezTo>
                  <a:pt x="1397" y="109"/>
                  <a:pt x="1398" y="109"/>
                  <a:pt x="1399" y="110"/>
                </a:cubicBezTo>
                <a:cubicBezTo>
                  <a:pt x="1399" y="110"/>
                  <a:pt x="1399" y="110"/>
                  <a:pt x="1399" y="110"/>
                </a:cubicBezTo>
                <a:cubicBezTo>
                  <a:pt x="1400" y="111"/>
                  <a:pt x="1400" y="111"/>
                  <a:pt x="1401" y="111"/>
                </a:cubicBezTo>
                <a:cubicBezTo>
                  <a:pt x="1400" y="112"/>
                  <a:pt x="1400" y="112"/>
                  <a:pt x="1400" y="112"/>
                </a:cubicBezTo>
                <a:cubicBezTo>
                  <a:pt x="1400" y="112"/>
                  <a:pt x="1400" y="112"/>
                  <a:pt x="1400" y="112"/>
                </a:cubicBezTo>
                <a:cubicBezTo>
                  <a:pt x="1401" y="113"/>
                  <a:pt x="1401" y="113"/>
                  <a:pt x="1402" y="114"/>
                </a:cubicBezTo>
                <a:cubicBezTo>
                  <a:pt x="1402" y="114"/>
                  <a:pt x="1402" y="114"/>
                  <a:pt x="1402" y="115"/>
                </a:cubicBezTo>
                <a:cubicBezTo>
                  <a:pt x="1402" y="115"/>
                  <a:pt x="1402" y="115"/>
                  <a:pt x="1402" y="115"/>
                </a:cubicBezTo>
                <a:cubicBezTo>
                  <a:pt x="1402" y="115"/>
                  <a:pt x="1402" y="115"/>
                  <a:pt x="1402" y="115"/>
                </a:cubicBezTo>
                <a:cubicBezTo>
                  <a:pt x="1402" y="115"/>
                  <a:pt x="1403" y="115"/>
                  <a:pt x="1403" y="114"/>
                </a:cubicBezTo>
                <a:cubicBezTo>
                  <a:pt x="1403" y="114"/>
                  <a:pt x="1404" y="114"/>
                  <a:pt x="1404" y="114"/>
                </a:cubicBezTo>
                <a:cubicBezTo>
                  <a:pt x="1404" y="114"/>
                  <a:pt x="1404" y="114"/>
                  <a:pt x="1405" y="114"/>
                </a:cubicBezTo>
                <a:cubicBezTo>
                  <a:pt x="1404" y="114"/>
                  <a:pt x="1404" y="114"/>
                  <a:pt x="1404" y="114"/>
                </a:cubicBezTo>
                <a:cubicBezTo>
                  <a:pt x="1404" y="114"/>
                  <a:pt x="1403" y="114"/>
                  <a:pt x="1403" y="114"/>
                </a:cubicBezTo>
                <a:cubicBezTo>
                  <a:pt x="1403" y="114"/>
                  <a:pt x="1403" y="114"/>
                  <a:pt x="1402" y="113"/>
                </a:cubicBezTo>
                <a:cubicBezTo>
                  <a:pt x="1402" y="113"/>
                  <a:pt x="1402" y="113"/>
                  <a:pt x="1402" y="112"/>
                </a:cubicBezTo>
                <a:cubicBezTo>
                  <a:pt x="1402" y="112"/>
                  <a:pt x="1403" y="112"/>
                  <a:pt x="1403" y="112"/>
                </a:cubicBezTo>
                <a:cubicBezTo>
                  <a:pt x="1404" y="112"/>
                  <a:pt x="1404" y="112"/>
                  <a:pt x="1405" y="112"/>
                </a:cubicBezTo>
                <a:cubicBezTo>
                  <a:pt x="1405" y="112"/>
                  <a:pt x="1405" y="111"/>
                  <a:pt x="1406" y="111"/>
                </a:cubicBezTo>
                <a:cubicBezTo>
                  <a:pt x="1406" y="111"/>
                  <a:pt x="1406" y="111"/>
                  <a:pt x="1406" y="112"/>
                </a:cubicBezTo>
                <a:cubicBezTo>
                  <a:pt x="1407" y="111"/>
                  <a:pt x="1407" y="111"/>
                  <a:pt x="1407" y="111"/>
                </a:cubicBezTo>
                <a:cubicBezTo>
                  <a:pt x="1408" y="111"/>
                  <a:pt x="1409" y="111"/>
                  <a:pt x="1409" y="111"/>
                </a:cubicBezTo>
                <a:cubicBezTo>
                  <a:pt x="1411" y="112"/>
                  <a:pt x="1412" y="112"/>
                  <a:pt x="1414" y="112"/>
                </a:cubicBezTo>
                <a:cubicBezTo>
                  <a:pt x="1415" y="112"/>
                  <a:pt x="1417" y="112"/>
                  <a:pt x="1418" y="113"/>
                </a:cubicBezTo>
                <a:cubicBezTo>
                  <a:pt x="1420" y="113"/>
                  <a:pt x="1421" y="113"/>
                  <a:pt x="1422" y="113"/>
                </a:cubicBezTo>
                <a:cubicBezTo>
                  <a:pt x="1423" y="113"/>
                  <a:pt x="1423" y="113"/>
                  <a:pt x="1424" y="113"/>
                </a:cubicBezTo>
                <a:cubicBezTo>
                  <a:pt x="1425" y="113"/>
                  <a:pt x="1425" y="114"/>
                  <a:pt x="1426" y="114"/>
                </a:cubicBezTo>
                <a:cubicBezTo>
                  <a:pt x="1426" y="114"/>
                  <a:pt x="1425" y="114"/>
                  <a:pt x="1425" y="114"/>
                </a:cubicBezTo>
                <a:cubicBezTo>
                  <a:pt x="1425" y="114"/>
                  <a:pt x="1425" y="114"/>
                  <a:pt x="1425" y="114"/>
                </a:cubicBezTo>
                <a:cubicBezTo>
                  <a:pt x="1425" y="115"/>
                  <a:pt x="1424" y="115"/>
                  <a:pt x="1424" y="115"/>
                </a:cubicBezTo>
                <a:cubicBezTo>
                  <a:pt x="1424" y="116"/>
                  <a:pt x="1424" y="116"/>
                  <a:pt x="1424" y="117"/>
                </a:cubicBezTo>
                <a:cubicBezTo>
                  <a:pt x="1425" y="117"/>
                  <a:pt x="1425" y="117"/>
                  <a:pt x="1426" y="118"/>
                </a:cubicBezTo>
                <a:cubicBezTo>
                  <a:pt x="1427" y="118"/>
                  <a:pt x="1429" y="119"/>
                  <a:pt x="1431" y="119"/>
                </a:cubicBezTo>
                <a:cubicBezTo>
                  <a:pt x="1431" y="119"/>
                  <a:pt x="1431" y="119"/>
                  <a:pt x="1432" y="120"/>
                </a:cubicBezTo>
                <a:cubicBezTo>
                  <a:pt x="1432" y="120"/>
                  <a:pt x="1432" y="120"/>
                  <a:pt x="1432" y="119"/>
                </a:cubicBezTo>
                <a:cubicBezTo>
                  <a:pt x="1433" y="120"/>
                  <a:pt x="1434" y="120"/>
                  <a:pt x="1434" y="120"/>
                </a:cubicBezTo>
                <a:cubicBezTo>
                  <a:pt x="1435" y="120"/>
                  <a:pt x="1435" y="120"/>
                  <a:pt x="1435" y="121"/>
                </a:cubicBezTo>
                <a:cubicBezTo>
                  <a:pt x="1437" y="121"/>
                  <a:pt x="1438" y="121"/>
                  <a:pt x="1439" y="121"/>
                </a:cubicBezTo>
                <a:cubicBezTo>
                  <a:pt x="1440" y="121"/>
                  <a:pt x="1441" y="121"/>
                  <a:pt x="1442" y="121"/>
                </a:cubicBezTo>
                <a:cubicBezTo>
                  <a:pt x="1442" y="121"/>
                  <a:pt x="1443" y="121"/>
                  <a:pt x="1443" y="121"/>
                </a:cubicBezTo>
                <a:cubicBezTo>
                  <a:pt x="1443" y="121"/>
                  <a:pt x="1444" y="122"/>
                  <a:pt x="1444" y="122"/>
                </a:cubicBezTo>
                <a:cubicBezTo>
                  <a:pt x="1444" y="121"/>
                  <a:pt x="1445" y="121"/>
                  <a:pt x="1445" y="121"/>
                </a:cubicBezTo>
                <a:cubicBezTo>
                  <a:pt x="1445" y="121"/>
                  <a:pt x="1445" y="121"/>
                  <a:pt x="1445" y="120"/>
                </a:cubicBezTo>
                <a:cubicBezTo>
                  <a:pt x="1445" y="121"/>
                  <a:pt x="1446" y="121"/>
                  <a:pt x="1446" y="121"/>
                </a:cubicBezTo>
                <a:cubicBezTo>
                  <a:pt x="1446" y="121"/>
                  <a:pt x="1447" y="121"/>
                  <a:pt x="1447" y="121"/>
                </a:cubicBezTo>
                <a:cubicBezTo>
                  <a:pt x="1447" y="121"/>
                  <a:pt x="1448" y="121"/>
                  <a:pt x="1449" y="121"/>
                </a:cubicBezTo>
                <a:cubicBezTo>
                  <a:pt x="1449" y="121"/>
                  <a:pt x="1449" y="122"/>
                  <a:pt x="1449" y="122"/>
                </a:cubicBezTo>
                <a:cubicBezTo>
                  <a:pt x="1449" y="122"/>
                  <a:pt x="1449" y="122"/>
                  <a:pt x="1449" y="122"/>
                </a:cubicBezTo>
                <a:cubicBezTo>
                  <a:pt x="1450" y="122"/>
                  <a:pt x="1450" y="122"/>
                  <a:pt x="1450" y="122"/>
                </a:cubicBezTo>
                <a:cubicBezTo>
                  <a:pt x="1450" y="121"/>
                  <a:pt x="1450" y="121"/>
                  <a:pt x="1450" y="121"/>
                </a:cubicBezTo>
                <a:cubicBezTo>
                  <a:pt x="1450" y="121"/>
                  <a:pt x="1450" y="120"/>
                  <a:pt x="1449" y="120"/>
                </a:cubicBezTo>
                <a:cubicBezTo>
                  <a:pt x="1449" y="120"/>
                  <a:pt x="1449" y="120"/>
                  <a:pt x="1450" y="119"/>
                </a:cubicBezTo>
                <a:cubicBezTo>
                  <a:pt x="1449" y="119"/>
                  <a:pt x="1449" y="119"/>
                  <a:pt x="1449" y="119"/>
                </a:cubicBezTo>
                <a:cubicBezTo>
                  <a:pt x="1449" y="119"/>
                  <a:pt x="1448" y="118"/>
                  <a:pt x="1448" y="118"/>
                </a:cubicBezTo>
                <a:cubicBezTo>
                  <a:pt x="1448" y="118"/>
                  <a:pt x="1448" y="118"/>
                  <a:pt x="1448" y="117"/>
                </a:cubicBezTo>
                <a:cubicBezTo>
                  <a:pt x="1448" y="117"/>
                  <a:pt x="1448" y="117"/>
                  <a:pt x="1447" y="117"/>
                </a:cubicBezTo>
                <a:cubicBezTo>
                  <a:pt x="1447" y="117"/>
                  <a:pt x="1447" y="116"/>
                  <a:pt x="1447" y="116"/>
                </a:cubicBezTo>
                <a:cubicBezTo>
                  <a:pt x="1447" y="116"/>
                  <a:pt x="1447" y="116"/>
                  <a:pt x="1447" y="115"/>
                </a:cubicBezTo>
                <a:cubicBezTo>
                  <a:pt x="1447" y="115"/>
                  <a:pt x="1447" y="115"/>
                  <a:pt x="1447" y="114"/>
                </a:cubicBezTo>
                <a:cubicBezTo>
                  <a:pt x="1447" y="114"/>
                  <a:pt x="1447" y="114"/>
                  <a:pt x="1447" y="114"/>
                </a:cubicBezTo>
                <a:cubicBezTo>
                  <a:pt x="1447" y="114"/>
                  <a:pt x="1448" y="114"/>
                  <a:pt x="1448" y="114"/>
                </a:cubicBezTo>
                <a:cubicBezTo>
                  <a:pt x="1448" y="115"/>
                  <a:pt x="1448" y="115"/>
                  <a:pt x="1448" y="115"/>
                </a:cubicBezTo>
                <a:cubicBezTo>
                  <a:pt x="1449" y="115"/>
                  <a:pt x="1449" y="115"/>
                  <a:pt x="1450" y="114"/>
                </a:cubicBezTo>
                <a:cubicBezTo>
                  <a:pt x="1449" y="114"/>
                  <a:pt x="1449" y="114"/>
                  <a:pt x="1449" y="114"/>
                </a:cubicBezTo>
                <a:cubicBezTo>
                  <a:pt x="1449" y="114"/>
                  <a:pt x="1449" y="114"/>
                  <a:pt x="1449" y="113"/>
                </a:cubicBezTo>
                <a:cubicBezTo>
                  <a:pt x="1450" y="113"/>
                  <a:pt x="1450" y="114"/>
                  <a:pt x="1450" y="114"/>
                </a:cubicBezTo>
                <a:cubicBezTo>
                  <a:pt x="1451" y="114"/>
                  <a:pt x="1451" y="114"/>
                  <a:pt x="1451" y="115"/>
                </a:cubicBezTo>
                <a:cubicBezTo>
                  <a:pt x="1452" y="115"/>
                  <a:pt x="1452" y="115"/>
                  <a:pt x="1452" y="114"/>
                </a:cubicBezTo>
                <a:cubicBezTo>
                  <a:pt x="1452" y="114"/>
                  <a:pt x="1453" y="114"/>
                  <a:pt x="1453" y="114"/>
                </a:cubicBezTo>
                <a:cubicBezTo>
                  <a:pt x="1453" y="114"/>
                  <a:pt x="1453" y="114"/>
                  <a:pt x="1453" y="114"/>
                </a:cubicBezTo>
                <a:cubicBezTo>
                  <a:pt x="1454" y="115"/>
                  <a:pt x="1454" y="115"/>
                  <a:pt x="1455" y="115"/>
                </a:cubicBezTo>
                <a:cubicBezTo>
                  <a:pt x="1455" y="115"/>
                  <a:pt x="1455" y="115"/>
                  <a:pt x="1455" y="115"/>
                </a:cubicBezTo>
                <a:cubicBezTo>
                  <a:pt x="1456" y="115"/>
                  <a:pt x="1456" y="115"/>
                  <a:pt x="1456" y="115"/>
                </a:cubicBezTo>
                <a:cubicBezTo>
                  <a:pt x="1456" y="115"/>
                  <a:pt x="1457" y="115"/>
                  <a:pt x="1457" y="116"/>
                </a:cubicBezTo>
                <a:cubicBezTo>
                  <a:pt x="1457" y="116"/>
                  <a:pt x="1458" y="116"/>
                  <a:pt x="1458" y="116"/>
                </a:cubicBezTo>
                <a:cubicBezTo>
                  <a:pt x="1458" y="116"/>
                  <a:pt x="1458" y="117"/>
                  <a:pt x="1458" y="117"/>
                </a:cubicBezTo>
                <a:cubicBezTo>
                  <a:pt x="1459" y="117"/>
                  <a:pt x="1459" y="117"/>
                  <a:pt x="1459" y="117"/>
                </a:cubicBezTo>
                <a:cubicBezTo>
                  <a:pt x="1459" y="116"/>
                  <a:pt x="1459" y="116"/>
                  <a:pt x="1459" y="116"/>
                </a:cubicBezTo>
                <a:cubicBezTo>
                  <a:pt x="1460" y="116"/>
                  <a:pt x="1460" y="116"/>
                  <a:pt x="1460" y="116"/>
                </a:cubicBezTo>
                <a:cubicBezTo>
                  <a:pt x="1461" y="117"/>
                  <a:pt x="1461" y="117"/>
                  <a:pt x="1461" y="117"/>
                </a:cubicBezTo>
                <a:cubicBezTo>
                  <a:pt x="1461" y="117"/>
                  <a:pt x="1460" y="117"/>
                  <a:pt x="1460" y="117"/>
                </a:cubicBezTo>
                <a:cubicBezTo>
                  <a:pt x="1460" y="118"/>
                  <a:pt x="1460" y="118"/>
                  <a:pt x="1459" y="118"/>
                </a:cubicBezTo>
                <a:cubicBezTo>
                  <a:pt x="1459" y="118"/>
                  <a:pt x="1460" y="118"/>
                  <a:pt x="1460" y="118"/>
                </a:cubicBezTo>
                <a:cubicBezTo>
                  <a:pt x="1460" y="118"/>
                  <a:pt x="1461" y="118"/>
                  <a:pt x="1461" y="118"/>
                </a:cubicBezTo>
                <a:cubicBezTo>
                  <a:pt x="1461" y="118"/>
                  <a:pt x="1461" y="119"/>
                  <a:pt x="1461" y="119"/>
                </a:cubicBezTo>
                <a:cubicBezTo>
                  <a:pt x="1461" y="118"/>
                  <a:pt x="1461" y="118"/>
                  <a:pt x="1462" y="118"/>
                </a:cubicBezTo>
                <a:cubicBezTo>
                  <a:pt x="1462" y="118"/>
                  <a:pt x="1462" y="118"/>
                  <a:pt x="1462" y="118"/>
                </a:cubicBezTo>
                <a:cubicBezTo>
                  <a:pt x="1462" y="118"/>
                  <a:pt x="1463" y="118"/>
                  <a:pt x="1463" y="118"/>
                </a:cubicBezTo>
                <a:cubicBezTo>
                  <a:pt x="1463" y="118"/>
                  <a:pt x="1463" y="118"/>
                  <a:pt x="1463" y="117"/>
                </a:cubicBezTo>
                <a:cubicBezTo>
                  <a:pt x="1462" y="117"/>
                  <a:pt x="1462" y="117"/>
                  <a:pt x="1462" y="117"/>
                </a:cubicBezTo>
                <a:cubicBezTo>
                  <a:pt x="1462" y="117"/>
                  <a:pt x="1462" y="117"/>
                  <a:pt x="1462" y="117"/>
                </a:cubicBezTo>
                <a:cubicBezTo>
                  <a:pt x="1463" y="117"/>
                  <a:pt x="1463" y="117"/>
                  <a:pt x="1464" y="117"/>
                </a:cubicBezTo>
                <a:cubicBezTo>
                  <a:pt x="1464" y="117"/>
                  <a:pt x="1465" y="117"/>
                  <a:pt x="1465" y="117"/>
                </a:cubicBezTo>
                <a:cubicBezTo>
                  <a:pt x="1466" y="117"/>
                  <a:pt x="1466" y="118"/>
                  <a:pt x="1466" y="118"/>
                </a:cubicBezTo>
                <a:cubicBezTo>
                  <a:pt x="1466" y="118"/>
                  <a:pt x="1466" y="118"/>
                  <a:pt x="1467" y="118"/>
                </a:cubicBezTo>
                <a:cubicBezTo>
                  <a:pt x="1467" y="118"/>
                  <a:pt x="1468" y="118"/>
                  <a:pt x="1468" y="118"/>
                </a:cubicBezTo>
                <a:cubicBezTo>
                  <a:pt x="1468" y="118"/>
                  <a:pt x="1468" y="118"/>
                  <a:pt x="1468" y="119"/>
                </a:cubicBezTo>
                <a:cubicBezTo>
                  <a:pt x="1468" y="119"/>
                  <a:pt x="1468" y="119"/>
                  <a:pt x="1468" y="120"/>
                </a:cubicBezTo>
                <a:cubicBezTo>
                  <a:pt x="1468" y="119"/>
                  <a:pt x="1469" y="119"/>
                  <a:pt x="1469" y="119"/>
                </a:cubicBezTo>
                <a:cubicBezTo>
                  <a:pt x="1469" y="119"/>
                  <a:pt x="1469" y="119"/>
                  <a:pt x="1469" y="119"/>
                </a:cubicBezTo>
                <a:cubicBezTo>
                  <a:pt x="1470" y="119"/>
                  <a:pt x="1470" y="119"/>
                  <a:pt x="1470" y="119"/>
                </a:cubicBezTo>
                <a:cubicBezTo>
                  <a:pt x="1470" y="119"/>
                  <a:pt x="1471" y="120"/>
                  <a:pt x="1471" y="120"/>
                </a:cubicBezTo>
                <a:cubicBezTo>
                  <a:pt x="1471" y="120"/>
                  <a:pt x="1471" y="120"/>
                  <a:pt x="1471" y="120"/>
                </a:cubicBezTo>
                <a:cubicBezTo>
                  <a:pt x="1472" y="120"/>
                  <a:pt x="1472" y="120"/>
                  <a:pt x="1473" y="120"/>
                </a:cubicBezTo>
                <a:cubicBezTo>
                  <a:pt x="1473" y="120"/>
                  <a:pt x="1473" y="121"/>
                  <a:pt x="1473" y="121"/>
                </a:cubicBezTo>
                <a:cubicBezTo>
                  <a:pt x="1473" y="121"/>
                  <a:pt x="1473" y="122"/>
                  <a:pt x="1473" y="122"/>
                </a:cubicBezTo>
                <a:cubicBezTo>
                  <a:pt x="1474" y="122"/>
                  <a:pt x="1474" y="122"/>
                  <a:pt x="1475" y="122"/>
                </a:cubicBezTo>
                <a:cubicBezTo>
                  <a:pt x="1475" y="122"/>
                  <a:pt x="1475" y="122"/>
                  <a:pt x="1475" y="122"/>
                </a:cubicBezTo>
                <a:cubicBezTo>
                  <a:pt x="1475" y="122"/>
                  <a:pt x="1476" y="122"/>
                  <a:pt x="1476" y="122"/>
                </a:cubicBezTo>
                <a:cubicBezTo>
                  <a:pt x="1475" y="122"/>
                  <a:pt x="1475" y="123"/>
                  <a:pt x="1475" y="123"/>
                </a:cubicBezTo>
                <a:cubicBezTo>
                  <a:pt x="1475" y="123"/>
                  <a:pt x="1475" y="123"/>
                  <a:pt x="1476" y="124"/>
                </a:cubicBezTo>
                <a:cubicBezTo>
                  <a:pt x="1476" y="124"/>
                  <a:pt x="1476" y="124"/>
                  <a:pt x="1476" y="124"/>
                </a:cubicBezTo>
                <a:cubicBezTo>
                  <a:pt x="1476" y="124"/>
                  <a:pt x="1477" y="124"/>
                  <a:pt x="1477" y="124"/>
                </a:cubicBezTo>
                <a:cubicBezTo>
                  <a:pt x="1477" y="124"/>
                  <a:pt x="1477" y="125"/>
                  <a:pt x="1477" y="125"/>
                </a:cubicBezTo>
                <a:cubicBezTo>
                  <a:pt x="1477" y="125"/>
                  <a:pt x="1478" y="125"/>
                  <a:pt x="1478" y="125"/>
                </a:cubicBezTo>
                <a:cubicBezTo>
                  <a:pt x="1478" y="125"/>
                  <a:pt x="1478" y="125"/>
                  <a:pt x="1478" y="125"/>
                </a:cubicBezTo>
                <a:cubicBezTo>
                  <a:pt x="1478" y="125"/>
                  <a:pt x="1478" y="125"/>
                  <a:pt x="1478" y="126"/>
                </a:cubicBezTo>
                <a:cubicBezTo>
                  <a:pt x="1478" y="126"/>
                  <a:pt x="1478" y="126"/>
                  <a:pt x="1477" y="126"/>
                </a:cubicBezTo>
                <a:cubicBezTo>
                  <a:pt x="1477" y="126"/>
                  <a:pt x="1477" y="127"/>
                  <a:pt x="1477" y="127"/>
                </a:cubicBezTo>
                <a:cubicBezTo>
                  <a:pt x="1478" y="127"/>
                  <a:pt x="1478" y="127"/>
                  <a:pt x="1479" y="126"/>
                </a:cubicBezTo>
                <a:cubicBezTo>
                  <a:pt x="1479" y="127"/>
                  <a:pt x="1480" y="127"/>
                  <a:pt x="1480" y="127"/>
                </a:cubicBezTo>
                <a:cubicBezTo>
                  <a:pt x="1480" y="127"/>
                  <a:pt x="1480" y="127"/>
                  <a:pt x="1480" y="127"/>
                </a:cubicBezTo>
                <a:cubicBezTo>
                  <a:pt x="1479" y="128"/>
                  <a:pt x="1478" y="128"/>
                  <a:pt x="1478" y="128"/>
                </a:cubicBezTo>
                <a:cubicBezTo>
                  <a:pt x="1477" y="128"/>
                  <a:pt x="1477" y="129"/>
                  <a:pt x="1477" y="129"/>
                </a:cubicBezTo>
                <a:cubicBezTo>
                  <a:pt x="1478" y="129"/>
                  <a:pt x="1479" y="129"/>
                  <a:pt x="1479" y="130"/>
                </a:cubicBezTo>
                <a:cubicBezTo>
                  <a:pt x="1479" y="130"/>
                  <a:pt x="1480" y="129"/>
                  <a:pt x="1480" y="129"/>
                </a:cubicBezTo>
                <a:cubicBezTo>
                  <a:pt x="1480" y="129"/>
                  <a:pt x="1480" y="129"/>
                  <a:pt x="1481" y="129"/>
                </a:cubicBezTo>
                <a:cubicBezTo>
                  <a:pt x="1481" y="129"/>
                  <a:pt x="1481" y="130"/>
                  <a:pt x="1481" y="130"/>
                </a:cubicBezTo>
                <a:cubicBezTo>
                  <a:pt x="1481" y="130"/>
                  <a:pt x="1481" y="130"/>
                  <a:pt x="1481" y="130"/>
                </a:cubicBezTo>
                <a:cubicBezTo>
                  <a:pt x="1482" y="130"/>
                  <a:pt x="1482" y="130"/>
                  <a:pt x="1482" y="130"/>
                </a:cubicBezTo>
                <a:cubicBezTo>
                  <a:pt x="1483" y="131"/>
                  <a:pt x="1483" y="131"/>
                  <a:pt x="1483" y="132"/>
                </a:cubicBezTo>
                <a:cubicBezTo>
                  <a:pt x="1483" y="132"/>
                  <a:pt x="1483" y="132"/>
                  <a:pt x="1483" y="132"/>
                </a:cubicBezTo>
                <a:cubicBezTo>
                  <a:pt x="1483" y="133"/>
                  <a:pt x="1484" y="133"/>
                  <a:pt x="1484" y="133"/>
                </a:cubicBezTo>
                <a:cubicBezTo>
                  <a:pt x="1484" y="133"/>
                  <a:pt x="1484" y="133"/>
                  <a:pt x="1484" y="133"/>
                </a:cubicBezTo>
                <a:cubicBezTo>
                  <a:pt x="1484" y="133"/>
                  <a:pt x="1485" y="133"/>
                  <a:pt x="1485" y="133"/>
                </a:cubicBezTo>
                <a:cubicBezTo>
                  <a:pt x="1485" y="133"/>
                  <a:pt x="1485" y="134"/>
                  <a:pt x="1485" y="134"/>
                </a:cubicBezTo>
                <a:cubicBezTo>
                  <a:pt x="1485" y="134"/>
                  <a:pt x="1484" y="134"/>
                  <a:pt x="1484" y="135"/>
                </a:cubicBezTo>
                <a:cubicBezTo>
                  <a:pt x="1483" y="135"/>
                  <a:pt x="1483" y="135"/>
                  <a:pt x="1482" y="135"/>
                </a:cubicBezTo>
                <a:cubicBezTo>
                  <a:pt x="1482" y="134"/>
                  <a:pt x="1482" y="134"/>
                  <a:pt x="1481" y="134"/>
                </a:cubicBezTo>
                <a:cubicBezTo>
                  <a:pt x="1481" y="134"/>
                  <a:pt x="1480" y="133"/>
                  <a:pt x="1479" y="133"/>
                </a:cubicBezTo>
                <a:cubicBezTo>
                  <a:pt x="1478" y="133"/>
                  <a:pt x="1477" y="132"/>
                  <a:pt x="1477" y="132"/>
                </a:cubicBezTo>
                <a:cubicBezTo>
                  <a:pt x="1477" y="132"/>
                  <a:pt x="1477" y="133"/>
                  <a:pt x="1477" y="133"/>
                </a:cubicBezTo>
                <a:cubicBezTo>
                  <a:pt x="1478" y="133"/>
                  <a:pt x="1478" y="133"/>
                  <a:pt x="1478" y="134"/>
                </a:cubicBezTo>
                <a:cubicBezTo>
                  <a:pt x="1478" y="134"/>
                  <a:pt x="1479" y="134"/>
                  <a:pt x="1480" y="135"/>
                </a:cubicBezTo>
                <a:cubicBezTo>
                  <a:pt x="1480" y="135"/>
                  <a:pt x="1480" y="135"/>
                  <a:pt x="1480" y="135"/>
                </a:cubicBezTo>
                <a:cubicBezTo>
                  <a:pt x="1481" y="136"/>
                  <a:pt x="1481" y="136"/>
                  <a:pt x="1482" y="137"/>
                </a:cubicBezTo>
                <a:cubicBezTo>
                  <a:pt x="1483" y="137"/>
                  <a:pt x="1483" y="137"/>
                  <a:pt x="1484" y="138"/>
                </a:cubicBezTo>
                <a:cubicBezTo>
                  <a:pt x="1485" y="138"/>
                  <a:pt x="1485" y="138"/>
                  <a:pt x="1486" y="138"/>
                </a:cubicBezTo>
                <a:cubicBezTo>
                  <a:pt x="1486" y="137"/>
                  <a:pt x="1486" y="137"/>
                  <a:pt x="1486" y="137"/>
                </a:cubicBezTo>
                <a:cubicBezTo>
                  <a:pt x="1486" y="137"/>
                  <a:pt x="1485" y="136"/>
                  <a:pt x="1485" y="136"/>
                </a:cubicBezTo>
                <a:cubicBezTo>
                  <a:pt x="1485" y="136"/>
                  <a:pt x="1485" y="136"/>
                  <a:pt x="1485" y="135"/>
                </a:cubicBezTo>
                <a:cubicBezTo>
                  <a:pt x="1485" y="135"/>
                  <a:pt x="1485" y="135"/>
                  <a:pt x="1485" y="135"/>
                </a:cubicBezTo>
                <a:cubicBezTo>
                  <a:pt x="1486" y="136"/>
                  <a:pt x="1486" y="136"/>
                  <a:pt x="1486" y="137"/>
                </a:cubicBezTo>
                <a:cubicBezTo>
                  <a:pt x="1487" y="137"/>
                  <a:pt x="1487" y="137"/>
                  <a:pt x="1488" y="137"/>
                </a:cubicBezTo>
                <a:cubicBezTo>
                  <a:pt x="1488" y="138"/>
                  <a:pt x="1488" y="138"/>
                  <a:pt x="1488" y="138"/>
                </a:cubicBezTo>
                <a:cubicBezTo>
                  <a:pt x="1488" y="138"/>
                  <a:pt x="1488" y="138"/>
                  <a:pt x="1487" y="138"/>
                </a:cubicBezTo>
                <a:cubicBezTo>
                  <a:pt x="1486" y="138"/>
                  <a:pt x="1485" y="138"/>
                  <a:pt x="1485" y="138"/>
                </a:cubicBezTo>
                <a:cubicBezTo>
                  <a:pt x="1485" y="138"/>
                  <a:pt x="1485" y="139"/>
                  <a:pt x="1485" y="139"/>
                </a:cubicBezTo>
                <a:cubicBezTo>
                  <a:pt x="1485" y="139"/>
                  <a:pt x="1486" y="139"/>
                  <a:pt x="1486" y="139"/>
                </a:cubicBezTo>
                <a:cubicBezTo>
                  <a:pt x="1486" y="139"/>
                  <a:pt x="1487" y="139"/>
                  <a:pt x="1487" y="139"/>
                </a:cubicBezTo>
                <a:cubicBezTo>
                  <a:pt x="1487" y="139"/>
                  <a:pt x="1487" y="139"/>
                  <a:pt x="1488" y="139"/>
                </a:cubicBezTo>
                <a:cubicBezTo>
                  <a:pt x="1489" y="140"/>
                  <a:pt x="1490" y="141"/>
                  <a:pt x="1491" y="142"/>
                </a:cubicBezTo>
                <a:cubicBezTo>
                  <a:pt x="1491" y="143"/>
                  <a:pt x="1491" y="143"/>
                  <a:pt x="1492" y="143"/>
                </a:cubicBezTo>
                <a:cubicBezTo>
                  <a:pt x="1492" y="143"/>
                  <a:pt x="1492" y="144"/>
                  <a:pt x="1493" y="144"/>
                </a:cubicBezTo>
                <a:cubicBezTo>
                  <a:pt x="1494" y="145"/>
                  <a:pt x="1494" y="145"/>
                  <a:pt x="1495" y="145"/>
                </a:cubicBezTo>
                <a:cubicBezTo>
                  <a:pt x="1496" y="146"/>
                  <a:pt x="1496" y="146"/>
                  <a:pt x="1497" y="147"/>
                </a:cubicBezTo>
                <a:cubicBezTo>
                  <a:pt x="1497" y="147"/>
                  <a:pt x="1498" y="147"/>
                  <a:pt x="1498" y="148"/>
                </a:cubicBezTo>
                <a:cubicBezTo>
                  <a:pt x="1499" y="147"/>
                  <a:pt x="1499" y="147"/>
                  <a:pt x="1499" y="147"/>
                </a:cubicBezTo>
                <a:cubicBezTo>
                  <a:pt x="1499" y="147"/>
                  <a:pt x="1499" y="147"/>
                  <a:pt x="1499" y="147"/>
                </a:cubicBezTo>
                <a:cubicBezTo>
                  <a:pt x="1499" y="147"/>
                  <a:pt x="1499" y="147"/>
                  <a:pt x="1499" y="147"/>
                </a:cubicBezTo>
                <a:cubicBezTo>
                  <a:pt x="1500" y="147"/>
                  <a:pt x="1500" y="147"/>
                  <a:pt x="1500" y="147"/>
                </a:cubicBezTo>
                <a:cubicBezTo>
                  <a:pt x="1500" y="148"/>
                  <a:pt x="1500" y="148"/>
                  <a:pt x="1500" y="148"/>
                </a:cubicBezTo>
                <a:cubicBezTo>
                  <a:pt x="1500" y="148"/>
                  <a:pt x="1501" y="149"/>
                  <a:pt x="1501" y="149"/>
                </a:cubicBezTo>
                <a:cubicBezTo>
                  <a:pt x="1501" y="149"/>
                  <a:pt x="1501" y="149"/>
                  <a:pt x="1501" y="149"/>
                </a:cubicBezTo>
                <a:cubicBezTo>
                  <a:pt x="1502" y="149"/>
                  <a:pt x="1502" y="149"/>
                  <a:pt x="1502" y="148"/>
                </a:cubicBezTo>
                <a:cubicBezTo>
                  <a:pt x="1502" y="147"/>
                  <a:pt x="1502" y="146"/>
                  <a:pt x="1502" y="144"/>
                </a:cubicBezTo>
                <a:cubicBezTo>
                  <a:pt x="1502" y="144"/>
                  <a:pt x="1501" y="143"/>
                  <a:pt x="1501" y="142"/>
                </a:cubicBezTo>
                <a:cubicBezTo>
                  <a:pt x="1501" y="141"/>
                  <a:pt x="1501" y="141"/>
                  <a:pt x="1500" y="140"/>
                </a:cubicBezTo>
                <a:cubicBezTo>
                  <a:pt x="1500" y="139"/>
                  <a:pt x="1500" y="138"/>
                  <a:pt x="1500" y="138"/>
                </a:cubicBezTo>
                <a:cubicBezTo>
                  <a:pt x="1500" y="137"/>
                  <a:pt x="1500" y="137"/>
                  <a:pt x="1500" y="136"/>
                </a:cubicBezTo>
                <a:cubicBezTo>
                  <a:pt x="1500" y="136"/>
                  <a:pt x="1500" y="136"/>
                  <a:pt x="1500" y="136"/>
                </a:cubicBezTo>
                <a:cubicBezTo>
                  <a:pt x="1500" y="136"/>
                  <a:pt x="1501" y="136"/>
                  <a:pt x="1501" y="136"/>
                </a:cubicBezTo>
                <a:cubicBezTo>
                  <a:pt x="1501" y="137"/>
                  <a:pt x="1501" y="137"/>
                  <a:pt x="1501" y="137"/>
                </a:cubicBezTo>
                <a:cubicBezTo>
                  <a:pt x="1502" y="138"/>
                  <a:pt x="1502" y="138"/>
                  <a:pt x="1502" y="139"/>
                </a:cubicBezTo>
                <a:cubicBezTo>
                  <a:pt x="1503" y="139"/>
                  <a:pt x="1503" y="139"/>
                  <a:pt x="1504" y="139"/>
                </a:cubicBezTo>
                <a:cubicBezTo>
                  <a:pt x="1504" y="140"/>
                  <a:pt x="1504" y="140"/>
                  <a:pt x="1505" y="140"/>
                </a:cubicBezTo>
                <a:cubicBezTo>
                  <a:pt x="1505" y="141"/>
                  <a:pt x="1506" y="141"/>
                  <a:pt x="1507" y="141"/>
                </a:cubicBezTo>
                <a:cubicBezTo>
                  <a:pt x="1508" y="142"/>
                  <a:pt x="1510" y="142"/>
                  <a:pt x="1512" y="142"/>
                </a:cubicBezTo>
                <a:cubicBezTo>
                  <a:pt x="1512" y="142"/>
                  <a:pt x="1512" y="143"/>
                  <a:pt x="1513" y="143"/>
                </a:cubicBezTo>
                <a:cubicBezTo>
                  <a:pt x="1513" y="143"/>
                  <a:pt x="1513" y="143"/>
                  <a:pt x="1514" y="143"/>
                </a:cubicBezTo>
                <a:cubicBezTo>
                  <a:pt x="1514" y="143"/>
                  <a:pt x="1514" y="143"/>
                  <a:pt x="1514" y="144"/>
                </a:cubicBezTo>
                <a:cubicBezTo>
                  <a:pt x="1515" y="144"/>
                  <a:pt x="1515" y="144"/>
                  <a:pt x="1515" y="144"/>
                </a:cubicBezTo>
                <a:cubicBezTo>
                  <a:pt x="1515" y="143"/>
                  <a:pt x="1514" y="143"/>
                  <a:pt x="1514" y="142"/>
                </a:cubicBezTo>
                <a:cubicBezTo>
                  <a:pt x="1514" y="142"/>
                  <a:pt x="1514" y="142"/>
                  <a:pt x="1515" y="142"/>
                </a:cubicBezTo>
                <a:cubicBezTo>
                  <a:pt x="1514" y="142"/>
                  <a:pt x="1514" y="142"/>
                  <a:pt x="1514" y="141"/>
                </a:cubicBezTo>
                <a:cubicBezTo>
                  <a:pt x="1514" y="141"/>
                  <a:pt x="1514" y="141"/>
                  <a:pt x="1514" y="141"/>
                </a:cubicBezTo>
                <a:cubicBezTo>
                  <a:pt x="1515" y="141"/>
                  <a:pt x="1515" y="141"/>
                  <a:pt x="1515" y="140"/>
                </a:cubicBezTo>
                <a:cubicBezTo>
                  <a:pt x="1516" y="141"/>
                  <a:pt x="1518" y="141"/>
                  <a:pt x="1519" y="141"/>
                </a:cubicBezTo>
                <a:cubicBezTo>
                  <a:pt x="1519" y="141"/>
                  <a:pt x="1519" y="141"/>
                  <a:pt x="1520" y="141"/>
                </a:cubicBezTo>
                <a:cubicBezTo>
                  <a:pt x="1520" y="141"/>
                  <a:pt x="1520" y="141"/>
                  <a:pt x="1521" y="141"/>
                </a:cubicBezTo>
                <a:cubicBezTo>
                  <a:pt x="1521" y="141"/>
                  <a:pt x="1521" y="142"/>
                  <a:pt x="1522" y="142"/>
                </a:cubicBezTo>
                <a:cubicBezTo>
                  <a:pt x="1522" y="142"/>
                  <a:pt x="1523" y="142"/>
                  <a:pt x="1524" y="143"/>
                </a:cubicBezTo>
                <a:cubicBezTo>
                  <a:pt x="1524" y="143"/>
                  <a:pt x="1524" y="143"/>
                  <a:pt x="1525" y="144"/>
                </a:cubicBezTo>
                <a:cubicBezTo>
                  <a:pt x="1525" y="144"/>
                  <a:pt x="1526" y="144"/>
                  <a:pt x="1526" y="144"/>
                </a:cubicBezTo>
                <a:cubicBezTo>
                  <a:pt x="1526" y="145"/>
                  <a:pt x="1526" y="145"/>
                  <a:pt x="1527" y="145"/>
                </a:cubicBezTo>
                <a:cubicBezTo>
                  <a:pt x="1527" y="146"/>
                  <a:pt x="1528" y="146"/>
                  <a:pt x="1528" y="146"/>
                </a:cubicBezTo>
                <a:cubicBezTo>
                  <a:pt x="1529" y="146"/>
                  <a:pt x="1529" y="147"/>
                  <a:pt x="1529" y="147"/>
                </a:cubicBezTo>
                <a:cubicBezTo>
                  <a:pt x="1530" y="147"/>
                  <a:pt x="1531" y="147"/>
                  <a:pt x="1531" y="148"/>
                </a:cubicBezTo>
                <a:cubicBezTo>
                  <a:pt x="1531" y="147"/>
                  <a:pt x="1531" y="147"/>
                  <a:pt x="1530" y="147"/>
                </a:cubicBezTo>
                <a:cubicBezTo>
                  <a:pt x="1530" y="146"/>
                  <a:pt x="1530" y="146"/>
                  <a:pt x="1530" y="146"/>
                </a:cubicBezTo>
                <a:cubicBezTo>
                  <a:pt x="1531" y="146"/>
                  <a:pt x="1531" y="147"/>
                  <a:pt x="1532" y="147"/>
                </a:cubicBezTo>
                <a:cubicBezTo>
                  <a:pt x="1532" y="147"/>
                  <a:pt x="1532" y="147"/>
                  <a:pt x="1533" y="147"/>
                </a:cubicBezTo>
                <a:cubicBezTo>
                  <a:pt x="1532" y="147"/>
                  <a:pt x="1532" y="146"/>
                  <a:pt x="1532" y="146"/>
                </a:cubicBezTo>
                <a:cubicBezTo>
                  <a:pt x="1532" y="146"/>
                  <a:pt x="1532" y="146"/>
                  <a:pt x="1533" y="146"/>
                </a:cubicBezTo>
                <a:cubicBezTo>
                  <a:pt x="1532" y="145"/>
                  <a:pt x="1532" y="145"/>
                  <a:pt x="1532" y="145"/>
                </a:cubicBezTo>
                <a:cubicBezTo>
                  <a:pt x="1531" y="145"/>
                  <a:pt x="1531" y="145"/>
                  <a:pt x="1530" y="145"/>
                </a:cubicBezTo>
                <a:cubicBezTo>
                  <a:pt x="1530" y="145"/>
                  <a:pt x="1529" y="144"/>
                  <a:pt x="1529" y="144"/>
                </a:cubicBezTo>
                <a:cubicBezTo>
                  <a:pt x="1529" y="144"/>
                  <a:pt x="1529" y="143"/>
                  <a:pt x="1529" y="143"/>
                </a:cubicBezTo>
                <a:cubicBezTo>
                  <a:pt x="1529" y="143"/>
                  <a:pt x="1529" y="142"/>
                  <a:pt x="1529" y="142"/>
                </a:cubicBezTo>
                <a:cubicBezTo>
                  <a:pt x="1529" y="142"/>
                  <a:pt x="1529" y="142"/>
                  <a:pt x="1530" y="142"/>
                </a:cubicBezTo>
                <a:cubicBezTo>
                  <a:pt x="1530" y="142"/>
                  <a:pt x="1530" y="142"/>
                  <a:pt x="1530" y="143"/>
                </a:cubicBezTo>
                <a:cubicBezTo>
                  <a:pt x="1531" y="143"/>
                  <a:pt x="1531" y="143"/>
                  <a:pt x="1531" y="142"/>
                </a:cubicBezTo>
                <a:cubicBezTo>
                  <a:pt x="1531" y="142"/>
                  <a:pt x="1531" y="142"/>
                  <a:pt x="1531" y="142"/>
                </a:cubicBezTo>
                <a:cubicBezTo>
                  <a:pt x="1531" y="142"/>
                  <a:pt x="1532" y="142"/>
                  <a:pt x="1532" y="142"/>
                </a:cubicBezTo>
                <a:cubicBezTo>
                  <a:pt x="1532" y="142"/>
                  <a:pt x="1533" y="143"/>
                  <a:pt x="1534" y="143"/>
                </a:cubicBezTo>
                <a:cubicBezTo>
                  <a:pt x="1534" y="143"/>
                  <a:pt x="1534" y="144"/>
                  <a:pt x="1534" y="144"/>
                </a:cubicBezTo>
                <a:cubicBezTo>
                  <a:pt x="1534" y="144"/>
                  <a:pt x="1534" y="144"/>
                  <a:pt x="1535" y="144"/>
                </a:cubicBezTo>
                <a:cubicBezTo>
                  <a:pt x="1535" y="144"/>
                  <a:pt x="1535" y="145"/>
                  <a:pt x="1535" y="145"/>
                </a:cubicBezTo>
                <a:cubicBezTo>
                  <a:pt x="1535" y="145"/>
                  <a:pt x="1536" y="145"/>
                  <a:pt x="1536" y="145"/>
                </a:cubicBezTo>
                <a:cubicBezTo>
                  <a:pt x="1536" y="144"/>
                  <a:pt x="1536" y="144"/>
                  <a:pt x="1536" y="144"/>
                </a:cubicBezTo>
                <a:cubicBezTo>
                  <a:pt x="1536" y="144"/>
                  <a:pt x="1537" y="144"/>
                  <a:pt x="1537" y="144"/>
                </a:cubicBezTo>
                <a:cubicBezTo>
                  <a:pt x="1537" y="144"/>
                  <a:pt x="1538" y="144"/>
                  <a:pt x="1538" y="144"/>
                </a:cubicBezTo>
                <a:cubicBezTo>
                  <a:pt x="1538" y="144"/>
                  <a:pt x="1538" y="144"/>
                  <a:pt x="1538" y="144"/>
                </a:cubicBezTo>
                <a:cubicBezTo>
                  <a:pt x="1538" y="143"/>
                  <a:pt x="1537" y="143"/>
                  <a:pt x="1537" y="142"/>
                </a:cubicBezTo>
                <a:cubicBezTo>
                  <a:pt x="1537" y="142"/>
                  <a:pt x="1536" y="142"/>
                  <a:pt x="1536" y="142"/>
                </a:cubicBezTo>
                <a:cubicBezTo>
                  <a:pt x="1535" y="141"/>
                  <a:pt x="1535" y="141"/>
                  <a:pt x="1534" y="140"/>
                </a:cubicBezTo>
                <a:cubicBezTo>
                  <a:pt x="1535" y="140"/>
                  <a:pt x="1535" y="140"/>
                  <a:pt x="1535" y="140"/>
                </a:cubicBezTo>
                <a:cubicBezTo>
                  <a:pt x="1535" y="139"/>
                  <a:pt x="1535" y="139"/>
                  <a:pt x="1535" y="139"/>
                </a:cubicBezTo>
                <a:cubicBezTo>
                  <a:pt x="1534" y="139"/>
                  <a:pt x="1534" y="139"/>
                  <a:pt x="1533" y="139"/>
                </a:cubicBezTo>
                <a:cubicBezTo>
                  <a:pt x="1533" y="139"/>
                  <a:pt x="1532" y="138"/>
                  <a:pt x="1532" y="138"/>
                </a:cubicBezTo>
                <a:cubicBezTo>
                  <a:pt x="1533" y="138"/>
                  <a:pt x="1533" y="138"/>
                  <a:pt x="1534" y="138"/>
                </a:cubicBezTo>
                <a:cubicBezTo>
                  <a:pt x="1534" y="138"/>
                  <a:pt x="1533" y="138"/>
                  <a:pt x="1533" y="137"/>
                </a:cubicBezTo>
                <a:cubicBezTo>
                  <a:pt x="1533" y="137"/>
                  <a:pt x="1534" y="137"/>
                  <a:pt x="1534" y="137"/>
                </a:cubicBezTo>
                <a:cubicBezTo>
                  <a:pt x="1533" y="137"/>
                  <a:pt x="1533" y="136"/>
                  <a:pt x="1533" y="136"/>
                </a:cubicBezTo>
                <a:cubicBezTo>
                  <a:pt x="1534" y="136"/>
                  <a:pt x="1534" y="136"/>
                  <a:pt x="1535" y="137"/>
                </a:cubicBezTo>
                <a:cubicBezTo>
                  <a:pt x="1535" y="136"/>
                  <a:pt x="1536" y="136"/>
                  <a:pt x="1536" y="136"/>
                </a:cubicBezTo>
                <a:cubicBezTo>
                  <a:pt x="1535" y="135"/>
                  <a:pt x="1534" y="135"/>
                  <a:pt x="1534" y="135"/>
                </a:cubicBezTo>
                <a:cubicBezTo>
                  <a:pt x="1533" y="135"/>
                  <a:pt x="1533" y="136"/>
                  <a:pt x="1532" y="136"/>
                </a:cubicBezTo>
                <a:cubicBezTo>
                  <a:pt x="1532" y="136"/>
                  <a:pt x="1532" y="136"/>
                  <a:pt x="1532" y="136"/>
                </a:cubicBezTo>
                <a:cubicBezTo>
                  <a:pt x="1531" y="136"/>
                  <a:pt x="1530" y="136"/>
                  <a:pt x="1530" y="135"/>
                </a:cubicBezTo>
                <a:cubicBezTo>
                  <a:pt x="1529" y="135"/>
                  <a:pt x="1529" y="134"/>
                  <a:pt x="1529" y="134"/>
                </a:cubicBezTo>
                <a:cubicBezTo>
                  <a:pt x="1529" y="134"/>
                  <a:pt x="1529" y="133"/>
                  <a:pt x="1530" y="133"/>
                </a:cubicBezTo>
                <a:cubicBezTo>
                  <a:pt x="1530" y="133"/>
                  <a:pt x="1530" y="133"/>
                  <a:pt x="1530" y="132"/>
                </a:cubicBezTo>
                <a:cubicBezTo>
                  <a:pt x="1531" y="132"/>
                  <a:pt x="1532" y="132"/>
                  <a:pt x="1532" y="132"/>
                </a:cubicBezTo>
                <a:cubicBezTo>
                  <a:pt x="1533" y="133"/>
                  <a:pt x="1533" y="133"/>
                  <a:pt x="1534" y="133"/>
                </a:cubicBezTo>
                <a:cubicBezTo>
                  <a:pt x="1534" y="133"/>
                  <a:pt x="1535" y="133"/>
                  <a:pt x="1536" y="132"/>
                </a:cubicBezTo>
                <a:cubicBezTo>
                  <a:pt x="1536" y="132"/>
                  <a:pt x="1536" y="132"/>
                  <a:pt x="1536" y="132"/>
                </a:cubicBezTo>
                <a:cubicBezTo>
                  <a:pt x="1536" y="131"/>
                  <a:pt x="1536" y="131"/>
                  <a:pt x="1535" y="131"/>
                </a:cubicBezTo>
                <a:cubicBezTo>
                  <a:pt x="1535" y="131"/>
                  <a:pt x="1535" y="131"/>
                  <a:pt x="1534" y="130"/>
                </a:cubicBezTo>
                <a:cubicBezTo>
                  <a:pt x="1534" y="130"/>
                  <a:pt x="1533" y="130"/>
                  <a:pt x="1533" y="130"/>
                </a:cubicBezTo>
                <a:cubicBezTo>
                  <a:pt x="1532" y="130"/>
                  <a:pt x="1532" y="129"/>
                  <a:pt x="1531" y="129"/>
                </a:cubicBezTo>
                <a:cubicBezTo>
                  <a:pt x="1531" y="129"/>
                  <a:pt x="1530" y="128"/>
                  <a:pt x="1530" y="128"/>
                </a:cubicBezTo>
                <a:cubicBezTo>
                  <a:pt x="1531" y="128"/>
                  <a:pt x="1531" y="128"/>
                  <a:pt x="1532" y="128"/>
                </a:cubicBezTo>
                <a:cubicBezTo>
                  <a:pt x="1533" y="128"/>
                  <a:pt x="1534" y="128"/>
                  <a:pt x="1534" y="128"/>
                </a:cubicBezTo>
                <a:cubicBezTo>
                  <a:pt x="1535" y="129"/>
                  <a:pt x="1536" y="129"/>
                  <a:pt x="1537" y="130"/>
                </a:cubicBezTo>
                <a:cubicBezTo>
                  <a:pt x="1538" y="130"/>
                  <a:pt x="1538" y="130"/>
                  <a:pt x="1539" y="130"/>
                </a:cubicBezTo>
                <a:cubicBezTo>
                  <a:pt x="1541" y="131"/>
                  <a:pt x="1542" y="131"/>
                  <a:pt x="1543" y="132"/>
                </a:cubicBezTo>
                <a:cubicBezTo>
                  <a:pt x="1546" y="132"/>
                  <a:pt x="1548" y="133"/>
                  <a:pt x="1550" y="133"/>
                </a:cubicBezTo>
                <a:cubicBezTo>
                  <a:pt x="1551" y="133"/>
                  <a:pt x="1551" y="133"/>
                  <a:pt x="1552" y="133"/>
                </a:cubicBezTo>
                <a:cubicBezTo>
                  <a:pt x="1553" y="134"/>
                  <a:pt x="1555" y="134"/>
                  <a:pt x="1557" y="135"/>
                </a:cubicBezTo>
                <a:cubicBezTo>
                  <a:pt x="1557" y="135"/>
                  <a:pt x="1558" y="135"/>
                  <a:pt x="1559" y="136"/>
                </a:cubicBezTo>
                <a:cubicBezTo>
                  <a:pt x="1559" y="136"/>
                  <a:pt x="1560" y="136"/>
                  <a:pt x="1561" y="136"/>
                </a:cubicBezTo>
                <a:cubicBezTo>
                  <a:pt x="1562" y="136"/>
                  <a:pt x="1562" y="137"/>
                  <a:pt x="1563" y="137"/>
                </a:cubicBezTo>
                <a:cubicBezTo>
                  <a:pt x="1563" y="137"/>
                  <a:pt x="1562" y="137"/>
                  <a:pt x="1562" y="137"/>
                </a:cubicBezTo>
                <a:cubicBezTo>
                  <a:pt x="1560" y="137"/>
                  <a:pt x="1559" y="137"/>
                  <a:pt x="1558" y="137"/>
                </a:cubicBezTo>
                <a:cubicBezTo>
                  <a:pt x="1557" y="136"/>
                  <a:pt x="1557" y="136"/>
                  <a:pt x="1556" y="136"/>
                </a:cubicBezTo>
                <a:cubicBezTo>
                  <a:pt x="1556" y="136"/>
                  <a:pt x="1556" y="136"/>
                  <a:pt x="1556" y="136"/>
                </a:cubicBezTo>
                <a:cubicBezTo>
                  <a:pt x="1555" y="136"/>
                  <a:pt x="1555" y="135"/>
                  <a:pt x="1555" y="135"/>
                </a:cubicBezTo>
                <a:cubicBezTo>
                  <a:pt x="1554" y="135"/>
                  <a:pt x="1554" y="136"/>
                  <a:pt x="1553" y="136"/>
                </a:cubicBezTo>
                <a:cubicBezTo>
                  <a:pt x="1554" y="137"/>
                  <a:pt x="1554" y="137"/>
                  <a:pt x="1554" y="137"/>
                </a:cubicBezTo>
                <a:cubicBezTo>
                  <a:pt x="1554" y="137"/>
                  <a:pt x="1554" y="137"/>
                  <a:pt x="1553" y="137"/>
                </a:cubicBezTo>
                <a:cubicBezTo>
                  <a:pt x="1553" y="138"/>
                  <a:pt x="1553" y="138"/>
                  <a:pt x="1553" y="138"/>
                </a:cubicBezTo>
                <a:cubicBezTo>
                  <a:pt x="1553" y="138"/>
                  <a:pt x="1553" y="138"/>
                  <a:pt x="1554" y="139"/>
                </a:cubicBezTo>
                <a:cubicBezTo>
                  <a:pt x="1554" y="139"/>
                  <a:pt x="1555" y="139"/>
                  <a:pt x="1556" y="138"/>
                </a:cubicBezTo>
                <a:cubicBezTo>
                  <a:pt x="1556" y="138"/>
                  <a:pt x="1556" y="138"/>
                  <a:pt x="1556" y="138"/>
                </a:cubicBezTo>
                <a:cubicBezTo>
                  <a:pt x="1557" y="138"/>
                  <a:pt x="1558" y="138"/>
                  <a:pt x="1560" y="137"/>
                </a:cubicBezTo>
                <a:cubicBezTo>
                  <a:pt x="1561" y="138"/>
                  <a:pt x="1562" y="138"/>
                  <a:pt x="1564" y="138"/>
                </a:cubicBezTo>
                <a:cubicBezTo>
                  <a:pt x="1564" y="138"/>
                  <a:pt x="1564" y="139"/>
                  <a:pt x="1564" y="139"/>
                </a:cubicBezTo>
                <a:cubicBezTo>
                  <a:pt x="1564" y="140"/>
                  <a:pt x="1564" y="140"/>
                  <a:pt x="1564" y="141"/>
                </a:cubicBezTo>
                <a:cubicBezTo>
                  <a:pt x="1563" y="141"/>
                  <a:pt x="1563" y="141"/>
                  <a:pt x="1563" y="141"/>
                </a:cubicBezTo>
                <a:cubicBezTo>
                  <a:pt x="1563" y="141"/>
                  <a:pt x="1563" y="140"/>
                  <a:pt x="1563" y="140"/>
                </a:cubicBezTo>
                <a:cubicBezTo>
                  <a:pt x="1562" y="140"/>
                  <a:pt x="1562" y="139"/>
                  <a:pt x="1562" y="139"/>
                </a:cubicBezTo>
                <a:cubicBezTo>
                  <a:pt x="1562" y="139"/>
                  <a:pt x="1562" y="138"/>
                  <a:pt x="1562" y="138"/>
                </a:cubicBezTo>
                <a:cubicBezTo>
                  <a:pt x="1562" y="138"/>
                  <a:pt x="1561" y="138"/>
                  <a:pt x="1561" y="138"/>
                </a:cubicBezTo>
                <a:cubicBezTo>
                  <a:pt x="1560" y="138"/>
                  <a:pt x="1560" y="138"/>
                  <a:pt x="1560" y="138"/>
                </a:cubicBezTo>
                <a:cubicBezTo>
                  <a:pt x="1560" y="139"/>
                  <a:pt x="1560" y="139"/>
                  <a:pt x="1560" y="140"/>
                </a:cubicBezTo>
                <a:cubicBezTo>
                  <a:pt x="1561" y="140"/>
                  <a:pt x="1561" y="140"/>
                  <a:pt x="1561" y="140"/>
                </a:cubicBezTo>
                <a:cubicBezTo>
                  <a:pt x="1561" y="141"/>
                  <a:pt x="1561" y="141"/>
                  <a:pt x="1561" y="142"/>
                </a:cubicBezTo>
                <a:cubicBezTo>
                  <a:pt x="1561" y="142"/>
                  <a:pt x="1560" y="142"/>
                  <a:pt x="1560" y="143"/>
                </a:cubicBezTo>
                <a:cubicBezTo>
                  <a:pt x="1560" y="142"/>
                  <a:pt x="1560" y="142"/>
                  <a:pt x="1559" y="142"/>
                </a:cubicBezTo>
                <a:cubicBezTo>
                  <a:pt x="1559" y="142"/>
                  <a:pt x="1559" y="142"/>
                  <a:pt x="1558" y="142"/>
                </a:cubicBezTo>
                <a:cubicBezTo>
                  <a:pt x="1559" y="143"/>
                  <a:pt x="1559" y="143"/>
                  <a:pt x="1560" y="143"/>
                </a:cubicBezTo>
                <a:cubicBezTo>
                  <a:pt x="1559" y="143"/>
                  <a:pt x="1559" y="144"/>
                  <a:pt x="1559" y="144"/>
                </a:cubicBezTo>
                <a:cubicBezTo>
                  <a:pt x="1559" y="144"/>
                  <a:pt x="1560" y="144"/>
                  <a:pt x="1560" y="144"/>
                </a:cubicBezTo>
                <a:cubicBezTo>
                  <a:pt x="1560" y="144"/>
                  <a:pt x="1560" y="144"/>
                  <a:pt x="1561" y="145"/>
                </a:cubicBezTo>
                <a:cubicBezTo>
                  <a:pt x="1561" y="144"/>
                  <a:pt x="1562" y="144"/>
                  <a:pt x="1562" y="144"/>
                </a:cubicBezTo>
                <a:cubicBezTo>
                  <a:pt x="1563" y="144"/>
                  <a:pt x="1563" y="144"/>
                  <a:pt x="1563" y="143"/>
                </a:cubicBezTo>
                <a:cubicBezTo>
                  <a:pt x="1563" y="143"/>
                  <a:pt x="1564" y="143"/>
                  <a:pt x="1564" y="143"/>
                </a:cubicBezTo>
                <a:cubicBezTo>
                  <a:pt x="1564" y="142"/>
                  <a:pt x="1564" y="142"/>
                  <a:pt x="1564" y="142"/>
                </a:cubicBezTo>
                <a:cubicBezTo>
                  <a:pt x="1564" y="142"/>
                  <a:pt x="1564" y="141"/>
                  <a:pt x="1565" y="141"/>
                </a:cubicBezTo>
                <a:cubicBezTo>
                  <a:pt x="1565" y="140"/>
                  <a:pt x="1565" y="138"/>
                  <a:pt x="1565" y="137"/>
                </a:cubicBezTo>
                <a:cubicBezTo>
                  <a:pt x="1566" y="137"/>
                  <a:pt x="1567" y="137"/>
                  <a:pt x="1568" y="137"/>
                </a:cubicBezTo>
                <a:cubicBezTo>
                  <a:pt x="1569" y="137"/>
                  <a:pt x="1570" y="137"/>
                  <a:pt x="1571" y="137"/>
                </a:cubicBezTo>
                <a:cubicBezTo>
                  <a:pt x="1572" y="138"/>
                  <a:pt x="1573" y="138"/>
                  <a:pt x="1575" y="138"/>
                </a:cubicBezTo>
                <a:cubicBezTo>
                  <a:pt x="1576" y="138"/>
                  <a:pt x="1577" y="139"/>
                  <a:pt x="1578" y="139"/>
                </a:cubicBezTo>
                <a:cubicBezTo>
                  <a:pt x="1579" y="140"/>
                  <a:pt x="1580" y="141"/>
                  <a:pt x="1581" y="141"/>
                </a:cubicBezTo>
                <a:cubicBezTo>
                  <a:pt x="1582" y="142"/>
                  <a:pt x="1582" y="143"/>
                  <a:pt x="1583" y="144"/>
                </a:cubicBezTo>
                <a:cubicBezTo>
                  <a:pt x="1583" y="144"/>
                  <a:pt x="1582" y="144"/>
                  <a:pt x="1582" y="144"/>
                </a:cubicBezTo>
                <a:cubicBezTo>
                  <a:pt x="1582" y="144"/>
                  <a:pt x="1581" y="144"/>
                  <a:pt x="1581" y="144"/>
                </a:cubicBezTo>
                <a:cubicBezTo>
                  <a:pt x="1581" y="144"/>
                  <a:pt x="1580" y="143"/>
                  <a:pt x="1579" y="143"/>
                </a:cubicBezTo>
                <a:cubicBezTo>
                  <a:pt x="1579" y="143"/>
                  <a:pt x="1579" y="143"/>
                  <a:pt x="1579" y="143"/>
                </a:cubicBezTo>
                <a:cubicBezTo>
                  <a:pt x="1579" y="143"/>
                  <a:pt x="1579" y="143"/>
                  <a:pt x="1579" y="144"/>
                </a:cubicBezTo>
                <a:cubicBezTo>
                  <a:pt x="1579" y="144"/>
                  <a:pt x="1579" y="144"/>
                  <a:pt x="1579" y="144"/>
                </a:cubicBezTo>
                <a:cubicBezTo>
                  <a:pt x="1579" y="145"/>
                  <a:pt x="1579" y="145"/>
                  <a:pt x="1579" y="145"/>
                </a:cubicBezTo>
                <a:cubicBezTo>
                  <a:pt x="1578" y="145"/>
                  <a:pt x="1578" y="145"/>
                  <a:pt x="1578" y="145"/>
                </a:cubicBezTo>
                <a:cubicBezTo>
                  <a:pt x="1578" y="146"/>
                  <a:pt x="1578" y="146"/>
                  <a:pt x="1578" y="146"/>
                </a:cubicBezTo>
                <a:cubicBezTo>
                  <a:pt x="1579" y="146"/>
                  <a:pt x="1579" y="146"/>
                  <a:pt x="1580" y="146"/>
                </a:cubicBezTo>
                <a:cubicBezTo>
                  <a:pt x="1581" y="146"/>
                  <a:pt x="1581" y="146"/>
                  <a:pt x="1582" y="146"/>
                </a:cubicBezTo>
                <a:cubicBezTo>
                  <a:pt x="1582" y="146"/>
                  <a:pt x="1583" y="146"/>
                  <a:pt x="1583" y="146"/>
                </a:cubicBezTo>
                <a:cubicBezTo>
                  <a:pt x="1583" y="146"/>
                  <a:pt x="1583" y="147"/>
                  <a:pt x="1584" y="147"/>
                </a:cubicBezTo>
                <a:cubicBezTo>
                  <a:pt x="1584" y="148"/>
                  <a:pt x="1584" y="148"/>
                  <a:pt x="1584" y="148"/>
                </a:cubicBezTo>
                <a:cubicBezTo>
                  <a:pt x="1584" y="149"/>
                  <a:pt x="1584" y="149"/>
                  <a:pt x="1584" y="149"/>
                </a:cubicBezTo>
                <a:cubicBezTo>
                  <a:pt x="1584" y="149"/>
                  <a:pt x="1584" y="150"/>
                  <a:pt x="1584" y="150"/>
                </a:cubicBezTo>
                <a:cubicBezTo>
                  <a:pt x="1585" y="150"/>
                  <a:pt x="1585" y="149"/>
                  <a:pt x="1585" y="149"/>
                </a:cubicBezTo>
                <a:cubicBezTo>
                  <a:pt x="1585" y="149"/>
                  <a:pt x="1585" y="149"/>
                  <a:pt x="1585" y="149"/>
                </a:cubicBezTo>
                <a:cubicBezTo>
                  <a:pt x="1586" y="149"/>
                  <a:pt x="1586" y="149"/>
                  <a:pt x="1587" y="148"/>
                </a:cubicBezTo>
                <a:cubicBezTo>
                  <a:pt x="1587" y="149"/>
                  <a:pt x="1588" y="149"/>
                  <a:pt x="1588" y="149"/>
                </a:cubicBezTo>
                <a:cubicBezTo>
                  <a:pt x="1588" y="150"/>
                  <a:pt x="1588" y="150"/>
                  <a:pt x="1589" y="150"/>
                </a:cubicBezTo>
                <a:cubicBezTo>
                  <a:pt x="1588" y="150"/>
                  <a:pt x="1588" y="151"/>
                  <a:pt x="1588" y="151"/>
                </a:cubicBezTo>
                <a:cubicBezTo>
                  <a:pt x="1588" y="151"/>
                  <a:pt x="1587" y="151"/>
                  <a:pt x="1587" y="151"/>
                </a:cubicBezTo>
                <a:cubicBezTo>
                  <a:pt x="1587" y="152"/>
                  <a:pt x="1587" y="152"/>
                  <a:pt x="1587" y="152"/>
                </a:cubicBezTo>
                <a:cubicBezTo>
                  <a:pt x="1588" y="152"/>
                  <a:pt x="1588" y="152"/>
                  <a:pt x="1588" y="152"/>
                </a:cubicBezTo>
                <a:cubicBezTo>
                  <a:pt x="1589" y="152"/>
                  <a:pt x="1589" y="152"/>
                  <a:pt x="1589" y="151"/>
                </a:cubicBezTo>
                <a:cubicBezTo>
                  <a:pt x="1589" y="151"/>
                  <a:pt x="1590" y="151"/>
                  <a:pt x="1590" y="151"/>
                </a:cubicBezTo>
                <a:cubicBezTo>
                  <a:pt x="1590" y="152"/>
                  <a:pt x="1590" y="152"/>
                  <a:pt x="1590" y="152"/>
                </a:cubicBezTo>
                <a:cubicBezTo>
                  <a:pt x="1590" y="152"/>
                  <a:pt x="1590" y="151"/>
                  <a:pt x="1590" y="151"/>
                </a:cubicBezTo>
                <a:cubicBezTo>
                  <a:pt x="1591" y="151"/>
                  <a:pt x="1591" y="151"/>
                  <a:pt x="1592" y="150"/>
                </a:cubicBezTo>
                <a:cubicBezTo>
                  <a:pt x="1592" y="150"/>
                  <a:pt x="1592" y="150"/>
                  <a:pt x="1593" y="150"/>
                </a:cubicBezTo>
                <a:cubicBezTo>
                  <a:pt x="1593" y="150"/>
                  <a:pt x="1593" y="150"/>
                  <a:pt x="1593" y="151"/>
                </a:cubicBezTo>
                <a:cubicBezTo>
                  <a:pt x="1594" y="151"/>
                  <a:pt x="1595" y="152"/>
                  <a:pt x="1596" y="153"/>
                </a:cubicBezTo>
                <a:cubicBezTo>
                  <a:pt x="1597" y="153"/>
                  <a:pt x="1598" y="154"/>
                  <a:pt x="1599" y="154"/>
                </a:cubicBezTo>
                <a:cubicBezTo>
                  <a:pt x="1599" y="155"/>
                  <a:pt x="1599" y="155"/>
                  <a:pt x="1600" y="156"/>
                </a:cubicBezTo>
                <a:cubicBezTo>
                  <a:pt x="1600" y="156"/>
                  <a:pt x="1599" y="156"/>
                  <a:pt x="1599" y="156"/>
                </a:cubicBezTo>
                <a:cubicBezTo>
                  <a:pt x="1599" y="156"/>
                  <a:pt x="1598" y="156"/>
                  <a:pt x="1597" y="156"/>
                </a:cubicBezTo>
                <a:cubicBezTo>
                  <a:pt x="1597" y="156"/>
                  <a:pt x="1596" y="157"/>
                  <a:pt x="1596" y="157"/>
                </a:cubicBezTo>
                <a:cubicBezTo>
                  <a:pt x="1596" y="157"/>
                  <a:pt x="1597" y="157"/>
                  <a:pt x="1597" y="157"/>
                </a:cubicBezTo>
                <a:cubicBezTo>
                  <a:pt x="1598" y="157"/>
                  <a:pt x="1599" y="157"/>
                  <a:pt x="1600" y="157"/>
                </a:cubicBezTo>
                <a:cubicBezTo>
                  <a:pt x="1601" y="158"/>
                  <a:pt x="1601" y="158"/>
                  <a:pt x="1602" y="158"/>
                </a:cubicBezTo>
                <a:cubicBezTo>
                  <a:pt x="1602" y="158"/>
                  <a:pt x="1603" y="158"/>
                  <a:pt x="1604" y="159"/>
                </a:cubicBezTo>
                <a:cubicBezTo>
                  <a:pt x="1604" y="158"/>
                  <a:pt x="1605" y="158"/>
                  <a:pt x="1605" y="158"/>
                </a:cubicBezTo>
                <a:cubicBezTo>
                  <a:pt x="1606" y="158"/>
                  <a:pt x="1606" y="158"/>
                  <a:pt x="1607" y="158"/>
                </a:cubicBezTo>
                <a:cubicBezTo>
                  <a:pt x="1608" y="158"/>
                  <a:pt x="1609" y="158"/>
                  <a:pt x="1610" y="158"/>
                </a:cubicBezTo>
                <a:cubicBezTo>
                  <a:pt x="1610" y="158"/>
                  <a:pt x="1610" y="158"/>
                  <a:pt x="1611" y="158"/>
                </a:cubicBezTo>
                <a:cubicBezTo>
                  <a:pt x="1612" y="158"/>
                  <a:pt x="1612" y="158"/>
                  <a:pt x="1613" y="158"/>
                </a:cubicBezTo>
                <a:cubicBezTo>
                  <a:pt x="1614" y="158"/>
                  <a:pt x="1614" y="158"/>
                  <a:pt x="1615" y="158"/>
                </a:cubicBezTo>
                <a:cubicBezTo>
                  <a:pt x="1616" y="158"/>
                  <a:pt x="1618" y="158"/>
                  <a:pt x="1620" y="158"/>
                </a:cubicBezTo>
                <a:cubicBezTo>
                  <a:pt x="1620" y="158"/>
                  <a:pt x="1621" y="158"/>
                  <a:pt x="1622" y="158"/>
                </a:cubicBezTo>
                <a:cubicBezTo>
                  <a:pt x="1622" y="159"/>
                  <a:pt x="1623" y="159"/>
                  <a:pt x="1623" y="159"/>
                </a:cubicBezTo>
                <a:cubicBezTo>
                  <a:pt x="1623" y="159"/>
                  <a:pt x="1623" y="159"/>
                  <a:pt x="1624" y="159"/>
                </a:cubicBezTo>
                <a:cubicBezTo>
                  <a:pt x="1624" y="159"/>
                  <a:pt x="1625" y="159"/>
                  <a:pt x="1626" y="159"/>
                </a:cubicBezTo>
                <a:cubicBezTo>
                  <a:pt x="1627" y="159"/>
                  <a:pt x="1627" y="159"/>
                  <a:pt x="1628" y="159"/>
                </a:cubicBezTo>
                <a:cubicBezTo>
                  <a:pt x="1629" y="159"/>
                  <a:pt x="1630" y="160"/>
                  <a:pt x="1631" y="160"/>
                </a:cubicBezTo>
                <a:cubicBezTo>
                  <a:pt x="1633" y="161"/>
                  <a:pt x="1634" y="162"/>
                  <a:pt x="1636" y="163"/>
                </a:cubicBezTo>
                <a:cubicBezTo>
                  <a:pt x="1637" y="164"/>
                  <a:pt x="1637" y="165"/>
                  <a:pt x="1638" y="166"/>
                </a:cubicBezTo>
                <a:cubicBezTo>
                  <a:pt x="1639" y="166"/>
                  <a:pt x="1639" y="167"/>
                  <a:pt x="1640" y="167"/>
                </a:cubicBezTo>
                <a:cubicBezTo>
                  <a:pt x="1641" y="168"/>
                  <a:pt x="1641" y="169"/>
                  <a:pt x="1642" y="169"/>
                </a:cubicBezTo>
                <a:cubicBezTo>
                  <a:pt x="1642" y="170"/>
                  <a:pt x="1642" y="171"/>
                  <a:pt x="1642" y="171"/>
                </a:cubicBezTo>
                <a:cubicBezTo>
                  <a:pt x="1642" y="171"/>
                  <a:pt x="1642" y="172"/>
                  <a:pt x="1642" y="172"/>
                </a:cubicBezTo>
                <a:cubicBezTo>
                  <a:pt x="1642" y="172"/>
                  <a:pt x="1642" y="172"/>
                  <a:pt x="1643" y="172"/>
                </a:cubicBezTo>
                <a:cubicBezTo>
                  <a:pt x="1642" y="173"/>
                  <a:pt x="1642" y="173"/>
                  <a:pt x="1642" y="173"/>
                </a:cubicBezTo>
                <a:cubicBezTo>
                  <a:pt x="1642" y="174"/>
                  <a:pt x="1642" y="174"/>
                  <a:pt x="1643" y="175"/>
                </a:cubicBezTo>
                <a:cubicBezTo>
                  <a:pt x="1643" y="175"/>
                  <a:pt x="1643" y="176"/>
                  <a:pt x="1643" y="176"/>
                </a:cubicBezTo>
                <a:cubicBezTo>
                  <a:pt x="1642" y="176"/>
                  <a:pt x="1642" y="176"/>
                  <a:pt x="1641" y="176"/>
                </a:cubicBezTo>
                <a:cubicBezTo>
                  <a:pt x="1642" y="176"/>
                  <a:pt x="1642" y="176"/>
                  <a:pt x="1643" y="176"/>
                </a:cubicBezTo>
                <a:cubicBezTo>
                  <a:pt x="1643" y="176"/>
                  <a:pt x="1644" y="176"/>
                  <a:pt x="1645" y="176"/>
                </a:cubicBezTo>
                <a:cubicBezTo>
                  <a:pt x="1645" y="176"/>
                  <a:pt x="1646" y="176"/>
                  <a:pt x="1646" y="177"/>
                </a:cubicBezTo>
                <a:cubicBezTo>
                  <a:pt x="1646" y="177"/>
                  <a:pt x="1647" y="177"/>
                  <a:pt x="1647" y="177"/>
                </a:cubicBezTo>
                <a:cubicBezTo>
                  <a:pt x="1647" y="177"/>
                  <a:pt x="1647" y="177"/>
                  <a:pt x="1647" y="177"/>
                </a:cubicBezTo>
                <a:cubicBezTo>
                  <a:pt x="1648" y="177"/>
                  <a:pt x="1648" y="177"/>
                  <a:pt x="1649" y="177"/>
                </a:cubicBezTo>
                <a:cubicBezTo>
                  <a:pt x="1649" y="178"/>
                  <a:pt x="1649" y="178"/>
                  <a:pt x="1650" y="178"/>
                </a:cubicBezTo>
                <a:cubicBezTo>
                  <a:pt x="1650" y="179"/>
                  <a:pt x="1650" y="179"/>
                  <a:pt x="1650" y="179"/>
                </a:cubicBezTo>
                <a:cubicBezTo>
                  <a:pt x="1650" y="179"/>
                  <a:pt x="1650" y="179"/>
                  <a:pt x="1650" y="179"/>
                </a:cubicBezTo>
                <a:cubicBezTo>
                  <a:pt x="1650" y="178"/>
                  <a:pt x="1650" y="178"/>
                  <a:pt x="1650" y="177"/>
                </a:cubicBezTo>
                <a:cubicBezTo>
                  <a:pt x="1651" y="178"/>
                  <a:pt x="1651" y="178"/>
                  <a:pt x="1651" y="178"/>
                </a:cubicBezTo>
                <a:cubicBezTo>
                  <a:pt x="1652" y="178"/>
                  <a:pt x="1652" y="179"/>
                  <a:pt x="1652" y="179"/>
                </a:cubicBezTo>
                <a:cubicBezTo>
                  <a:pt x="1652" y="180"/>
                  <a:pt x="1653" y="180"/>
                  <a:pt x="1653" y="181"/>
                </a:cubicBezTo>
                <a:cubicBezTo>
                  <a:pt x="1653" y="181"/>
                  <a:pt x="1653" y="182"/>
                  <a:pt x="1653" y="182"/>
                </a:cubicBezTo>
                <a:cubicBezTo>
                  <a:pt x="1654" y="182"/>
                  <a:pt x="1654" y="182"/>
                  <a:pt x="1654" y="183"/>
                </a:cubicBezTo>
                <a:cubicBezTo>
                  <a:pt x="1655" y="183"/>
                  <a:pt x="1655" y="184"/>
                  <a:pt x="1656" y="184"/>
                </a:cubicBezTo>
                <a:cubicBezTo>
                  <a:pt x="1656" y="184"/>
                  <a:pt x="1656" y="184"/>
                  <a:pt x="1656" y="184"/>
                </a:cubicBezTo>
                <a:cubicBezTo>
                  <a:pt x="1656" y="184"/>
                  <a:pt x="1656" y="183"/>
                  <a:pt x="1656" y="183"/>
                </a:cubicBezTo>
                <a:cubicBezTo>
                  <a:pt x="1655" y="182"/>
                  <a:pt x="1655" y="182"/>
                  <a:pt x="1655" y="182"/>
                </a:cubicBezTo>
                <a:cubicBezTo>
                  <a:pt x="1655" y="182"/>
                  <a:pt x="1655" y="182"/>
                  <a:pt x="1655" y="181"/>
                </a:cubicBezTo>
                <a:cubicBezTo>
                  <a:pt x="1655" y="182"/>
                  <a:pt x="1655" y="182"/>
                  <a:pt x="1656" y="182"/>
                </a:cubicBezTo>
                <a:cubicBezTo>
                  <a:pt x="1656" y="182"/>
                  <a:pt x="1656" y="182"/>
                  <a:pt x="1657" y="182"/>
                </a:cubicBezTo>
                <a:cubicBezTo>
                  <a:pt x="1657" y="183"/>
                  <a:pt x="1657" y="183"/>
                  <a:pt x="1657" y="184"/>
                </a:cubicBezTo>
                <a:cubicBezTo>
                  <a:pt x="1658" y="184"/>
                  <a:pt x="1658" y="185"/>
                  <a:pt x="1659" y="185"/>
                </a:cubicBezTo>
                <a:cubicBezTo>
                  <a:pt x="1659" y="185"/>
                  <a:pt x="1659" y="185"/>
                  <a:pt x="1659" y="184"/>
                </a:cubicBezTo>
                <a:cubicBezTo>
                  <a:pt x="1658" y="183"/>
                  <a:pt x="1658" y="183"/>
                  <a:pt x="1657" y="182"/>
                </a:cubicBezTo>
                <a:cubicBezTo>
                  <a:pt x="1657" y="181"/>
                  <a:pt x="1658" y="181"/>
                  <a:pt x="1658" y="180"/>
                </a:cubicBezTo>
                <a:cubicBezTo>
                  <a:pt x="1658" y="180"/>
                  <a:pt x="1658" y="179"/>
                  <a:pt x="1658" y="179"/>
                </a:cubicBezTo>
                <a:cubicBezTo>
                  <a:pt x="1659" y="179"/>
                  <a:pt x="1660" y="178"/>
                  <a:pt x="1660" y="178"/>
                </a:cubicBezTo>
                <a:cubicBezTo>
                  <a:pt x="1661" y="179"/>
                  <a:pt x="1662" y="179"/>
                  <a:pt x="1663" y="179"/>
                </a:cubicBezTo>
                <a:cubicBezTo>
                  <a:pt x="1663" y="179"/>
                  <a:pt x="1663" y="179"/>
                  <a:pt x="1664" y="179"/>
                </a:cubicBezTo>
                <a:cubicBezTo>
                  <a:pt x="1665" y="179"/>
                  <a:pt x="1665" y="179"/>
                  <a:pt x="1666" y="179"/>
                </a:cubicBezTo>
                <a:cubicBezTo>
                  <a:pt x="1666" y="179"/>
                  <a:pt x="1666" y="179"/>
                  <a:pt x="1666" y="179"/>
                </a:cubicBezTo>
                <a:cubicBezTo>
                  <a:pt x="1666" y="179"/>
                  <a:pt x="1666" y="179"/>
                  <a:pt x="1667" y="179"/>
                </a:cubicBezTo>
                <a:cubicBezTo>
                  <a:pt x="1667" y="179"/>
                  <a:pt x="1667" y="179"/>
                  <a:pt x="1667" y="179"/>
                </a:cubicBezTo>
                <a:cubicBezTo>
                  <a:pt x="1668" y="179"/>
                  <a:pt x="1668" y="180"/>
                  <a:pt x="1668" y="180"/>
                </a:cubicBezTo>
                <a:cubicBezTo>
                  <a:pt x="1669" y="180"/>
                  <a:pt x="1669" y="180"/>
                  <a:pt x="1669" y="180"/>
                </a:cubicBezTo>
                <a:cubicBezTo>
                  <a:pt x="1670" y="181"/>
                  <a:pt x="1670" y="181"/>
                  <a:pt x="1671" y="181"/>
                </a:cubicBezTo>
                <a:cubicBezTo>
                  <a:pt x="1672" y="181"/>
                  <a:pt x="1672" y="181"/>
                  <a:pt x="1673" y="181"/>
                </a:cubicBezTo>
                <a:cubicBezTo>
                  <a:pt x="1673" y="181"/>
                  <a:pt x="1673" y="181"/>
                  <a:pt x="1674" y="181"/>
                </a:cubicBezTo>
                <a:cubicBezTo>
                  <a:pt x="1674" y="181"/>
                  <a:pt x="1675" y="181"/>
                  <a:pt x="1676" y="182"/>
                </a:cubicBezTo>
                <a:cubicBezTo>
                  <a:pt x="1677" y="182"/>
                  <a:pt x="1677" y="182"/>
                  <a:pt x="1678" y="183"/>
                </a:cubicBezTo>
                <a:cubicBezTo>
                  <a:pt x="1679" y="183"/>
                  <a:pt x="1679" y="183"/>
                  <a:pt x="1680" y="183"/>
                </a:cubicBezTo>
                <a:cubicBezTo>
                  <a:pt x="1680" y="183"/>
                  <a:pt x="1680" y="183"/>
                  <a:pt x="1680" y="183"/>
                </a:cubicBezTo>
                <a:cubicBezTo>
                  <a:pt x="1680" y="183"/>
                  <a:pt x="1680" y="183"/>
                  <a:pt x="1680" y="183"/>
                </a:cubicBezTo>
                <a:cubicBezTo>
                  <a:pt x="1680" y="183"/>
                  <a:pt x="1680" y="184"/>
                  <a:pt x="1681" y="184"/>
                </a:cubicBezTo>
                <a:cubicBezTo>
                  <a:pt x="1681" y="184"/>
                  <a:pt x="1681" y="184"/>
                  <a:pt x="1681" y="183"/>
                </a:cubicBezTo>
                <a:cubicBezTo>
                  <a:pt x="1682" y="183"/>
                  <a:pt x="1683" y="183"/>
                  <a:pt x="1683" y="183"/>
                </a:cubicBezTo>
                <a:cubicBezTo>
                  <a:pt x="1683" y="183"/>
                  <a:pt x="1683" y="182"/>
                  <a:pt x="1683" y="182"/>
                </a:cubicBezTo>
                <a:cubicBezTo>
                  <a:pt x="1683" y="182"/>
                  <a:pt x="1683" y="182"/>
                  <a:pt x="1684" y="181"/>
                </a:cubicBezTo>
                <a:cubicBezTo>
                  <a:pt x="1684" y="181"/>
                  <a:pt x="1684" y="181"/>
                  <a:pt x="1684" y="181"/>
                </a:cubicBezTo>
                <a:cubicBezTo>
                  <a:pt x="1684" y="181"/>
                  <a:pt x="1685" y="181"/>
                  <a:pt x="1685" y="181"/>
                </a:cubicBezTo>
                <a:cubicBezTo>
                  <a:pt x="1685" y="181"/>
                  <a:pt x="1686" y="181"/>
                  <a:pt x="1687" y="182"/>
                </a:cubicBezTo>
                <a:cubicBezTo>
                  <a:pt x="1687" y="182"/>
                  <a:pt x="1687" y="182"/>
                  <a:pt x="1687" y="183"/>
                </a:cubicBezTo>
                <a:cubicBezTo>
                  <a:pt x="1687" y="183"/>
                  <a:pt x="1687" y="183"/>
                  <a:pt x="1687" y="183"/>
                </a:cubicBezTo>
                <a:cubicBezTo>
                  <a:pt x="1687" y="183"/>
                  <a:pt x="1688" y="184"/>
                  <a:pt x="1688" y="184"/>
                </a:cubicBezTo>
                <a:cubicBezTo>
                  <a:pt x="1689" y="184"/>
                  <a:pt x="1689" y="184"/>
                  <a:pt x="1689" y="185"/>
                </a:cubicBezTo>
                <a:cubicBezTo>
                  <a:pt x="1689" y="185"/>
                  <a:pt x="1689" y="185"/>
                  <a:pt x="1689" y="185"/>
                </a:cubicBezTo>
                <a:cubicBezTo>
                  <a:pt x="1689" y="186"/>
                  <a:pt x="1690" y="187"/>
                  <a:pt x="1690" y="187"/>
                </a:cubicBezTo>
                <a:cubicBezTo>
                  <a:pt x="1690" y="187"/>
                  <a:pt x="1690" y="188"/>
                  <a:pt x="1691" y="188"/>
                </a:cubicBezTo>
                <a:cubicBezTo>
                  <a:pt x="1691" y="188"/>
                  <a:pt x="1692" y="188"/>
                  <a:pt x="1692" y="188"/>
                </a:cubicBezTo>
                <a:cubicBezTo>
                  <a:pt x="1693" y="189"/>
                  <a:pt x="1694" y="189"/>
                  <a:pt x="1695" y="190"/>
                </a:cubicBezTo>
                <a:cubicBezTo>
                  <a:pt x="1695" y="190"/>
                  <a:pt x="1695" y="190"/>
                  <a:pt x="1696" y="190"/>
                </a:cubicBezTo>
                <a:cubicBezTo>
                  <a:pt x="1696" y="190"/>
                  <a:pt x="1696" y="190"/>
                  <a:pt x="1696" y="190"/>
                </a:cubicBezTo>
                <a:cubicBezTo>
                  <a:pt x="1697" y="191"/>
                  <a:pt x="1697" y="192"/>
                  <a:pt x="1698" y="192"/>
                </a:cubicBezTo>
                <a:cubicBezTo>
                  <a:pt x="1698" y="193"/>
                  <a:pt x="1697" y="193"/>
                  <a:pt x="1697" y="193"/>
                </a:cubicBezTo>
                <a:cubicBezTo>
                  <a:pt x="1698" y="193"/>
                  <a:pt x="1698" y="194"/>
                  <a:pt x="1698" y="194"/>
                </a:cubicBezTo>
                <a:cubicBezTo>
                  <a:pt x="1698" y="194"/>
                  <a:pt x="1699" y="195"/>
                  <a:pt x="1700" y="195"/>
                </a:cubicBezTo>
                <a:cubicBezTo>
                  <a:pt x="1700" y="195"/>
                  <a:pt x="1700" y="195"/>
                  <a:pt x="1701" y="195"/>
                </a:cubicBezTo>
                <a:cubicBezTo>
                  <a:pt x="1701" y="195"/>
                  <a:pt x="1702" y="195"/>
                  <a:pt x="1702" y="195"/>
                </a:cubicBezTo>
                <a:cubicBezTo>
                  <a:pt x="1702" y="195"/>
                  <a:pt x="1702" y="195"/>
                  <a:pt x="1702" y="195"/>
                </a:cubicBezTo>
                <a:cubicBezTo>
                  <a:pt x="1703" y="195"/>
                  <a:pt x="1703" y="195"/>
                  <a:pt x="1704" y="195"/>
                </a:cubicBezTo>
                <a:cubicBezTo>
                  <a:pt x="1704" y="195"/>
                  <a:pt x="1704" y="195"/>
                  <a:pt x="1705" y="195"/>
                </a:cubicBezTo>
                <a:cubicBezTo>
                  <a:pt x="1705" y="195"/>
                  <a:pt x="1705" y="195"/>
                  <a:pt x="1705" y="195"/>
                </a:cubicBezTo>
                <a:cubicBezTo>
                  <a:pt x="1705" y="195"/>
                  <a:pt x="1705" y="194"/>
                  <a:pt x="1705" y="194"/>
                </a:cubicBezTo>
                <a:cubicBezTo>
                  <a:pt x="1705" y="194"/>
                  <a:pt x="1705" y="194"/>
                  <a:pt x="1705" y="194"/>
                </a:cubicBezTo>
                <a:cubicBezTo>
                  <a:pt x="1705" y="194"/>
                  <a:pt x="1705" y="194"/>
                  <a:pt x="1705" y="193"/>
                </a:cubicBezTo>
                <a:cubicBezTo>
                  <a:pt x="1705" y="193"/>
                  <a:pt x="1705" y="193"/>
                  <a:pt x="1706" y="193"/>
                </a:cubicBezTo>
                <a:cubicBezTo>
                  <a:pt x="1705" y="193"/>
                  <a:pt x="1705" y="192"/>
                  <a:pt x="1705" y="192"/>
                </a:cubicBezTo>
                <a:cubicBezTo>
                  <a:pt x="1704" y="191"/>
                  <a:pt x="1704" y="191"/>
                  <a:pt x="1703" y="191"/>
                </a:cubicBezTo>
                <a:cubicBezTo>
                  <a:pt x="1703" y="190"/>
                  <a:pt x="1703" y="190"/>
                  <a:pt x="1703" y="189"/>
                </a:cubicBezTo>
                <a:cubicBezTo>
                  <a:pt x="1703" y="189"/>
                  <a:pt x="1702" y="188"/>
                  <a:pt x="1702" y="187"/>
                </a:cubicBezTo>
                <a:cubicBezTo>
                  <a:pt x="1701" y="187"/>
                  <a:pt x="1701" y="187"/>
                  <a:pt x="1701" y="187"/>
                </a:cubicBezTo>
                <a:cubicBezTo>
                  <a:pt x="1701" y="187"/>
                  <a:pt x="1701" y="187"/>
                  <a:pt x="1701" y="186"/>
                </a:cubicBezTo>
                <a:cubicBezTo>
                  <a:pt x="1700" y="186"/>
                  <a:pt x="1699" y="185"/>
                  <a:pt x="1699" y="185"/>
                </a:cubicBezTo>
                <a:cubicBezTo>
                  <a:pt x="1698" y="185"/>
                  <a:pt x="1698" y="185"/>
                  <a:pt x="1698" y="185"/>
                </a:cubicBezTo>
                <a:cubicBezTo>
                  <a:pt x="1697" y="185"/>
                  <a:pt x="1697" y="185"/>
                  <a:pt x="1697" y="185"/>
                </a:cubicBezTo>
                <a:cubicBezTo>
                  <a:pt x="1697" y="184"/>
                  <a:pt x="1697" y="184"/>
                  <a:pt x="1697" y="184"/>
                </a:cubicBezTo>
                <a:cubicBezTo>
                  <a:pt x="1697" y="184"/>
                  <a:pt x="1698" y="184"/>
                  <a:pt x="1698" y="184"/>
                </a:cubicBezTo>
                <a:cubicBezTo>
                  <a:pt x="1698" y="183"/>
                  <a:pt x="1698" y="183"/>
                  <a:pt x="1697" y="182"/>
                </a:cubicBezTo>
                <a:cubicBezTo>
                  <a:pt x="1697" y="182"/>
                  <a:pt x="1697" y="182"/>
                  <a:pt x="1697" y="181"/>
                </a:cubicBezTo>
                <a:cubicBezTo>
                  <a:pt x="1697" y="181"/>
                  <a:pt x="1697" y="181"/>
                  <a:pt x="1697" y="181"/>
                </a:cubicBezTo>
                <a:cubicBezTo>
                  <a:pt x="1697" y="180"/>
                  <a:pt x="1697" y="180"/>
                  <a:pt x="1697" y="179"/>
                </a:cubicBezTo>
                <a:cubicBezTo>
                  <a:pt x="1696" y="179"/>
                  <a:pt x="1696" y="179"/>
                  <a:pt x="1695" y="178"/>
                </a:cubicBezTo>
                <a:cubicBezTo>
                  <a:pt x="1695" y="178"/>
                  <a:pt x="1695" y="178"/>
                  <a:pt x="1696" y="178"/>
                </a:cubicBezTo>
                <a:cubicBezTo>
                  <a:pt x="1696" y="178"/>
                  <a:pt x="1697" y="178"/>
                  <a:pt x="1698" y="179"/>
                </a:cubicBezTo>
                <a:cubicBezTo>
                  <a:pt x="1699" y="179"/>
                  <a:pt x="1699" y="179"/>
                  <a:pt x="1699" y="179"/>
                </a:cubicBezTo>
                <a:cubicBezTo>
                  <a:pt x="1700" y="180"/>
                  <a:pt x="1701" y="180"/>
                  <a:pt x="1702" y="180"/>
                </a:cubicBezTo>
                <a:cubicBezTo>
                  <a:pt x="1703" y="181"/>
                  <a:pt x="1704" y="181"/>
                  <a:pt x="1705" y="181"/>
                </a:cubicBezTo>
                <a:cubicBezTo>
                  <a:pt x="1705" y="181"/>
                  <a:pt x="1705" y="181"/>
                  <a:pt x="1705" y="181"/>
                </a:cubicBezTo>
                <a:cubicBezTo>
                  <a:pt x="1706" y="181"/>
                  <a:pt x="1706" y="181"/>
                  <a:pt x="1707" y="181"/>
                </a:cubicBezTo>
                <a:cubicBezTo>
                  <a:pt x="1707" y="182"/>
                  <a:pt x="1707" y="182"/>
                  <a:pt x="1708" y="182"/>
                </a:cubicBezTo>
                <a:cubicBezTo>
                  <a:pt x="1708" y="183"/>
                  <a:pt x="1709" y="183"/>
                  <a:pt x="1709" y="183"/>
                </a:cubicBezTo>
                <a:cubicBezTo>
                  <a:pt x="1709" y="183"/>
                  <a:pt x="1709" y="183"/>
                  <a:pt x="1710" y="183"/>
                </a:cubicBezTo>
                <a:cubicBezTo>
                  <a:pt x="1710" y="183"/>
                  <a:pt x="1710" y="183"/>
                  <a:pt x="1710" y="182"/>
                </a:cubicBezTo>
                <a:cubicBezTo>
                  <a:pt x="1711" y="182"/>
                  <a:pt x="1711" y="183"/>
                  <a:pt x="1712" y="183"/>
                </a:cubicBezTo>
                <a:cubicBezTo>
                  <a:pt x="1712" y="183"/>
                  <a:pt x="1712" y="183"/>
                  <a:pt x="1712" y="183"/>
                </a:cubicBezTo>
                <a:cubicBezTo>
                  <a:pt x="1712" y="184"/>
                  <a:pt x="1712" y="184"/>
                  <a:pt x="1712" y="184"/>
                </a:cubicBezTo>
                <a:cubicBezTo>
                  <a:pt x="1713" y="183"/>
                  <a:pt x="1713" y="183"/>
                  <a:pt x="1713" y="183"/>
                </a:cubicBezTo>
                <a:cubicBezTo>
                  <a:pt x="1714" y="183"/>
                  <a:pt x="1714" y="184"/>
                  <a:pt x="1714" y="184"/>
                </a:cubicBezTo>
                <a:cubicBezTo>
                  <a:pt x="1714" y="184"/>
                  <a:pt x="1715" y="183"/>
                  <a:pt x="1715" y="183"/>
                </a:cubicBezTo>
                <a:cubicBezTo>
                  <a:pt x="1716" y="184"/>
                  <a:pt x="1718" y="184"/>
                  <a:pt x="1720" y="184"/>
                </a:cubicBezTo>
                <a:cubicBezTo>
                  <a:pt x="1720" y="185"/>
                  <a:pt x="1720" y="185"/>
                  <a:pt x="1720" y="185"/>
                </a:cubicBezTo>
                <a:cubicBezTo>
                  <a:pt x="1720" y="185"/>
                  <a:pt x="1720" y="185"/>
                  <a:pt x="1720" y="185"/>
                </a:cubicBezTo>
                <a:cubicBezTo>
                  <a:pt x="1721" y="185"/>
                  <a:pt x="1721" y="185"/>
                  <a:pt x="1721" y="184"/>
                </a:cubicBezTo>
                <a:cubicBezTo>
                  <a:pt x="1722" y="185"/>
                  <a:pt x="1722" y="185"/>
                  <a:pt x="1722" y="185"/>
                </a:cubicBezTo>
                <a:cubicBezTo>
                  <a:pt x="1722" y="185"/>
                  <a:pt x="1723" y="185"/>
                  <a:pt x="1723" y="185"/>
                </a:cubicBezTo>
                <a:cubicBezTo>
                  <a:pt x="1724" y="185"/>
                  <a:pt x="1724" y="185"/>
                  <a:pt x="1724" y="186"/>
                </a:cubicBezTo>
                <a:cubicBezTo>
                  <a:pt x="1724" y="186"/>
                  <a:pt x="1725" y="186"/>
                  <a:pt x="1725" y="186"/>
                </a:cubicBezTo>
                <a:cubicBezTo>
                  <a:pt x="1726" y="187"/>
                  <a:pt x="1726" y="187"/>
                  <a:pt x="1727" y="187"/>
                </a:cubicBezTo>
                <a:cubicBezTo>
                  <a:pt x="1728" y="187"/>
                  <a:pt x="1728" y="187"/>
                  <a:pt x="1728" y="188"/>
                </a:cubicBezTo>
                <a:cubicBezTo>
                  <a:pt x="1729" y="188"/>
                  <a:pt x="1729" y="188"/>
                  <a:pt x="1729" y="188"/>
                </a:cubicBezTo>
                <a:cubicBezTo>
                  <a:pt x="1729" y="188"/>
                  <a:pt x="1729" y="189"/>
                  <a:pt x="1730" y="189"/>
                </a:cubicBezTo>
                <a:cubicBezTo>
                  <a:pt x="1730" y="189"/>
                  <a:pt x="1730" y="189"/>
                  <a:pt x="1730" y="189"/>
                </a:cubicBezTo>
                <a:cubicBezTo>
                  <a:pt x="1731" y="189"/>
                  <a:pt x="1732" y="189"/>
                  <a:pt x="1732" y="189"/>
                </a:cubicBezTo>
                <a:cubicBezTo>
                  <a:pt x="1733" y="190"/>
                  <a:pt x="1734" y="191"/>
                  <a:pt x="1736" y="191"/>
                </a:cubicBezTo>
                <a:cubicBezTo>
                  <a:pt x="1736" y="192"/>
                  <a:pt x="1736" y="192"/>
                  <a:pt x="1737" y="192"/>
                </a:cubicBezTo>
                <a:cubicBezTo>
                  <a:pt x="1737" y="192"/>
                  <a:pt x="1737" y="192"/>
                  <a:pt x="1738" y="192"/>
                </a:cubicBezTo>
                <a:cubicBezTo>
                  <a:pt x="1738" y="192"/>
                  <a:pt x="1737" y="192"/>
                  <a:pt x="1737" y="192"/>
                </a:cubicBezTo>
                <a:cubicBezTo>
                  <a:pt x="1738" y="192"/>
                  <a:pt x="1738" y="192"/>
                  <a:pt x="1739" y="192"/>
                </a:cubicBezTo>
                <a:cubicBezTo>
                  <a:pt x="1739" y="193"/>
                  <a:pt x="1739" y="193"/>
                  <a:pt x="1739" y="193"/>
                </a:cubicBezTo>
                <a:cubicBezTo>
                  <a:pt x="1739" y="193"/>
                  <a:pt x="1739" y="193"/>
                  <a:pt x="1739" y="193"/>
                </a:cubicBezTo>
                <a:cubicBezTo>
                  <a:pt x="1739" y="193"/>
                  <a:pt x="1739" y="194"/>
                  <a:pt x="1739" y="194"/>
                </a:cubicBezTo>
                <a:cubicBezTo>
                  <a:pt x="1740" y="194"/>
                  <a:pt x="1740" y="194"/>
                  <a:pt x="1741" y="194"/>
                </a:cubicBezTo>
                <a:cubicBezTo>
                  <a:pt x="1742" y="195"/>
                  <a:pt x="1743" y="195"/>
                  <a:pt x="1745" y="196"/>
                </a:cubicBezTo>
                <a:cubicBezTo>
                  <a:pt x="1746" y="197"/>
                  <a:pt x="1747" y="198"/>
                  <a:pt x="1747" y="199"/>
                </a:cubicBezTo>
                <a:cubicBezTo>
                  <a:pt x="1747" y="199"/>
                  <a:pt x="1747" y="199"/>
                  <a:pt x="1747" y="199"/>
                </a:cubicBezTo>
                <a:cubicBezTo>
                  <a:pt x="1747" y="199"/>
                  <a:pt x="1747" y="199"/>
                  <a:pt x="1746" y="198"/>
                </a:cubicBezTo>
                <a:cubicBezTo>
                  <a:pt x="1746" y="198"/>
                  <a:pt x="1745" y="197"/>
                  <a:pt x="1744" y="197"/>
                </a:cubicBezTo>
                <a:cubicBezTo>
                  <a:pt x="1744" y="197"/>
                  <a:pt x="1744" y="197"/>
                  <a:pt x="1744" y="197"/>
                </a:cubicBezTo>
                <a:cubicBezTo>
                  <a:pt x="1745" y="198"/>
                  <a:pt x="1746" y="199"/>
                  <a:pt x="1747" y="199"/>
                </a:cubicBezTo>
                <a:cubicBezTo>
                  <a:pt x="1748" y="200"/>
                  <a:pt x="1748" y="200"/>
                  <a:pt x="1749" y="200"/>
                </a:cubicBezTo>
                <a:cubicBezTo>
                  <a:pt x="1749" y="200"/>
                  <a:pt x="1749" y="200"/>
                  <a:pt x="1750" y="200"/>
                </a:cubicBezTo>
                <a:cubicBezTo>
                  <a:pt x="1750" y="200"/>
                  <a:pt x="1751" y="200"/>
                  <a:pt x="1751" y="200"/>
                </a:cubicBezTo>
                <a:cubicBezTo>
                  <a:pt x="1752" y="201"/>
                  <a:pt x="1752" y="201"/>
                  <a:pt x="1753" y="201"/>
                </a:cubicBezTo>
                <a:cubicBezTo>
                  <a:pt x="1753" y="201"/>
                  <a:pt x="1753" y="201"/>
                  <a:pt x="1753" y="200"/>
                </a:cubicBezTo>
                <a:cubicBezTo>
                  <a:pt x="1753" y="200"/>
                  <a:pt x="1753" y="200"/>
                  <a:pt x="1754" y="200"/>
                </a:cubicBezTo>
                <a:cubicBezTo>
                  <a:pt x="1754" y="201"/>
                  <a:pt x="1754" y="201"/>
                  <a:pt x="1754" y="201"/>
                </a:cubicBezTo>
                <a:cubicBezTo>
                  <a:pt x="1755" y="202"/>
                  <a:pt x="1755" y="202"/>
                  <a:pt x="1755" y="202"/>
                </a:cubicBezTo>
                <a:cubicBezTo>
                  <a:pt x="1756" y="202"/>
                  <a:pt x="1756" y="202"/>
                  <a:pt x="1756" y="203"/>
                </a:cubicBezTo>
                <a:cubicBezTo>
                  <a:pt x="1756" y="202"/>
                  <a:pt x="1756" y="202"/>
                  <a:pt x="1756" y="202"/>
                </a:cubicBezTo>
                <a:cubicBezTo>
                  <a:pt x="1756" y="202"/>
                  <a:pt x="1756" y="202"/>
                  <a:pt x="1756" y="202"/>
                </a:cubicBezTo>
                <a:cubicBezTo>
                  <a:pt x="1757" y="202"/>
                  <a:pt x="1757" y="203"/>
                  <a:pt x="1758" y="203"/>
                </a:cubicBezTo>
                <a:cubicBezTo>
                  <a:pt x="1758" y="203"/>
                  <a:pt x="1758" y="203"/>
                  <a:pt x="1758" y="204"/>
                </a:cubicBezTo>
                <a:cubicBezTo>
                  <a:pt x="1758" y="204"/>
                  <a:pt x="1759" y="204"/>
                  <a:pt x="1759" y="205"/>
                </a:cubicBezTo>
                <a:cubicBezTo>
                  <a:pt x="1760" y="205"/>
                  <a:pt x="1760" y="205"/>
                  <a:pt x="1761" y="205"/>
                </a:cubicBezTo>
                <a:cubicBezTo>
                  <a:pt x="1762" y="206"/>
                  <a:pt x="1764" y="207"/>
                  <a:pt x="1766" y="208"/>
                </a:cubicBezTo>
                <a:cubicBezTo>
                  <a:pt x="1765" y="207"/>
                  <a:pt x="1765" y="207"/>
                  <a:pt x="1765" y="207"/>
                </a:cubicBezTo>
                <a:cubicBezTo>
                  <a:pt x="1766" y="207"/>
                  <a:pt x="1766" y="207"/>
                  <a:pt x="1767" y="208"/>
                </a:cubicBezTo>
                <a:cubicBezTo>
                  <a:pt x="1767" y="208"/>
                  <a:pt x="1767" y="208"/>
                  <a:pt x="1767" y="208"/>
                </a:cubicBezTo>
                <a:cubicBezTo>
                  <a:pt x="1767" y="209"/>
                  <a:pt x="1768" y="209"/>
                  <a:pt x="1768" y="209"/>
                </a:cubicBezTo>
                <a:cubicBezTo>
                  <a:pt x="1768" y="209"/>
                  <a:pt x="1768" y="209"/>
                  <a:pt x="1768" y="208"/>
                </a:cubicBezTo>
                <a:cubicBezTo>
                  <a:pt x="1768" y="208"/>
                  <a:pt x="1768" y="208"/>
                  <a:pt x="1769" y="208"/>
                </a:cubicBezTo>
                <a:cubicBezTo>
                  <a:pt x="1769" y="209"/>
                  <a:pt x="1770" y="209"/>
                  <a:pt x="1770" y="209"/>
                </a:cubicBezTo>
                <a:cubicBezTo>
                  <a:pt x="1770" y="209"/>
                  <a:pt x="1770" y="209"/>
                  <a:pt x="1770" y="210"/>
                </a:cubicBezTo>
                <a:cubicBezTo>
                  <a:pt x="1770" y="210"/>
                  <a:pt x="1770" y="210"/>
                  <a:pt x="1770" y="211"/>
                </a:cubicBezTo>
                <a:cubicBezTo>
                  <a:pt x="1771" y="211"/>
                  <a:pt x="1772" y="211"/>
                  <a:pt x="1772" y="211"/>
                </a:cubicBezTo>
                <a:cubicBezTo>
                  <a:pt x="1772" y="211"/>
                  <a:pt x="1772" y="211"/>
                  <a:pt x="1772" y="211"/>
                </a:cubicBezTo>
                <a:cubicBezTo>
                  <a:pt x="1772" y="211"/>
                  <a:pt x="1772" y="210"/>
                  <a:pt x="1772" y="210"/>
                </a:cubicBezTo>
                <a:cubicBezTo>
                  <a:pt x="1772" y="210"/>
                  <a:pt x="1773" y="211"/>
                  <a:pt x="1774" y="211"/>
                </a:cubicBezTo>
                <a:cubicBezTo>
                  <a:pt x="1774" y="211"/>
                  <a:pt x="1774" y="211"/>
                  <a:pt x="1774" y="212"/>
                </a:cubicBezTo>
                <a:cubicBezTo>
                  <a:pt x="1774" y="212"/>
                  <a:pt x="1774" y="212"/>
                  <a:pt x="1774" y="212"/>
                </a:cubicBezTo>
                <a:cubicBezTo>
                  <a:pt x="1774" y="212"/>
                  <a:pt x="1774" y="213"/>
                  <a:pt x="1774" y="213"/>
                </a:cubicBezTo>
                <a:cubicBezTo>
                  <a:pt x="1775" y="213"/>
                  <a:pt x="1776" y="214"/>
                  <a:pt x="1776" y="214"/>
                </a:cubicBezTo>
                <a:cubicBezTo>
                  <a:pt x="1777" y="214"/>
                  <a:pt x="1777" y="215"/>
                  <a:pt x="1778" y="215"/>
                </a:cubicBezTo>
                <a:cubicBezTo>
                  <a:pt x="1777" y="214"/>
                  <a:pt x="1777" y="214"/>
                  <a:pt x="1776" y="213"/>
                </a:cubicBezTo>
                <a:cubicBezTo>
                  <a:pt x="1776" y="213"/>
                  <a:pt x="1775" y="213"/>
                  <a:pt x="1775" y="212"/>
                </a:cubicBezTo>
                <a:cubicBezTo>
                  <a:pt x="1775" y="212"/>
                  <a:pt x="1775" y="212"/>
                  <a:pt x="1775" y="212"/>
                </a:cubicBezTo>
                <a:cubicBezTo>
                  <a:pt x="1775" y="212"/>
                  <a:pt x="1776" y="212"/>
                  <a:pt x="1776" y="212"/>
                </a:cubicBezTo>
                <a:cubicBezTo>
                  <a:pt x="1777" y="212"/>
                  <a:pt x="1777" y="213"/>
                  <a:pt x="1778" y="213"/>
                </a:cubicBezTo>
                <a:cubicBezTo>
                  <a:pt x="1778" y="214"/>
                  <a:pt x="1779" y="214"/>
                  <a:pt x="1780" y="215"/>
                </a:cubicBezTo>
                <a:cubicBezTo>
                  <a:pt x="1780" y="215"/>
                  <a:pt x="1780" y="215"/>
                  <a:pt x="1780" y="216"/>
                </a:cubicBezTo>
                <a:cubicBezTo>
                  <a:pt x="1780" y="216"/>
                  <a:pt x="1780" y="216"/>
                  <a:pt x="1780" y="216"/>
                </a:cubicBezTo>
                <a:cubicBezTo>
                  <a:pt x="1780" y="216"/>
                  <a:pt x="1780" y="216"/>
                  <a:pt x="1781" y="216"/>
                </a:cubicBezTo>
                <a:cubicBezTo>
                  <a:pt x="1781" y="216"/>
                  <a:pt x="1781" y="215"/>
                  <a:pt x="1780" y="215"/>
                </a:cubicBezTo>
                <a:cubicBezTo>
                  <a:pt x="1781" y="215"/>
                  <a:pt x="1781" y="216"/>
                  <a:pt x="1781" y="216"/>
                </a:cubicBezTo>
                <a:cubicBezTo>
                  <a:pt x="1782" y="216"/>
                  <a:pt x="1782" y="216"/>
                  <a:pt x="1782" y="217"/>
                </a:cubicBezTo>
                <a:cubicBezTo>
                  <a:pt x="1782" y="217"/>
                  <a:pt x="1782" y="217"/>
                  <a:pt x="1782" y="217"/>
                </a:cubicBezTo>
                <a:cubicBezTo>
                  <a:pt x="1782" y="217"/>
                  <a:pt x="1782" y="218"/>
                  <a:pt x="1782" y="218"/>
                </a:cubicBezTo>
                <a:cubicBezTo>
                  <a:pt x="1783" y="219"/>
                  <a:pt x="1783" y="220"/>
                  <a:pt x="1783" y="221"/>
                </a:cubicBezTo>
                <a:cubicBezTo>
                  <a:pt x="1784" y="221"/>
                  <a:pt x="1784" y="222"/>
                  <a:pt x="1785" y="222"/>
                </a:cubicBezTo>
                <a:cubicBezTo>
                  <a:pt x="1785" y="222"/>
                  <a:pt x="1785" y="223"/>
                  <a:pt x="1785" y="223"/>
                </a:cubicBezTo>
                <a:cubicBezTo>
                  <a:pt x="1785" y="223"/>
                  <a:pt x="1786" y="224"/>
                  <a:pt x="1786" y="224"/>
                </a:cubicBezTo>
                <a:cubicBezTo>
                  <a:pt x="1786" y="224"/>
                  <a:pt x="1786" y="225"/>
                  <a:pt x="1786" y="225"/>
                </a:cubicBezTo>
                <a:cubicBezTo>
                  <a:pt x="1786" y="225"/>
                  <a:pt x="1786" y="225"/>
                  <a:pt x="1786" y="225"/>
                </a:cubicBezTo>
                <a:cubicBezTo>
                  <a:pt x="1786" y="225"/>
                  <a:pt x="1786" y="226"/>
                  <a:pt x="1786" y="226"/>
                </a:cubicBezTo>
                <a:cubicBezTo>
                  <a:pt x="1786" y="226"/>
                  <a:pt x="1786" y="226"/>
                  <a:pt x="1786" y="226"/>
                </a:cubicBezTo>
                <a:cubicBezTo>
                  <a:pt x="1787" y="226"/>
                  <a:pt x="1787" y="226"/>
                  <a:pt x="1788" y="226"/>
                </a:cubicBezTo>
                <a:cubicBezTo>
                  <a:pt x="1788" y="227"/>
                  <a:pt x="1789" y="227"/>
                  <a:pt x="1789" y="227"/>
                </a:cubicBezTo>
                <a:cubicBezTo>
                  <a:pt x="1789" y="228"/>
                  <a:pt x="1789" y="228"/>
                  <a:pt x="1790" y="229"/>
                </a:cubicBezTo>
                <a:cubicBezTo>
                  <a:pt x="1790" y="229"/>
                  <a:pt x="1790" y="229"/>
                  <a:pt x="1791" y="229"/>
                </a:cubicBezTo>
                <a:cubicBezTo>
                  <a:pt x="1791" y="229"/>
                  <a:pt x="1791" y="229"/>
                  <a:pt x="1791" y="229"/>
                </a:cubicBezTo>
                <a:cubicBezTo>
                  <a:pt x="1791" y="229"/>
                  <a:pt x="1791" y="229"/>
                  <a:pt x="1790" y="229"/>
                </a:cubicBezTo>
                <a:cubicBezTo>
                  <a:pt x="1790" y="228"/>
                  <a:pt x="1790" y="228"/>
                  <a:pt x="1790" y="228"/>
                </a:cubicBezTo>
                <a:cubicBezTo>
                  <a:pt x="1791" y="228"/>
                  <a:pt x="1791" y="228"/>
                  <a:pt x="1791" y="228"/>
                </a:cubicBezTo>
                <a:cubicBezTo>
                  <a:pt x="1792" y="228"/>
                  <a:pt x="1792" y="228"/>
                  <a:pt x="1792" y="228"/>
                </a:cubicBezTo>
                <a:cubicBezTo>
                  <a:pt x="1792" y="228"/>
                  <a:pt x="1792" y="229"/>
                  <a:pt x="1792" y="229"/>
                </a:cubicBezTo>
                <a:cubicBezTo>
                  <a:pt x="1792" y="230"/>
                  <a:pt x="1793" y="230"/>
                  <a:pt x="1793" y="230"/>
                </a:cubicBezTo>
                <a:cubicBezTo>
                  <a:pt x="1793" y="230"/>
                  <a:pt x="1793" y="230"/>
                  <a:pt x="1793" y="230"/>
                </a:cubicBezTo>
                <a:cubicBezTo>
                  <a:pt x="1793" y="229"/>
                  <a:pt x="1793" y="229"/>
                  <a:pt x="1793" y="229"/>
                </a:cubicBezTo>
                <a:cubicBezTo>
                  <a:pt x="1793" y="228"/>
                  <a:pt x="1793" y="228"/>
                  <a:pt x="1793" y="228"/>
                </a:cubicBezTo>
                <a:cubicBezTo>
                  <a:pt x="1793" y="228"/>
                  <a:pt x="1793" y="227"/>
                  <a:pt x="1792" y="227"/>
                </a:cubicBezTo>
                <a:cubicBezTo>
                  <a:pt x="1792" y="227"/>
                  <a:pt x="1791" y="227"/>
                  <a:pt x="1791" y="227"/>
                </a:cubicBezTo>
                <a:cubicBezTo>
                  <a:pt x="1790" y="227"/>
                  <a:pt x="1790" y="226"/>
                  <a:pt x="1789" y="226"/>
                </a:cubicBezTo>
                <a:cubicBezTo>
                  <a:pt x="1789" y="226"/>
                  <a:pt x="1789" y="226"/>
                  <a:pt x="1789" y="226"/>
                </a:cubicBezTo>
                <a:cubicBezTo>
                  <a:pt x="1790" y="226"/>
                  <a:pt x="1790" y="225"/>
                  <a:pt x="1790" y="225"/>
                </a:cubicBezTo>
                <a:cubicBezTo>
                  <a:pt x="1790" y="225"/>
                  <a:pt x="1790" y="225"/>
                  <a:pt x="1790" y="224"/>
                </a:cubicBezTo>
                <a:cubicBezTo>
                  <a:pt x="1790" y="224"/>
                  <a:pt x="1789" y="223"/>
                  <a:pt x="1789" y="223"/>
                </a:cubicBezTo>
                <a:cubicBezTo>
                  <a:pt x="1788" y="222"/>
                  <a:pt x="1788" y="222"/>
                  <a:pt x="1788" y="222"/>
                </a:cubicBezTo>
                <a:cubicBezTo>
                  <a:pt x="1788" y="221"/>
                  <a:pt x="1788" y="221"/>
                  <a:pt x="1788" y="221"/>
                </a:cubicBezTo>
                <a:cubicBezTo>
                  <a:pt x="1787" y="221"/>
                  <a:pt x="1787" y="221"/>
                  <a:pt x="1787" y="220"/>
                </a:cubicBezTo>
                <a:cubicBezTo>
                  <a:pt x="1786" y="220"/>
                  <a:pt x="1786" y="220"/>
                  <a:pt x="1785" y="220"/>
                </a:cubicBezTo>
                <a:cubicBezTo>
                  <a:pt x="1785" y="220"/>
                  <a:pt x="1785" y="220"/>
                  <a:pt x="1785" y="220"/>
                </a:cubicBezTo>
                <a:cubicBezTo>
                  <a:pt x="1786" y="220"/>
                  <a:pt x="1786" y="220"/>
                  <a:pt x="1786" y="220"/>
                </a:cubicBezTo>
                <a:cubicBezTo>
                  <a:pt x="1787" y="220"/>
                  <a:pt x="1787" y="220"/>
                  <a:pt x="1788" y="219"/>
                </a:cubicBezTo>
                <a:cubicBezTo>
                  <a:pt x="1788" y="219"/>
                  <a:pt x="1789" y="219"/>
                  <a:pt x="1790" y="219"/>
                </a:cubicBezTo>
                <a:cubicBezTo>
                  <a:pt x="1790" y="219"/>
                  <a:pt x="1790" y="219"/>
                  <a:pt x="1791" y="219"/>
                </a:cubicBezTo>
                <a:cubicBezTo>
                  <a:pt x="1791" y="219"/>
                  <a:pt x="1790" y="219"/>
                  <a:pt x="1790" y="219"/>
                </a:cubicBezTo>
                <a:cubicBezTo>
                  <a:pt x="1790" y="220"/>
                  <a:pt x="1791" y="220"/>
                  <a:pt x="1791" y="221"/>
                </a:cubicBezTo>
                <a:cubicBezTo>
                  <a:pt x="1791" y="221"/>
                  <a:pt x="1791" y="221"/>
                  <a:pt x="1792" y="222"/>
                </a:cubicBezTo>
                <a:cubicBezTo>
                  <a:pt x="1792" y="222"/>
                  <a:pt x="1792" y="222"/>
                  <a:pt x="1792" y="222"/>
                </a:cubicBezTo>
                <a:cubicBezTo>
                  <a:pt x="1792" y="221"/>
                  <a:pt x="1792" y="221"/>
                  <a:pt x="1791" y="221"/>
                </a:cubicBezTo>
                <a:cubicBezTo>
                  <a:pt x="1791" y="220"/>
                  <a:pt x="1791" y="220"/>
                  <a:pt x="1791" y="220"/>
                </a:cubicBezTo>
                <a:cubicBezTo>
                  <a:pt x="1791" y="220"/>
                  <a:pt x="1792" y="220"/>
                  <a:pt x="1792" y="220"/>
                </a:cubicBezTo>
                <a:cubicBezTo>
                  <a:pt x="1792" y="220"/>
                  <a:pt x="1793" y="220"/>
                  <a:pt x="1793" y="220"/>
                </a:cubicBezTo>
                <a:cubicBezTo>
                  <a:pt x="1794" y="220"/>
                  <a:pt x="1794" y="220"/>
                  <a:pt x="1794" y="220"/>
                </a:cubicBezTo>
                <a:cubicBezTo>
                  <a:pt x="1794" y="220"/>
                  <a:pt x="1793" y="219"/>
                  <a:pt x="1793" y="219"/>
                </a:cubicBezTo>
                <a:cubicBezTo>
                  <a:pt x="1793" y="219"/>
                  <a:pt x="1793" y="219"/>
                  <a:pt x="1793" y="219"/>
                </a:cubicBezTo>
                <a:cubicBezTo>
                  <a:pt x="1794" y="219"/>
                  <a:pt x="1794" y="219"/>
                  <a:pt x="1794" y="219"/>
                </a:cubicBezTo>
                <a:cubicBezTo>
                  <a:pt x="1794" y="219"/>
                  <a:pt x="1795" y="219"/>
                  <a:pt x="1795" y="220"/>
                </a:cubicBezTo>
                <a:cubicBezTo>
                  <a:pt x="1796" y="219"/>
                  <a:pt x="1796" y="219"/>
                  <a:pt x="1797" y="219"/>
                </a:cubicBezTo>
                <a:cubicBezTo>
                  <a:pt x="1797" y="219"/>
                  <a:pt x="1797" y="219"/>
                  <a:pt x="1798" y="220"/>
                </a:cubicBezTo>
                <a:cubicBezTo>
                  <a:pt x="1798" y="220"/>
                  <a:pt x="1798" y="220"/>
                  <a:pt x="1798" y="220"/>
                </a:cubicBezTo>
                <a:cubicBezTo>
                  <a:pt x="1798" y="220"/>
                  <a:pt x="1798" y="220"/>
                  <a:pt x="1798" y="220"/>
                </a:cubicBezTo>
                <a:cubicBezTo>
                  <a:pt x="1799" y="221"/>
                  <a:pt x="1799" y="221"/>
                  <a:pt x="1799" y="221"/>
                </a:cubicBezTo>
                <a:cubicBezTo>
                  <a:pt x="1799" y="221"/>
                  <a:pt x="1799" y="221"/>
                  <a:pt x="1799" y="221"/>
                </a:cubicBezTo>
                <a:cubicBezTo>
                  <a:pt x="1800" y="222"/>
                  <a:pt x="1800" y="222"/>
                  <a:pt x="1800" y="222"/>
                </a:cubicBezTo>
                <a:cubicBezTo>
                  <a:pt x="1801" y="223"/>
                  <a:pt x="1801" y="223"/>
                  <a:pt x="1802" y="223"/>
                </a:cubicBezTo>
                <a:cubicBezTo>
                  <a:pt x="1802" y="223"/>
                  <a:pt x="1802" y="223"/>
                  <a:pt x="1803" y="223"/>
                </a:cubicBezTo>
                <a:cubicBezTo>
                  <a:pt x="1804" y="224"/>
                  <a:pt x="1805" y="225"/>
                  <a:pt x="1806" y="225"/>
                </a:cubicBezTo>
                <a:cubicBezTo>
                  <a:pt x="1806" y="226"/>
                  <a:pt x="1805" y="226"/>
                  <a:pt x="1805" y="226"/>
                </a:cubicBezTo>
                <a:cubicBezTo>
                  <a:pt x="1805" y="226"/>
                  <a:pt x="1805" y="226"/>
                  <a:pt x="1805" y="226"/>
                </a:cubicBezTo>
                <a:cubicBezTo>
                  <a:pt x="1806" y="226"/>
                  <a:pt x="1806" y="226"/>
                  <a:pt x="1806" y="227"/>
                </a:cubicBezTo>
                <a:cubicBezTo>
                  <a:pt x="1806" y="226"/>
                  <a:pt x="1806" y="226"/>
                  <a:pt x="1807" y="226"/>
                </a:cubicBezTo>
                <a:cubicBezTo>
                  <a:pt x="1807" y="226"/>
                  <a:pt x="1807" y="226"/>
                  <a:pt x="1808" y="227"/>
                </a:cubicBezTo>
                <a:cubicBezTo>
                  <a:pt x="1807" y="227"/>
                  <a:pt x="1807" y="227"/>
                  <a:pt x="1807" y="227"/>
                </a:cubicBezTo>
                <a:cubicBezTo>
                  <a:pt x="1808" y="227"/>
                  <a:pt x="1808" y="227"/>
                  <a:pt x="1808" y="227"/>
                </a:cubicBezTo>
                <a:cubicBezTo>
                  <a:pt x="1809" y="227"/>
                  <a:pt x="1809" y="227"/>
                  <a:pt x="1810" y="227"/>
                </a:cubicBezTo>
                <a:cubicBezTo>
                  <a:pt x="1810" y="227"/>
                  <a:pt x="1810" y="228"/>
                  <a:pt x="1811" y="228"/>
                </a:cubicBezTo>
                <a:cubicBezTo>
                  <a:pt x="1811" y="228"/>
                  <a:pt x="1811" y="228"/>
                  <a:pt x="1810" y="228"/>
                </a:cubicBezTo>
                <a:cubicBezTo>
                  <a:pt x="1810" y="228"/>
                  <a:pt x="1810" y="229"/>
                  <a:pt x="1810" y="229"/>
                </a:cubicBezTo>
                <a:cubicBezTo>
                  <a:pt x="1809" y="229"/>
                  <a:pt x="1809" y="229"/>
                  <a:pt x="1809" y="229"/>
                </a:cubicBezTo>
                <a:cubicBezTo>
                  <a:pt x="1809" y="230"/>
                  <a:pt x="1809" y="230"/>
                  <a:pt x="1809" y="231"/>
                </a:cubicBezTo>
                <a:cubicBezTo>
                  <a:pt x="1809" y="231"/>
                  <a:pt x="1809" y="232"/>
                  <a:pt x="1808" y="232"/>
                </a:cubicBezTo>
                <a:cubicBezTo>
                  <a:pt x="1808" y="232"/>
                  <a:pt x="1808" y="232"/>
                  <a:pt x="1808" y="232"/>
                </a:cubicBezTo>
                <a:cubicBezTo>
                  <a:pt x="1809" y="232"/>
                  <a:pt x="1809" y="233"/>
                  <a:pt x="1809" y="233"/>
                </a:cubicBezTo>
                <a:cubicBezTo>
                  <a:pt x="1810" y="233"/>
                  <a:pt x="1810" y="233"/>
                  <a:pt x="1810" y="234"/>
                </a:cubicBezTo>
                <a:cubicBezTo>
                  <a:pt x="1810" y="234"/>
                  <a:pt x="1810" y="234"/>
                  <a:pt x="1811" y="235"/>
                </a:cubicBezTo>
                <a:cubicBezTo>
                  <a:pt x="1811" y="235"/>
                  <a:pt x="1811" y="235"/>
                  <a:pt x="1811" y="235"/>
                </a:cubicBezTo>
                <a:cubicBezTo>
                  <a:pt x="1811" y="236"/>
                  <a:pt x="1810" y="236"/>
                  <a:pt x="1810" y="236"/>
                </a:cubicBezTo>
                <a:cubicBezTo>
                  <a:pt x="1810" y="235"/>
                  <a:pt x="1809" y="235"/>
                  <a:pt x="1808" y="235"/>
                </a:cubicBezTo>
                <a:cubicBezTo>
                  <a:pt x="1808" y="235"/>
                  <a:pt x="1807" y="234"/>
                  <a:pt x="1806" y="234"/>
                </a:cubicBezTo>
                <a:cubicBezTo>
                  <a:pt x="1807" y="235"/>
                  <a:pt x="1808" y="235"/>
                  <a:pt x="1809" y="236"/>
                </a:cubicBezTo>
                <a:cubicBezTo>
                  <a:pt x="1809" y="236"/>
                  <a:pt x="1809" y="236"/>
                  <a:pt x="1809" y="236"/>
                </a:cubicBezTo>
                <a:cubicBezTo>
                  <a:pt x="1809" y="237"/>
                  <a:pt x="1809" y="237"/>
                  <a:pt x="1809" y="237"/>
                </a:cubicBezTo>
                <a:cubicBezTo>
                  <a:pt x="1808" y="237"/>
                  <a:pt x="1808" y="237"/>
                  <a:pt x="1807" y="236"/>
                </a:cubicBezTo>
                <a:cubicBezTo>
                  <a:pt x="1807" y="237"/>
                  <a:pt x="1806" y="237"/>
                  <a:pt x="1806" y="237"/>
                </a:cubicBezTo>
                <a:cubicBezTo>
                  <a:pt x="1806" y="237"/>
                  <a:pt x="1805" y="237"/>
                  <a:pt x="1805" y="237"/>
                </a:cubicBezTo>
                <a:cubicBezTo>
                  <a:pt x="1805" y="237"/>
                  <a:pt x="1804" y="237"/>
                  <a:pt x="1804" y="237"/>
                </a:cubicBezTo>
                <a:cubicBezTo>
                  <a:pt x="1803" y="236"/>
                  <a:pt x="1803" y="236"/>
                  <a:pt x="1802" y="236"/>
                </a:cubicBezTo>
                <a:cubicBezTo>
                  <a:pt x="1802" y="236"/>
                  <a:pt x="1801" y="236"/>
                  <a:pt x="1801" y="236"/>
                </a:cubicBezTo>
                <a:cubicBezTo>
                  <a:pt x="1801" y="236"/>
                  <a:pt x="1802" y="236"/>
                  <a:pt x="1802" y="237"/>
                </a:cubicBezTo>
                <a:cubicBezTo>
                  <a:pt x="1803" y="237"/>
                  <a:pt x="1803" y="237"/>
                  <a:pt x="1803" y="237"/>
                </a:cubicBezTo>
                <a:cubicBezTo>
                  <a:pt x="1803" y="237"/>
                  <a:pt x="1803" y="238"/>
                  <a:pt x="1803" y="238"/>
                </a:cubicBezTo>
                <a:cubicBezTo>
                  <a:pt x="1804" y="238"/>
                  <a:pt x="1804" y="238"/>
                  <a:pt x="1805" y="238"/>
                </a:cubicBezTo>
                <a:cubicBezTo>
                  <a:pt x="1805" y="238"/>
                  <a:pt x="1805" y="238"/>
                  <a:pt x="1805" y="238"/>
                </a:cubicBezTo>
                <a:cubicBezTo>
                  <a:pt x="1805" y="238"/>
                  <a:pt x="1805" y="239"/>
                  <a:pt x="1805" y="239"/>
                </a:cubicBezTo>
                <a:cubicBezTo>
                  <a:pt x="1805" y="239"/>
                  <a:pt x="1805" y="240"/>
                  <a:pt x="1806" y="240"/>
                </a:cubicBezTo>
                <a:cubicBezTo>
                  <a:pt x="1805" y="240"/>
                  <a:pt x="1805" y="240"/>
                  <a:pt x="1804" y="240"/>
                </a:cubicBezTo>
                <a:cubicBezTo>
                  <a:pt x="1804" y="240"/>
                  <a:pt x="1804" y="241"/>
                  <a:pt x="1804" y="241"/>
                </a:cubicBezTo>
                <a:cubicBezTo>
                  <a:pt x="1804" y="241"/>
                  <a:pt x="1805" y="241"/>
                  <a:pt x="1805" y="241"/>
                </a:cubicBezTo>
                <a:cubicBezTo>
                  <a:pt x="1806" y="241"/>
                  <a:pt x="1806" y="241"/>
                  <a:pt x="1807" y="241"/>
                </a:cubicBezTo>
                <a:cubicBezTo>
                  <a:pt x="1807" y="242"/>
                  <a:pt x="1808" y="242"/>
                  <a:pt x="1808" y="243"/>
                </a:cubicBezTo>
                <a:cubicBezTo>
                  <a:pt x="1808" y="243"/>
                  <a:pt x="1808" y="243"/>
                  <a:pt x="1808" y="243"/>
                </a:cubicBezTo>
                <a:cubicBezTo>
                  <a:pt x="1808" y="244"/>
                  <a:pt x="1808" y="244"/>
                  <a:pt x="1808" y="244"/>
                </a:cubicBezTo>
                <a:cubicBezTo>
                  <a:pt x="1807" y="244"/>
                  <a:pt x="1807" y="244"/>
                  <a:pt x="1806" y="244"/>
                </a:cubicBezTo>
                <a:cubicBezTo>
                  <a:pt x="1807" y="245"/>
                  <a:pt x="1807" y="245"/>
                  <a:pt x="1807" y="245"/>
                </a:cubicBezTo>
                <a:cubicBezTo>
                  <a:pt x="1807" y="245"/>
                  <a:pt x="1807" y="246"/>
                  <a:pt x="1807" y="246"/>
                </a:cubicBezTo>
                <a:cubicBezTo>
                  <a:pt x="1806" y="246"/>
                  <a:pt x="1806" y="246"/>
                  <a:pt x="1805" y="246"/>
                </a:cubicBezTo>
                <a:cubicBezTo>
                  <a:pt x="1805" y="246"/>
                  <a:pt x="1805" y="246"/>
                  <a:pt x="1805" y="246"/>
                </a:cubicBezTo>
                <a:cubicBezTo>
                  <a:pt x="1805" y="246"/>
                  <a:pt x="1805" y="247"/>
                  <a:pt x="1805" y="247"/>
                </a:cubicBezTo>
                <a:cubicBezTo>
                  <a:pt x="1805" y="247"/>
                  <a:pt x="1806" y="247"/>
                  <a:pt x="1806" y="246"/>
                </a:cubicBezTo>
                <a:cubicBezTo>
                  <a:pt x="1806" y="246"/>
                  <a:pt x="1806" y="247"/>
                  <a:pt x="1807" y="247"/>
                </a:cubicBezTo>
                <a:cubicBezTo>
                  <a:pt x="1807" y="247"/>
                  <a:pt x="1807" y="247"/>
                  <a:pt x="1807" y="247"/>
                </a:cubicBezTo>
                <a:cubicBezTo>
                  <a:pt x="1807" y="248"/>
                  <a:pt x="1807" y="248"/>
                  <a:pt x="1806" y="248"/>
                </a:cubicBezTo>
                <a:cubicBezTo>
                  <a:pt x="1807" y="248"/>
                  <a:pt x="1807" y="248"/>
                  <a:pt x="1808" y="249"/>
                </a:cubicBezTo>
                <a:cubicBezTo>
                  <a:pt x="1808" y="249"/>
                  <a:pt x="1808" y="249"/>
                  <a:pt x="1808" y="249"/>
                </a:cubicBezTo>
                <a:cubicBezTo>
                  <a:pt x="1808" y="249"/>
                  <a:pt x="1808" y="249"/>
                  <a:pt x="1808" y="249"/>
                </a:cubicBezTo>
                <a:cubicBezTo>
                  <a:pt x="1809" y="249"/>
                  <a:pt x="1809" y="249"/>
                  <a:pt x="1809" y="249"/>
                </a:cubicBezTo>
                <a:cubicBezTo>
                  <a:pt x="1809" y="249"/>
                  <a:pt x="1810" y="249"/>
                  <a:pt x="1810" y="249"/>
                </a:cubicBezTo>
                <a:cubicBezTo>
                  <a:pt x="1810" y="250"/>
                  <a:pt x="1811" y="250"/>
                  <a:pt x="1811" y="250"/>
                </a:cubicBezTo>
                <a:cubicBezTo>
                  <a:pt x="1811" y="250"/>
                  <a:pt x="1811" y="251"/>
                  <a:pt x="1811" y="251"/>
                </a:cubicBezTo>
                <a:cubicBezTo>
                  <a:pt x="1810" y="251"/>
                  <a:pt x="1810" y="251"/>
                  <a:pt x="1810" y="251"/>
                </a:cubicBezTo>
                <a:cubicBezTo>
                  <a:pt x="1809" y="250"/>
                  <a:pt x="1809" y="250"/>
                  <a:pt x="1809" y="250"/>
                </a:cubicBezTo>
                <a:close/>
                <a:moveTo>
                  <a:pt x="1131" y="298"/>
                </a:moveTo>
                <a:cubicBezTo>
                  <a:pt x="1131" y="298"/>
                  <a:pt x="1130" y="298"/>
                  <a:pt x="1130" y="297"/>
                </a:cubicBezTo>
                <a:cubicBezTo>
                  <a:pt x="1130" y="297"/>
                  <a:pt x="1130" y="297"/>
                  <a:pt x="1130" y="297"/>
                </a:cubicBezTo>
                <a:cubicBezTo>
                  <a:pt x="1130" y="297"/>
                  <a:pt x="1131" y="298"/>
                  <a:pt x="1131" y="298"/>
                </a:cubicBezTo>
                <a:close/>
                <a:moveTo>
                  <a:pt x="1374" y="435"/>
                </a:moveTo>
                <a:cubicBezTo>
                  <a:pt x="1374" y="435"/>
                  <a:pt x="1374" y="435"/>
                  <a:pt x="1374" y="435"/>
                </a:cubicBezTo>
                <a:cubicBezTo>
                  <a:pt x="1374" y="435"/>
                  <a:pt x="1373" y="435"/>
                  <a:pt x="1373" y="435"/>
                </a:cubicBezTo>
                <a:cubicBezTo>
                  <a:pt x="1373" y="435"/>
                  <a:pt x="1373" y="435"/>
                  <a:pt x="1373" y="435"/>
                </a:cubicBezTo>
                <a:cubicBezTo>
                  <a:pt x="1373" y="436"/>
                  <a:pt x="1374" y="436"/>
                  <a:pt x="1374" y="436"/>
                </a:cubicBezTo>
                <a:cubicBezTo>
                  <a:pt x="1374" y="436"/>
                  <a:pt x="1374" y="436"/>
                  <a:pt x="1374" y="435"/>
                </a:cubicBezTo>
                <a:close/>
                <a:moveTo>
                  <a:pt x="1300" y="460"/>
                </a:moveTo>
                <a:cubicBezTo>
                  <a:pt x="1300" y="460"/>
                  <a:pt x="1300" y="460"/>
                  <a:pt x="1300" y="460"/>
                </a:cubicBezTo>
                <a:cubicBezTo>
                  <a:pt x="1300" y="460"/>
                  <a:pt x="1300" y="460"/>
                  <a:pt x="1300" y="460"/>
                </a:cubicBezTo>
                <a:cubicBezTo>
                  <a:pt x="1299" y="460"/>
                  <a:pt x="1299" y="461"/>
                  <a:pt x="1299" y="461"/>
                </a:cubicBezTo>
                <a:cubicBezTo>
                  <a:pt x="1299" y="461"/>
                  <a:pt x="1300" y="461"/>
                  <a:pt x="1300" y="460"/>
                </a:cubicBezTo>
                <a:cubicBezTo>
                  <a:pt x="1300" y="460"/>
                  <a:pt x="1300" y="460"/>
                  <a:pt x="1300" y="460"/>
                </a:cubicBezTo>
                <a:cubicBezTo>
                  <a:pt x="1300" y="460"/>
                  <a:pt x="1300" y="460"/>
                  <a:pt x="1300" y="460"/>
                </a:cubicBezTo>
                <a:cubicBezTo>
                  <a:pt x="1300" y="460"/>
                  <a:pt x="1300" y="460"/>
                  <a:pt x="1300" y="460"/>
                </a:cubicBezTo>
                <a:close/>
                <a:moveTo>
                  <a:pt x="1309" y="464"/>
                </a:moveTo>
                <a:cubicBezTo>
                  <a:pt x="1309" y="463"/>
                  <a:pt x="1309" y="463"/>
                  <a:pt x="1308" y="462"/>
                </a:cubicBezTo>
                <a:cubicBezTo>
                  <a:pt x="1308" y="462"/>
                  <a:pt x="1308" y="461"/>
                  <a:pt x="1308" y="461"/>
                </a:cubicBezTo>
                <a:cubicBezTo>
                  <a:pt x="1308" y="461"/>
                  <a:pt x="1307" y="461"/>
                  <a:pt x="1307" y="461"/>
                </a:cubicBezTo>
                <a:cubicBezTo>
                  <a:pt x="1307" y="461"/>
                  <a:pt x="1307" y="461"/>
                  <a:pt x="1307" y="461"/>
                </a:cubicBezTo>
                <a:cubicBezTo>
                  <a:pt x="1307" y="461"/>
                  <a:pt x="1307" y="461"/>
                  <a:pt x="1306" y="460"/>
                </a:cubicBezTo>
                <a:cubicBezTo>
                  <a:pt x="1307" y="460"/>
                  <a:pt x="1307" y="460"/>
                  <a:pt x="1307" y="460"/>
                </a:cubicBezTo>
                <a:cubicBezTo>
                  <a:pt x="1307" y="460"/>
                  <a:pt x="1307" y="460"/>
                  <a:pt x="1307" y="460"/>
                </a:cubicBezTo>
                <a:cubicBezTo>
                  <a:pt x="1307" y="460"/>
                  <a:pt x="1307" y="460"/>
                  <a:pt x="1307" y="460"/>
                </a:cubicBezTo>
                <a:cubicBezTo>
                  <a:pt x="1307" y="459"/>
                  <a:pt x="1307" y="459"/>
                  <a:pt x="1307" y="459"/>
                </a:cubicBezTo>
                <a:cubicBezTo>
                  <a:pt x="1306" y="459"/>
                  <a:pt x="1306" y="459"/>
                  <a:pt x="1306" y="459"/>
                </a:cubicBezTo>
                <a:cubicBezTo>
                  <a:pt x="1306" y="458"/>
                  <a:pt x="1306" y="458"/>
                  <a:pt x="1306" y="458"/>
                </a:cubicBezTo>
                <a:cubicBezTo>
                  <a:pt x="1306" y="458"/>
                  <a:pt x="1306" y="458"/>
                  <a:pt x="1306" y="458"/>
                </a:cubicBezTo>
                <a:cubicBezTo>
                  <a:pt x="1306" y="457"/>
                  <a:pt x="1306" y="457"/>
                  <a:pt x="1306" y="457"/>
                </a:cubicBezTo>
                <a:cubicBezTo>
                  <a:pt x="1305" y="457"/>
                  <a:pt x="1305" y="457"/>
                  <a:pt x="1305" y="456"/>
                </a:cubicBezTo>
                <a:cubicBezTo>
                  <a:pt x="1304" y="456"/>
                  <a:pt x="1304" y="457"/>
                  <a:pt x="1304" y="457"/>
                </a:cubicBezTo>
                <a:cubicBezTo>
                  <a:pt x="1304" y="457"/>
                  <a:pt x="1304" y="456"/>
                  <a:pt x="1304" y="456"/>
                </a:cubicBezTo>
                <a:cubicBezTo>
                  <a:pt x="1304" y="456"/>
                  <a:pt x="1304" y="456"/>
                  <a:pt x="1304" y="456"/>
                </a:cubicBezTo>
                <a:cubicBezTo>
                  <a:pt x="1303" y="456"/>
                  <a:pt x="1303" y="456"/>
                  <a:pt x="1303" y="456"/>
                </a:cubicBezTo>
                <a:cubicBezTo>
                  <a:pt x="1303" y="456"/>
                  <a:pt x="1303" y="456"/>
                  <a:pt x="1303" y="456"/>
                </a:cubicBezTo>
                <a:cubicBezTo>
                  <a:pt x="1303" y="456"/>
                  <a:pt x="1303" y="456"/>
                  <a:pt x="1303" y="456"/>
                </a:cubicBezTo>
                <a:cubicBezTo>
                  <a:pt x="1303" y="456"/>
                  <a:pt x="1303" y="456"/>
                  <a:pt x="1303" y="456"/>
                </a:cubicBezTo>
                <a:cubicBezTo>
                  <a:pt x="1303" y="456"/>
                  <a:pt x="1302" y="456"/>
                  <a:pt x="1302" y="456"/>
                </a:cubicBezTo>
                <a:cubicBezTo>
                  <a:pt x="1302" y="456"/>
                  <a:pt x="1302" y="456"/>
                  <a:pt x="1302" y="456"/>
                </a:cubicBezTo>
                <a:cubicBezTo>
                  <a:pt x="1302" y="457"/>
                  <a:pt x="1302" y="457"/>
                  <a:pt x="1302" y="457"/>
                </a:cubicBezTo>
                <a:cubicBezTo>
                  <a:pt x="1302" y="457"/>
                  <a:pt x="1302" y="457"/>
                  <a:pt x="1302" y="457"/>
                </a:cubicBezTo>
                <a:cubicBezTo>
                  <a:pt x="1302" y="457"/>
                  <a:pt x="1301" y="457"/>
                  <a:pt x="1301" y="457"/>
                </a:cubicBezTo>
                <a:cubicBezTo>
                  <a:pt x="1301" y="457"/>
                  <a:pt x="1301" y="457"/>
                  <a:pt x="1301" y="457"/>
                </a:cubicBezTo>
                <a:cubicBezTo>
                  <a:pt x="1301" y="457"/>
                  <a:pt x="1301" y="457"/>
                  <a:pt x="1300" y="457"/>
                </a:cubicBezTo>
                <a:cubicBezTo>
                  <a:pt x="1300" y="457"/>
                  <a:pt x="1300" y="457"/>
                  <a:pt x="1300" y="457"/>
                </a:cubicBezTo>
                <a:cubicBezTo>
                  <a:pt x="1300" y="457"/>
                  <a:pt x="1301" y="457"/>
                  <a:pt x="1301" y="457"/>
                </a:cubicBezTo>
                <a:cubicBezTo>
                  <a:pt x="1301" y="457"/>
                  <a:pt x="1301" y="457"/>
                  <a:pt x="1301" y="458"/>
                </a:cubicBezTo>
                <a:cubicBezTo>
                  <a:pt x="1301" y="458"/>
                  <a:pt x="1301" y="458"/>
                  <a:pt x="1301" y="458"/>
                </a:cubicBezTo>
                <a:cubicBezTo>
                  <a:pt x="1301" y="458"/>
                  <a:pt x="1301" y="458"/>
                  <a:pt x="1301" y="458"/>
                </a:cubicBezTo>
                <a:cubicBezTo>
                  <a:pt x="1301" y="459"/>
                  <a:pt x="1301" y="459"/>
                  <a:pt x="1301" y="459"/>
                </a:cubicBezTo>
                <a:cubicBezTo>
                  <a:pt x="1301" y="459"/>
                  <a:pt x="1300" y="460"/>
                  <a:pt x="1300" y="460"/>
                </a:cubicBezTo>
                <a:cubicBezTo>
                  <a:pt x="1300" y="460"/>
                  <a:pt x="1300" y="461"/>
                  <a:pt x="1300" y="461"/>
                </a:cubicBezTo>
                <a:cubicBezTo>
                  <a:pt x="1300" y="461"/>
                  <a:pt x="1300" y="462"/>
                  <a:pt x="1300" y="462"/>
                </a:cubicBezTo>
                <a:cubicBezTo>
                  <a:pt x="1300" y="462"/>
                  <a:pt x="1299" y="462"/>
                  <a:pt x="1299" y="462"/>
                </a:cubicBezTo>
                <a:cubicBezTo>
                  <a:pt x="1299" y="462"/>
                  <a:pt x="1299" y="463"/>
                  <a:pt x="1299" y="463"/>
                </a:cubicBezTo>
                <a:cubicBezTo>
                  <a:pt x="1299" y="463"/>
                  <a:pt x="1299" y="464"/>
                  <a:pt x="1299" y="464"/>
                </a:cubicBezTo>
                <a:cubicBezTo>
                  <a:pt x="1299" y="464"/>
                  <a:pt x="1299" y="465"/>
                  <a:pt x="1299" y="466"/>
                </a:cubicBezTo>
                <a:cubicBezTo>
                  <a:pt x="1300" y="466"/>
                  <a:pt x="1300" y="467"/>
                  <a:pt x="1300" y="468"/>
                </a:cubicBezTo>
                <a:cubicBezTo>
                  <a:pt x="1300" y="468"/>
                  <a:pt x="1300" y="468"/>
                  <a:pt x="1300" y="469"/>
                </a:cubicBezTo>
                <a:cubicBezTo>
                  <a:pt x="1301" y="469"/>
                  <a:pt x="1301" y="469"/>
                  <a:pt x="1301" y="469"/>
                </a:cubicBezTo>
                <a:cubicBezTo>
                  <a:pt x="1302" y="469"/>
                  <a:pt x="1302" y="469"/>
                  <a:pt x="1302" y="469"/>
                </a:cubicBezTo>
                <a:cubicBezTo>
                  <a:pt x="1303" y="470"/>
                  <a:pt x="1303" y="470"/>
                  <a:pt x="1304" y="470"/>
                </a:cubicBezTo>
                <a:cubicBezTo>
                  <a:pt x="1304" y="470"/>
                  <a:pt x="1305" y="470"/>
                  <a:pt x="1306" y="470"/>
                </a:cubicBezTo>
                <a:cubicBezTo>
                  <a:pt x="1306" y="469"/>
                  <a:pt x="1307" y="469"/>
                  <a:pt x="1307" y="469"/>
                </a:cubicBezTo>
                <a:cubicBezTo>
                  <a:pt x="1308" y="469"/>
                  <a:pt x="1308" y="468"/>
                  <a:pt x="1308" y="468"/>
                </a:cubicBezTo>
                <a:cubicBezTo>
                  <a:pt x="1308" y="468"/>
                  <a:pt x="1309" y="468"/>
                  <a:pt x="1309" y="467"/>
                </a:cubicBezTo>
                <a:cubicBezTo>
                  <a:pt x="1309" y="467"/>
                  <a:pt x="1309" y="467"/>
                  <a:pt x="1309" y="467"/>
                </a:cubicBezTo>
                <a:cubicBezTo>
                  <a:pt x="1309" y="467"/>
                  <a:pt x="1309" y="467"/>
                  <a:pt x="1309" y="467"/>
                </a:cubicBezTo>
                <a:cubicBezTo>
                  <a:pt x="1309" y="466"/>
                  <a:pt x="1309" y="466"/>
                  <a:pt x="1309" y="466"/>
                </a:cubicBezTo>
                <a:cubicBezTo>
                  <a:pt x="1309" y="465"/>
                  <a:pt x="1309" y="465"/>
                  <a:pt x="1309" y="465"/>
                </a:cubicBezTo>
                <a:cubicBezTo>
                  <a:pt x="1309" y="465"/>
                  <a:pt x="1309" y="465"/>
                  <a:pt x="1309" y="465"/>
                </a:cubicBezTo>
                <a:cubicBezTo>
                  <a:pt x="1309" y="464"/>
                  <a:pt x="1309" y="464"/>
                  <a:pt x="1309" y="464"/>
                </a:cubicBezTo>
                <a:close/>
                <a:moveTo>
                  <a:pt x="1302" y="454"/>
                </a:moveTo>
                <a:cubicBezTo>
                  <a:pt x="1301" y="454"/>
                  <a:pt x="1301" y="454"/>
                  <a:pt x="1301" y="454"/>
                </a:cubicBezTo>
                <a:cubicBezTo>
                  <a:pt x="1302" y="455"/>
                  <a:pt x="1302" y="455"/>
                  <a:pt x="1303" y="455"/>
                </a:cubicBezTo>
                <a:cubicBezTo>
                  <a:pt x="1303" y="455"/>
                  <a:pt x="1303" y="455"/>
                  <a:pt x="1303" y="455"/>
                </a:cubicBezTo>
                <a:cubicBezTo>
                  <a:pt x="1303" y="455"/>
                  <a:pt x="1303" y="455"/>
                  <a:pt x="1303" y="455"/>
                </a:cubicBezTo>
                <a:cubicBezTo>
                  <a:pt x="1303" y="455"/>
                  <a:pt x="1303" y="455"/>
                  <a:pt x="1303" y="454"/>
                </a:cubicBezTo>
                <a:cubicBezTo>
                  <a:pt x="1303" y="454"/>
                  <a:pt x="1303" y="454"/>
                  <a:pt x="1303" y="454"/>
                </a:cubicBezTo>
                <a:cubicBezTo>
                  <a:pt x="1303" y="454"/>
                  <a:pt x="1302" y="454"/>
                  <a:pt x="1302" y="454"/>
                </a:cubicBezTo>
                <a:close/>
                <a:moveTo>
                  <a:pt x="1303" y="455"/>
                </a:moveTo>
                <a:cubicBezTo>
                  <a:pt x="1303" y="455"/>
                  <a:pt x="1304" y="456"/>
                  <a:pt x="1304" y="456"/>
                </a:cubicBezTo>
                <a:cubicBezTo>
                  <a:pt x="1304" y="456"/>
                  <a:pt x="1304" y="456"/>
                  <a:pt x="1304" y="456"/>
                </a:cubicBezTo>
                <a:cubicBezTo>
                  <a:pt x="1305" y="456"/>
                  <a:pt x="1305" y="456"/>
                  <a:pt x="1305" y="456"/>
                </a:cubicBezTo>
                <a:cubicBezTo>
                  <a:pt x="1305" y="456"/>
                  <a:pt x="1306" y="457"/>
                  <a:pt x="1306" y="457"/>
                </a:cubicBezTo>
                <a:cubicBezTo>
                  <a:pt x="1306" y="457"/>
                  <a:pt x="1306" y="456"/>
                  <a:pt x="1306" y="456"/>
                </a:cubicBezTo>
                <a:cubicBezTo>
                  <a:pt x="1305" y="456"/>
                  <a:pt x="1305" y="456"/>
                  <a:pt x="1305" y="456"/>
                </a:cubicBezTo>
                <a:cubicBezTo>
                  <a:pt x="1305" y="455"/>
                  <a:pt x="1305" y="455"/>
                  <a:pt x="1305" y="455"/>
                </a:cubicBezTo>
                <a:cubicBezTo>
                  <a:pt x="1304" y="455"/>
                  <a:pt x="1304" y="455"/>
                  <a:pt x="1304" y="455"/>
                </a:cubicBezTo>
                <a:cubicBezTo>
                  <a:pt x="1304" y="455"/>
                  <a:pt x="1304" y="455"/>
                  <a:pt x="1304" y="455"/>
                </a:cubicBezTo>
                <a:cubicBezTo>
                  <a:pt x="1304" y="455"/>
                  <a:pt x="1304" y="455"/>
                  <a:pt x="1304" y="455"/>
                </a:cubicBezTo>
                <a:cubicBezTo>
                  <a:pt x="1304" y="455"/>
                  <a:pt x="1303" y="455"/>
                  <a:pt x="1303" y="455"/>
                </a:cubicBezTo>
                <a:cubicBezTo>
                  <a:pt x="1303" y="455"/>
                  <a:pt x="1303" y="455"/>
                  <a:pt x="1303" y="455"/>
                </a:cubicBezTo>
                <a:close/>
                <a:moveTo>
                  <a:pt x="1351" y="418"/>
                </a:moveTo>
                <a:cubicBezTo>
                  <a:pt x="1351" y="418"/>
                  <a:pt x="1351" y="418"/>
                  <a:pt x="1352" y="418"/>
                </a:cubicBezTo>
                <a:cubicBezTo>
                  <a:pt x="1352" y="418"/>
                  <a:pt x="1351" y="417"/>
                  <a:pt x="1351" y="417"/>
                </a:cubicBezTo>
                <a:cubicBezTo>
                  <a:pt x="1351" y="417"/>
                  <a:pt x="1351" y="418"/>
                  <a:pt x="1351" y="418"/>
                </a:cubicBezTo>
                <a:close/>
                <a:moveTo>
                  <a:pt x="1349" y="417"/>
                </a:moveTo>
                <a:cubicBezTo>
                  <a:pt x="1350" y="418"/>
                  <a:pt x="1350" y="418"/>
                  <a:pt x="1350" y="418"/>
                </a:cubicBezTo>
                <a:cubicBezTo>
                  <a:pt x="1350" y="418"/>
                  <a:pt x="1350" y="417"/>
                  <a:pt x="1350" y="417"/>
                </a:cubicBezTo>
                <a:cubicBezTo>
                  <a:pt x="1350" y="417"/>
                  <a:pt x="1350" y="417"/>
                  <a:pt x="1350" y="417"/>
                </a:cubicBezTo>
                <a:cubicBezTo>
                  <a:pt x="1349" y="417"/>
                  <a:pt x="1349" y="417"/>
                  <a:pt x="1349" y="417"/>
                </a:cubicBezTo>
                <a:close/>
                <a:moveTo>
                  <a:pt x="1350" y="417"/>
                </a:moveTo>
                <a:cubicBezTo>
                  <a:pt x="1350" y="418"/>
                  <a:pt x="1351" y="418"/>
                  <a:pt x="1351" y="418"/>
                </a:cubicBezTo>
                <a:cubicBezTo>
                  <a:pt x="1351" y="418"/>
                  <a:pt x="1351" y="417"/>
                  <a:pt x="1351" y="417"/>
                </a:cubicBezTo>
                <a:cubicBezTo>
                  <a:pt x="1351" y="417"/>
                  <a:pt x="1351" y="417"/>
                  <a:pt x="1351" y="417"/>
                </a:cubicBezTo>
                <a:cubicBezTo>
                  <a:pt x="1351" y="417"/>
                  <a:pt x="1351" y="417"/>
                  <a:pt x="1350" y="417"/>
                </a:cubicBezTo>
                <a:cubicBezTo>
                  <a:pt x="1350" y="417"/>
                  <a:pt x="1350" y="417"/>
                  <a:pt x="1350" y="417"/>
                </a:cubicBezTo>
                <a:close/>
                <a:moveTo>
                  <a:pt x="1348" y="417"/>
                </a:moveTo>
                <a:cubicBezTo>
                  <a:pt x="1348" y="417"/>
                  <a:pt x="1348" y="417"/>
                  <a:pt x="1348" y="417"/>
                </a:cubicBezTo>
                <a:cubicBezTo>
                  <a:pt x="1348" y="417"/>
                  <a:pt x="1348" y="417"/>
                  <a:pt x="1348" y="417"/>
                </a:cubicBezTo>
                <a:cubicBezTo>
                  <a:pt x="1349" y="417"/>
                  <a:pt x="1349" y="416"/>
                  <a:pt x="1349" y="416"/>
                </a:cubicBezTo>
                <a:cubicBezTo>
                  <a:pt x="1349" y="416"/>
                  <a:pt x="1349" y="416"/>
                  <a:pt x="1349" y="416"/>
                </a:cubicBezTo>
                <a:cubicBezTo>
                  <a:pt x="1349" y="416"/>
                  <a:pt x="1348" y="416"/>
                  <a:pt x="1348" y="417"/>
                </a:cubicBezTo>
                <a:close/>
                <a:moveTo>
                  <a:pt x="1366" y="417"/>
                </a:moveTo>
                <a:cubicBezTo>
                  <a:pt x="1366" y="417"/>
                  <a:pt x="1366" y="417"/>
                  <a:pt x="1366" y="417"/>
                </a:cubicBezTo>
                <a:cubicBezTo>
                  <a:pt x="1366" y="417"/>
                  <a:pt x="1365" y="417"/>
                  <a:pt x="1365" y="417"/>
                </a:cubicBezTo>
                <a:cubicBezTo>
                  <a:pt x="1365" y="417"/>
                  <a:pt x="1365" y="417"/>
                  <a:pt x="1365" y="418"/>
                </a:cubicBezTo>
                <a:cubicBezTo>
                  <a:pt x="1365" y="418"/>
                  <a:pt x="1365" y="418"/>
                  <a:pt x="1366" y="418"/>
                </a:cubicBezTo>
                <a:cubicBezTo>
                  <a:pt x="1366" y="417"/>
                  <a:pt x="1366" y="417"/>
                  <a:pt x="1366" y="417"/>
                </a:cubicBezTo>
                <a:close/>
                <a:moveTo>
                  <a:pt x="1364" y="418"/>
                </a:moveTo>
                <a:cubicBezTo>
                  <a:pt x="1364" y="418"/>
                  <a:pt x="1364" y="418"/>
                  <a:pt x="1365" y="417"/>
                </a:cubicBezTo>
                <a:cubicBezTo>
                  <a:pt x="1365" y="417"/>
                  <a:pt x="1365" y="417"/>
                  <a:pt x="1365" y="417"/>
                </a:cubicBezTo>
                <a:cubicBezTo>
                  <a:pt x="1364" y="417"/>
                  <a:pt x="1364" y="416"/>
                  <a:pt x="1363" y="416"/>
                </a:cubicBezTo>
                <a:cubicBezTo>
                  <a:pt x="1363" y="416"/>
                  <a:pt x="1363" y="416"/>
                  <a:pt x="1363" y="416"/>
                </a:cubicBezTo>
                <a:cubicBezTo>
                  <a:pt x="1363" y="417"/>
                  <a:pt x="1364" y="417"/>
                  <a:pt x="1364" y="417"/>
                </a:cubicBezTo>
                <a:cubicBezTo>
                  <a:pt x="1364" y="417"/>
                  <a:pt x="1364" y="417"/>
                  <a:pt x="1363" y="418"/>
                </a:cubicBezTo>
                <a:cubicBezTo>
                  <a:pt x="1364" y="418"/>
                  <a:pt x="1364" y="418"/>
                  <a:pt x="1364" y="418"/>
                </a:cubicBezTo>
                <a:close/>
                <a:moveTo>
                  <a:pt x="1363" y="416"/>
                </a:moveTo>
                <a:cubicBezTo>
                  <a:pt x="1363" y="416"/>
                  <a:pt x="1363" y="416"/>
                  <a:pt x="1363" y="415"/>
                </a:cubicBezTo>
                <a:cubicBezTo>
                  <a:pt x="1362" y="415"/>
                  <a:pt x="1362" y="416"/>
                  <a:pt x="1362" y="416"/>
                </a:cubicBezTo>
                <a:cubicBezTo>
                  <a:pt x="1362" y="416"/>
                  <a:pt x="1362" y="416"/>
                  <a:pt x="1361" y="416"/>
                </a:cubicBezTo>
                <a:cubicBezTo>
                  <a:pt x="1362" y="416"/>
                  <a:pt x="1362" y="417"/>
                  <a:pt x="1362" y="417"/>
                </a:cubicBezTo>
                <a:cubicBezTo>
                  <a:pt x="1362" y="417"/>
                  <a:pt x="1362" y="417"/>
                  <a:pt x="1363" y="417"/>
                </a:cubicBezTo>
                <a:cubicBezTo>
                  <a:pt x="1363" y="417"/>
                  <a:pt x="1363" y="417"/>
                  <a:pt x="1363" y="416"/>
                </a:cubicBezTo>
                <a:close/>
                <a:moveTo>
                  <a:pt x="959" y="224"/>
                </a:moveTo>
                <a:cubicBezTo>
                  <a:pt x="959" y="225"/>
                  <a:pt x="959" y="225"/>
                  <a:pt x="960" y="225"/>
                </a:cubicBezTo>
                <a:cubicBezTo>
                  <a:pt x="960" y="225"/>
                  <a:pt x="960" y="224"/>
                  <a:pt x="960" y="224"/>
                </a:cubicBezTo>
                <a:cubicBezTo>
                  <a:pt x="960" y="224"/>
                  <a:pt x="961" y="224"/>
                  <a:pt x="961" y="224"/>
                </a:cubicBezTo>
                <a:cubicBezTo>
                  <a:pt x="961" y="224"/>
                  <a:pt x="961" y="224"/>
                  <a:pt x="961" y="224"/>
                </a:cubicBezTo>
                <a:cubicBezTo>
                  <a:pt x="960" y="224"/>
                  <a:pt x="960" y="224"/>
                  <a:pt x="960" y="224"/>
                </a:cubicBezTo>
                <a:cubicBezTo>
                  <a:pt x="960" y="224"/>
                  <a:pt x="960" y="224"/>
                  <a:pt x="959" y="224"/>
                </a:cubicBezTo>
                <a:close/>
                <a:moveTo>
                  <a:pt x="955" y="221"/>
                </a:moveTo>
                <a:cubicBezTo>
                  <a:pt x="955" y="221"/>
                  <a:pt x="955" y="221"/>
                  <a:pt x="955" y="222"/>
                </a:cubicBezTo>
                <a:cubicBezTo>
                  <a:pt x="955" y="222"/>
                  <a:pt x="955" y="222"/>
                  <a:pt x="955" y="222"/>
                </a:cubicBezTo>
                <a:cubicBezTo>
                  <a:pt x="955" y="223"/>
                  <a:pt x="956" y="223"/>
                  <a:pt x="956" y="223"/>
                </a:cubicBezTo>
                <a:cubicBezTo>
                  <a:pt x="956" y="223"/>
                  <a:pt x="956" y="223"/>
                  <a:pt x="956" y="223"/>
                </a:cubicBezTo>
                <a:cubicBezTo>
                  <a:pt x="957" y="223"/>
                  <a:pt x="957" y="223"/>
                  <a:pt x="958" y="223"/>
                </a:cubicBezTo>
                <a:cubicBezTo>
                  <a:pt x="958" y="223"/>
                  <a:pt x="958" y="223"/>
                  <a:pt x="958" y="223"/>
                </a:cubicBezTo>
                <a:cubicBezTo>
                  <a:pt x="958" y="224"/>
                  <a:pt x="958" y="224"/>
                  <a:pt x="957" y="224"/>
                </a:cubicBezTo>
                <a:cubicBezTo>
                  <a:pt x="958" y="224"/>
                  <a:pt x="958" y="224"/>
                  <a:pt x="958" y="224"/>
                </a:cubicBezTo>
                <a:cubicBezTo>
                  <a:pt x="958" y="224"/>
                  <a:pt x="958" y="224"/>
                  <a:pt x="959" y="224"/>
                </a:cubicBezTo>
                <a:cubicBezTo>
                  <a:pt x="959" y="224"/>
                  <a:pt x="959" y="224"/>
                  <a:pt x="959" y="224"/>
                </a:cubicBezTo>
                <a:cubicBezTo>
                  <a:pt x="959" y="224"/>
                  <a:pt x="959" y="224"/>
                  <a:pt x="959" y="223"/>
                </a:cubicBezTo>
                <a:cubicBezTo>
                  <a:pt x="959" y="223"/>
                  <a:pt x="960" y="223"/>
                  <a:pt x="960" y="223"/>
                </a:cubicBezTo>
                <a:cubicBezTo>
                  <a:pt x="960" y="223"/>
                  <a:pt x="961" y="223"/>
                  <a:pt x="961" y="223"/>
                </a:cubicBezTo>
                <a:cubicBezTo>
                  <a:pt x="961" y="223"/>
                  <a:pt x="961" y="222"/>
                  <a:pt x="961" y="222"/>
                </a:cubicBezTo>
                <a:cubicBezTo>
                  <a:pt x="960" y="222"/>
                  <a:pt x="960" y="222"/>
                  <a:pt x="960" y="222"/>
                </a:cubicBezTo>
                <a:cubicBezTo>
                  <a:pt x="960" y="222"/>
                  <a:pt x="960" y="222"/>
                  <a:pt x="960" y="222"/>
                </a:cubicBezTo>
                <a:cubicBezTo>
                  <a:pt x="960" y="221"/>
                  <a:pt x="960" y="221"/>
                  <a:pt x="961" y="221"/>
                </a:cubicBezTo>
                <a:cubicBezTo>
                  <a:pt x="961" y="221"/>
                  <a:pt x="961" y="221"/>
                  <a:pt x="961" y="220"/>
                </a:cubicBezTo>
                <a:cubicBezTo>
                  <a:pt x="961" y="220"/>
                  <a:pt x="961" y="220"/>
                  <a:pt x="961" y="219"/>
                </a:cubicBezTo>
                <a:cubicBezTo>
                  <a:pt x="961" y="219"/>
                  <a:pt x="961" y="219"/>
                  <a:pt x="961" y="219"/>
                </a:cubicBezTo>
                <a:cubicBezTo>
                  <a:pt x="960" y="219"/>
                  <a:pt x="960" y="219"/>
                  <a:pt x="959" y="219"/>
                </a:cubicBezTo>
                <a:cubicBezTo>
                  <a:pt x="959" y="219"/>
                  <a:pt x="958" y="219"/>
                  <a:pt x="958" y="219"/>
                </a:cubicBezTo>
                <a:cubicBezTo>
                  <a:pt x="958" y="219"/>
                  <a:pt x="958" y="220"/>
                  <a:pt x="957" y="220"/>
                </a:cubicBezTo>
                <a:cubicBezTo>
                  <a:pt x="958" y="220"/>
                  <a:pt x="958" y="220"/>
                  <a:pt x="958" y="220"/>
                </a:cubicBezTo>
                <a:cubicBezTo>
                  <a:pt x="958" y="220"/>
                  <a:pt x="958" y="220"/>
                  <a:pt x="959" y="220"/>
                </a:cubicBezTo>
                <a:cubicBezTo>
                  <a:pt x="959" y="221"/>
                  <a:pt x="959" y="221"/>
                  <a:pt x="959" y="221"/>
                </a:cubicBezTo>
                <a:cubicBezTo>
                  <a:pt x="958" y="221"/>
                  <a:pt x="958" y="221"/>
                  <a:pt x="958" y="221"/>
                </a:cubicBezTo>
                <a:cubicBezTo>
                  <a:pt x="958" y="221"/>
                  <a:pt x="958" y="221"/>
                  <a:pt x="958" y="221"/>
                </a:cubicBezTo>
                <a:cubicBezTo>
                  <a:pt x="957" y="221"/>
                  <a:pt x="957" y="221"/>
                  <a:pt x="957" y="220"/>
                </a:cubicBezTo>
                <a:cubicBezTo>
                  <a:pt x="957" y="220"/>
                  <a:pt x="957" y="220"/>
                  <a:pt x="957" y="220"/>
                </a:cubicBezTo>
                <a:cubicBezTo>
                  <a:pt x="957" y="220"/>
                  <a:pt x="956" y="220"/>
                  <a:pt x="956" y="220"/>
                </a:cubicBezTo>
                <a:cubicBezTo>
                  <a:pt x="956" y="220"/>
                  <a:pt x="956" y="220"/>
                  <a:pt x="956" y="220"/>
                </a:cubicBezTo>
                <a:cubicBezTo>
                  <a:pt x="956" y="220"/>
                  <a:pt x="955" y="220"/>
                  <a:pt x="955" y="220"/>
                </a:cubicBezTo>
                <a:cubicBezTo>
                  <a:pt x="955" y="221"/>
                  <a:pt x="955" y="221"/>
                  <a:pt x="955" y="221"/>
                </a:cubicBezTo>
                <a:cubicBezTo>
                  <a:pt x="955" y="221"/>
                  <a:pt x="955" y="221"/>
                  <a:pt x="955" y="221"/>
                </a:cubicBezTo>
                <a:close/>
                <a:moveTo>
                  <a:pt x="961" y="221"/>
                </a:moveTo>
                <a:cubicBezTo>
                  <a:pt x="961" y="221"/>
                  <a:pt x="961" y="221"/>
                  <a:pt x="961" y="221"/>
                </a:cubicBezTo>
                <a:cubicBezTo>
                  <a:pt x="961" y="221"/>
                  <a:pt x="962" y="221"/>
                  <a:pt x="962" y="222"/>
                </a:cubicBezTo>
                <a:cubicBezTo>
                  <a:pt x="962" y="221"/>
                  <a:pt x="962" y="221"/>
                  <a:pt x="961" y="221"/>
                </a:cubicBezTo>
                <a:close/>
                <a:moveTo>
                  <a:pt x="974" y="225"/>
                </a:moveTo>
                <a:cubicBezTo>
                  <a:pt x="974" y="224"/>
                  <a:pt x="974" y="224"/>
                  <a:pt x="974" y="224"/>
                </a:cubicBezTo>
                <a:cubicBezTo>
                  <a:pt x="974" y="224"/>
                  <a:pt x="974" y="223"/>
                  <a:pt x="973" y="223"/>
                </a:cubicBezTo>
                <a:cubicBezTo>
                  <a:pt x="973" y="223"/>
                  <a:pt x="973" y="223"/>
                  <a:pt x="972" y="222"/>
                </a:cubicBezTo>
                <a:cubicBezTo>
                  <a:pt x="972" y="223"/>
                  <a:pt x="972" y="223"/>
                  <a:pt x="972" y="223"/>
                </a:cubicBezTo>
                <a:cubicBezTo>
                  <a:pt x="972" y="224"/>
                  <a:pt x="972" y="224"/>
                  <a:pt x="972" y="224"/>
                </a:cubicBezTo>
                <a:cubicBezTo>
                  <a:pt x="973" y="224"/>
                  <a:pt x="974" y="224"/>
                  <a:pt x="974" y="225"/>
                </a:cubicBezTo>
                <a:close/>
                <a:moveTo>
                  <a:pt x="953" y="223"/>
                </a:moveTo>
                <a:cubicBezTo>
                  <a:pt x="953" y="223"/>
                  <a:pt x="953" y="223"/>
                  <a:pt x="952" y="223"/>
                </a:cubicBezTo>
                <a:cubicBezTo>
                  <a:pt x="952" y="222"/>
                  <a:pt x="952" y="222"/>
                  <a:pt x="952" y="222"/>
                </a:cubicBezTo>
                <a:cubicBezTo>
                  <a:pt x="952" y="222"/>
                  <a:pt x="951" y="222"/>
                  <a:pt x="951" y="222"/>
                </a:cubicBezTo>
                <a:cubicBezTo>
                  <a:pt x="951" y="222"/>
                  <a:pt x="950" y="221"/>
                  <a:pt x="950" y="221"/>
                </a:cubicBezTo>
                <a:cubicBezTo>
                  <a:pt x="949" y="221"/>
                  <a:pt x="949" y="221"/>
                  <a:pt x="948" y="221"/>
                </a:cubicBezTo>
                <a:cubicBezTo>
                  <a:pt x="948" y="222"/>
                  <a:pt x="948" y="222"/>
                  <a:pt x="948" y="222"/>
                </a:cubicBezTo>
                <a:cubicBezTo>
                  <a:pt x="948" y="223"/>
                  <a:pt x="948" y="223"/>
                  <a:pt x="948" y="223"/>
                </a:cubicBezTo>
                <a:cubicBezTo>
                  <a:pt x="949" y="223"/>
                  <a:pt x="949" y="224"/>
                  <a:pt x="949" y="224"/>
                </a:cubicBezTo>
                <a:cubicBezTo>
                  <a:pt x="950" y="224"/>
                  <a:pt x="950" y="224"/>
                  <a:pt x="950" y="224"/>
                </a:cubicBezTo>
                <a:cubicBezTo>
                  <a:pt x="951" y="224"/>
                  <a:pt x="951" y="224"/>
                  <a:pt x="951" y="224"/>
                </a:cubicBezTo>
                <a:cubicBezTo>
                  <a:pt x="951" y="224"/>
                  <a:pt x="952" y="224"/>
                  <a:pt x="952" y="224"/>
                </a:cubicBezTo>
                <a:cubicBezTo>
                  <a:pt x="952" y="224"/>
                  <a:pt x="953" y="224"/>
                  <a:pt x="953" y="223"/>
                </a:cubicBezTo>
                <a:close/>
                <a:moveTo>
                  <a:pt x="955" y="225"/>
                </a:moveTo>
                <a:cubicBezTo>
                  <a:pt x="954" y="225"/>
                  <a:pt x="954" y="225"/>
                  <a:pt x="954" y="225"/>
                </a:cubicBezTo>
                <a:cubicBezTo>
                  <a:pt x="954" y="225"/>
                  <a:pt x="954" y="226"/>
                  <a:pt x="954" y="226"/>
                </a:cubicBezTo>
                <a:cubicBezTo>
                  <a:pt x="955" y="226"/>
                  <a:pt x="955" y="226"/>
                  <a:pt x="956" y="226"/>
                </a:cubicBezTo>
                <a:cubicBezTo>
                  <a:pt x="957" y="226"/>
                  <a:pt x="957" y="226"/>
                  <a:pt x="958" y="226"/>
                </a:cubicBezTo>
                <a:cubicBezTo>
                  <a:pt x="958" y="226"/>
                  <a:pt x="958" y="226"/>
                  <a:pt x="958" y="226"/>
                </a:cubicBezTo>
                <a:cubicBezTo>
                  <a:pt x="958" y="226"/>
                  <a:pt x="958" y="226"/>
                  <a:pt x="958" y="226"/>
                </a:cubicBezTo>
                <a:cubicBezTo>
                  <a:pt x="958" y="226"/>
                  <a:pt x="959" y="226"/>
                  <a:pt x="959" y="226"/>
                </a:cubicBezTo>
                <a:cubicBezTo>
                  <a:pt x="959" y="226"/>
                  <a:pt x="959" y="226"/>
                  <a:pt x="959" y="226"/>
                </a:cubicBezTo>
                <a:cubicBezTo>
                  <a:pt x="959" y="225"/>
                  <a:pt x="959" y="225"/>
                  <a:pt x="959" y="225"/>
                </a:cubicBezTo>
                <a:cubicBezTo>
                  <a:pt x="959" y="225"/>
                  <a:pt x="959" y="225"/>
                  <a:pt x="959" y="225"/>
                </a:cubicBezTo>
                <a:cubicBezTo>
                  <a:pt x="959" y="225"/>
                  <a:pt x="959" y="225"/>
                  <a:pt x="959" y="225"/>
                </a:cubicBezTo>
                <a:cubicBezTo>
                  <a:pt x="958" y="225"/>
                  <a:pt x="958" y="225"/>
                  <a:pt x="958" y="225"/>
                </a:cubicBezTo>
                <a:cubicBezTo>
                  <a:pt x="958" y="225"/>
                  <a:pt x="958" y="225"/>
                  <a:pt x="957" y="225"/>
                </a:cubicBezTo>
                <a:cubicBezTo>
                  <a:pt x="957" y="225"/>
                  <a:pt x="957" y="225"/>
                  <a:pt x="957" y="225"/>
                </a:cubicBezTo>
                <a:cubicBezTo>
                  <a:pt x="957" y="225"/>
                  <a:pt x="956" y="225"/>
                  <a:pt x="956" y="225"/>
                </a:cubicBezTo>
                <a:cubicBezTo>
                  <a:pt x="956" y="225"/>
                  <a:pt x="956" y="225"/>
                  <a:pt x="955" y="224"/>
                </a:cubicBezTo>
                <a:cubicBezTo>
                  <a:pt x="955" y="224"/>
                  <a:pt x="955" y="224"/>
                  <a:pt x="955" y="224"/>
                </a:cubicBezTo>
                <a:cubicBezTo>
                  <a:pt x="954" y="225"/>
                  <a:pt x="954" y="225"/>
                  <a:pt x="954" y="225"/>
                </a:cubicBezTo>
                <a:cubicBezTo>
                  <a:pt x="954" y="225"/>
                  <a:pt x="954" y="225"/>
                  <a:pt x="955" y="225"/>
                </a:cubicBezTo>
                <a:close/>
                <a:moveTo>
                  <a:pt x="965" y="227"/>
                </a:moveTo>
                <a:cubicBezTo>
                  <a:pt x="964" y="227"/>
                  <a:pt x="964" y="227"/>
                  <a:pt x="964" y="227"/>
                </a:cubicBezTo>
                <a:cubicBezTo>
                  <a:pt x="964" y="228"/>
                  <a:pt x="965" y="228"/>
                  <a:pt x="965" y="228"/>
                </a:cubicBezTo>
                <a:cubicBezTo>
                  <a:pt x="965" y="228"/>
                  <a:pt x="965" y="228"/>
                  <a:pt x="966" y="228"/>
                </a:cubicBezTo>
                <a:cubicBezTo>
                  <a:pt x="966" y="228"/>
                  <a:pt x="966" y="228"/>
                  <a:pt x="966" y="227"/>
                </a:cubicBezTo>
                <a:cubicBezTo>
                  <a:pt x="967" y="227"/>
                  <a:pt x="967" y="227"/>
                  <a:pt x="967" y="227"/>
                </a:cubicBezTo>
                <a:cubicBezTo>
                  <a:pt x="967" y="227"/>
                  <a:pt x="967" y="227"/>
                  <a:pt x="967" y="227"/>
                </a:cubicBezTo>
                <a:cubicBezTo>
                  <a:pt x="967" y="227"/>
                  <a:pt x="967" y="227"/>
                  <a:pt x="967" y="227"/>
                </a:cubicBezTo>
                <a:cubicBezTo>
                  <a:pt x="967" y="226"/>
                  <a:pt x="967" y="226"/>
                  <a:pt x="967" y="226"/>
                </a:cubicBezTo>
                <a:cubicBezTo>
                  <a:pt x="967" y="226"/>
                  <a:pt x="966" y="226"/>
                  <a:pt x="966" y="226"/>
                </a:cubicBezTo>
                <a:cubicBezTo>
                  <a:pt x="966" y="226"/>
                  <a:pt x="966" y="226"/>
                  <a:pt x="966" y="226"/>
                </a:cubicBezTo>
                <a:cubicBezTo>
                  <a:pt x="966" y="226"/>
                  <a:pt x="966" y="226"/>
                  <a:pt x="965" y="226"/>
                </a:cubicBezTo>
                <a:cubicBezTo>
                  <a:pt x="965" y="226"/>
                  <a:pt x="965" y="226"/>
                  <a:pt x="965" y="226"/>
                </a:cubicBezTo>
                <a:cubicBezTo>
                  <a:pt x="965" y="226"/>
                  <a:pt x="965" y="226"/>
                  <a:pt x="965" y="226"/>
                </a:cubicBezTo>
                <a:cubicBezTo>
                  <a:pt x="965" y="226"/>
                  <a:pt x="965" y="226"/>
                  <a:pt x="966" y="226"/>
                </a:cubicBezTo>
                <a:cubicBezTo>
                  <a:pt x="965" y="227"/>
                  <a:pt x="965" y="227"/>
                  <a:pt x="965" y="227"/>
                </a:cubicBezTo>
                <a:cubicBezTo>
                  <a:pt x="965" y="227"/>
                  <a:pt x="965" y="227"/>
                  <a:pt x="965" y="227"/>
                </a:cubicBezTo>
                <a:close/>
                <a:moveTo>
                  <a:pt x="953" y="212"/>
                </a:moveTo>
                <a:cubicBezTo>
                  <a:pt x="953" y="212"/>
                  <a:pt x="953" y="212"/>
                  <a:pt x="953" y="212"/>
                </a:cubicBezTo>
                <a:cubicBezTo>
                  <a:pt x="954" y="212"/>
                  <a:pt x="954" y="212"/>
                  <a:pt x="954" y="212"/>
                </a:cubicBezTo>
                <a:cubicBezTo>
                  <a:pt x="954" y="212"/>
                  <a:pt x="954" y="212"/>
                  <a:pt x="953" y="212"/>
                </a:cubicBezTo>
                <a:cubicBezTo>
                  <a:pt x="953" y="212"/>
                  <a:pt x="953" y="212"/>
                  <a:pt x="953" y="212"/>
                </a:cubicBezTo>
                <a:close/>
                <a:moveTo>
                  <a:pt x="943" y="215"/>
                </a:moveTo>
                <a:cubicBezTo>
                  <a:pt x="943" y="215"/>
                  <a:pt x="943" y="215"/>
                  <a:pt x="943" y="216"/>
                </a:cubicBezTo>
                <a:cubicBezTo>
                  <a:pt x="943" y="216"/>
                  <a:pt x="943" y="216"/>
                  <a:pt x="943" y="216"/>
                </a:cubicBezTo>
                <a:cubicBezTo>
                  <a:pt x="943" y="215"/>
                  <a:pt x="944" y="215"/>
                  <a:pt x="944" y="215"/>
                </a:cubicBezTo>
                <a:cubicBezTo>
                  <a:pt x="944" y="215"/>
                  <a:pt x="944" y="215"/>
                  <a:pt x="944" y="214"/>
                </a:cubicBezTo>
                <a:cubicBezTo>
                  <a:pt x="944" y="214"/>
                  <a:pt x="944" y="214"/>
                  <a:pt x="943" y="214"/>
                </a:cubicBezTo>
                <a:cubicBezTo>
                  <a:pt x="943" y="215"/>
                  <a:pt x="943" y="215"/>
                  <a:pt x="943" y="215"/>
                </a:cubicBezTo>
                <a:close/>
                <a:moveTo>
                  <a:pt x="953" y="225"/>
                </a:moveTo>
                <a:cubicBezTo>
                  <a:pt x="953" y="224"/>
                  <a:pt x="954" y="224"/>
                  <a:pt x="954" y="224"/>
                </a:cubicBezTo>
                <a:cubicBezTo>
                  <a:pt x="954" y="224"/>
                  <a:pt x="953" y="223"/>
                  <a:pt x="953" y="223"/>
                </a:cubicBezTo>
                <a:cubicBezTo>
                  <a:pt x="953" y="224"/>
                  <a:pt x="953" y="224"/>
                  <a:pt x="953" y="224"/>
                </a:cubicBezTo>
                <a:cubicBezTo>
                  <a:pt x="953" y="225"/>
                  <a:pt x="953" y="225"/>
                  <a:pt x="952" y="225"/>
                </a:cubicBezTo>
                <a:cubicBezTo>
                  <a:pt x="953" y="225"/>
                  <a:pt x="953" y="225"/>
                  <a:pt x="953" y="225"/>
                </a:cubicBezTo>
                <a:cubicBezTo>
                  <a:pt x="953" y="225"/>
                  <a:pt x="953" y="225"/>
                  <a:pt x="953" y="225"/>
                </a:cubicBezTo>
                <a:close/>
                <a:moveTo>
                  <a:pt x="951" y="210"/>
                </a:moveTo>
                <a:cubicBezTo>
                  <a:pt x="951" y="210"/>
                  <a:pt x="950" y="210"/>
                  <a:pt x="950" y="211"/>
                </a:cubicBezTo>
                <a:cubicBezTo>
                  <a:pt x="949" y="211"/>
                  <a:pt x="949" y="211"/>
                  <a:pt x="948" y="211"/>
                </a:cubicBezTo>
                <a:cubicBezTo>
                  <a:pt x="948" y="211"/>
                  <a:pt x="948" y="211"/>
                  <a:pt x="947" y="211"/>
                </a:cubicBezTo>
                <a:cubicBezTo>
                  <a:pt x="947" y="211"/>
                  <a:pt x="947" y="212"/>
                  <a:pt x="947" y="212"/>
                </a:cubicBezTo>
                <a:cubicBezTo>
                  <a:pt x="947" y="212"/>
                  <a:pt x="946" y="212"/>
                  <a:pt x="946" y="213"/>
                </a:cubicBezTo>
                <a:cubicBezTo>
                  <a:pt x="946" y="213"/>
                  <a:pt x="946" y="213"/>
                  <a:pt x="945" y="213"/>
                </a:cubicBezTo>
                <a:cubicBezTo>
                  <a:pt x="945" y="213"/>
                  <a:pt x="944" y="213"/>
                  <a:pt x="944" y="213"/>
                </a:cubicBezTo>
                <a:cubicBezTo>
                  <a:pt x="943" y="213"/>
                  <a:pt x="943" y="214"/>
                  <a:pt x="943" y="214"/>
                </a:cubicBezTo>
                <a:cubicBezTo>
                  <a:pt x="942" y="214"/>
                  <a:pt x="942" y="214"/>
                  <a:pt x="942" y="214"/>
                </a:cubicBezTo>
                <a:cubicBezTo>
                  <a:pt x="942" y="214"/>
                  <a:pt x="942" y="214"/>
                  <a:pt x="941" y="214"/>
                </a:cubicBezTo>
                <a:cubicBezTo>
                  <a:pt x="941" y="214"/>
                  <a:pt x="941" y="214"/>
                  <a:pt x="941" y="215"/>
                </a:cubicBezTo>
                <a:cubicBezTo>
                  <a:pt x="941" y="215"/>
                  <a:pt x="940" y="215"/>
                  <a:pt x="940" y="215"/>
                </a:cubicBezTo>
                <a:cubicBezTo>
                  <a:pt x="940" y="215"/>
                  <a:pt x="940" y="215"/>
                  <a:pt x="941" y="215"/>
                </a:cubicBezTo>
                <a:cubicBezTo>
                  <a:pt x="941" y="215"/>
                  <a:pt x="941" y="215"/>
                  <a:pt x="941" y="215"/>
                </a:cubicBezTo>
                <a:cubicBezTo>
                  <a:pt x="941" y="215"/>
                  <a:pt x="942" y="216"/>
                  <a:pt x="942" y="216"/>
                </a:cubicBezTo>
                <a:cubicBezTo>
                  <a:pt x="942" y="216"/>
                  <a:pt x="942" y="215"/>
                  <a:pt x="942" y="215"/>
                </a:cubicBezTo>
                <a:cubicBezTo>
                  <a:pt x="942" y="215"/>
                  <a:pt x="942" y="215"/>
                  <a:pt x="942" y="215"/>
                </a:cubicBezTo>
                <a:cubicBezTo>
                  <a:pt x="943" y="214"/>
                  <a:pt x="944" y="214"/>
                  <a:pt x="944" y="214"/>
                </a:cubicBezTo>
                <a:cubicBezTo>
                  <a:pt x="944" y="214"/>
                  <a:pt x="944" y="214"/>
                  <a:pt x="944" y="214"/>
                </a:cubicBezTo>
                <a:cubicBezTo>
                  <a:pt x="945" y="214"/>
                  <a:pt x="945" y="214"/>
                  <a:pt x="945" y="214"/>
                </a:cubicBezTo>
                <a:cubicBezTo>
                  <a:pt x="946" y="214"/>
                  <a:pt x="946" y="214"/>
                  <a:pt x="947" y="214"/>
                </a:cubicBezTo>
                <a:cubicBezTo>
                  <a:pt x="947" y="214"/>
                  <a:pt x="947" y="214"/>
                  <a:pt x="947" y="214"/>
                </a:cubicBezTo>
                <a:cubicBezTo>
                  <a:pt x="948" y="214"/>
                  <a:pt x="948" y="214"/>
                  <a:pt x="948" y="214"/>
                </a:cubicBezTo>
                <a:cubicBezTo>
                  <a:pt x="949" y="214"/>
                  <a:pt x="949" y="214"/>
                  <a:pt x="949" y="214"/>
                </a:cubicBezTo>
                <a:cubicBezTo>
                  <a:pt x="950" y="214"/>
                  <a:pt x="950" y="214"/>
                  <a:pt x="950" y="214"/>
                </a:cubicBezTo>
                <a:cubicBezTo>
                  <a:pt x="950" y="213"/>
                  <a:pt x="951" y="213"/>
                  <a:pt x="951" y="213"/>
                </a:cubicBezTo>
                <a:cubicBezTo>
                  <a:pt x="951" y="212"/>
                  <a:pt x="951" y="212"/>
                  <a:pt x="951" y="212"/>
                </a:cubicBezTo>
                <a:cubicBezTo>
                  <a:pt x="951" y="212"/>
                  <a:pt x="951" y="212"/>
                  <a:pt x="951" y="212"/>
                </a:cubicBezTo>
                <a:cubicBezTo>
                  <a:pt x="951" y="211"/>
                  <a:pt x="951" y="211"/>
                  <a:pt x="951" y="211"/>
                </a:cubicBezTo>
                <a:cubicBezTo>
                  <a:pt x="951" y="211"/>
                  <a:pt x="951" y="210"/>
                  <a:pt x="952" y="210"/>
                </a:cubicBezTo>
                <a:cubicBezTo>
                  <a:pt x="952" y="210"/>
                  <a:pt x="951" y="210"/>
                  <a:pt x="951" y="210"/>
                </a:cubicBezTo>
                <a:close/>
                <a:moveTo>
                  <a:pt x="951" y="225"/>
                </a:moveTo>
                <a:cubicBezTo>
                  <a:pt x="952" y="225"/>
                  <a:pt x="952" y="225"/>
                  <a:pt x="952" y="225"/>
                </a:cubicBezTo>
                <a:cubicBezTo>
                  <a:pt x="951" y="225"/>
                  <a:pt x="951" y="225"/>
                  <a:pt x="951" y="225"/>
                </a:cubicBezTo>
                <a:cubicBezTo>
                  <a:pt x="951" y="225"/>
                  <a:pt x="951" y="225"/>
                  <a:pt x="951" y="225"/>
                </a:cubicBezTo>
                <a:close/>
                <a:moveTo>
                  <a:pt x="952" y="220"/>
                </a:moveTo>
                <a:cubicBezTo>
                  <a:pt x="952" y="220"/>
                  <a:pt x="952" y="219"/>
                  <a:pt x="952" y="219"/>
                </a:cubicBezTo>
                <a:cubicBezTo>
                  <a:pt x="952" y="219"/>
                  <a:pt x="952" y="220"/>
                  <a:pt x="952" y="220"/>
                </a:cubicBezTo>
                <a:cubicBezTo>
                  <a:pt x="952" y="220"/>
                  <a:pt x="951" y="220"/>
                  <a:pt x="951" y="221"/>
                </a:cubicBezTo>
                <a:cubicBezTo>
                  <a:pt x="952" y="221"/>
                  <a:pt x="952" y="221"/>
                  <a:pt x="952" y="220"/>
                </a:cubicBezTo>
                <a:cubicBezTo>
                  <a:pt x="952" y="220"/>
                  <a:pt x="952" y="220"/>
                  <a:pt x="952" y="220"/>
                </a:cubicBezTo>
                <a:close/>
                <a:moveTo>
                  <a:pt x="969" y="144"/>
                </a:moveTo>
                <a:cubicBezTo>
                  <a:pt x="969" y="144"/>
                  <a:pt x="970" y="144"/>
                  <a:pt x="970" y="143"/>
                </a:cubicBezTo>
                <a:cubicBezTo>
                  <a:pt x="970" y="143"/>
                  <a:pt x="971" y="143"/>
                  <a:pt x="971" y="143"/>
                </a:cubicBezTo>
                <a:cubicBezTo>
                  <a:pt x="972" y="142"/>
                  <a:pt x="972" y="142"/>
                  <a:pt x="973" y="142"/>
                </a:cubicBezTo>
                <a:cubicBezTo>
                  <a:pt x="973" y="141"/>
                  <a:pt x="972" y="141"/>
                  <a:pt x="972" y="141"/>
                </a:cubicBezTo>
                <a:cubicBezTo>
                  <a:pt x="971" y="141"/>
                  <a:pt x="971" y="140"/>
                  <a:pt x="971" y="140"/>
                </a:cubicBezTo>
                <a:cubicBezTo>
                  <a:pt x="971" y="140"/>
                  <a:pt x="971" y="141"/>
                  <a:pt x="971" y="141"/>
                </a:cubicBezTo>
                <a:cubicBezTo>
                  <a:pt x="971" y="141"/>
                  <a:pt x="971" y="141"/>
                  <a:pt x="972" y="141"/>
                </a:cubicBezTo>
                <a:cubicBezTo>
                  <a:pt x="971" y="141"/>
                  <a:pt x="970" y="141"/>
                  <a:pt x="970" y="141"/>
                </a:cubicBezTo>
                <a:cubicBezTo>
                  <a:pt x="969" y="142"/>
                  <a:pt x="969" y="142"/>
                  <a:pt x="969" y="142"/>
                </a:cubicBezTo>
                <a:cubicBezTo>
                  <a:pt x="969" y="142"/>
                  <a:pt x="969" y="142"/>
                  <a:pt x="969" y="142"/>
                </a:cubicBezTo>
                <a:cubicBezTo>
                  <a:pt x="969" y="141"/>
                  <a:pt x="969" y="140"/>
                  <a:pt x="969" y="140"/>
                </a:cubicBezTo>
                <a:cubicBezTo>
                  <a:pt x="969" y="140"/>
                  <a:pt x="968" y="141"/>
                  <a:pt x="968" y="141"/>
                </a:cubicBezTo>
                <a:cubicBezTo>
                  <a:pt x="968" y="141"/>
                  <a:pt x="968" y="142"/>
                  <a:pt x="968" y="142"/>
                </a:cubicBezTo>
                <a:cubicBezTo>
                  <a:pt x="968" y="142"/>
                  <a:pt x="967" y="142"/>
                  <a:pt x="967" y="142"/>
                </a:cubicBezTo>
                <a:cubicBezTo>
                  <a:pt x="967" y="143"/>
                  <a:pt x="967" y="143"/>
                  <a:pt x="967" y="143"/>
                </a:cubicBezTo>
                <a:cubicBezTo>
                  <a:pt x="967" y="143"/>
                  <a:pt x="967" y="143"/>
                  <a:pt x="967" y="143"/>
                </a:cubicBezTo>
                <a:cubicBezTo>
                  <a:pt x="967" y="144"/>
                  <a:pt x="967" y="144"/>
                  <a:pt x="966" y="144"/>
                </a:cubicBezTo>
                <a:cubicBezTo>
                  <a:pt x="967" y="144"/>
                  <a:pt x="967" y="144"/>
                  <a:pt x="967" y="144"/>
                </a:cubicBezTo>
                <a:cubicBezTo>
                  <a:pt x="968" y="144"/>
                  <a:pt x="968" y="143"/>
                  <a:pt x="968" y="143"/>
                </a:cubicBezTo>
                <a:cubicBezTo>
                  <a:pt x="968" y="143"/>
                  <a:pt x="968" y="144"/>
                  <a:pt x="968" y="144"/>
                </a:cubicBezTo>
                <a:cubicBezTo>
                  <a:pt x="969" y="144"/>
                  <a:pt x="969" y="144"/>
                  <a:pt x="969" y="144"/>
                </a:cubicBezTo>
                <a:close/>
                <a:moveTo>
                  <a:pt x="1002" y="129"/>
                </a:moveTo>
                <a:cubicBezTo>
                  <a:pt x="1002" y="129"/>
                  <a:pt x="1002" y="129"/>
                  <a:pt x="1003" y="128"/>
                </a:cubicBezTo>
                <a:cubicBezTo>
                  <a:pt x="1002" y="128"/>
                  <a:pt x="1002" y="128"/>
                  <a:pt x="1002" y="128"/>
                </a:cubicBezTo>
                <a:cubicBezTo>
                  <a:pt x="1001" y="128"/>
                  <a:pt x="1001" y="128"/>
                  <a:pt x="1000" y="129"/>
                </a:cubicBezTo>
                <a:cubicBezTo>
                  <a:pt x="1001" y="129"/>
                  <a:pt x="1001" y="129"/>
                  <a:pt x="1001" y="130"/>
                </a:cubicBezTo>
                <a:cubicBezTo>
                  <a:pt x="1001" y="130"/>
                  <a:pt x="1001" y="129"/>
                  <a:pt x="1002" y="129"/>
                </a:cubicBezTo>
                <a:close/>
                <a:moveTo>
                  <a:pt x="965" y="142"/>
                </a:moveTo>
                <a:cubicBezTo>
                  <a:pt x="965" y="143"/>
                  <a:pt x="964" y="143"/>
                  <a:pt x="964" y="143"/>
                </a:cubicBezTo>
                <a:cubicBezTo>
                  <a:pt x="965" y="143"/>
                  <a:pt x="965" y="143"/>
                  <a:pt x="966" y="143"/>
                </a:cubicBezTo>
                <a:cubicBezTo>
                  <a:pt x="965" y="143"/>
                  <a:pt x="965" y="143"/>
                  <a:pt x="965" y="142"/>
                </a:cubicBezTo>
                <a:close/>
                <a:moveTo>
                  <a:pt x="964" y="153"/>
                </a:moveTo>
                <a:cubicBezTo>
                  <a:pt x="964" y="153"/>
                  <a:pt x="964" y="152"/>
                  <a:pt x="964" y="152"/>
                </a:cubicBezTo>
                <a:cubicBezTo>
                  <a:pt x="964" y="152"/>
                  <a:pt x="964" y="152"/>
                  <a:pt x="963" y="152"/>
                </a:cubicBezTo>
                <a:cubicBezTo>
                  <a:pt x="963" y="152"/>
                  <a:pt x="963" y="152"/>
                  <a:pt x="963" y="152"/>
                </a:cubicBezTo>
                <a:cubicBezTo>
                  <a:pt x="963" y="153"/>
                  <a:pt x="963" y="153"/>
                  <a:pt x="964" y="153"/>
                </a:cubicBezTo>
                <a:close/>
                <a:moveTo>
                  <a:pt x="966" y="145"/>
                </a:moveTo>
                <a:cubicBezTo>
                  <a:pt x="966" y="144"/>
                  <a:pt x="966" y="144"/>
                  <a:pt x="966" y="143"/>
                </a:cubicBezTo>
                <a:cubicBezTo>
                  <a:pt x="965" y="144"/>
                  <a:pt x="964" y="144"/>
                  <a:pt x="963" y="144"/>
                </a:cubicBezTo>
                <a:cubicBezTo>
                  <a:pt x="963" y="145"/>
                  <a:pt x="963" y="145"/>
                  <a:pt x="963" y="145"/>
                </a:cubicBezTo>
                <a:cubicBezTo>
                  <a:pt x="963" y="145"/>
                  <a:pt x="964" y="145"/>
                  <a:pt x="964" y="144"/>
                </a:cubicBezTo>
                <a:cubicBezTo>
                  <a:pt x="965" y="145"/>
                  <a:pt x="965" y="145"/>
                  <a:pt x="966" y="145"/>
                </a:cubicBezTo>
                <a:close/>
                <a:moveTo>
                  <a:pt x="967" y="141"/>
                </a:moveTo>
                <a:cubicBezTo>
                  <a:pt x="967" y="140"/>
                  <a:pt x="967" y="140"/>
                  <a:pt x="966" y="140"/>
                </a:cubicBezTo>
                <a:cubicBezTo>
                  <a:pt x="966" y="140"/>
                  <a:pt x="966" y="140"/>
                  <a:pt x="966" y="140"/>
                </a:cubicBezTo>
                <a:cubicBezTo>
                  <a:pt x="966" y="140"/>
                  <a:pt x="966" y="140"/>
                  <a:pt x="966" y="140"/>
                </a:cubicBezTo>
                <a:cubicBezTo>
                  <a:pt x="966" y="140"/>
                  <a:pt x="965" y="141"/>
                  <a:pt x="965" y="141"/>
                </a:cubicBezTo>
                <a:cubicBezTo>
                  <a:pt x="965" y="141"/>
                  <a:pt x="964" y="141"/>
                  <a:pt x="964" y="141"/>
                </a:cubicBezTo>
                <a:cubicBezTo>
                  <a:pt x="964" y="141"/>
                  <a:pt x="964" y="141"/>
                  <a:pt x="963" y="141"/>
                </a:cubicBezTo>
                <a:cubicBezTo>
                  <a:pt x="964" y="142"/>
                  <a:pt x="964" y="142"/>
                  <a:pt x="964" y="142"/>
                </a:cubicBezTo>
                <a:cubicBezTo>
                  <a:pt x="964" y="142"/>
                  <a:pt x="965" y="141"/>
                  <a:pt x="965" y="141"/>
                </a:cubicBezTo>
                <a:cubicBezTo>
                  <a:pt x="966" y="141"/>
                  <a:pt x="966" y="141"/>
                  <a:pt x="966" y="141"/>
                </a:cubicBezTo>
                <a:cubicBezTo>
                  <a:pt x="966" y="141"/>
                  <a:pt x="965" y="142"/>
                  <a:pt x="965" y="142"/>
                </a:cubicBezTo>
                <a:cubicBezTo>
                  <a:pt x="965" y="142"/>
                  <a:pt x="965" y="142"/>
                  <a:pt x="965" y="142"/>
                </a:cubicBezTo>
                <a:cubicBezTo>
                  <a:pt x="966" y="142"/>
                  <a:pt x="966" y="142"/>
                  <a:pt x="967" y="142"/>
                </a:cubicBezTo>
                <a:cubicBezTo>
                  <a:pt x="967" y="142"/>
                  <a:pt x="967" y="141"/>
                  <a:pt x="967" y="141"/>
                </a:cubicBezTo>
                <a:close/>
                <a:moveTo>
                  <a:pt x="973" y="140"/>
                </a:moveTo>
                <a:cubicBezTo>
                  <a:pt x="973" y="140"/>
                  <a:pt x="972" y="140"/>
                  <a:pt x="972" y="139"/>
                </a:cubicBezTo>
                <a:cubicBezTo>
                  <a:pt x="972" y="139"/>
                  <a:pt x="971" y="140"/>
                  <a:pt x="971" y="140"/>
                </a:cubicBezTo>
                <a:cubicBezTo>
                  <a:pt x="971" y="140"/>
                  <a:pt x="971" y="140"/>
                  <a:pt x="971" y="140"/>
                </a:cubicBezTo>
                <a:cubicBezTo>
                  <a:pt x="972" y="140"/>
                  <a:pt x="973" y="140"/>
                  <a:pt x="973" y="140"/>
                </a:cubicBezTo>
                <a:cubicBezTo>
                  <a:pt x="973" y="140"/>
                  <a:pt x="973" y="140"/>
                  <a:pt x="973" y="140"/>
                </a:cubicBezTo>
                <a:close/>
                <a:moveTo>
                  <a:pt x="956" y="159"/>
                </a:moveTo>
                <a:cubicBezTo>
                  <a:pt x="956" y="159"/>
                  <a:pt x="956" y="160"/>
                  <a:pt x="956" y="160"/>
                </a:cubicBezTo>
                <a:cubicBezTo>
                  <a:pt x="956" y="160"/>
                  <a:pt x="957" y="159"/>
                  <a:pt x="957" y="159"/>
                </a:cubicBezTo>
                <a:cubicBezTo>
                  <a:pt x="957" y="159"/>
                  <a:pt x="957" y="159"/>
                  <a:pt x="957" y="158"/>
                </a:cubicBezTo>
                <a:cubicBezTo>
                  <a:pt x="957" y="159"/>
                  <a:pt x="956" y="159"/>
                  <a:pt x="956" y="159"/>
                </a:cubicBezTo>
                <a:close/>
                <a:moveTo>
                  <a:pt x="957" y="161"/>
                </a:moveTo>
                <a:cubicBezTo>
                  <a:pt x="957" y="161"/>
                  <a:pt x="958" y="160"/>
                  <a:pt x="958" y="160"/>
                </a:cubicBezTo>
                <a:cubicBezTo>
                  <a:pt x="958" y="160"/>
                  <a:pt x="957" y="160"/>
                  <a:pt x="957" y="160"/>
                </a:cubicBezTo>
                <a:cubicBezTo>
                  <a:pt x="957" y="160"/>
                  <a:pt x="957" y="160"/>
                  <a:pt x="957" y="160"/>
                </a:cubicBezTo>
                <a:cubicBezTo>
                  <a:pt x="957" y="161"/>
                  <a:pt x="957" y="161"/>
                  <a:pt x="957" y="161"/>
                </a:cubicBezTo>
                <a:close/>
                <a:moveTo>
                  <a:pt x="958" y="146"/>
                </a:moveTo>
                <a:cubicBezTo>
                  <a:pt x="959" y="146"/>
                  <a:pt x="959" y="146"/>
                  <a:pt x="959" y="146"/>
                </a:cubicBezTo>
                <a:cubicBezTo>
                  <a:pt x="959" y="146"/>
                  <a:pt x="959" y="146"/>
                  <a:pt x="959" y="146"/>
                </a:cubicBezTo>
                <a:cubicBezTo>
                  <a:pt x="959" y="146"/>
                  <a:pt x="959" y="145"/>
                  <a:pt x="959" y="145"/>
                </a:cubicBezTo>
                <a:cubicBezTo>
                  <a:pt x="959" y="146"/>
                  <a:pt x="959" y="146"/>
                  <a:pt x="958" y="146"/>
                </a:cubicBezTo>
                <a:close/>
                <a:moveTo>
                  <a:pt x="956" y="149"/>
                </a:moveTo>
                <a:cubicBezTo>
                  <a:pt x="956" y="149"/>
                  <a:pt x="956" y="149"/>
                  <a:pt x="956" y="149"/>
                </a:cubicBezTo>
                <a:cubicBezTo>
                  <a:pt x="956" y="149"/>
                  <a:pt x="956" y="149"/>
                  <a:pt x="956" y="149"/>
                </a:cubicBezTo>
                <a:cubicBezTo>
                  <a:pt x="956" y="149"/>
                  <a:pt x="956" y="149"/>
                  <a:pt x="957" y="149"/>
                </a:cubicBezTo>
                <a:cubicBezTo>
                  <a:pt x="956" y="149"/>
                  <a:pt x="956" y="149"/>
                  <a:pt x="956" y="149"/>
                </a:cubicBezTo>
                <a:close/>
                <a:moveTo>
                  <a:pt x="960" y="146"/>
                </a:moveTo>
                <a:cubicBezTo>
                  <a:pt x="961" y="146"/>
                  <a:pt x="961" y="146"/>
                  <a:pt x="962" y="145"/>
                </a:cubicBezTo>
                <a:cubicBezTo>
                  <a:pt x="962" y="145"/>
                  <a:pt x="962" y="145"/>
                  <a:pt x="962" y="145"/>
                </a:cubicBezTo>
                <a:cubicBezTo>
                  <a:pt x="962" y="145"/>
                  <a:pt x="961" y="145"/>
                  <a:pt x="960" y="145"/>
                </a:cubicBezTo>
                <a:cubicBezTo>
                  <a:pt x="960" y="145"/>
                  <a:pt x="960" y="146"/>
                  <a:pt x="960" y="146"/>
                </a:cubicBezTo>
                <a:close/>
                <a:moveTo>
                  <a:pt x="988" y="132"/>
                </a:moveTo>
                <a:cubicBezTo>
                  <a:pt x="988" y="132"/>
                  <a:pt x="988" y="131"/>
                  <a:pt x="987" y="131"/>
                </a:cubicBezTo>
                <a:cubicBezTo>
                  <a:pt x="987" y="131"/>
                  <a:pt x="987" y="131"/>
                  <a:pt x="986" y="131"/>
                </a:cubicBezTo>
                <a:cubicBezTo>
                  <a:pt x="986" y="130"/>
                  <a:pt x="986" y="130"/>
                  <a:pt x="986" y="130"/>
                </a:cubicBezTo>
                <a:cubicBezTo>
                  <a:pt x="986" y="130"/>
                  <a:pt x="986" y="130"/>
                  <a:pt x="985" y="130"/>
                </a:cubicBezTo>
                <a:cubicBezTo>
                  <a:pt x="986" y="130"/>
                  <a:pt x="986" y="131"/>
                  <a:pt x="986" y="131"/>
                </a:cubicBezTo>
                <a:cubicBezTo>
                  <a:pt x="986" y="131"/>
                  <a:pt x="986" y="131"/>
                  <a:pt x="986" y="132"/>
                </a:cubicBezTo>
                <a:cubicBezTo>
                  <a:pt x="986" y="132"/>
                  <a:pt x="987" y="132"/>
                  <a:pt x="987" y="132"/>
                </a:cubicBezTo>
                <a:cubicBezTo>
                  <a:pt x="987" y="132"/>
                  <a:pt x="988" y="132"/>
                  <a:pt x="988" y="132"/>
                </a:cubicBezTo>
                <a:close/>
                <a:moveTo>
                  <a:pt x="985" y="132"/>
                </a:moveTo>
                <a:cubicBezTo>
                  <a:pt x="985" y="132"/>
                  <a:pt x="985" y="132"/>
                  <a:pt x="984" y="132"/>
                </a:cubicBezTo>
                <a:cubicBezTo>
                  <a:pt x="984" y="132"/>
                  <a:pt x="984" y="132"/>
                  <a:pt x="984" y="132"/>
                </a:cubicBezTo>
                <a:cubicBezTo>
                  <a:pt x="983" y="132"/>
                  <a:pt x="983" y="132"/>
                  <a:pt x="982" y="133"/>
                </a:cubicBezTo>
                <a:cubicBezTo>
                  <a:pt x="982" y="133"/>
                  <a:pt x="983" y="133"/>
                  <a:pt x="983" y="134"/>
                </a:cubicBezTo>
                <a:cubicBezTo>
                  <a:pt x="984" y="134"/>
                  <a:pt x="984" y="134"/>
                  <a:pt x="984" y="134"/>
                </a:cubicBezTo>
                <a:cubicBezTo>
                  <a:pt x="984" y="134"/>
                  <a:pt x="984" y="134"/>
                  <a:pt x="985" y="133"/>
                </a:cubicBezTo>
                <a:cubicBezTo>
                  <a:pt x="985" y="133"/>
                  <a:pt x="985" y="133"/>
                  <a:pt x="984" y="133"/>
                </a:cubicBezTo>
                <a:cubicBezTo>
                  <a:pt x="985" y="133"/>
                  <a:pt x="985" y="133"/>
                  <a:pt x="985" y="132"/>
                </a:cubicBezTo>
                <a:cubicBezTo>
                  <a:pt x="985" y="132"/>
                  <a:pt x="985" y="132"/>
                  <a:pt x="985" y="132"/>
                </a:cubicBezTo>
                <a:close/>
                <a:moveTo>
                  <a:pt x="1002" y="126"/>
                </a:moveTo>
                <a:cubicBezTo>
                  <a:pt x="1001" y="126"/>
                  <a:pt x="1000" y="127"/>
                  <a:pt x="1000" y="127"/>
                </a:cubicBezTo>
                <a:cubicBezTo>
                  <a:pt x="1000" y="127"/>
                  <a:pt x="999" y="127"/>
                  <a:pt x="999" y="127"/>
                </a:cubicBezTo>
                <a:cubicBezTo>
                  <a:pt x="999" y="127"/>
                  <a:pt x="999" y="127"/>
                  <a:pt x="999" y="127"/>
                </a:cubicBezTo>
                <a:cubicBezTo>
                  <a:pt x="998" y="127"/>
                  <a:pt x="998" y="127"/>
                  <a:pt x="998" y="127"/>
                </a:cubicBezTo>
                <a:cubicBezTo>
                  <a:pt x="998" y="127"/>
                  <a:pt x="997" y="127"/>
                  <a:pt x="997" y="127"/>
                </a:cubicBezTo>
                <a:cubicBezTo>
                  <a:pt x="996" y="127"/>
                  <a:pt x="996" y="127"/>
                  <a:pt x="996" y="127"/>
                </a:cubicBezTo>
                <a:cubicBezTo>
                  <a:pt x="996" y="128"/>
                  <a:pt x="996" y="128"/>
                  <a:pt x="996" y="128"/>
                </a:cubicBezTo>
                <a:cubicBezTo>
                  <a:pt x="997" y="128"/>
                  <a:pt x="997" y="128"/>
                  <a:pt x="998" y="128"/>
                </a:cubicBezTo>
                <a:cubicBezTo>
                  <a:pt x="998" y="128"/>
                  <a:pt x="999" y="128"/>
                  <a:pt x="999" y="128"/>
                </a:cubicBezTo>
                <a:cubicBezTo>
                  <a:pt x="1000" y="128"/>
                  <a:pt x="1001" y="127"/>
                  <a:pt x="1002" y="127"/>
                </a:cubicBezTo>
                <a:cubicBezTo>
                  <a:pt x="1002" y="126"/>
                  <a:pt x="1002" y="126"/>
                  <a:pt x="1002" y="126"/>
                </a:cubicBezTo>
                <a:close/>
                <a:moveTo>
                  <a:pt x="997" y="130"/>
                </a:moveTo>
                <a:cubicBezTo>
                  <a:pt x="998" y="130"/>
                  <a:pt x="998" y="130"/>
                  <a:pt x="999" y="130"/>
                </a:cubicBezTo>
                <a:cubicBezTo>
                  <a:pt x="999" y="130"/>
                  <a:pt x="999" y="130"/>
                  <a:pt x="1000" y="130"/>
                </a:cubicBezTo>
                <a:cubicBezTo>
                  <a:pt x="1000" y="130"/>
                  <a:pt x="1000" y="130"/>
                  <a:pt x="1000" y="130"/>
                </a:cubicBezTo>
                <a:cubicBezTo>
                  <a:pt x="1000" y="130"/>
                  <a:pt x="1000" y="129"/>
                  <a:pt x="1000" y="129"/>
                </a:cubicBezTo>
                <a:cubicBezTo>
                  <a:pt x="999" y="129"/>
                  <a:pt x="999" y="129"/>
                  <a:pt x="998" y="129"/>
                </a:cubicBezTo>
                <a:cubicBezTo>
                  <a:pt x="998" y="129"/>
                  <a:pt x="998" y="129"/>
                  <a:pt x="997" y="130"/>
                </a:cubicBezTo>
                <a:close/>
                <a:moveTo>
                  <a:pt x="982" y="134"/>
                </a:moveTo>
                <a:cubicBezTo>
                  <a:pt x="982" y="134"/>
                  <a:pt x="982" y="134"/>
                  <a:pt x="982" y="134"/>
                </a:cubicBezTo>
                <a:cubicBezTo>
                  <a:pt x="981" y="134"/>
                  <a:pt x="981" y="134"/>
                  <a:pt x="980" y="134"/>
                </a:cubicBezTo>
                <a:cubicBezTo>
                  <a:pt x="980" y="134"/>
                  <a:pt x="980" y="135"/>
                  <a:pt x="980" y="135"/>
                </a:cubicBezTo>
                <a:cubicBezTo>
                  <a:pt x="980" y="135"/>
                  <a:pt x="979" y="135"/>
                  <a:pt x="979" y="135"/>
                </a:cubicBezTo>
                <a:cubicBezTo>
                  <a:pt x="979" y="135"/>
                  <a:pt x="979" y="136"/>
                  <a:pt x="980" y="136"/>
                </a:cubicBezTo>
                <a:cubicBezTo>
                  <a:pt x="980" y="136"/>
                  <a:pt x="981" y="136"/>
                  <a:pt x="981" y="136"/>
                </a:cubicBezTo>
                <a:cubicBezTo>
                  <a:pt x="981" y="136"/>
                  <a:pt x="982" y="136"/>
                  <a:pt x="982" y="136"/>
                </a:cubicBezTo>
                <a:cubicBezTo>
                  <a:pt x="982" y="135"/>
                  <a:pt x="982" y="135"/>
                  <a:pt x="982" y="135"/>
                </a:cubicBezTo>
                <a:cubicBezTo>
                  <a:pt x="983" y="135"/>
                  <a:pt x="983" y="135"/>
                  <a:pt x="983" y="134"/>
                </a:cubicBezTo>
                <a:cubicBezTo>
                  <a:pt x="983" y="134"/>
                  <a:pt x="983" y="134"/>
                  <a:pt x="982" y="134"/>
                </a:cubicBezTo>
                <a:close/>
                <a:moveTo>
                  <a:pt x="990" y="130"/>
                </a:moveTo>
                <a:cubicBezTo>
                  <a:pt x="990" y="131"/>
                  <a:pt x="990" y="131"/>
                  <a:pt x="989" y="131"/>
                </a:cubicBezTo>
                <a:cubicBezTo>
                  <a:pt x="989" y="131"/>
                  <a:pt x="989" y="132"/>
                  <a:pt x="989" y="132"/>
                </a:cubicBezTo>
                <a:cubicBezTo>
                  <a:pt x="990" y="132"/>
                  <a:pt x="990" y="132"/>
                  <a:pt x="990" y="132"/>
                </a:cubicBezTo>
                <a:cubicBezTo>
                  <a:pt x="991" y="133"/>
                  <a:pt x="991" y="133"/>
                  <a:pt x="991" y="133"/>
                </a:cubicBezTo>
                <a:cubicBezTo>
                  <a:pt x="991" y="133"/>
                  <a:pt x="991" y="133"/>
                  <a:pt x="991" y="132"/>
                </a:cubicBezTo>
                <a:cubicBezTo>
                  <a:pt x="991" y="132"/>
                  <a:pt x="991" y="132"/>
                  <a:pt x="991" y="132"/>
                </a:cubicBezTo>
                <a:cubicBezTo>
                  <a:pt x="991" y="131"/>
                  <a:pt x="991" y="131"/>
                  <a:pt x="991" y="131"/>
                </a:cubicBezTo>
                <a:cubicBezTo>
                  <a:pt x="991" y="131"/>
                  <a:pt x="991" y="131"/>
                  <a:pt x="990" y="130"/>
                </a:cubicBezTo>
                <a:close/>
                <a:moveTo>
                  <a:pt x="977" y="138"/>
                </a:moveTo>
                <a:cubicBezTo>
                  <a:pt x="978" y="138"/>
                  <a:pt x="978" y="138"/>
                  <a:pt x="979" y="138"/>
                </a:cubicBezTo>
                <a:cubicBezTo>
                  <a:pt x="979" y="138"/>
                  <a:pt x="978" y="138"/>
                  <a:pt x="978" y="137"/>
                </a:cubicBezTo>
                <a:cubicBezTo>
                  <a:pt x="978" y="137"/>
                  <a:pt x="979" y="137"/>
                  <a:pt x="979" y="137"/>
                </a:cubicBezTo>
                <a:cubicBezTo>
                  <a:pt x="979" y="137"/>
                  <a:pt x="978" y="136"/>
                  <a:pt x="978" y="136"/>
                </a:cubicBezTo>
                <a:cubicBezTo>
                  <a:pt x="978" y="136"/>
                  <a:pt x="978" y="136"/>
                  <a:pt x="978" y="136"/>
                </a:cubicBezTo>
                <a:cubicBezTo>
                  <a:pt x="977" y="136"/>
                  <a:pt x="977" y="136"/>
                  <a:pt x="977" y="135"/>
                </a:cubicBezTo>
                <a:cubicBezTo>
                  <a:pt x="977" y="135"/>
                  <a:pt x="976" y="135"/>
                  <a:pt x="976" y="135"/>
                </a:cubicBezTo>
                <a:cubicBezTo>
                  <a:pt x="976" y="136"/>
                  <a:pt x="976" y="136"/>
                  <a:pt x="976" y="136"/>
                </a:cubicBezTo>
                <a:cubicBezTo>
                  <a:pt x="976" y="136"/>
                  <a:pt x="975" y="136"/>
                  <a:pt x="975" y="136"/>
                </a:cubicBezTo>
                <a:cubicBezTo>
                  <a:pt x="975" y="136"/>
                  <a:pt x="974" y="136"/>
                  <a:pt x="974" y="136"/>
                </a:cubicBezTo>
                <a:cubicBezTo>
                  <a:pt x="975" y="137"/>
                  <a:pt x="975" y="137"/>
                  <a:pt x="976" y="137"/>
                </a:cubicBezTo>
                <a:cubicBezTo>
                  <a:pt x="975" y="137"/>
                  <a:pt x="975" y="137"/>
                  <a:pt x="974" y="137"/>
                </a:cubicBezTo>
                <a:cubicBezTo>
                  <a:pt x="974" y="137"/>
                  <a:pt x="974" y="137"/>
                  <a:pt x="974" y="138"/>
                </a:cubicBezTo>
                <a:cubicBezTo>
                  <a:pt x="974" y="138"/>
                  <a:pt x="974" y="138"/>
                  <a:pt x="975" y="138"/>
                </a:cubicBezTo>
                <a:cubicBezTo>
                  <a:pt x="974" y="138"/>
                  <a:pt x="974" y="138"/>
                  <a:pt x="974" y="139"/>
                </a:cubicBezTo>
                <a:cubicBezTo>
                  <a:pt x="974" y="139"/>
                  <a:pt x="974" y="139"/>
                  <a:pt x="975" y="139"/>
                </a:cubicBezTo>
                <a:cubicBezTo>
                  <a:pt x="975" y="139"/>
                  <a:pt x="975" y="139"/>
                  <a:pt x="975" y="139"/>
                </a:cubicBezTo>
                <a:cubicBezTo>
                  <a:pt x="975" y="139"/>
                  <a:pt x="975" y="139"/>
                  <a:pt x="975" y="139"/>
                </a:cubicBezTo>
                <a:cubicBezTo>
                  <a:pt x="975" y="139"/>
                  <a:pt x="975" y="139"/>
                  <a:pt x="976" y="139"/>
                </a:cubicBezTo>
                <a:cubicBezTo>
                  <a:pt x="976" y="139"/>
                  <a:pt x="976" y="139"/>
                  <a:pt x="977" y="139"/>
                </a:cubicBezTo>
                <a:cubicBezTo>
                  <a:pt x="977" y="138"/>
                  <a:pt x="977" y="138"/>
                  <a:pt x="977" y="138"/>
                </a:cubicBezTo>
                <a:close/>
                <a:moveTo>
                  <a:pt x="983" y="130"/>
                </a:moveTo>
                <a:cubicBezTo>
                  <a:pt x="983" y="131"/>
                  <a:pt x="983" y="131"/>
                  <a:pt x="983" y="131"/>
                </a:cubicBezTo>
                <a:cubicBezTo>
                  <a:pt x="984" y="131"/>
                  <a:pt x="984" y="130"/>
                  <a:pt x="984" y="130"/>
                </a:cubicBezTo>
                <a:cubicBezTo>
                  <a:pt x="984" y="130"/>
                  <a:pt x="984" y="130"/>
                  <a:pt x="983" y="130"/>
                </a:cubicBezTo>
                <a:close/>
                <a:moveTo>
                  <a:pt x="983" y="131"/>
                </a:moveTo>
                <a:cubicBezTo>
                  <a:pt x="982" y="131"/>
                  <a:pt x="982" y="131"/>
                  <a:pt x="981" y="131"/>
                </a:cubicBezTo>
                <a:cubicBezTo>
                  <a:pt x="981" y="132"/>
                  <a:pt x="981" y="132"/>
                  <a:pt x="981" y="132"/>
                </a:cubicBezTo>
                <a:cubicBezTo>
                  <a:pt x="981" y="132"/>
                  <a:pt x="983" y="132"/>
                  <a:pt x="983" y="132"/>
                </a:cubicBezTo>
                <a:cubicBezTo>
                  <a:pt x="983" y="132"/>
                  <a:pt x="983" y="131"/>
                  <a:pt x="983" y="131"/>
                </a:cubicBezTo>
                <a:close/>
                <a:moveTo>
                  <a:pt x="975" y="141"/>
                </a:moveTo>
                <a:cubicBezTo>
                  <a:pt x="975" y="141"/>
                  <a:pt x="975" y="141"/>
                  <a:pt x="976" y="141"/>
                </a:cubicBezTo>
                <a:cubicBezTo>
                  <a:pt x="975" y="140"/>
                  <a:pt x="975" y="140"/>
                  <a:pt x="975" y="140"/>
                </a:cubicBezTo>
                <a:cubicBezTo>
                  <a:pt x="975" y="140"/>
                  <a:pt x="975" y="141"/>
                  <a:pt x="975" y="141"/>
                </a:cubicBezTo>
                <a:close/>
                <a:moveTo>
                  <a:pt x="969" y="138"/>
                </a:moveTo>
                <a:cubicBezTo>
                  <a:pt x="970" y="138"/>
                  <a:pt x="970" y="138"/>
                  <a:pt x="971" y="138"/>
                </a:cubicBezTo>
                <a:cubicBezTo>
                  <a:pt x="971" y="137"/>
                  <a:pt x="970" y="137"/>
                  <a:pt x="970" y="137"/>
                </a:cubicBezTo>
                <a:cubicBezTo>
                  <a:pt x="970" y="137"/>
                  <a:pt x="969" y="137"/>
                  <a:pt x="969" y="137"/>
                </a:cubicBezTo>
                <a:cubicBezTo>
                  <a:pt x="969" y="138"/>
                  <a:pt x="969" y="138"/>
                  <a:pt x="969" y="138"/>
                </a:cubicBezTo>
                <a:cubicBezTo>
                  <a:pt x="968" y="138"/>
                  <a:pt x="968" y="139"/>
                  <a:pt x="967" y="139"/>
                </a:cubicBezTo>
                <a:cubicBezTo>
                  <a:pt x="967" y="139"/>
                  <a:pt x="967" y="140"/>
                  <a:pt x="967" y="140"/>
                </a:cubicBezTo>
                <a:cubicBezTo>
                  <a:pt x="967" y="140"/>
                  <a:pt x="968" y="140"/>
                  <a:pt x="968" y="140"/>
                </a:cubicBezTo>
                <a:cubicBezTo>
                  <a:pt x="968" y="140"/>
                  <a:pt x="969" y="139"/>
                  <a:pt x="969" y="139"/>
                </a:cubicBezTo>
                <a:cubicBezTo>
                  <a:pt x="969" y="139"/>
                  <a:pt x="969" y="139"/>
                  <a:pt x="969" y="138"/>
                </a:cubicBezTo>
                <a:close/>
                <a:moveTo>
                  <a:pt x="924" y="197"/>
                </a:moveTo>
                <a:cubicBezTo>
                  <a:pt x="925" y="197"/>
                  <a:pt x="925" y="196"/>
                  <a:pt x="925" y="196"/>
                </a:cubicBezTo>
                <a:cubicBezTo>
                  <a:pt x="924" y="196"/>
                  <a:pt x="924" y="196"/>
                  <a:pt x="924" y="197"/>
                </a:cubicBezTo>
                <a:cubicBezTo>
                  <a:pt x="924" y="197"/>
                  <a:pt x="924" y="197"/>
                  <a:pt x="924" y="197"/>
                </a:cubicBezTo>
                <a:close/>
                <a:moveTo>
                  <a:pt x="923" y="186"/>
                </a:moveTo>
                <a:cubicBezTo>
                  <a:pt x="922" y="186"/>
                  <a:pt x="922" y="186"/>
                  <a:pt x="922" y="186"/>
                </a:cubicBezTo>
                <a:cubicBezTo>
                  <a:pt x="922" y="186"/>
                  <a:pt x="922" y="186"/>
                  <a:pt x="922" y="187"/>
                </a:cubicBezTo>
                <a:cubicBezTo>
                  <a:pt x="922" y="187"/>
                  <a:pt x="922" y="186"/>
                  <a:pt x="923" y="186"/>
                </a:cubicBezTo>
                <a:close/>
                <a:moveTo>
                  <a:pt x="924" y="198"/>
                </a:moveTo>
                <a:cubicBezTo>
                  <a:pt x="924" y="198"/>
                  <a:pt x="924" y="198"/>
                  <a:pt x="925" y="199"/>
                </a:cubicBezTo>
                <a:cubicBezTo>
                  <a:pt x="925" y="199"/>
                  <a:pt x="925" y="198"/>
                  <a:pt x="925" y="198"/>
                </a:cubicBezTo>
                <a:cubicBezTo>
                  <a:pt x="925" y="198"/>
                  <a:pt x="925" y="198"/>
                  <a:pt x="924" y="198"/>
                </a:cubicBezTo>
                <a:cubicBezTo>
                  <a:pt x="924" y="198"/>
                  <a:pt x="924" y="198"/>
                  <a:pt x="924" y="198"/>
                </a:cubicBezTo>
                <a:close/>
                <a:moveTo>
                  <a:pt x="922" y="185"/>
                </a:moveTo>
                <a:cubicBezTo>
                  <a:pt x="922" y="185"/>
                  <a:pt x="922" y="185"/>
                  <a:pt x="922" y="186"/>
                </a:cubicBezTo>
                <a:cubicBezTo>
                  <a:pt x="923" y="186"/>
                  <a:pt x="923" y="185"/>
                  <a:pt x="923" y="185"/>
                </a:cubicBezTo>
                <a:cubicBezTo>
                  <a:pt x="923" y="185"/>
                  <a:pt x="922" y="185"/>
                  <a:pt x="922" y="185"/>
                </a:cubicBezTo>
                <a:close/>
                <a:moveTo>
                  <a:pt x="926" y="196"/>
                </a:moveTo>
                <a:cubicBezTo>
                  <a:pt x="925" y="197"/>
                  <a:pt x="925" y="197"/>
                  <a:pt x="925" y="197"/>
                </a:cubicBezTo>
                <a:cubicBezTo>
                  <a:pt x="925" y="197"/>
                  <a:pt x="925" y="197"/>
                  <a:pt x="926" y="197"/>
                </a:cubicBezTo>
                <a:cubicBezTo>
                  <a:pt x="926" y="197"/>
                  <a:pt x="926" y="197"/>
                  <a:pt x="926" y="196"/>
                </a:cubicBezTo>
                <a:close/>
                <a:moveTo>
                  <a:pt x="922" y="193"/>
                </a:moveTo>
                <a:cubicBezTo>
                  <a:pt x="922" y="193"/>
                  <a:pt x="922" y="193"/>
                  <a:pt x="923" y="193"/>
                </a:cubicBezTo>
                <a:cubicBezTo>
                  <a:pt x="923" y="193"/>
                  <a:pt x="923" y="192"/>
                  <a:pt x="923" y="192"/>
                </a:cubicBezTo>
                <a:cubicBezTo>
                  <a:pt x="922" y="193"/>
                  <a:pt x="922" y="193"/>
                  <a:pt x="922" y="193"/>
                </a:cubicBezTo>
                <a:close/>
                <a:moveTo>
                  <a:pt x="922" y="192"/>
                </a:moveTo>
                <a:cubicBezTo>
                  <a:pt x="922" y="191"/>
                  <a:pt x="922" y="191"/>
                  <a:pt x="922" y="191"/>
                </a:cubicBezTo>
                <a:cubicBezTo>
                  <a:pt x="922" y="191"/>
                  <a:pt x="921" y="192"/>
                  <a:pt x="921" y="192"/>
                </a:cubicBezTo>
                <a:cubicBezTo>
                  <a:pt x="921" y="192"/>
                  <a:pt x="921" y="192"/>
                  <a:pt x="922" y="192"/>
                </a:cubicBezTo>
                <a:cubicBezTo>
                  <a:pt x="922" y="192"/>
                  <a:pt x="922" y="192"/>
                  <a:pt x="922" y="192"/>
                </a:cubicBezTo>
                <a:close/>
                <a:moveTo>
                  <a:pt x="923" y="196"/>
                </a:moveTo>
                <a:cubicBezTo>
                  <a:pt x="923" y="195"/>
                  <a:pt x="923" y="195"/>
                  <a:pt x="923" y="195"/>
                </a:cubicBezTo>
                <a:cubicBezTo>
                  <a:pt x="923" y="195"/>
                  <a:pt x="922" y="195"/>
                  <a:pt x="922" y="195"/>
                </a:cubicBezTo>
                <a:cubicBezTo>
                  <a:pt x="922" y="195"/>
                  <a:pt x="923" y="195"/>
                  <a:pt x="923" y="196"/>
                </a:cubicBezTo>
                <a:close/>
                <a:moveTo>
                  <a:pt x="925" y="196"/>
                </a:moveTo>
                <a:cubicBezTo>
                  <a:pt x="925" y="196"/>
                  <a:pt x="925" y="195"/>
                  <a:pt x="925" y="195"/>
                </a:cubicBezTo>
                <a:cubicBezTo>
                  <a:pt x="925" y="195"/>
                  <a:pt x="924" y="195"/>
                  <a:pt x="924" y="195"/>
                </a:cubicBezTo>
                <a:cubicBezTo>
                  <a:pt x="924" y="195"/>
                  <a:pt x="925" y="195"/>
                  <a:pt x="925" y="196"/>
                </a:cubicBezTo>
                <a:close/>
                <a:moveTo>
                  <a:pt x="923" y="194"/>
                </a:moveTo>
                <a:cubicBezTo>
                  <a:pt x="923" y="194"/>
                  <a:pt x="923" y="194"/>
                  <a:pt x="923" y="194"/>
                </a:cubicBezTo>
                <a:cubicBezTo>
                  <a:pt x="923" y="194"/>
                  <a:pt x="923" y="194"/>
                  <a:pt x="922" y="194"/>
                </a:cubicBezTo>
                <a:cubicBezTo>
                  <a:pt x="922" y="194"/>
                  <a:pt x="923" y="194"/>
                  <a:pt x="923" y="194"/>
                </a:cubicBezTo>
                <a:close/>
                <a:moveTo>
                  <a:pt x="958" y="146"/>
                </a:moveTo>
                <a:cubicBezTo>
                  <a:pt x="957" y="146"/>
                  <a:pt x="957" y="147"/>
                  <a:pt x="957" y="147"/>
                </a:cubicBezTo>
                <a:cubicBezTo>
                  <a:pt x="957" y="147"/>
                  <a:pt x="957" y="147"/>
                  <a:pt x="957" y="148"/>
                </a:cubicBezTo>
                <a:cubicBezTo>
                  <a:pt x="957" y="147"/>
                  <a:pt x="958" y="147"/>
                  <a:pt x="958" y="147"/>
                </a:cubicBezTo>
                <a:cubicBezTo>
                  <a:pt x="958" y="146"/>
                  <a:pt x="958" y="146"/>
                  <a:pt x="958" y="146"/>
                </a:cubicBezTo>
                <a:close/>
                <a:moveTo>
                  <a:pt x="951" y="167"/>
                </a:moveTo>
                <a:cubicBezTo>
                  <a:pt x="951" y="167"/>
                  <a:pt x="950" y="167"/>
                  <a:pt x="950" y="168"/>
                </a:cubicBezTo>
                <a:cubicBezTo>
                  <a:pt x="950" y="168"/>
                  <a:pt x="951" y="168"/>
                  <a:pt x="951" y="168"/>
                </a:cubicBezTo>
                <a:cubicBezTo>
                  <a:pt x="951" y="168"/>
                  <a:pt x="951" y="168"/>
                  <a:pt x="952" y="168"/>
                </a:cubicBezTo>
                <a:cubicBezTo>
                  <a:pt x="952" y="168"/>
                  <a:pt x="952" y="168"/>
                  <a:pt x="952" y="168"/>
                </a:cubicBezTo>
                <a:cubicBezTo>
                  <a:pt x="953" y="167"/>
                  <a:pt x="953" y="167"/>
                  <a:pt x="953" y="167"/>
                </a:cubicBezTo>
                <a:cubicBezTo>
                  <a:pt x="953" y="167"/>
                  <a:pt x="953" y="167"/>
                  <a:pt x="953" y="167"/>
                </a:cubicBezTo>
                <a:cubicBezTo>
                  <a:pt x="952" y="167"/>
                  <a:pt x="952" y="167"/>
                  <a:pt x="951" y="167"/>
                </a:cubicBezTo>
                <a:close/>
                <a:moveTo>
                  <a:pt x="955" y="162"/>
                </a:moveTo>
                <a:cubicBezTo>
                  <a:pt x="955" y="162"/>
                  <a:pt x="955" y="162"/>
                  <a:pt x="954" y="162"/>
                </a:cubicBezTo>
                <a:cubicBezTo>
                  <a:pt x="954" y="162"/>
                  <a:pt x="954" y="162"/>
                  <a:pt x="954" y="162"/>
                </a:cubicBezTo>
                <a:cubicBezTo>
                  <a:pt x="954" y="163"/>
                  <a:pt x="954" y="163"/>
                  <a:pt x="954" y="163"/>
                </a:cubicBezTo>
                <a:cubicBezTo>
                  <a:pt x="954" y="163"/>
                  <a:pt x="955" y="163"/>
                  <a:pt x="955" y="162"/>
                </a:cubicBezTo>
                <a:cubicBezTo>
                  <a:pt x="955" y="162"/>
                  <a:pt x="955" y="162"/>
                  <a:pt x="955" y="162"/>
                </a:cubicBezTo>
                <a:close/>
                <a:moveTo>
                  <a:pt x="925" y="183"/>
                </a:moveTo>
                <a:cubicBezTo>
                  <a:pt x="925" y="183"/>
                  <a:pt x="925" y="184"/>
                  <a:pt x="924" y="184"/>
                </a:cubicBezTo>
                <a:cubicBezTo>
                  <a:pt x="925" y="184"/>
                  <a:pt x="925" y="184"/>
                  <a:pt x="925" y="184"/>
                </a:cubicBezTo>
                <a:cubicBezTo>
                  <a:pt x="925" y="184"/>
                  <a:pt x="925" y="183"/>
                  <a:pt x="925" y="183"/>
                </a:cubicBezTo>
                <a:close/>
                <a:moveTo>
                  <a:pt x="926" y="202"/>
                </a:moveTo>
                <a:cubicBezTo>
                  <a:pt x="926" y="202"/>
                  <a:pt x="926" y="202"/>
                  <a:pt x="926" y="203"/>
                </a:cubicBezTo>
                <a:cubicBezTo>
                  <a:pt x="926" y="203"/>
                  <a:pt x="927" y="203"/>
                  <a:pt x="927" y="202"/>
                </a:cubicBezTo>
                <a:cubicBezTo>
                  <a:pt x="927" y="202"/>
                  <a:pt x="927" y="202"/>
                  <a:pt x="926" y="202"/>
                </a:cubicBezTo>
                <a:close/>
                <a:moveTo>
                  <a:pt x="955" y="166"/>
                </a:moveTo>
                <a:cubicBezTo>
                  <a:pt x="954" y="166"/>
                  <a:pt x="954" y="166"/>
                  <a:pt x="953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3" y="166"/>
                  <a:pt x="953" y="166"/>
                  <a:pt x="953" y="166"/>
                </a:cubicBezTo>
                <a:cubicBezTo>
                  <a:pt x="954" y="166"/>
                  <a:pt x="954" y="166"/>
                  <a:pt x="955" y="166"/>
                </a:cubicBezTo>
                <a:close/>
                <a:moveTo>
                  <a:pt x="939" y="176"/>
                </a:moveTo>
                <a:cubicBezTo>
                  <a:pt x="940" y="177"/>
                  <a:pt x="940" y="177"/>
                  <a:pt x="941" y="177"/>
                </a:cubicBezTo>
                <a:cubicBezTo>
                  <a:pt x="941" y="176"/>
                  <a:pt x="941" y="176"/>
                  <a:pt x="941" y="176"/>
                </a:cubicBezTo>
                <a:cubicBezTo>
                  <a:pt x="941" y="176"/>
                  <a:pt x="941" y="176"/>
                  <a:pt x="941" y="175"/>
                </a:cubicBezTo>
                <a:cubicBezTo>
                  <a:pt x="941" y="175"/>
                  <a:pt x="940" y="175"/>
                  <a:pt x="940" y="175"/>
                </a:cubicBezTo>
                <a:cubicBezTo>
                  <a:pt x="940" y="176"/>
                  <a:pt x="940" y="176"/>
                  <a:pt x="940" y="176"/>
                </a:cubicBezTo>
                <a:cubicBezTo>
                  <a:pt x="939" y="176"/>
                  <a:pt x="939" y="176"/>
                  <a:pt x="939" y="176"/>
                </a:cubicBezTo>
                <a:cubicBezTo>
                  <a:pt x="938" y="176"/>
                  <a:pt x="938" y="176"/>
                  <a:pt x="938" y="177"/>
                </a:cubicBezTo>
                <a:cubicBezTo>
                  <a:pt x="938" y="177"/>
                  <a:pt x="938" y="177"/>
                  <a:pt x="939" y="177"/>
                </a:cubicBezTo>
                <a:cubicBezTo>
                  <a:pt x="939" y="177"/>
                  <a:pt x="939" y="177"/>
                  <a:pt x="939" y="176"/>
                </a:cubicBezTo>
                <a:close/>
                <a:moveTo>
                  <a:pt x="937" y="177"/>
                </a:moveTo>
                <a:cubicBezTo>
                  <a:pt x="936" y="177"/>
                  <a:pt x="936" y="177"/>
                  <a:pt x="936" y="176"/>
                </a:cubicBezTo>
                <a:cubicBezTo>
                  <a:pt x="936" y="176"/>
                  <a:pt x="935" y="176"/>
                  <a:pt x="935" y="176"/>
                </a:cubicBezTo>
                <a:cubicBezTo>
                  <a:pt x="935" y="177"/>
                  <a:pt x="936" y="177"/>
                  <a:pt x="936" y="177"/>
                </a:cubicBezTo>
                <a:cubicBezTo>
                  <a:pt x="936" y="177"/>
                  <a:pt x="936" y="177"/>
                  <a:pt x="937" y="177"/>
                </a:cubicBezTo>
                <a:close/>
                <a:moveTo>
                  <a:pt x="927" y="183"/>
                </a:moveTo>
                <a:cubicBezTo>
                  <a:pt x="927" y="183"/>
                  <a:pt x="927" y="183"/>
                  <a:pt x="927" y="183"/>
                </a:cubicBezTo>
                <a:cubicBezTo>
                  <a:pt x="927" y="183"/>
                  <a:pt x="926" y="183"/>
                  <a:pt x="926" y="183"/>
                </a:cubicBezTo>
                <a:cubicBezTo>
                  <a:pt x="926" y="183"/>
                  <a:pt x="926" y="183"/>
                  <a:pt x="926" y="184"/>
                </a:cubicBezTo>
                <a:cubicBezTo>
                  <a:pt x="927" y="184"/>
                  <a:pt x="927" y="184"/>
                  <a:pt x="927" y="183"/>
                </a:cubicBezTo>
                <a:close/>
                <a:moveTo>
                  <a:pt x="936" y="178"/>
                </a:moveTo>
                <a:cubicBezTo>
                  <a:pt x="936" y="178"/>
                  <a:pt x="937" y="178"/>
                  <a:pt x="937" y="179"/>
                </a:cubicBezTo>
                <a:cubicBezTo>
                  <a:pt x="937" y="178"/>
                  <a:pt x="937" y="178"/>
                  <a:pt x="937" y="178"/>
                </a:cubicBezTo>
                <a:cubicBezTo>
                  <a:pt x="937" y="178"/>
                  <a:pt x="937" y="178"/>
                  <a:pt x="937" y="177"/>
                </a:cubicBezTo>
                <a:cubicBezTo>
                  <a:pt x="937" y="177"/>
                  <a:pt x="936" y="178"/>
                  <a:pt x="936" y="178"/>
                </a:cubicBezTo>
                <a:close/>
                <a:moveTo>
                  <a:pt x="940" y="175"/>
                </a:moveTo>
                <a:cubicBezTo>
                  <a:pt x="940" y="175"/>
                  <a:pt x="940" y="174"/>
                  <a:pt x="939" y="174"/>
                </a:cubicBezTo>
                <a:cubicBezTo>
                  <a:pt x="939" y="175"/>
                  <a:pt x="938" y="175"/>
                  <a:pt x="938" y="175"/>
                </a:cubicBezTo>
                <a:cubicBezTo>
                  <a:pt x="938" y="175"/>
                  <a:pt x="938" y="175"/>
                  <a:pt x="939" y="175"/>
                </a:cubicBezTo>
                <a:cubicBezTo>
                  <a:pt x="939" y="175"/>
                  <a:pt x="940" y="175"/>
                  <a:pt x="940" y="175"/>
                </a:cubicBezTo>
                <a:close/>
                <a:moveTo>
                  <a:pt x="986" y="133"/>
                </a:moveTo>
                <a:cubicBezTo>
                  <a:pt x="985" y="133"/>
                  <a:pt x="985" y="133"/>
                  <a:pt x="985" y="134"/>
                </a:cubicBezTo>
                <a:cubicBezTo>
                  <a:pt x="985" y="134"/>
                  <a:pt x="986" y="133"/>
                  <a:pt x="986" y="133"/>
                </a:cubicBezTo>
                <a:cubicBezTo>
                  <a:pt x="986" y="133"/>
                  <a:pt x="986" y="133"/>
                  <a:pt x="986" y="133"/>
                </a:cubicBezTo>
                <a:close/>
                <a:moveTo>
                  <a:pt x="1005" y="126"/>
                </a:moveTo>
                <a:cubicBezTo>
                  <a:pt x="1006" y="125"/>
                  <a:pt x="1006" y="125"/>
                  <a:pt x="1006" y="125"/>
                </a:cubicBezTo>
                <a:cubicBezTo>
                  <a:pt x="1006" y="125"/>
                  <a:pt x="1005" y="125"/>
                  <a:pt x="1005" y="125"/>
                </a:cubicBezTo>
                <a:cubicBezTo>
                  <a:pt x="1005" y="125"/>
                  <a:pt x="1005" y="125"/>
                  <a:pt x="1004" y="125"/>
                </a:cubicBezTo>
                <a:cubicBezTo>
                  <a:pt x="1004" y="125"/>
                  <a:pt x="1005" y="125"/>
                  <a:pt x="1005" y="126"/>
                </a:cubicBezTo>
                <a:cubicBezTo>
                  <a:pt x="1005" y="126"/>
                  <a:pt x="1005" y="126"/>
                  <a:pt x="1005" y="126"/>
                </a:cubicBezTo>
                <a:close/>
                <a:moveTo>
                  <a:pt x="1008" y="124"/>
                </a:moveTo>
                <a:cubicBezTo>
                  <a:pt x="1008" y="124"/>
                  <a:pt x="1008" y="124"/>
                  <a:pt x="1008" y="124"/>
                </a:cubicBezTo>
                <a:cubicBezTo>
                  <a:pt x="1009" y="124"/>
                  <a:pt x="1009" y="124"/>
                  <a:pt x="1009" y="124"/>
                </a:cubicBezTo>
                <a:cubicBezTo>
                  <a:pt x="1009" y="124"/>
                  <a:pt x="1008" y="124"/>
                  <a:pt x="1008" y="124"/>
                </a:cubicBezTo>
                <a:cubicBezTo>
                  <a:pt x="1008" y="124"/>
                  <a:pt x="1008" y="124"/>
                  <a:pt x="1008" y="124"/>
                </a:cubicBezTo>
                <a:close/>
                <a:moveTo>
                  <a:pt x="1012" y="124"/>
                </a:moveTo>
                <a:cubicBezTo>
                  <a:pt x="1012" y="124"/>
                  <a:pt x="1011" y="124"/>
                  <a:pt x="1011" y="124"/>
                </a:cubicBezTo>
                <a:cubicBezTo>
                  <a:pt x="1011" y="124"/>
                  <a:pt x="1011" y="124"/>
                  <a:pt x="1011" y="124"/>
                </a:cubicBezTo>
                <a:cubicBezTo>
                  <a:pt x="1010" y="124"/>
                  <a:pt x="1010" y="124"/>
                  <a:pt x="1010" y="124"/>
                </a:cubicBezTo>
                <a:cubicBezTo>
                  <a:pt x="1010" y="124"/>
                  <a:pt x="1010" y="125"/>
                  <a:pt x="1010" y="125"/>
                </a:cubicBezTo>
                <a:cubicBezTo>
                  <a:pt x="1010" y="125"/>
                  <a:pt x="1011" y="125"/>
                  <a:pt x="1011" y="125"/>
                </a:cubicBezTo>
                <a:cubicBezTo>
                  <a:pt x="1012" y="125"/>
                  <a:pt x="1012" y="125"/>
                  <a:pt x="1012" y="125"/>
                </a:cubicBezTo>
                <a:cubicBezTo>
                  <a:pt x="1013" y="125"/>
                  <a:pt x="1013" y="125"/>
                  <a:pt x="1014" y="125"/>
                </a:cubicBezTo>
                <a:cubicBezTo>
                  <a:pt x="1014" y="125"/>
                  <a:pt x="1014" y="125"/>
                  <a:pt x="1014" y="125"/>
                </a:cubicBezTo>
                <a:cubicBezTo>
                  <a:pt x="1014" y="124"/>
                  <a:pt x="1013" y="124"/>
                  <a:pt x="1013" y="124"/>
                </a:cubicBezTo>
                <a:cubicBezTo>
                  <a:pt x="1013" y="124"/>
                  <a:pt x="1013" y="124"/>
                  <a:pt x="1014" y="124"/>
                </a:cubicBezTo>
                <a:cubicBezTo>
                  <a:pt x="1013" y="124"/>
                  <a:pt x="1013" y="124"/>
                  <a:pt x="1013" y="124"/>
                </a:cubicBezTo>
                <a:cubicBezTo>
                  <a:pt x="1012" y="124"/>
                  <a:pt x="1012" y="123"/>
                  <a:pt x="1012" y="123"/>
                </a:cubicBezTo>
                <a:cubicBezTo>
                  <a:pt x="1012" y="124"/>
                  <a:pt x="1012" y="124"/>
                  <a:pt x="1012" y="124"/>
                </a:cubicBezTo>
                <a:close/>
                <a:moveTo>
                  <a:pt x="1003" y="128"/>
                </a:moveTo>
                <a:cubicBezTo>
                  <a:pt x="1003" y="128"/>
                  <a:pt x="1003" y="128"/>
                  <a:pt x="1004" y="128"/>
                </a:cubicBezTo>
                <a:cubicBezTo>
                  <a:pt x="1004" y="128"/>
                  <a:pt x="1005" y="128"/>
                  <a:pt x="1005" y="128"/>
                </a:cubicBezTo>
                <a:cubicBezTo>
                  <a:pt x="1005" y="128"/>
                  <a:pt x="1005" y="127"/>
                  <a:pt x="1006" y="127"/>
                </a:cubicBezTo>
                <a:cubicBezTo>
                  <a:pt x="1005" y="127"/>
                  <a:pt x="1005" y="127"/>
                  <a:pt x="1004" y="127"/>
                </a:cubicBezTo>
                <a:cubicBezTo>
                  <a:pt x="1004" y="127"/>
                  <a:pt x="1003" y="127"/>
                  <a:pt x="1003" y="127"/>
                </a:cubicBezTo>
                <a:cubicBezTo>
                  <a:pt x="1003" y="127"/>
                  <a:pt x="1003" y="127"/>
                  <a:pt x="1003" y="128"/>
                </a:cubicBezTo>
                <a:close/>
                <a:moveTo>
                  <a:pt x="956" y="208"/>
                </a:moveTo>
                <a:cubicBezTo>
                  <a:pt x="956" y="208"/>
                  <a:pt x="955" y="208"/>
                  <a:pt x="955" y="208"/>
                </a:cubicBezTo>
                <a:cubicBezTo>
                  <a:pt x="955" y="208"/>
                  <a:pt x="955" y="208"/>
                  <a:pt x="955" y="208"/>
                </a:cubicBezTo>
                <a:cubicBezTo>
                  <a:pt x="955" y="208"/>
                  <a:pt x="955" y="208"/>
                  <a:pt x="956" y="208"/>
                </a:cubicBezTo>
                <a:cubicBezTo>
                  <a:pt x="956" y="208"/>
                  <a:pt x="956" y="208"/>
                  <a:pt x="956" y="208"/>
                </a:cubicBezTo>
                <a:close/>
                <a:moveTo>
                  <a:pt x="989" y="201"/>
                </a:moveTo>
                <a:cubicBezTo>
                  <a:pt x="989" y="201"/>
                  <a:pt x="990" y="200"/>
                  <a:pt x="990" y="200"/>
                </a:cubicBezTo>
                <a:cubicBezTo>
                  <a:pt x="990" y="200"/>
                  <a:pt x="990" y="200"/>
                  <a:pt x="990" y="200"/>
                </a:cubicBezTo>
                <a:cubicBezTo>
                  <a:pt x="990" y="200"/>
                  <a:pt x="989" y="200"/>
                  <a:pt x="989" y="200"/>
                </a:cubicBezTo>
                <a:cubicBezTo>
                  <a:pt x="988" y="200"/>
                  <a:pt x="988" y="200"/>
                  <a:pt x="988" y="201"/>
                </a:cubicBezTo>
                <a:cubicBezTo>
                  <a:pt x="988" y="201"/>
                  <a:pt x="988" y="201"/>
                  <a:pt x="988" y="202"/>
                </a:cubicBezTo>
                <a:cubicBezTo>
                  <a:pt x="989" y="202"/>
                  <a:pt x="989" y="202"/>
                  <a:pt x="989" y="202"/>
                </a:cubicBezTo>
                <a:cubicBezTo>
                  <a:pt x="989" y="202"/>
                  <a:pt x="989" y="201"/>
                  <a:pt x="989" y="201"/>
                </a:cubicBezTo>
                <a:close/>
                <a:moveTo>
                  <a:pt x="989" y="214"/>
                </a:moveTo>
                <a:cubicBezTo>
                  <a:pt x="989" y="214"/>
                  <a:pt x="989" y="214"/>
                  <a:pt x="990" y="214"/>
                </a:cubicBezTo>
                <a:cubicBezTo>
                  <a:pt x="990" y="214"/>
                  <a:pt x="989" y="214"/>
                  <a:pt x="989" y="214"/>
                </a:cubicBezTo>
                <a:cubicBezTo>
                  <a:pt x="989" y="214"/>
                  <a:pt x="989" y="214"/>
                  <a:pt x="989" y="215"/>
                </a:cubicBezTo>
                <a:cubicBezTo>
                  <a:pt x="989" y="215"/>
                  <a:pt x="989" y="215"/>
                  <a:pt x="989" y="215"/>
                </a:cubicBezTo>
                <a:cubicBezTo>
                  <a:pt x="989" y="215"/>
                  <a:pt x="990" y="215"/>
                  <a:pt x="990" y="215"/>
                </a:cubicBezTo>
                <a:cubicBezTo>
                  <a:pt x="990" y="215"/>
                  <a:pt x="990" y="214"/>
                  <a:pt x="990" y="214"/>
                </a:cubicBezTo>
                <a:cubicBezTo>
                  <a:pt x="990" y="214"/>
                  <a:pt x="990" y="214"/>
                  <a:pt x="990" y="214"/>
                </a:cubicBezTo>
                <a:cubicBezTo>
                  <a:pt x="990" y="214"/>
                  <a:pt x="990" y="214"/>
                  <a:pt x="990" y="214"/>
                </a:cubicBezTo>
                <a:cubicBezTo>
                  <a:pt x="991" y="213"/>
                  <a:pt x="991" y="213"/>
                  <a:pt x="992" y="213"/>
                </a:cubicBezTo>
                <a:cubicBezTo>
                  <a:pt x="992" y="213"/>
                  <a:pt x="992" y="213"/>
                  <a:pt x="992" y="213"/>
                </a:cubicBezTo>
                <a:cubicBezTo>
                  <a:pt x="992" y="212"/>
                  <a:pt x="992" y="212"/>
                  <a:pt x="993" y="212"/>
                </a:cubicBezTo>
                <a:cubicBezTo>
                  <a:pt x="992" y="212"/>
                  <a:pt x="992" y="212"/>
                  <a:pt x="992" y="212"/>
                </a:cubicBezTo>
                <a:cubicBezTo>
                  <a:pt x="992" y="211"/>
                  <a:pt x="992" y="211"/>
                  <a:pt x="992" y="211"/>
                </a:cubicBezTo>
                <a:cubicBezTo>
                  <a:pt x="992" y="211"/>
                  <a:pt x="992" y="211"/>
                  <a:pt x="992" y="210"/>
                </a:cubicBezTo>
                <a:cubicBezTo>
                  <a:pt x="992" y="210"/>
                  <a:pt x="992" y="210"/>
                  <a:pt x="992" y="210"/>
                </a:cubicBezTo>
                <a:cubicBezTo>
                  <a:pt x="992" y="210"/>
                  <a:pt x="993" y="210"/>
                  <a:pt x="993" y="210"/>
                </a:cubicBezTo>
                <a:cubicBezTo>
                  <a:pt x="992" y="210"/>
                  <a:pt x="992" y="210"/>
                  <a:pt x="992" y="210"/>
                </a:cubicBezTo>
                <a:cubicBezTo>
                  <a:pt x="992" y="210"/>
                  <a:pt x="992" y="210"/>
                  <a:pt x="991" y="210"/>
                </a:cubicBezTo>
                <a:cubicBezTo>
                  <a:pt x="991" y="210"/>
                  <a:pt x="991" y="210"/>
                  <a:pt x="990" y="210"/>
                </a:cubicBezTo>
                <a:cubicBezTo>
                  <a:pt x="990" y="210"/>
                  <a:pt x="990" y="210"/>
                  <a:pt x="990" y="210"/>
                </a:cubicBezTo>
                <a:cubicBezTo>
                  <a:pt x="989" y="211"/>
                  <a:pt x="989" y="211"/>
                  <a:pt x="989" y="211"/>
                </a:cubicBezTo>
                <a:cubicBezTo>
                  <a:pt x="989" y="211"/>
                  <a:pt x="988" y="211"/>
                  <a:pt x="988" y="211"/>
                </a:cubicBezTo>
                <a:cubicBezTo>
                  <a:pt x="988" y="212"/>
                  <a:pt x="988" y="212"/>
                  <a:pt x="989" y="212"/>
                </a:cubicBezTo>
                <a:cubicBezTo>
                  <a:pt x="988" y="212"/>
                  <a:pt x="988" y="212"/>
                  <a:pt x="988" y="212"/>
                </a:cubicBezTo>
                <a:cubicBezTo>
                  <a:pt x="988" y="213"/>
                  <a:pt x="989" y="213"/>
                  <a:pt x="989" y="214"/>
                </a:cubicBezTo>
                <a:close/>
                <a:moveTo>
                  <a:pt x="981" y="215"/>
                </a:moveTo>
                <a:cubicBezTo>
                  <a:pt x="981" y="216"/>
                  <a:pt x="981" y="216"/>
                  <a:pt x="980" y="217"/>
                </a:cubicBezTo>
                <a:cubicBezTo>
                  <a:pt x="980" y="217"/>
                  <a:pt x="981" y="217"/>
                  <a:pt x="981" y="218"/>
                </a:cubicBezTo>
                <a:cubicBezTo>
                  <a:pt x="981" y="218"/>
                  <a:pt x="981" y="218"/>
                  <a:pt x="981" y="218"/>
                </a:cubicBezTo>
                <a:cubicBezTo>
                  <a:pt x="981" y="218"/>
                  <a:pt x="981" y="218"/>
                  <a:pt x="981" y="218"/>
                </a:cubicBezTo>
                <a:cubicBezTo>
                  <a:pt x="981" y="218"/>
                  <a:pt x="981" y="218"/>
                  <a:pt x="981" y="218"/>
                </a:cubicBezTo>
                <a:cubicBezTo>
                  <a:pt x="982" y="217"/>
                  <a:pt x="982" y="217"/>
                  <a:pt x="982" y="217"/>
                </a:cubicBezTo>
                <a:cubicBezTo>
                  <a:pt x="982" y="216"/>
                  <a:pt x="982" y="216"/>
                  <a:pt x="982" y="215"/>
                </a:cubicBezTo>
                <a:cubicBezTo>
                  <a:pt x="982" y="215"/>
                  <a:pt x="983" y="215"/>
                  <a:pt x="983" y="214"/>
                </a:cubicBezTo>
                <a:cubicBezTo>
                  <a:pt x="983" y="214"/>
                  <a:pt x="983" y="213"/>
                  <a:pt x="983" y="213"/>
                </a:cubicBezTo>
                <a:cubicBezTo>
                  <a:pt x="983" y="213"/>
                  <a:pt x="983" y="213"/>
                  <a:pt x="982" y="213"/>
                </a:cubicBezTo>
                <a:cubicBezTo>
                  <a:pt x="982" y="213"/>
                  <a:pt x="982" y="213"/>
                  <a:pt x="982" y="213"/>
                </a:cubicBezTo>
                <a:cubicBezTo>
                  <a:pt x="982" y="213"/>
                  <a:pt x="982" y="214"/>
                  <a:pt x="982" y="214"/>
                </a:cubicBezTo>
                <a:cubicBezTo>
                  <a:pt x="982" y="214"/>
                  <a:pt x="982" y="214"/>
                  <a:pt x="981" y="215"/>
                </a:cubicBezTo>
                <a:cubicBezTo>
                  <a:pt x="981" y="215"/>
                  <a:pt x="981" y="215"/>
                  <a:pt x="981" y="215"/>
                </a:cubicBezTo>
                <a:close/>
                <a:moveTo>
                  <a:pt x="993" y="209"/>
                </a:moveTo>
                <a:cubicBezTo>
                  <a:pt x="993" y="209"/>
                  <a:pt x="993" y="209"/>
                  <a:pt x="993" y="209"/>
                </a:cubicBezTo>
                <a:cubicBezTo>
                  <a:pt x="993" y="209"/>
                  <a:pt x="993" y="210"/>
                  <a:pt x="993" y="210"/>
                </a:cubicBezTo>
                <a:cubicBezTo>
                  <a:pt x="993" y="210"/>
                  <a:pt x="994" y="209"/>
                  <a:pt x="994" y="209"/>
                </a:cubicBezTo>
                <a:cubicBezTo>
                  <a:pt x="994" y="209"/>
                  <a:pt x="994" y="209"/>
                  <a:pt x="995" y="209"/>
                </a:cubicBezTo>
                <a:cubicBezTo>
                  <a:pt x="995" y="209"/>
                  <a:pt x="995" y="209"/>
                  <a:pt x="995" y="209"/>
                </a:cubicBezTo>
                <a:cubicBezTo>
                  <a:pt x="994" y="209"/>
                  <a:pt x="994" y="209"/>
                  <a:pt x="993" y="209"/>
                </a:cubicBezTo>
                <a:close/>
                <a:moveTo>
                  <a:pt x="992" y="206"/>
                </a:moveTo>
                <a:cubicBezTo>
                  <a:pt x="993" y="206"/>
                  <a:pt x="993" y="206"/>
                  <a:pt x="993" y="207"/>
                </a:cubicBezTo>
                <a:cubicBezTo>
                  <a:pt x="993" y="206"/>
                  <a:pt x="993" y="206"/>
                  <a:pt x="994" y="206"/>
                </a:cubicBezTo>
                <a:cubicBezTo>
                  <a:pt x="993" y="206"/>
                  <a:pt x="993" y="206"/>
                  <a:pt x="993" y="206"/>
                </a:cubicBezTo>
                <a:cubicBezTo>
                  <a:pt x="993" y="206"/>
                  <a:pt x="993" y="206"/>
                  <a:pt x="992" y="206"/>
                </a:cubicBezTo>
                <a:close/>
                <a:moveTo>
                  <a:pt x="1008" y="196"/>
                </a:moveTo>
                <a:cubicBezTo>
                  <a:pt x="1008" y="196"/>
                  <a:pt x="1008" y="196"/>
                  <a:pt x="1008" y="196"/>
                </a:cubicBezTo>
                <a:cubicBezTo>
                  <a:pt x="1008" y="196"/>
                  <a:pt x="1009" y="196"/>
                  <a:pt x="1009" y="196"/>
                </a:cubicBezTo>
                <a:cubicBezTo>
                  <a:pt x="1009" y="196"/>
                  <a:pt x="1008" y="196"/>
                  <a:pt x="1008" y="196"/>
                </a:cubicBezTo>
                <a:close/>
                <a:moveTo>
                  <a:pt x="1010" y="197"/>
                </a:moveTo>
                <a:cubicBezTo>
                  <a:pt x="1010" y="197"/>
                  <a:pt x="1010" y="197"/>
                  <a:pt x="1010" y="197"/>
                </a:cubicBezTo>
                <a:cubicBezTo>
                  <a:pt x="1010" y="197"/>
                  <a:pt x="1010" y="197"/>
                  <a:pt x="1010" y="197"/>
                </a:cubicBezTo>
                <a:cubicBezTo>
                  <a:pt x="1009" y="197"/>
                  <a:pt x="1009" y="197"/>
                  <a:pt x="1009" y="197"/>
                </a:cubicBezTo>
                <a:cubicBezTo>
                  <a:pt x="1009" y="197"/>
                  <a:pt x="1009" y="197"/>
                  <a:pt x="1009" y="197"/>
                </a:cubicBezTo>
                <a:cubicBezTo>
                  <a:pt x="1010" y="197"/>
                  <a:pt x="1010" y="197"/>
                  <a:pt x="1010" y="197"/>
                </a:cubicBezTo>
                <a:close/>
                <a:moveTo>
                  <a:pt x="1000" y="176"/>
                </a:moveTo>
                <a:cubicBezTo>
                  <a:pt x="1000" y="176"/>
                  <a:pt x="1000" y="176"/>
                  <a:pt x="999" y="176"/>
                </a:cubicBezTo>
                <a:cubicBezTo>
                  <a:pt x="999" y="176"/>
                  <a:pt x="999" y="176"/>
                  <a:pt x="999" y="176"/>
                </a:cubicBezTo>
                <a:cubicBezTo>
                  <a:pt x="999" y="176"/>
                  <a:pt x="1000" y="177"/>
                  <a:pt x="1000" y="177"/>
                </a:cubicBezTo>
                <a:cubicBezTo>
                  <a:pt x="1000" y="176"/>
                  <a:pt x="1000" y="176"/>
                  <a:pt x="1000" y="176"/>
                </a:cubicBezTo>
                <a:close/>
                <a:moveTo>
                  <a:pt x="1004" y="194"/>
                </a:moveTo>
                <a:cubicBezTo>
                  <a:pt x="1004" y="194"/>
                  <a:pt x="1004" y="194"/>
                  <a:pt x="1004" y="194"/>
                </a:cubicBezTo>
                <a:cubicBezTo>
                  <a:pt x="1004" y="194"/>
                  <a:pt x="1004" y="194"/>
                  <a:pt x="1004" y="195"/>
                </a:cubicBezTo>
                <a:cubicBezTo>
                  <a:pt x="1005" y="194"/>
                  <a:pt x="1005" y="194"/>
                  <a:pt x="1005" y="194"/>
                </a:cubicBezTo>
                <a:cubicBezTo>
                  <a:pt x="1005" y="194"/>
                  <a:pt x="1004" y="194"/>
                  <a:pt x="1004" y="194"/>
                </a:cubicBezTo>
                <a:close/>
                <a:moveTo>
                  <a:pt x="1006" y="195"/>
                </a:moveTo>
                <a:cubicBezTo>
                  <a:pt x="1006" y="195"/>
                  <a:pt x="1006" y="196"/>
                  <a:pt x="1007" y="196"/>
                </a:cubicBezTo>
                <a:cubicBezTo>
                  <a:pt x="1007" y="196"/>
                  <a:pt x="1007" y="195"/>
                  <a:pt x="1008" y="195"/>
                </a:cubicBezTo>
                <a:cubicBezTo>
                  <a:pt x="1008" y="195"/>
                  <a:pt x="1008" y="195"/>
                  <a:pt x="1008" y="195"/>
                </a:cubicBezTo>
                <a:cubicBezTo>
                  <a:pt x="1007" y="195"/>
                  <a:pt x="1007" y="195"/>
                  <a:pt x="1006" y="195"/>
                </a:cubicBezTo>
                <a:cubicBezTo>
                  <a:pt x="1006" y="195"/>
                  <a:pt x="1006" y="195"/>
                  <a:pt x="1006" y="195"/>
                </a:cubicBezTo>
                <a:close/>
                <a:moveTo>
                  <a:pt x="1001" y="194"/>
                </a:moveTo>
                <a:cubicBezTo>
                  <a:pt x="1001" y="194"/>
                  <a:pt x="1002" y="194"/>
                  <a:pt x="1002" y="194"/>
                </a:cubicBezTo>
                <a:cubicBezTo>
                  <a:pt x="1002" y="194"/>
                  <a:pt x="1002" y="194"/>
                  <a:pt x="1002" y="194"/>
                </a:cubicBezTo>
                <a:cubicBezTo>
                  <a:pt x="1002" y="194"/>
                  <a:pt x="1002" y="194"/>
                  <a:pt x="1001" y="194"/>
                </a:cubicBezTo>
                <a:close/>
                <a:moveTo>
                  <a:pt x="994" y="195"/>
                </a:moveTo>
                <a:cubicBezTo>
                  <a:pt x="994" y="195"/>
                  <a:pt x="993" y="195"/>
                  <a:pt x="993" y="195"/>
                </a:cubicBezTo>
                <a:cubicBezTo>
                  <a:pt x="994" y="195"/>
                  <a:pt x="994" y="195"/>
                  <a:pt x="994" y="195"/>
                </a:cubicBezTo>
                <a:cubicBezTo>
                  <a:pt x="994" y="196"/>
                  <a:pt x="994" y="196"/>
                  <a:pt x="995" y="196"/>
                </a:cubicBezTo>
                <a:cubicBezTo>
                  <a:pt x="995" y="196"/>
                  <a:pt x="995" y="196"/>
                  <a:pt x="996" y="196"/>
                </a:cubicBezTo>
                <a:cubicBezTo>
                  <a:pt x="996" y="196"/>
                  <a:pt x="996" y="197"/>
                  <a:pt x="997" y="197"/>
                </a:cubicBezTo>
                <a:cubicBezTo>
                  <a:pt x="997" y="197"/>
                  <a:pt x="997" y="197"/>
                  <a:pt x="997" y="197"/>
                </a:cubicBezTo>
                <a:cubicBezTo>
                  <a:pt x="997" y="196"/>
                  <a:pt x="997" y="196"/>
                  <a:pt x="997" y="196"/>
                </a:cubicBezTo>
                <a:cubicBezTo>
                  <a:pt x="997" y="196"/>
                  <a:pt x="997" y="196"/>
                  <a:pt x="996" y="196"/>
                </a:cubicBezTo>
                <a:cubicBezTo>
                  <a:pt x="996" y="196"/>
                  <a:pt x="996" y="195"/>
                  <a:pt x="996" y="195"/>
                </a:cubicBezTo>
                <a:cubicBezTo>
                  <a:pt x="996" y="195"/>
                  <a:pt x="996" y="195"/>
                  <a:pt x="996" y="195"/>
                </a:cubicBezTo>
                <a:cubicBezTo>
                  <a:pt x="996" y="195"/>
                  <a:pt x="997" y="195"/>
                  <a:pt x="997" y="195"/>
                </a:cubicBezTo>
                <a:cubicBezTo>
                  <a:pt x="997" y="195"/>
                  <a:pt x="997" y="195"/>
                  <a:pt x="997" y="195"/>
                </a:cubicBezTo>
                <a:cubicBezTo>
                  <a:pt x="996" y="194"/>
                  <a:pt x="996" y="194"/>
                  <a:pt x="995" y="194"/>
                </a:cubicBezTo>
                <a:cubicBezTo>
                  <a:pt x="995" y="194"/>
                  <a:pt x="995" y="194"/>
                  <a:pt x="995" y="194"/>
                </a:cubicBezTo>
                <a:cubicBezTo>
                  <a:pt x="995" y="194"/>
                  <a:pt x="995" y="194"/>
                  <a:pt x="995" y="194"/>
                </a:cubicBezTo>
                <a:cubicBezTo>
                  <a:pt x="995" y="194"/>
                  <a:pt x="995" y="195"/>
                  <a:pt x="995" y="195"/>
                </a:cubicBezTo>
                <a:cubicBezTo>
                  <a:pt x="995" y="195"/>
                  <a:pt x="995" y="195"/>
                  <a:pt x="995" y="195"/>
                </a:cubicBezTo>
                <a:cubicBezTo>
                  <a:pt x="995" y="195"/>
                  <a:pt x="994" y="195"/>
                  <a:pt x="994" y="195"/>
                </a:cubicBezTo>
                <a:close/>
                <a:moveTo>
                  <a:pt x="1016" y="166"/>
                </a:moveTo>
                <a:cubicBezTo>
                  <a:pt x="1016" y="166"/>
                  <a:pt x="1015" y="165"/>
                  <a:pt x="1015" y="165"/>
                </a:cubicBezTo>
                <a:cubicBezTo>
                  <a:pt x="1014" y="166"/>
                  <a:pt x="1014" y="166"/>
                  <a:pt x="1014" y="166"/>
                </a:cubicBezTo>
                <a:cubicBezTo>
                  <a:pt x="1014" y="166"/>
                  <a:pt x="1014" y="166"/>
                  <a:pt x="1014" y="167"/>
                </a:cubicBezTo>
                <a:cubicBezTo>
                  <a:pt x="1015" y="167"/>
                  <a:pt x="1015" y="167"/>
                  <a:pt x="1015" y="167"/>
                </a:cubicBezTo>
                <a:cubicBezTo>
                  <a:pt x="1015" y="167"/>
                  <a:pt x="1016" y="166"/>
                  <a:pt x="1016" y="166"/>
                </a:cubicBezTo>
                <a:cubicBezTo>
                  <a:pt x="1016" y="166"/>
                  <a:pt x="1015" y="166"/>
                  <a:pt x="1015" y="166"/>
                </a:cubicBezTo>
                <a:cubicBezTo>
                  <a:pt x="1016" y="166"/>
                  <a:pt x="1016" y="166"/>
                  <a:pt x="1016" y="166"/>
                </a:cubicBezTo>
                <a:cubicBezTo>
                  <a:pt x="1016" y="166"/>
                  <a:pt x="1016" y="166"/>
                  <a:pt x="1016" y="166"/>
                </a:cubicBezTo>
                <a:close/>
                <a:moveTo>
                  <a:pt x="998" y="177"/>
                </a:moveTo>
                <a:cubicBezTo>
                  <a:pt x="999" y="178"/>
                  <a:pt x="999" y="178"/>
                  <a:pt x="999" y="178"/>
                </a:cubicBezTo>
                <a:cubicBezTo>
                  <a:pt x="999" y="178"/>
                  <a:pt x="1000" y="178"/>
                  <a:pt x="1000" y="178"/>
                </a:cubicBezTo>
                <a:cubicBezTo>
                  <a:pt x="1000" y="177"/>
                  <a:pt x="1000" y="177"/>
                  <a:pt x="1000" y="177"/>
                </a:cubicBezTo>
                <a:cubicBezTo>
                  <a:pt x="1000" y="177"/>
                  <a:pt x="1000" y="177"/>
                  <a:pt x="999" y="177"/>
                </a:cubicBezTo>
                <a:cubicBezTo>
                  <a:pt x="999" y="177"/>
                  <a:pt x="999" y="177"/>
                  <a:pt x="999" y="177"/>
                </a:cubicBezTo>
                <a:cubicBezTo>
                  <a:pt x="999" y="177"/>
                  <a:pt x="999" y="177"/>
                  <a:pt x="998" y="177"/>
                </a:cubicBezTo>
                <a:close/>
                <a:moveTo>
                  <a:pt x="1010" y="207"/>
                </a:moveTo>
                <a:cubicBezTo>
                  <a:pt x="1011" y="207"/>
                  <a:pt x="1011" y="207"/>
                  <a:pt x="1011" y="207"/>
                </a:cubicBezTo>
                <a:cubicBezTo>
                  <a:pt x="1011" y="207"/>
                  <a:pt x="1011" y="207"/>
                  <a:pt x="1012" y="206"/>
                </a:cubicBezTo>
                <a:cubicBezTo>
                  <a:pt x="1012" y="206"/>
                  <a:pt x="1012" y="206"/>
                  <a:pt x="1012" y="206"/>
                </a:cubicBezTo>
                <a:cubicBezTo>
                  <a:pt x="1012" y="206"/>
                  <a:pt x="1013" y="206"/>
                  <a:pt x="1013" y="206"/>
                </a:cubicBezTo>
                <a:cubicBezTo>
                  <a:pt x="1013" y="206"/>
                  <a:pt x="1013" y="206"/>
                  <a:pt x="1012" y="206"/>
                </a:cubicBezTo>
                <a:cubicBezTo>
                  <a:pt x="1012" y="206"/>
                  <a:pt x="1012" y="206"/>
                  <a:pt x="1012" y="206"/>
                </a:cubicBezTo>
                <a:cubicBezTo>
                  <a:pt x="1012" y="206"/>
                  <a:pt x="1011" y="206"/>
                  <a:pt x="1011" y="205"/>
                </a:cubicBezTo>
                <a:cubicBezTo>
                  <a:pt x="1010" y="205"/>
                  <a:pt x="1010" y="205"/>
                  <a:pt x="1009" y="205"/>
                </a:cubicBezTo>
                <a:cubicBezTo>
                  <a:pt x="1009" y="205"/>
                  <a:pt x="1009" y="205"/>
                  <a:pt x="1009" y="205"/>
                </a:cubicBezTo>
                <a:cubicBezTo>
                  <a:pt x="1009" y="205"/>
                  <a:pt x="1009" y="205"/>
                  <a:pt x="1008" y="206"/>
                </a:cubicBezTo>
                <a:cubicBezTo>
                  <a:pt x="1008" y="206"/>
                  <a:pt x="1008" y="206"/>
                  <a:pt x="1008" y="206"/>
                </a:cubicBezTo>
                <a:cubicBezTo>
                  <a:pt x="1008" y="206"/>
                  <a:pt x="1008" y="206"/>
                  <a:pt x="1007" y="206"/>
                </a:cubicBezTo>
                <a:cubicBezTo>
                  <a:pt x="1007" y="206"/>
                  <a:pt x="1007" y="206"/>
                  <a:pt x="1007" y="206"/>
                </a:cubicBezTo>
                <a:cubicBezTo>
                  <a:pt x="1007" y="206"/>
                  <a:pt x="1007" y="206"/>
                  <a:pt x="1007" y="206"/>
                </a:cubicBezTo>
                <a:cubicBezTo>
                  <a:pt x="1007" y="206"/>
                  <a:pt x="1007" y="206"/>
                  <a:pt x="1007" y="206"/>
                </a:cubicBezTo>
                <a:cubicBezTo>
                  <a:pt x="1006" y="206"/>
                  <a:pt x="1006" y="206"/>
                  <a:pt x="1006" y="206"/>
                </a:cubicBezTo>
                <a:cubicBezTo>
                  <a:pt x="1006" y="206"/>
                  <a:pt x="1007" y="206"/>
                  <a:pt x="1007" y="206"/>
                </a:cubicBezTo>
                <a:cubicBezTo>
                  <a:pt x="1007" y="206"/>
                  <a:pt x="1007" y="206"/>
                  <a:pt x="1007" y="207"/>
                </a:cubicBezTo>
                <a:cubicBezTo>
                  <a:pt x="1007" y="207"/>
                  <a:pt x="1006" y="207"/>
                  <a:pt x="1006" y="207"/>
                </a:cubicBezTo>
                <a:cubicBezTo>
                  <a:pt x="1006" y="207"/>
                  <a:pt x="1006" y="207"/>
                  <a:pt x="1006" y="207"/>
                </a:cubicBezTo>
                <a:cubicBezTo>
                  <a:pt x="1006" y="207"/>
                  <a:pt x="1007" y="207"/>
                  <a:pt x="1007" y="207"/>
                </a:cubicBezTo>
                <a:cubicBezTo>
                  <a:pt x="1007" y="208"/>
                  <a:pt x="1008" y="208"/>
                  <a:pt x="1008" y="208"/>
                </a:cubicBezTo>
                <a:cubicBezTo>
                  <a:pt x="1008" y="208"/>
                  <a:pt x="1008" y="208"/>
                  <a:pt x="1008" y="208"/>
                </a:cubicBezTo>
                <a:cubicBezTo>
                  <a:pt x="1007" y="208"/>
                  <a:pt x="1007" y="208"/>
                  <a:pt x="1007" y="208"/>
                </a:cubicBezTo>
                <a:cubicBezTo>
                  <a:pt x="1007" y="209"/>
                  <a:pt x="1007" y="209"/>
                  <a:pt x="1007" y="209"/>
                </a:cubicBezTo>
                <a:cubicBezTo>
                  <a:pt x="1007" y="209"/>
                  <a:pt x="1007" y="209"/>
                  <a:pt x="1007" y="209"/>
                </a:cubicBezTo>
                <a:cubicBezTo>
                  <a:pt x="1007" y="209"/>
                  <a:pt x="1008" y="209"/>
                  <a:pt x="1008" y="209"/>
                </a:cubicBezTo>
                <a:cubicBezTo>
                  <a:pt x="1008" y="209"/>
                  <a:pt x="1008" y="209"/>
                  <a:pt x="1008" y="209"/>
                </a:cubicBezTo>
                <a:cubicBezTo>
                  <a:pt x="1008" y="208"/>
                  <a:pt x="1008" y="208"/>
                  <a:pt x="1009" y="208"/>
                </a:cubicBezTo>
                <a:cubicBezTo>
                  <a:pt x="1009" y="208"/>
                  <a:pt x="1010" y="208"/>
                  <a:pt x="1010" y="207"/>
                </a:cubicBezTo>
                <a:close/>
                <a:moveTo>
                  <a:pt x="1013" y="203"/>
                </a:moveTo>
                <a:cubicBezTo>
                  <a:pt x="1012" y="203"/>
                  <a:pt x="1012" y="203"/>
                  <a:pt x="1012" y="203"/>
                </a:cubicBezTo>
                <a:cubicBezTo>
                  <a:pt x="1012" y="203"/>
                  <a:pt x="1012" y="203"/>
                  <a:pt x="1012" y="203"/>
                </a:cubicBezTo>
                <a:cubicBezTo>
                  <a:pt x="1012" y="203"/>
                  <a:pt x="1013" y="203"/>
                  <a:pt x="1013" y="203"/>
                </a:cubicBezTo>
                <a:cubicBezTo>
                  <a:pt x="1013" y="203"/>
                  <a:pt x="1013" y="203"/>
                  <a:pt x="1013" y="203"/>
                </a:cubicBezTo>
                <a:close/>
                <a:moveTo>
                  <a:pt x="1007" y="204"/>
                </a:moveTo>
                <a:cubicBezTo>
                  <a:pt x="1007" y="204"/>
                  <a:pt x="1008" y="204"/>
                  <a:pt x="1008" y="204"/>
                </a:cubicBezTo>
                <a:cubicBezTo>
                  <a:pt x="1008" y="204"/>
                  <a:pt x="1009" y="204"/>
                  <a:pt x="1009" y="204"/>
                </a:cubicBezTo>
                <a:cubicBezTo>
                  <a:pt x="1009" y="204"/>
                  <a:pt x="1009" y="204"/>
                  <a:pt x="1010" y="205"/>
                </a:cubicBezTo>
                <a:cubicBezTo>
                  <a:pt x="1010" y="205"/>
                  <a:pt x="1010" y="204"/>
                  <a:pt x="1010" y="204"/>
                </a:cubicBezTo>
                <a:cubicBezTo>
                  <a:pt x="1010" y="204"/>
                  <a:pt x="1011" y="204"/>
                  <a:pt x="1011" y="204"/>
                </a:cubicBezTo>
                <a:cubicBezTo>
                  <a:pt x="1011" y="204"/>
                  <a:pt x="1011" y="204"/>
                  <a:pt x="1012" y="204"/>
                </a:cubicBezTo>
                <a:cubicBezTo>
                  <a:pt x="1012" y="204"/>
                  <a:pt x="1011" y="204"/>
                  <a:pt x="1011" y="203"/>
                </a:cubicBezTo>
                <a:cubicBezTo>
                  <a:pt x="1011" y="203"/>
                  <a:pt x="1011" y="203"/>
                  <a:pt x="1010" y="203"/>
                </a:cubicBezTo>
                <a:cubicBezTo>
                  <a:pt x="1010" y="203"/>
                  <a:pt x="1010" y="203"/>
                  <a:pt x="1010" y="203"/>
                </a:cubicBezTo>
                <a:cubicBezTo>
                  <a:pt x="1010" y="203"/>
                  <a:pt x="1009" y="203"/>
                  <a:pt x="1009" y="203"/>
                </a:cubicBezTo>
                <a:cubicBezTo>
                  <a:pt x="1009" y="203"/>
                  <a:pt x="1009" y="203"/>
                  <a:pt x="1009" y="203"/>
                </a:cubicBezTo>
                <a:cubicBezTo>
                  <a:pt x="1009" y="203"/>
                  <a:pt x="1009" y="203"/>
                  <a:pt x="1008" y="203"/>
                </a:cubicBezTo>
                <a:cubicBezTo>
                  <a:pt x="1008" y="204"/>
                  <a:pt x="1007" y="204"/>
                  <a:pt x="1007" y="204"/>
                </a:cubicBezTo>
                <a:cubicBezTo>
                  <a:pt x="1007" y="204"/>
                  <a:pt x="1007" y="204"/>
                  <a:pt x="1007" y="204"/>
                </a:cubicBezTo>
                <a:close/>
                <a:moveTo>
                  <a:pt x="1012" y="205"/>
                </a:moveTo>
                <a:cubicBezTo>
                  <a:pt x="1012" y="206"/>
                  <a:pt x="1013" y="206"/>
                  <a:pt x="1013" y="206"/>
                </a:cubicBezTo>
                <a:cubicBezTo>
                  <a:pt x="1013" y="206"/>
                  <a:pt x="1013" y="206"/>
                  <a:pt x="1014" y="206"/>
                </a:cubicBezTo>
                <a:cubicBezTo>
                  <a:pt x="1013" y="205"/>
                  <a:pt x="1013" y="205"/>
                  <a:pt x="1013" y="205"/>
                </a:cubicBezTo>
                <a:cubicBezTo>
                  <a:pt x="1013" y="205"/>
                  <a:pt x="1012" y="205"/>
                  <a:pt x="1012" y="205"/>
                </a:cubicBezTo>
                <a:cubicBezTo>
                  <a:pt x="1012" y="205"/>
                  <a:pt x="1012" y="205"/>
                  <a:pt x="1012" y="205"/>
                </a:cubicBezTo>
                <a:close/>
                <a:moveTo>
                  <a:pt x="975" y="275"/>
                </a:moveTo>
                <a:cubicBezTo>
                  <a:pt x="975" y="275"/>
                  <a:pt x="975" y="275"/>
                  <a:pt x="975" y="275"/>
                </a:cubicBezTo>
                <a:cubicBezTo>
                  <a:pt x="975" y="275"/>
                  <a:pt x="975" y="275"/>
                  <a:pt x="975" y="274"/>
                </a:cubicBezTo>
                <a:cubicBezTo>
                  <a:pt x="975" y="274"/>
                  <a:pt x="974" y="274"/>
                  <a:pt x="974" y="273"/>
                </a:cubicBezTo>
                <a:cubicBezTo>
                  <a:pt x="974" y="274"/>
                  <a:pt x="974" y="274"/>
                  <a:pt x="974" y="274"/>
                </a:cubicBezTo>
                <a:cubicBezTo>
                  <a:pt x="974" y="274"/>
                  <a:pt x="974" y="274"/>
                  <a:pt x="974" y="274"/>
                </a:cubicBezTo>
                <a:cubicBezTo>
                  <a:pt x="974" y="275"/>
                  <a:pt x="975" y="275"/>
                  <a:pt x="975" y="275"/>
                </a:cubicBezTo>
                <a:close/>
                <a:moveTo>
                  <a:pt x="987" y="282"/>
                </a:moveTo>
                <a:cubicBezTo>
                  <a:pt x="987" y="282"/>
                  <a:pt x="987" y="281"/>
                  <a:pt x="988" y="281"/>
                </a:cubicBezTo>
                <a:cubicBezTo>
                  <a:pt x="987" y="281"/>
                  <a:pt x="986" y="281"/>
                  <a:pt x="985" y="281"/>
                </a:cubicBezTo>
                <a:cubicBezTo>
                  <a:pt x="986" y="281"/>
                  <a:pt x="986" y="282"/>
                  <a:pt x="987" y="282"/>
                </a:cubicBezTo>
                <a:close/>
                <a:moveTo>
                  <a:pt x="988" y="281"/>
                </a:moveTo>
                <a:cubicBezTo>
                  <a:pt x="988" y="281"/>
                  <a:pt x="987" y="281"/>
                  <a:pt x="987" y="280"/>
                </a:cubicBezTo>
                <a:cubicBezTo>
                  <a:pt x="987" y="280"/>
                  <a:pt x="986" y="280"/>
                  <a:pt x="985" y="280"/>
                </a:cubicBezTo>
                <a:cubicBezTo>
                  <a:pt x="985" y="281"/>
                  <a:pt x="985" y="281"/>
                  <a:pt x="986" y="281"/>
                </a:cubicBezTo>
                <a:cubicBezTo>
                  <a:pt x="986" y="281"/>
                  <a:pt x="986" y="281"/>
                  <a:pt x="987" y="281"/>
                </a:cubicBezTo>
                <a:cubicBezTo>
                  <a:pt x="987" y="281"/>
                  <a:pt x="987" y="281"/>
                  <a:pt x="988" y="281"/>
                </a:cubicBezTo>
                <a:close/>
                <a:moveTo>
                  <a:pt x="976" y="276"/>
                </a:moveTo>
                <a:cubicBezTo>
                  <a:pt x="976" y="276"/>
                  <a:pt x="976" y="276"/>
                  <a:pt x="976" y="276"/>
                </a:cubicBezTo>
                <a:cubicBezTo>
                  <a:pt x="976" y="276"/>
                  <a:pt x="976" y="276"/>
                  <a:pt x="976" y="276"/>
                </a:cubicBezTo>
                <a:cubicBezTo>
                  <a:pt x="976" y="276"/>
                  <a:pt x="976" y="276"/>
                  <a:pt x="976" y="276"/>
                </a:cubicBezTo>
                <a:close/>
                <a:moveTo>
                  <a:pt x="989" y="283"/>
                </a:moveTo>
                <a:cubicBezTo>
                  <a:pt x="989" y="282"/>
                  <a:pt x="988" y="282"/>
                  <a:pt x="988" y="282"/>
                </a:cubicBezTo>
                <a:cubicBezTo>
                  <a:pt x="988" y="282"/>
                  <a:pt x="986" y="282"/>
                  <a:pt x="986" y="282"/>
                </a:cubicBezTo>
                <a:cubicBezTo>
                  <a:pt x="987" y="282"/>
                  <a:pt x="987" y="282"/>
                  <a:pt x="987" y="282"/>
                </a:cubicBezTo>
                <a:cubicBezTo>
                  <a:pt x="988" y="282"/>
                  <a:pt x="988" y="283"/>
                  <a:pt x="989" y="283"/>
                </a:cubicBezTo>
                <a:close/>
                <a:moveTo>
                  <a:pt x="979" y="276"/>
                </a:moveTo>
                <a:cubicBezTo>
                  <a:pt x="979" y="276"/>
                  <a:pt x="978" y="276"/>
                  <a:pt x="978" y="276"/>
                </a:cubicBezTo>
                <a:cubicBezTo>
                  <a:pt x="978" y="276"/>
                  <a:pt x="978" y="276"/>
                  <a:pt x="978" y="276"/>
                </a:cubicBezTo>
                <a:cubicBezTo>
                  <a:pt x="978" y="276"/>
                  <a:pt x="978" y="276"/>
                  <a:pt x="978" y="276"/>
                </a:cubicBezTo>
                <a:cubicBezTo>
                  <a:pt x="979" y="276"/>
                  <a:pt x="979" y="276"/>
                  <a:pt x="979" y="276"/>
                </a:cubicBezTo>
                <a:close/>
                <a:moveTo>
                  <a:pt x="975" y="272"/>
                </a:moveTo>
                <a:cubicBezTo>
                  <a:pt x="975" y="272"/>
                  <a:pt x="974" y="272"/>
                  <a:pt x="974" y="272"/>
                </a:cubicBezTo>
                <a:cubicBezTo>
                  <a:pt x="974" y="273"/>
                  <a:pt x="974" y="273"/>
                  <a:pt x="974" y="273"/>
                </a:cubicBezTo>
                <a:cubicBezTo>
                  <a:pt x="974" y="273"/>
                  <a:pt x="975" y="273"/>
                  <a:pt x="975" y="273"/>
                </a:cubicBezTo>
                <a:cubicBezTo>
                  <a:pt x="975" y="274"/>
                  <a:pt x="975" y="274"/>
                  <a:pt x="975" y="274"/>
                </a:cubicBezTo>
                <a:cubicBezTo>
                  <a:pt x="976" y="274"/>
                  <a:pt x="976" y="274"/>
                  <a:pt x="976" y="274"/>
                </a:cubicBezTo>
                <a:cubicBezTo>
                  <a:pt x="976" y="273"/>
                  <a:pt x="975" y="273"/>
                  <a:pt x="975" y="272"/>
                </a:cubicBezTo>
                <a:close/>
                <a:moveTo>
                  <a:pt x="978" y="278"/>
                </a:moveTo>
                <a:cubicBezTo>
                  <a:pt x="978" y="278"/>
                  <a:pt x="978" y="278"/>
                  <a:pt x="978" y="277"/>
                </a:cubicBezTo>
                <a:cubicBezTo>
                  <a:pt x="978" y="277"/>
                  <a:pt x="977" y="277"/>
                  <a:pt x="977" y="277"/>
                </a:cubicBezTo>
                <a:cubicBezTo>
                  <a:pt x="977" y="277"/>
                  <a:pt x="978" y="278"/>
                  <a:pt x="978" y="278"/>
                </a:cubicBezTo>
                <a:close/>
                <a:moveTo>
                  <a:pt x="977" y="275"/>
                </a:moveTo>
                <a:cubicBezTo>
                  <a:pt x="977" y="275"/>
                  <a:pt x="977" y="275"/>
                  <a:pt x="977" y="275"/>
                </a:cubicBezTo>
                <a:cubicBezTo>
                  <a:pt x="977" y="275"/>
                  <a:pt x="977" y="275"/>
                  <a:pt x="978" y="275"/>
                </a:cubicBezTo>
                <a:cubicBezTo>
                  <a:pt x="977" y="275"/>
                  <a:pt x="977" y="275"/>
                  <a:pt x="977" y="275"/>
                </a:cubicBezTo>
                <a:close/>
                <a:moveTo>
                  <a:pt x="920" y="242"/>
                </a:moveTo>
                <a:cubicBezTo>
                  <a:pt x="920" y="242"/>
                  <a:pt x="920" y="242"/>
                  <a:pt x="920" y="242"/>
                </a:cubicBezTo>
                <a:cubicBezTo>
                  <a:pt x="920" y="242"/>
                  <a:pt x="920" y="241"/>
                  <a:pt x="920" y="241"/>
                </a:cubicBezTo>
                <a:cubicBezTo>
                  <a:pt x="920" y="241"/>
                  <a:pt x="919" y="241"/>
                  <a:pt x="919" y="242"/>
                </a:cubicBezTo>
                <a:cubicBezTo>
                  <a:pt x="919" y="242"/>
                  <a:pt x="919" y="242"/>
                  <a:pt x="920" y="242"/>
                </a:cubicBezTo>
                <a:cubicBezTo>
                  <a:pt x="920" y="242"/>
                  <a:pt x="920" y="242"/>
                  <a:pt x="920" y="242"/>
                </a:cubicBezTo>
                <a:close/>
                <a:moveTo>
                  <a:pt x="920" y="241"/>
                </a:moveTo>
                <a:cubicBezTo>
                  <a:pt x="920" y="241"/>
                  <a:pt x="920" y="241"/>
                  <a:pt x="920" y="241"/>
                </a:cubicBezTo>
                <a:cubicBezTo>
                  <a:pt x="921" y="241"/>
                  <a:pt x="921" y="241"/>
                  <a:pt x="921" y="241"/>
                </a:cubicBezTo>
                <a:cubicBezTo>
                  <a:pt x="921" y="241"/>
                  <a:pt x="921" y="241"/>
                  <a:pt x="921" y="241"/>
                </a:cubicBezTo>
                <a:cubicBezTo>
                  <a:pt x="921" y="241"/>
                  <a:pt x="920" y="241"/>
                  <a:pt x="920" y="241"/>
                </a:cubicBezTo>
                <a:cubicBezTo>
                  <a:pt x="920" y="241"/>
                  <a:pt x="920" y="241"/>
                  <a:pt x="919" y="241"/>
                </a:cubicBezTo>
                <a:cubicBezTo>
                  <a:pt x="919" y="241"/>
                  <a:pt x="919" y="241"/>
                  <a:pt x="920" y="241"/>
                </a:cubicBezTo>
                <a:cubicBezTo>
                  <a:pt x="920" y="241"/>
                  <a:pt x="920" y="241"/>
                  <a:pt x="920" y="241"/>
                </a:cubicBezTo>
                <a:close/>
                <a:moveTo>
                  <a:pt x="868" y="190"/>
                </a:moveTo>
                <a:cubicBezTo>
                  <a:pt x="868" y="190"/>
                  <a:pt x="868" y="190"/>
                  <a:pt x="868" y="190"/>
                </a:cubicBezTo>
                <a:cubicBezTo>
                  <a:pt x="868" y="190"/>
                  <a:pt x="868" y="189"/>
                  <a:pt x="868" y="189"/>
                </a:cubicBezTo>
                <a:cubicBezTo>
                  <a:pt x="868" y="189"/>
                  <a:pt x="867" y="189"/>
                  <a:pt x="867" y="189"/>
                </a:cubicBezTo>
                <a:cubicBezTo>
                  <a:pt x="867" y="190"/>
                  <a:pt x="868" y="190"/>
                  <a:pt x="868" y="190"/>
                </a:cubicBezTo>
                <a:close/>
                <a:moveTo>
                  <a:pt x="869" y="184"/>
                </a:moveTo>
                <a:cubicBezTo>
                  <a:pt x="868" y="184"/>
                  <a:pt x="868" y="184"/>
                  <a:pt x="868" y="184"/>
                </a:cubicBezTo>
                <a:cubicBezTo>
                  <a:pt x="868" y="185"/>
                  <a:pt x="869" y="185"/>
                  <a:pt x="869" y="185"/>
                </a:cubicBezTo>
                <a:cubicBezTo>
                  <a:pt x="869" y="185"/>
                  <a:pt x="869" y="185"/>
                  <a:pt x="869" y="184"/>
                </a:cubicBezTo>
                <a:close/>
                <a:moveTo>
                  <a:pt x="868" y="186"/>
                </a:moveTo>
                <a:cubicBezTo>
                  <a:pt x="868" y="185"/>
                  <a:pt x="868" y="185"/>
                  <a:pt x="868" y="185"/>
                </a:cubicBezTo>
                <a:cubicBezTo>
                  <a:pt x="868" y="185"/>
                  <a:pt x="867" y="185"/>
                  <a:pt x="867" y="184"/>
                </a:cubicBezTo>
                <a:cubicBezTo>
                  <a:pt x="867" y="184"/>
                  <a:pt x="866" y="184"/>
                  <a:pt x="866" y="184"/>
                </a:cubicBezTo>
                <a:cubicBezTo>
                  <a:pt x="867" y="185"/>
                  <a:pt x="867" y="185"/>
                  <a:pt x="867" y="185"/>
                </a:cubicBezTo>
                <a:cubicBezTo>
                  <a:pt x="868" y="185"/>
                  <a:pt x="868" y="185"/>
                  <a:pt x="868" y="186"/>
                </a:cubicBezTo>
                <a:close/>
                <a:moveTo>
                  <a:pt x="868" y="188"/>
                </a:moveTo>
                <a:cubicBezTo>
                  <a:pt x="868" y="188"/>
                  <a:pt x="868" y="187"/>
                  <a:pt x="868" y="187"/>
                </a:cubicBezTo>
                <a:cubicBezTo>
                  <a:pt x="867" y="187"/>
                  <a:pt x="867" y="187"/>
                  <a:pt x="867" y="188"/>
                </a:cubicBezTo>
                <a:cubicBezTo>
                  <a:pt x="867" y="188"/>
                  <a:pt x="868" y="188"/>
                  <a:pt x="868" y="188"/>
                </a:cubicBezTo>
                <a:cubicBezTo>
                  <a:pt x="868" y="188"/>
                  <a:pt x="868" y="188"/>
                  <a:pt x="868" y="188"/>
                </a:cubicBezTo>
                <a:close/>
                <a:moveTo>
                  <a:pt x="868" y="187"/>
                </a:moveTo>
                <a:cubicBezTo>
                  <a:pt x="868" y="187"/>
                  <a:pt x="868" y="187"/>
                  <a:pt x="869" y="187"/>
                </a:cubicBezTo>
                <a:cubicBezTo>
                  <a:pt x="868" y="186"/>
                  <a:pt x="868" y="186"/>
                  <a:pt x="867" y="186"/>
                </a:cubicBezTo>
                <a:cubicBezTo>
                  <a:pt x="867" y="186"/>
                  <a:pt x="866" y="185"/>
                  <a:pt x="866" y="185"/>
                </a:cubicBezTo>
                <a:cubicBezTo>
                  <a:pt x="866" y="185"/>
                  <a:pt x="866" y="185"/>
                  <a:pt x="866" y="185"/>
                </a:cubicBezTo>
                <a:cubicBezTo>
                  <a:pt x="866" y="185"/>
                  <a:pt x="866" y="185"/>
                  <a:pt x="866" y="186"/>
                </a:cubicBezTo>
                <a:cubicBezTo>
                  <a:pt x="867" y="186"/>
                  <a:pt x="867" y="186"/>
                  <a:pt x="868" y="187"/>
                </a:cubicBezTo>
                <a:close/>
                <a:moveTo>
                  <a:pt x="866" y="186"/>
                </a:moveTo>
                <a:cubicBezTo>
                  <a:pt x="865" y="186"/>
                  <a:pt x="865" y="186"/>
                  <a:pt x="865" y="185"/>
                </a:cubicBezTo>
                <a:cubicBezTo>
                  <a:pt x="865" y="186"/>
                  <a:pt x="865" y="186"/>
                  <a:pt x="865" y="186"/>
                </a:cubicBezTo>
                <a:cubicBezTo>
                  <a:pt x="865" y="186"/>
                  <a:pt x="866" y="186"/>
                  <a:pt x="866" y="186"/>
                </a:cubicBezTo>
                <a:close/>
                <a:moveTo>
                  <a:pt x="852" y="240"/>
                </a:moveTo>
                <a:cubicBezTo>
                  <a:pt x="852" y="240"/>
                  <a:pt x="852" y="240"/>
                  <a:pt x="852" y="240"/>
                </a:cubicBezTo>
                <a:cubicBezTo>
                  <a:pt x="852" y="240"/>
                  <a:pt x="851" y="240"/>
                  <a:pt x="851" y="240"/>
                </a:cubicBezTo>
                <a:cubicBezTo>
                  <a:pt x="851" y="240"/>
                  <a:pt x="850" y="240"/>
                  <a:pt x="850" y="240"/>
                </a:cubicBezTo>
                <a:cubicBezTo>
                  <a:pt x="850" y="240"/>
                  <a:pt x="850" y="240"/>
                  <a:pt x="850" y="241"/>
                </a:cubicBezTo>
                <a:cubicBezTo>
                  <a:pt x="851" y="240"/>
                  <a:pt x="852" y="240"/>
                  <a:pt x="853" y="240"/>
                </a:cubicBezTo>
                <a:cubicBezTo>
                  <a:pt x="853" y="241"/>
                  <a:pt x="853" y="241"/>
                  <a:pt x="852" y="241"/>
                </a:cubicBezTo>
                <a:cubicBezTo>
                  <a:pt x="852" y="241"/>
                  <a:pt x="851" y="241"/>
                  <a:pt x="851" y="241"/>
                </a:cubicBezTo>
                <a:cubicBezTo>
                  <a:pt x="851" y="242"/>
                  <a:pt x="851" y="242"/>
                  <a:pt x="851" y="242"/>
                </a:cubicBezTo>
                <a:cubicBezTo>
                  <a:pt x="851" y="242"/>
                  <a:pt x="851" y="242"/>
                  <a:pt x="851" y="242"/>
                </a:cubicBezTo>
                <a:cubicBezTo>
                  <a:pt x="852" y="242"/>
                  <a:pt x="852" y="242"/>
                  <a:pt x="852" y="242"/>
                </a:cubicBezTo>
                <a:cubicBezTo>
                  <a:pt x="853" y="242"/>
                  <a:pt x="853" y="242"/>
                  <a:pt x="854" y="242"/>
                </a:cubicBezTo>
                <a:cubicBezTo>
                  <a:pt x="854" y="242"/>
                  <a:pt x="853" y="242"/>
                  <a:pt x="852" y="243"/>
                </a:cubicBezTo>
                <a:cubicBezTo>
                  <a:pt x="852" y="243"/>
                  <a:pt x="852" y="243"/>
                  <a:pt x="852" y="243"/>
                </a:cubicBezTo>
                <a:cubicBezTo>
                  <a:pt x="852" y="243"/>
                  <a:pt x="852" y="243"/>
                  <a:pt x="853" y="243"/>
                </a:cubicBezTo>
                <a:cubicBezTo>
                  <a:pt x="853" y="243"/>
                  <a:pt x="854" y="243"/>
                  <a:pt x="855" y="242"/>
                </a:cubicBezTo>
                <a:cubicBezTo>
                  <a:pt x="855" y="243"/>
                  <a:pt x="855" y="243"/>
                  <a:pt x="855" y="243"/>
                </a:cubicBezTo>
                <a:cubicBezTo>
                  <a:pt x="854" y="243"/>
                  <a:pt x="854" y="243"/>
                  <a:pt x="853" y="243"/>
                </a:cubicBezTo>
                <a:cubicBezTo>
                  <a:pt x="853" y="243"/>
                  <a:pt x="854" y="243"/>
                  <a:pt x="854" y="243"/>
                </a:cubicBezTo>
                <a:cubicBezTo>
                  <a:pt x="854" y="243"/>
                  <a:pt x="854" y="244"/>
                  <a:pt x="854" y="244"/>
                </a:cubicBezTo>
                <a:cubicBezTo>
                  <a:pt x="854" y="244"/>
                  <a:pt x="855" y="244"/>
                  <a:pt x="855" y="243"/>
                </a:cubicBezTo>
                <a:cubicBezTo>
                  <a:pt x="855" y="244"/>
                  <a:pt x="855" y="244"/>
                  <a:pt x="856" y="244"/>
                </a:cubicBezTo>
                <a:cubicBezTo>
                  <a:pt x="856" y="244"/>
                  <a:pt x="857" y="244"/>
                  <a:pt x="858" y="243"/>
                </a:cubicBezTo>
                <a:cubicBezTo>
                  <a:pt x="858" y="243"/>
                  <a:pt x="859" y="243"/>
                  <a:pt x="859" y="243"/>
                </a:cubicBezTo>
                <a:cubicBezTo>
                  <a:pt x="860" y="243"/>
                  <a:pt x="860" y="243"/>
                  <a:pt x="861" y="242"/>
                </a:cubicBezTo>
                <a:cubicBezTo>
                  <a:pt x="860" y="242"/>
                  <a:pt x="860" y="242"/>
                  <a:pt x="860" y="242"/>
                </a:cubicBezTo>
                <a:cubicBezTo>
                  <a:pt x="860" y="242"/>
                  <a:pt x="861" y="242"/>
                  <a:pt x="861" y="242"/>
                </a:cubicBezTo>
                <a:cubicBezTo>
                  <a:pt x="861" y="242"/>
                  <a:pt x="861" y="242"/>
                  <a:pt x="861" y="242"/>
                </a:cubicBezTo>
                <a:cubicBezTo>
                  <a:pt x="861" y="242"/>
                  <a:pt x="862" y="242"/>
                  <a:pt x="862" y="242"/>
                </a:cubicBezTo>
                <a:cubicBezTo>
                  <a:pt x="862" y="242"/>
                  <a:pt x="863" y="242"/>
                  <a:pt x="863" y="241"/>
                </a:cubicBezTo>
                <a:cubicBezTo>
                  <a:pt x="863" y="241"/>
                  <a:pt x="863" y="241"/>
                  <a:pt x="864" y="241"/>
                </a:cubicBezTo>
                <a:cubicBezTo>
                  <a:pt x="864" y="241"/>
                  <a:pt x="864" y="241"/>
                  <a:pt x="864" y="241"/>
                </a:cubicBezTo>
                <a:cubicBezTo>
                  <a:pt x="865" y="240"/>
                  <a:pt x="866" y="240"/>
                  <a:pt x="867" y="240"/>
                </a:cubicBezTo>
                <a:cubicBezTo>
                  <a:pt x="867" y="240"/>
                  <a:pt x="867" y="240"/>
                  <a:pt x="867" y="240"/>
                </a:cubicBezTo>
                <a:cubicBezTo>
                  <a:pt x="867" y="240"/>
                  <a:pt x="868" y="240"/>
                  <a:pt x="868" y="240"/>
                </a:cubicBezTo>
                <a:cubicBezTo>
                  <a:pt x="868" y="240"/>
                  <a:pt x="868" y="240"/>
                  <a:pt x="868" y="240"/>
                </a:cubicBezTo>
                <a:cubicBezTo>
                  <a:pt x="869" y="240"/>
                  <a:pt x="869" y="240"/>
                  <a:pt x="869" y="240"/>
                </a:cubicBezTo>
                <a:cubicBezTo>
                  <a:pt x="870" y="240"/>
                  <a:pt x="870" y="240"/>
                  <a:pt x="871" y="240"/>
                </a:cubicBezTo>
                <a:cubicBezTo>
                  <a:pt x="870" y="240"/>
                  <a:pt x="870" y="239"/>
                  <a:pt x="869" y="239"/>
                </a:cubicBezTo>
                <a:cubicBezTo>
                  <a:pt x="870" y="239"/>
                  <a:pt x="870" y="239"/>
                  <a:pt x="870" y="239"/>
                </a:cubicBezTo>
                <a:cubicBezTo>
                  <a:pt x="871" y="239"/>
                  <a:pt x="871" y="238"/>
                  <a:pt x="871" y="238"/>
                </a:cubicBezTo>
                <a:cubicBezTo>
                  <a:pt x="871" y="238"/>
                  <a:pt x="871" y="238"/>
                  <a:pt x="871" y="237"/>
                </a:cubicBezTo>
                <a:cubicBezTo>
                  <a:pt x="871" y="237"/>
                  <a:pt x="871" y="237"/>
                  <a:pt x="872" y="237"/>
                </a:cubicBezTo>
                <a:cubicBezTo>
                  <a:pt x="872" y="237"/>
                  <a:pt x="872" y="236"/>
                  <a:pt x="872" y="236"/>
                </a:cubicBezTo>
                <a:cubicBezTo>
                  <a:pt x="872" y="235"/>
                  <a:pt x="872" y="235"/>
                  <a:pt x="872" y="234"/>
                </a:cubicBezTo>
                <a:cubicBezTo>
                  <a:pt x="871" y="234"/>
                  <a:pt x="871" y="234"/>
                  <a:pt x="871" y="234"/>
                </a:cubicBezTo>
                <a:cubicBezTo>
                  <a:pt x="871" y="234"/>
                  <a:pt x="871" y="234"/>
                  <a:pt x="872" y="234"/>
                </a:cubicBezTo>
                <a:cubicBezTo>
                  <a:pt x="872" y="234"/>
                  <a:pt x="872" y="233"/>
                  <a:pt x="872" y="233"/>
                </a:cubicBezTo>
                <a:cubicBezTo>
                  <a:pt x="871" y="233"/>
                  <a:pt x="871" y="233"/>
                  <a:pt x="871" y="232"/>
                </a:cubicBezTo>
                <a:cubicBezTo>
                  <a:pt x="871" y="232"/>
                  <a:pt x="871" y="232"/>
                  <a:pt x="871" y="232"/>
                </a:cubicBezTo>
                <a:cubicBezTo>
                  <a:pt x="871" y="231"/>
                  <a:pt x="870" y="231"/>
                  <a:pt x="870" y="231"/>
                </a:cubicBezTo>
                <a:cubicBezTo>
                  <a:pt x="870" y="231"/>
                  <a:pt x="870" y="231"/>
                  <a:pt x="871" y="231"/>
                </a:cubicBezTo>
                <a:cubicBezTo>
                  <a:pt x="871" y="231"/>
                  <a:pt x="871" y="231"/>
                  <a:pt x="871" y="231"/>
                </a:cubicBezTo>
                <a:cubicBezTo>
                  <a:pt x="871" y="231"/>
                  <a:pt x="871" y="231"/>
                  <a:pt x="871" y="231"/>
                </a:cubicBezTo>
                <a:cubicBezTo>
                  <a:pt x="871" y="231"/>
                  <a:pt x="871" y="230"/>
                  <a:pt x="871" y="230"/>
                </a:cubicBezTo>
                <a:cubicBezTo>
                  <a:pt x="872" y="230"/>
                  <a:pt x="872" y="230"/>
                  <a:pt x="872" y="230"/>
                </a:cubicBezTo>
                <a:cubicBezTo>
                  <a:pt x="872" y="230"/>
                  <a:pt x="872" y="230"/>
                  <a:pt x="873" y="230"/>
                </a:cubicBezTo>
                <a:cubicBezTo>
                  <a:pt x="873" y="230"/>
                  <a:pt x="873" y="229"/>
                  <a:pt x="873" y="229"/>
                </a:cubicBezTo>
                <a:cubicBezTo>
                  <a:pt x="873" y="229"/>
                  <a:pt x="874" y="229"/>
                  <a:pt x="874" y="229"/>
                </a:cubicBezTo>
                <a:cubicBezTo>
                  <a:pt x="874" y="229"/>
                  <a:pt x="874" y="229"/>
                  <a:pt x="874" y="229"/>
                </a:cubicBezTo>
                <a:cubicBezTo>
                  <a:pt x="874" y="229"/>
                  <a:pt x="874" y="229"/>
                  <a:pt x="873" y="229"/>
                </a:cubicBezTo>
                <a:cubicBezTo>
                  <a:pt x="873" y="228"/>
                  <a:pt x="874" y="228"/>
                  <a:pt x="874" y="228"/>
                </a:cubicBezTo>
                <a:cubicBezTo>
                  <a:pt x="874" y="228"/>
                  <a:pt x="873" y="228"/>
                  <a:pt x="873" y="228"/>
                </a:cubicBezTo>
                <a:cubicBezTo>
                  <a:pt x="874" y="228"/>
                  <a:pt x="874" y="228"/>
                  <a:pt x="874" y="228"/>
                </a:cubicBezTo>
                <a:cubicBezTo>
                  <a:pt x="874" y="228"/>
                  <a:pt x="874" y="228"/>
                  <a:pt x="875" y="229"/>
                </a:cubicBezTo>
                <a:cubicBezTo>
                  <a:pt x="875" y="228"/>
                  <a:pt x="874" y="228"/>
                  <a:pt x="874" y="227"/>
                </a:cubicBezTo>
                <a:cubicBezTo>
                  <a:pt x="874" y="227"/>
                  <a:pt x="873" y="227"/>
                  <a:pt x="873" y="227"/>
                </a:cubicBezTo>
                <a:cubicBezTo>
                  <a:pt x="873" y="227"/>
                  <a:pt x="873" y="227"/>
                  <a:pt x="874" y="227"/>
                </a:cubicBezTo>
                <a:cubicBezTo>
                  <a:pt x="873" y="226"/>
                  <a:pt x="872" y="226"/>
                  <a:pt x="872" y="225"/>
                </a:cubicBezTo>
                <a:cubicBezTo>
                  <a:pt x="872" y="225"/>
                  <a:pt x="872" y="225"/>
                  <a:pt x="872" y="225"/>
                </a:cubicBezTo>
                <a:cubicBezTo>
                  <a:pt x="871" y="225"/>
                  <a:pt x="871" y="224"/>
                  <a:pt x="871" y="224"/>
                </a:cubicBezTo>
                <a:cubicBezTo>
                  <a:pt x="870" y="224"/>
                  <a:pt x="870" y="224"/>
                  <a:pt x="869" y="224"/>
                </a:cubicBezTo>
                <a:cubicBezTo>
                  <a:pt x="869" y="225"/>
                  <a:pt x="869" y="225"/>
                  <a:pt x="868" y="225"/>
                </a:cubicBezTo>
                <a:cubicBezTo>
                  <a:pt x="868" y="225"/>
                  <a:pt x="868" y="225"/>
                  <a:pt x="868" y="225"/>
                </a:cubicBezTo>
                <a:cubicBezTo>
                  <a:pt x="867" y="225"/>
                  <a:pt x="867" y="225"/>
                  <a:pt x="867" y="225"/>
                </a:cubicBezTo>
                <a:cubicBezTo>
                  <a:pt x="867" y="225"/>
                  <a:pt x="867" y="225"/>
                  <a:pt x="866" y="225"/>
                </a:cubicBezTo>
                <a:cubicBezTo>
                  <a:pt x="866" y="225"/>
                  <a:pt x="866" y="225"/>
                  <a:pt x="866" y="225"/>
                </a:cubicBezTo>
                <a:cubicBezTo>
                  <a:pt x="866" y="225"/>
                  <a:pt x="866" y="225"/>
                  <a:pt x="867" y="225"/>
                </a:cubicBezTo>
                <a:cubicBezTo>
                  <a:pt x="867" y="225"/>
                  <a:pt x="867" y="225"/>
                  <a:pt x="868" y="224"/>
                </a:cubicBezTo>
                <a:cubicBezTo>
                  <a:pt x="867" y="224"/>
                  <a:pt x="867" y="224"/>
                  <a:pt x="867" y="224"/>
                </a:cubicBezTo>
                <a:cubicBezTo>
                  <a:pt x="866" y="224"/>
                  <a:pt x="866" y="224"/>
                  <a:pt x="866" y="224"/>
                </a:cubicBezTo>
                <a:cubicBezTo>
                  <a:pt x="866" y="224"/>
                  <a:pt x="866" y="224"/>
                  <a:pt x="866" y="224"/>
                </a:cubicBezTo>
                <a:cubicBezTo>
                  <a:pt x="866" y="224"/>
                  <a:pt x="865" y="224"/>
                  <a:pt x="865" y="224"/>
                </a:cubicBezTo>
                <a:cubicBezTo>
                  <a:pt x="865" y="224"/>
                  <a:pt x="865" y="225"/>
                  <a:pt x="865" y="225"/>
                </a:cubicBezTo>
                <a:cubicBezTo>
                  <a:pt x="865" y="225"/>
                  <a:pt x="865" y="226"/>
                  <a:pt x="864" y="226"/>
                </a:cubicBezTo>
                <a:cubicBezTo>
                  <a:pt x="864" y="226"/>
                  <a:pt x="864" y="225"/>
                  <a:pt x="865" y="225"/>
                </a:cubicBezTo>
                <a:cubicBezTo>
                  <a:pt x="865" y="225"/>
                  <a:pt x="865" y="225"/>
                  <a:pt x="865" y="225"/>
                </a:cubicBezTo>
                <a:cubicBezTo>
                  <a:pt x="865" y="225"/>
                  <a:pt x="865" y="224"/>
                  <a:pt x="864" y="224"/>
                </a:cubicBezTo>
                <a:cubicBezTo>
                  <a:pt x="864" y="224"/>
                  <a:pt x="864" y="224"/>
                  <a:pt x="864" y="224"/>
                </a:cubicBezTo>
                <a:cubicBezTo>
                  <a:pt x="864" y="225"/>
                  <a:pt x="864" y="225"/>
                  <a:pt x="864" y="225"/>
                </a:cubicBezTo>
                <a:cubicBezTo>
                  <a:pt x="864" y="225"/>
                  <a:pt x="864" y="225"/>
                  <a:pt x="863" y="225"/>
                </a:cubicBezTo>
                <a:cubicBezTo>
                  <a:pt x="863" y="225"/>
                  <a:pt x="863" y="225"/>
                  <a:pt x="863" y="225"/>
                </a:cubicBezTo>
                <a:cubicBezTo>
                  <a:pt x="862" y="225"/>
                  <a:pt x="862" y="225"/>
                  <a:pt x="861" y="225"/>
                </a:cubicBezTo>
                <a:cubicBezTo>
                  <a:pt x="861" y="225"/>
                  <a:pt x="861" y="225"/>
                  <a:pt x="861" y="225"/>
                </a:cubicBezTo>
                <a:cubicBezTo>
                  <a:pt x="861" y="225"/>
                  <a:pt x="861" y="225"/>
                  <a:pt x="861" y="225"/>
                </a:cubicBezTo>
                <a:cubicBezTo>
                  <a:pt x="861" y="226"/>
                  <a:pt x="861" y="226"/>
                  <a:pt x="860" y="226"/>
                </a:cubicBezTo>
                <a:cubicBezTo>
                  <a:pt x="861" y="226"/>
                  <a:pt x="861" y="226"/>
                  <a:pt x="861" y="226"/>
                </a:cubicBezTo>
                <a:cubicBezTo>
                  <a:pt x="861" y="226"/>
                  <a:pt x="861" y="226"/>
                  <a:pt x="861" y="227"/>
                </a:cubicBezTo>
                <a:cubicBezTo>
                  <a:pt x="861" y="227"/>
                  <a:pt x="860" y="227"/>
                  <a:pt x="860" y="227"/>
                </a:cubicBezTo>
                <a:cubicBezTo>
                  <a:pt x="860" y="227"/>
                  <a:pt x="860" y="227"/>
                  <a:pt x="860" y="227"/>
                </a:cubicBezTo>
                <a:cubicBezTo>
                  <a:pt x="860" y="227"/>
                  <a:pt x="860" y="227"/>
                  <a:pt x="859" y="227"/>
                </a:cubicBezTo>
                <a:cubicBezTo>
                  <a:pt x="859" y="227"/>
                  <a:pt x="859" y="227"/>
                  <a:pt x="860" y="228"/>
                </a:cubicBezTo>
                <a:cubicBezTo>
                  <a:pt x="860" y="228"/>
                  <a:pt x="860" y="228"/>
                  <a:pt x="861" y="228"/>
                </a:cubicBezTo>
                <a:cubicBezTo>
                  <a:pt x="861" y="228"/>
                  <a:pt x="861" y="228"/>
                  <a:pt x="861" y="228"/>
                </a:cubicBezTo>
                <a:cubicBezTo>
                  <a:pt x="861" y="228"/>
                  <a:pt x="861" y="228"/>
                  <a:pt x="862" y="228"/>
                </a:cubicBezTo>
                <a:cubicBezTo>
                  <a:pt x="862" y="228"/>
                  <a:pt x="862" y="228"/>
                  <a:pt x="862" y="228"/>
                </a:cubicBezTo>
                <a:cubicBezTo>
                  <a:pt x="862" y="228"/>
                  <a:pt x="861" y="228"/>
                  <a:pt x="861" y="228"/>
                </a:cubicBezTo>
                <a:cubicBezTo>
                  <a:pt x="860" y="229"/>
                  <a:pt x="860" y="229"/>
                  <a:pt x="859" y="229"/>
                </a:cubicBezTo>
                <a:cubicBezTo>
                  <a:pt x="860" y="229"/>
                  <a:pt x="860" y="229"/>
                  <a:pt x="860" y="229"/>
                </a:cubicBezTo>
                <a:cubicBezTo>
                  <a:pt x="859" y="229"/>
                  <a:pt x="859" y="229"/>
                  <a:pt x="858" y="230"/>
                </a:cubicBezTo>
                <a:cubicBezTo>
                  <a:pt x="858" y="229"/>
                  <a:pt x="858" y="229"/>
                  <a:pt x="858" y="229"/>
                </a:cubicBezTo>
                <a:cubicBezTo>
                  <a:pt x="857" y="229"/>
                  <a:pt x="857" y="230"/>
                  <a:pt x="857" y="230"/>
                </a:cubicBezTo>
                <a:cubicBezTo>
                  <a:pt x="857" y="230"/>
                  <a:pt x="857" y="229"/>
                  <a:pt x="857" y="229"/>
                </a:cubicBezTo>
                <a:cubicBezTo>
                  <a:pt x="856" y="229"/>
                  <a:pt x="855" y="229"/>
                  <a:pt x="854" y="229"/>
                </a:cubicBezTo>
                <a:cubicBezTo>
                  <a:pt x="854" y="229"/>
                  <a:pt x="854" y="229"/>
                  <a:pt x="854" y="229"/>
                </a:cubicBezTo>
                <a:cubicBezTo>
                  <a:pt x="854" y="229"/>
                  <a:pt x="853" y="229"/>
                  <a:pt x="853" y="229"/>
                </a:cubicBezTo>
                <a:cubicBezTo>
                  <a:pt x="853" y="230"/>
                  <a:pt x="852" y="230"/>
                  <a:pt x="852" y="230"/>
                </a:cubicBezTo>
                <a:cubicBezTo>
                  <a:pt x="853" y="230"/>
                  <a:pt x="853" y="230"/>
                  <a:pt x="853" y="230"/>
                </a:cubicBezTo>
                <a:cubicBezTo>
                  <a:pt x="853" y="230"/>
                  <a:pt x="853" y="230"/>
                  <a:pt x="853" y="230"/>
                </a:cubicBezTo>
                <a:cubicBezTo>
                  <a:pt x="853" y="230"/>
                  <a:pt x="853" y="230"/>
                  <a:pt x="854" y="230"/>
                </a:cubicBezTo>
                <a:cubicBezTo>
                  <a:pt x="854" y="231"/>
                  <a:pt x="854" y="231"/>
                  <a:pt x="854" y="231"/>
                </a:cubicBezTo>
                <a:cubicBezTo>
                  <a:pt x="854" y="231"/>
                  <a:pt x="854" y="231"/>
                  <a:pt x="853" y="231"/>
                </a:cubicBezTo>
                <a:cubicBezTo>
                  <a:pt x="853" y="231"/>
                  <a:pt x="853" y="231"/>
                  <a:pt x="853" y="231"/>
                </a:cubicBezTo>
                <a:cubicBezTo>
                  <a:pt x="853" y="231"/>
                  <a:pt x="852" y="231"/>
                  <a:pt x="852" y="231"/>
                </a:cubicBezTo>
                <a:cubicBezTo>
                  <a:pt x="852" y="231"/>
                  <a:pt x="853" y="231"/>
                  <a:pt x="853" y="231"/>
                </a:cubicBezTo>
                <a:cubicBezTo>
                  <a:pt x="854" y="231"/>
                  <a:pt x="854" y="231"/>
                  <a:pt x="855" y="231"/>
                </a:cubicBezTo>
                <a:cubicBezTo>
                  <a:pt x="855" y="231"/>
                  <a:pt x="855" y="232"/>
                  <a:pt x="855" y="232"/>
                </a:cubicBezTo>
                <a:cubicBezTo>
                  <a:pt x="854" y="232"/>
                  <a:pt x="854" y="232"/>
                  <a:pt x="854" y="232"/>
                </a:cubicBezTo>
                <a:cubicBezTo>
                  <a:pt x="853" y="232"/>
                  <a:pt x="853" y="232"/>
                  <a:pt x="853" y="232"/>
                </a:cubicBezTo>
                <a:cubicBezTo>
                  <a:pt x="854" y="233"/>
                  <a:pt x="854" y="233"/>
                  <a:pt x="854" y="233"/>
                </a:cubicBezTo>
                <a:cubicBezTo>
                  <a:pt x="853" y="233"/>
                  <a:pt x="853" y="233"/>
                  <a:pt x="852" y="233"/>
                </a:cubicBezTo>
                <a:cubicBezTo>
                  <a:pt x="852" y="233"/>
                  <a:pt x="852" y="233"/>
                  <a:pt x="853" y="234"/>
                </a:cubicBezTo>
                <a:cubicBezTo>
                  <a:pt x="852" y="234"/>
                  <a:pt x="852" y="234"/>
                  <a:pt x="852" y="234"/>
                </a:cubicBezTo>
                <a:cubicBezTo>
                  <a:pt x="852" y="234"/>
                  <a:pt x="853" y="234"/>
                  <a:pt x="853" y="234"/>
                </a:cubicBezTo>
                <a:cubicBezTo>
                  <a:pt x="853" y="234"/>
                  <a:pt x="853" y="234"/>
                  <a:pt x="854" y="234"/>
                </a:cubicBezTo>
                <a:cubicBezTo>
                  <a:pt x="853" y="234"/>
                  <a:pt x="853" y="234"/>
                  <a:pt x="853" y="234"/>
                </a:cubicBezTo>
                <a:cubicBezTo>
                  <a:pt x="854" y="234"/>
                  <a:pt x="854" y="234"/>
                  <a:pt x="854" y="234"/>
                </a:cubicBezTo>
                <a:cubicBezTo>
                  <a:pt x="855" y="234"/>
                  <a:pt x="855" y="235"/>
                  <a:pt x="855" y="235"/>
                </a:cubicBezTo>
                <a:cubicBezTo>
                  <a:pt x="856" y="235"/>
                  <a:pt x="857" y="235"/>
                  <a:pt x="858" y="235"/>
                </a:cubicBezTo>
                <a:cubicBezTo>
                  <a:pt x="858" y="235"/>
                  <a:pt x="857" y="235"/>
                  <a:pt x="857" y="235"/>
                </a:cubicBezTo>
                <a:cubicBezTo>
                  <a:pt x="857" y="235"/>
                  <a:pt x="856" y="235"/>
                  <a:pt x="856" y="235"/>
                </a:cubicBezTo>
                <a:cubicBezTo>
                  <a:pt x="856" y="236"/>
                  <a:pt x="855" y="236"/>
                  <a:pt x="855" y="236"/>
                </a:cubicBezTo>
                <a:cubicBezTo>
                  <a:pt x="855" y="236"/>
                  <a:pt x="855" y="236"/>
                  <a:pt x="856" y="236"/>
                </a:cubicBezTo>
                <a:cubicBezTo>
                  <a:pt x="855" y="237"/>
                  <a:pt x="855" y="237"/>
                  <a:pt x="855" y="237"/>
                </a:cubicBezTo>
                <a:cubicBezTo>
                  <a:pt x="854" y="238"/>
                  <a:pt x="854" y="238"/>
                  <a:pt x="853" y="238"/>
                </a:cubicBezTo>
                <a:cubicBezTo>
                  <a:pt x="853" y="238"/>
                  <a:pt x="853" y="238"/>
                  <a:pt x="854" y="238"/>
                </a:cubicBezTo>
                <a:cubicBezTo>
                  <a:pt x="854" y="238"/>
                  <a:pt x="854" y="238"/>
                  <a:pt x="855" y="238"/>
                </a:cubicBezTo>
                <a:cubicBezTo>
                  <a:pt x="855" y="238"/>
                  <a:pt x="855" y="238"/>
                  <a:pt x="855" y="238"/>
                </a:cubicBezTo>
                <a:cubicBezTo>
                  <a:pt x="856" y="238"/>
                  <a:pt x="856" y="238"/>
                  <a:pt x="857" y="238"/>
                </a:cubicBezTo>
                <a:cubicBezTo>
                  <a:pt x="857" y="238"/>
                  <a:pt x="857" y="237"/>
                  <a:pt x="857" y="237"/>
                </a:cubicBezTo>
                <a:cubicBezTo>
                  <a:pt x="858" y="237"/>
                  <a:pt x="858" y="237"/>
                  <a:pt x="858" y="238"/>
                </a:cubicBezTo>
                <a:cubicBezTo>
                  <a:pt x="858" y="238"/>
                  <a:pt x="858" y="238"/>
                  <a:pt x="859" y="238"/>
                </a:cubicBezTo>
                <a:cubicBezTo>
                  <a:pt x="858" y="238"/>
                  <a:pt x="857" y="238"/>
                  <a:pt x="856" y="238"/>
                </a:cubicBezTo>
                <a:cubicBezTo>
                  <a:pt x="856" y="238"/>
                  <a:pt x="855" y="238"/>
                  <a:pt x="854" y="238"/>
                </a:cubicBezTo>
                <a:cubicBezTo>
                  <a:pt x="854" y="238"/>
                  <a:pt x="854" y="239"/>
                  <a:pt x="854" y="239"/>
                </a:cubicBezTo>
                <a:cubicBezTo>
                  <a:pt x="854" y="239"/>
                  <a:pt x="853" y="239"/>
                  <a:pt x="853" y="239"/>
                </a:cubicBezTo>
                <a:cubicBezTo>
                  <a:pt x="853" y="239"/>
                  <a:pt x="853" y="239"/>
                  <a:pt x="853" y="239"/>
                </a:cubicBezTo>
                <a:cubicBezTo>
                  <a:pt x="853" y="240"/>
                  <a:pt x="853" y="240"/>
                  <a:pt x="853" y="240"/>
                </a:cubicBezTo>
                <a:cubicBezTo>
                  <a:pt x="853" y="240"/>
                  <a:pt x="853" y="240"/>
                  <a:pt x="854" y="240"/>
                </a:cubicBezTo>
                <a:cubicBezTo>
                  <a:pt x="853" y="240"/>
                  <a:pt x="853" y="240"/>
                  <a:pt x="853" y="240"/>
                </a:cubicBezTo>
                <a:cubicBezTo>
                  <a:pt x="852" y="240"/>
                  <a:pt x="852" y="240"/>
                  <a:pt x="852" y="240"/>
                </a:cubicBezTo>
                <a:close/>
                <a:moveTo>
                  <a:pt x="870" y="215"/>
                </a:moveTo>
                <a:cubicBezTo>
                  <a:pt x="870" y="215"/>
                  <a:pt x="870" y="215"/>
                  <a:pt x="870" y="216"/>
                </a:cubicBezTo>
                <a:cubicBezTo>
                  <a:pt x="871" y="215"/>
                  <a:pt x="871" y="215"/>
                  <a:pt x="871" y="215"/>
                </a:cubicBezTo>
                <a:cubicBezTo>
                  <a:pt x="871" y="215"/>
                  <a:pt x="871" y="215"/>
                  <a:pt x="871" y="215"/>
                </a:cubicBezTo>
                <a:cubicBezTo>
                  <a:pt x="870" y="215"/>
                  <a:pt x="870" y="215"/>
                  <a:pt x="870" y="215"/>
                </a:cubicBezTo>
                <a:close/>
                <a:moveTo>
                  <a:pt x="873" y="221"/>
                </a:moveTo>
                <a:cubicBezTo>
                  <a:pt x="873" y="220"/>
                  <a:pt x="873" y="220"/>
                  <a:pt x="873" y="220"/>
                </a:cubicBezTo>
                <a:cubicBezTo>
                  <a:pt x="873" y="220"/>
                  <a:pt x="872" y="220"/>
                  <a:pt x="872" y="221"/>
                </a:cubicBezTo>
                <a:cubicBezTo>
                  <a:pt x="872" y="221"/>
                  <a:pt x="872" y="221"/>
                  <a:pt x="872" y="221"/>
                </a:cubicBezTo>
                <a:cubicBezTo>
                  <a:pt x="872" y="221"/>
                  <a:pt x="872" y="221"/>
                  <a:pt x="873" y="221"/>
                </a:cubicBezTo>
                <a:close/>
                <a:moveTo>
                  <a:pt x="871" y="212"/>
                </a:moveTo>
                <a:cubicBezTo>
                  <a:pt x="871" y="212"/>
                  <a:pt x="870" y="212"/>
                  <a:pt x="870" y="212"/>
                </a:cubicBezTo>
                <a:cubicBezTo>
                  <a:pt x="870" y="212"/>
                  <a:pt x="870" y="212"/>
                  <a:pt x="870" y="213"/>
                </a:cubicBezTo>
                <a:cubicBezTo>
                  <a:pt x="870" y="212"/>
                  <a:pt x="870" y="212"/>
                  <a:pt x="869" y="212"/>
                </a:cubicBezTo>
                <a:cubicBezTo>
                  <a:pt x="869" y="212"/>
                  <a:pt x="869" y="213"/>
                  <a:pt x="869" y="213"/>
                </a:cubicBezTo>
                <a:cubicBezTo>
                  <a:pt x="869" y="213"/>
                  <a:pt x="869" y="213"/>
                  <a:pt x="869" y="213"/>
                </a:cubicBezTo>
                <a:cubicBezTo>
                  <a:pt x="869" y="213"/>
                  <a:pt x="869" y="213"/>
                  <a:pt x="868" y="213"/>
                </a:cubicBezTo>
                <a:cubicBezTo>
                  <a:pt x="869" y="213"/>
                  <a:pt x="869" y="213"/>
                  <a:pt x="869" y="213"/>
                </a:cubicBezTo>
                <a:cubicBezTo>
                  <a:pt x="869" y="213"/>
                  <a:pt x="869" y="213"/>
                  <a:pt x="869" y="213"/>
                </a:cubicBezTo>
                <a:cubicBezTo>
                  <a:pt x="870" y="213"/>
                  <a:pt x="870" y="213"/>
                  <a:pt x="870" y="213"/>
                </a:cubicBezTo>
                <a:cubicBezTo>
                  <a:pt x="870" y="213"/>
                  <a:pt x="870" y="213"/>
                  <a:pt x="870" y="214"/>
                </a:cubicBezTo>
                <a:cubicBezTo>
                  <a:pt x="870" y="214"/>
                  <a:pt x="870" y="214"/>
                  <a:pt x="871" y="214"/>
                </a:cubicBezTo>
                <a:cubicBezTo>
                  <a:pt x="871" y="214"/>
                  <a:pt x="871" y="214"/>
                  <a:pt x="872" y="214"/>
                </a:cubicBezTo>
                <a:cubicBezTo>
                  <a:pt x="872" y="214"/>
                  <a:pt x="872" y="215"/>
                  <a:pt x="872" y="215"/>
                </a:cubicBezTo>
                <a:cubicBezTo>
                  <a:pt x="872" y="215"/>
                  <a:pt x="872" y="215"/>
                  <a:pt x="872" y="215"/>
                </a:cubicBezTo>
                <a:cubicBezTo>
                  <a:pt x="872" y="215"/>
                  <a:pt x="873" y="214"/>
                  <a:pt x="873" y="214"/>
                </a:cubicBezTo>
                <a:cubicBezTo>
                  <a:pt x="873" y="214"/>
                  <a:pt x="873" y="214"/>
                  <a:pt x="873" y="214"/>
                </a:cubicBezTo>
                <a:cubicBezTo>
                  <a:pt x="873" y="214"/>
                  <a:pt x="873" y="214"/>
                  <a:pt x="873" y="214"/>
                </a:cubicBezTo>
                <a:cubicBezTo>
                  <a:pt x="873" y="214"/>
                  <a:pt x="873" y="214"/>
                  <a:pt x="872" y="214"/>
                </a:cubicBezTo>
                <a:cubicBezTo>
                  <a:pt x="872" y="214"/>
                  <a:pt x="872" y="214"/>
                  <a:pt x="871" y="213"/>
                </a:cubicBezTo>
                <a:cubicBezTo>
                  <a:pt x="871" y="213"/>
                  <a:pt x="871" y="213"/>
                  <a:pt x="871" y="212"/>
                </a:cubicBezTo>
                <a:cubicBezTo>
                  <a:pt x="871" y="212"/>
                  <a:pt x="871" y="212"/>
                  <a:pt x="871" y="212"/>
                </a:cubicBezTo>
                <a:close/>
                <a:moveTo>
                  <a:pt x="885" y="203"/>
                </a:moveTo>
                <a:cubicBezTo>
                  <a:pt x="885" y="203"/>
                  <a:pt x="884" y="203"/>
                  <a:pt x="884" y="204"/>
                </a:cubicBezTo>
                <a:cubicBezTo>
                  <a:pt x="884" y="204"/>
                  <a:pt x="884" y="204"/>
                  <a:pt x="885" y="204"/>
                </a:cubicBezTo>
                <a:cubicBezTo>
                  <a:pt x="885" y="204"/>
                  <a:pt x="885" y="204"/>
                  <a:pt x="885" y="203"/>
                </a:cubicBezTo>
                <a:close/>
                <a:moveTo>
                  <a:pt x="906" y="243"/>
                </a:moveTo>
                <a:cubicBezTo>
                  <a:pt x="906" y="243"/>
                  <a:pt x="906" y="243"/>
                  <a:pt x="906" y="243"/>
                </a:cubicBezTo>
                <a:cubicBezTo>
                  <a:pt x="906" y="243"/>
                  <a:pt x="906" y="243"/>
                  <a:pt x="907" y="243"/>
                </a:cubicBezTo>
                <a:cubicBezTo>
                  <a:pt x="907" y="243"/>
                  <a:pt x="907" y="243"/>
                  <a:pt x="907" y="243"/>
                </a:cubicBezTo>
                <a:cubicBezTo>
                  <a:pt x="907" y="243"/>
                  <a:pt x="907" y="243"/>
                  <a:pt x="907" y="243"/>
                </a:cubicBezTo>
                <a:cubicBezTo>
                  <a:pt x="907" y="243"/>
                  <a:pt x="907" y="243"/>
                  <a:pt x="906" y="243"/>
                </a:cubicBezTo>
                <a:close/>
                <a:moveTo>
                  <a:pt x="869" y="211"/>
                </a:moveTo>
                <a:cubicBezTo>
                  <a:pt x="869" y="211"/>
                  <a:pt x="868" y="211"/>
                  <a:pt x="868" y="210"/>
                </a:cubicBezTo>
                <a:cubicBezTo>
                  <a:pt x="868" y="211"/>
                  <a:pt x="868" y="211"/>
                  <a:pt x="868" y="211"/>
                </a:cubicBezTo>
                <a:cubicBezTo>
                  <a:pt x="868" y="211"/>
                  <a:pt x="868" y="211"/>
                  <a:pt x="867" y="211"/>
                </a:cubicBezTo>
                <a:cubicBezTo>
                  <a:pt x="867" y="211"/>
                  <a:pt x="867" y="211"/>
                  <a:pt x="867" y="211"/>
                </a:cubicBezTo>
                <a:cubicBezTo>
                  <a:pt x="867" y="211"/>
                  <a:pt x="868" y="211"/>
                  <a:pt x="868" y="211"/>
                </a:cubicBezTo>
                <a:cubicBezTo>
                  <a:pt x="868" y="211"/>
                  <a:pt x="869" y="211"/>
                  <a:pt x="869" y="211"/>
                </a:cubicBezTo>
                <a:close/>
                <a:moveTo>
                  <a:pt x="871" y="220"/>
                </a:moveTo>
                <a:cubicBezTo>
                  <a:pt x="871" y="220"/>
                  <a:pt x="871" y="220"/>
                  <a:pt x="871" y="220"/>
                </a:cubicBezTo>
                <a:cubicBezTo>
                  <a:pt x="871" y="220"/>
                  <a:pt x="871" y="220"/>
                  <a:pt x="871" y="220"/>
                </a:cubicBezTo>
                <a:cubicBezTo>
                  <a:pt x="871" y="220"/>
                  <a:pt x="871" y="220"/>
                  <a:pt x="871" y="220"/>
                </a:cubicBezTo>
                <a:close/>
                <a:moveTo>
                  <a:pt x="871" y="216"/>
                </a:moveTo>
                <a:cubicBezTo>
                  <a:pt x="871" y="216"/>
                  <a:pt x="871" y="216"/>
                  <a:pt x="871" y="216"/>
                </a:cubicBezTo>
                <a:cubicBezTo>
                  <a:pt x="871" y="216"/>
                  <a:pt x="871" y="216"/>
                  <a:pt x="872" y="216"/>
                </a:cubicBezTo>
                <a:cubicBezTo>
                  <a:pt x="871" y="216"/>
                  <a:pt x="871" y="216"/>
                  <a:pt x="871" y="216"/>
                </a:cubicBezTo>
                <a:close/>
                <a:moveTo>
                  <a:pt x="893" y="194"/>
                </a:moveTo>
                <a:cubicBezTo>
                  <a:pt x="893" y="194"/>
                  <a:pt x="893" y="194"/>
                  <a:pt x="893" y="194"/>
                </a:cubicBezTo>
                <a:cubicBezTo>
                  <a:pt x="893" y="194"/>
                  <a:pt x="892" y="194"/>
                  <a:pt x="892" y="195"/>
                </a:cubicBezTo>
                <a:cubicBezTo>
                  <a:pt x="892" y="195"/>
                  <a:pt x="893" y="195"/>
                  <a:pt x="893" y="195"/>
                </a:cubicBezTo>
                <a:cubicBezTo>
                  <a:pt x="893" y="195"/>
                  <a:pt x="893" y="194"/>
                  <a:pt x="893" y="194"/>
                </a:cubicBezTo>
                <a:close/>
                <a:moveTo>
                  <a:pt x="895" y="194"/>
                </a:moveTo>
                <a:cubicBezTo>
                  <a:pt x="895" y="194"/>
                  <a:pt x="895" y="194"/>
                  <a:pt x="895" y="193"/>
                </a:cubicBezTo>
                <a:cubicBezTo>
                  <a:pt x="895" y="193"/>
                  <a:pt x="895" y="193"/>
                  <a:pt x="894" y="193"/>
                </a:cubicBezTo>
                <a:cubicBezTo>
                  <a:pt x="894" y="193"/>
                  <a:pt x="894" y="193"/>
                  <a:pt x="894" y="194"/>
                </a:cubicBezTo>
                <a:cubicBezTo>
                  <a:pt x="894" y="194"/>
                  <a:pt x="894" y="194"/>
                  <a:pt x="894" y="194"/>
                </a:cubicBezTo>
                <a:cubicBezTo>
                  <a:pt x="894" y="194"/>
                  <a:pt x="894" y="194"/>
                  <a:pt x="894" y="194"/>
                </a:cubicBezTo>
                <a:cubicBezTo>
                  <a:pt x="895" y="194"/>
                  <a:pt x="895" y="194"/>
                  <a:pt x="895" y="194"/>
                </a:cubicBezTo>
                <a:close/>
                <a:moveTo>
                  <a:pt x="896" y="192"/>
                </a:moveTo>
                <a:cubicBezTo>
                  <a:pt x="896" y="192"/>
                  <a:pt x="895" y="193"/>
                  <a:pt x="895" y="193"/>
                </a:cubicBezTo>
                <a:cubicBezTo>
                  <a:pt x="895" y="193"/>
                  <a:pt x="895" y="193"/>
                  <a:pt x="896" y="193"/>
                </a:cubicBezTo>
                <a:cubicBezTo>
                  <a:pt x="896" y="193"/>
                  <a:pt x="896" y="193"/>
                  <a:pt x="896" y="192"/>
                </a:cubicBezTo>
                <a:close/>
                <a:moveTo>
                  <a:pt x="868" y="218"/>
                </a:moveTo>
                <a:cubicBezTo>
                  <a:pt x="868" y="218"/>
                  <a:pt x="868" y="218"/>
                  <a:pt x="868" y="218"/>
                </a:cubicBezTo>
                <a:cubicBezTo>
                  <a:pt x="868" y="218"/>
                  <a:pt x="868" y="218"/>
                  <a:pt x="869" y="218"/>
                </a:cubicBezTo>
                <a:cubicBezTo>
                  <a:pt x="868" y="218"/>
                  <a:pt x="868" y="218"/>
                  <a:pt x="868" y="218"/>
                </a:cubicBezTo>
                <a:close/>
                <a:moveTo>
                  <a:pt x="869" y="209"/>
                </a:moveTo>
                <a:cubicBezTo>
                  <a:pt x="868" y="209"/>
                  <a:pt x="868" y="209"/>
                  <a:pt x="868" y="209"/>
                </a:cubicBezTo>
                <a:cubicBezTo>
                  <a:pt x="867" y="209"/>
                  <a:pt x="867" y="209"/>
                  <a:pt x="867" y="209"/>
                </a:cubicBezTo>
                <a:cubicBezTo>
                  <a:pt x="867" y="210"/>
                  <a:pt x="867" y="210"/>
                  <a:pt x="868" y="210"/>
                </a:cubicBezTo>
                <a:cubicBezTo>
                  <a:pt x="867" y="210"/>
                  <a:pt x="867" y="210"/>
                  <a:pt x="867" y="210"/>
                </a:cubicBezTo>
                <a:cubicBezTo>
                  <a:pt x="867" y="210"/>
                  <a:pt x="867" y="210"/>
                  <a:pt x="868" y="210"/>
                </a:cubicBezTo>
                <a:cubicBezTo>
                  <a:pt x="868" y="210"/>
                  <a:pt x="868" y="210"/>
                  <a:pt x="869" y="210"/>
                </a:cubicBezTo>
                <a:cubicBezTo>
                  <a:pt x="869" y="210"/>
                  <a:pt x="869" y="210"/>
                  <a:pt x="870" y="210"/>
                </a:cubicBezTo>
                <a:cubicBezTo>
                  <a:pt x="870" y="210"/>
                  <a:pt x="870" y="210"/>
                  <a:pt x="870" y="210"/>
                </a:cubicBezTo>
                <a:cubicBezTo>
                  <a:pt x="870" y="210"/>
                  <a:pt x="870" y="210"/>
                  <a:pt x="870" y="209"/>
                </a:cubicBezTo>
                <a:cubicBezTo>
                  <a:pt x="870" y="209"/>
                  <a:pt x="870" y="209"/>
                  <a:pt x="870" y="209"/>
                </a:cubicBezTo>
                <a:cubicBezTo>
                  <a:pt x="871" y="209"/>
                  <a:pt x="871" y="209"/>
                  <a:pt x="871" y="208"/>
                </a:cubicBezTo>
                <a:cubicBezTo>
                  <a:pt x="871" y="208"/>
                  <a:pt x="871" y="208"/>
                  <a:pt x="871" y="207"/>
                </a:cubicBezTo>
                <a:cubicBezTo>
                  <a:pt x="870" y="208"/>
                  <a:pt x="869" y="208"/>
                  <a:pt x="868" y="209"/>
                </a:cubicBezTo>
                <a:cubicBezTo>
                  <a:pt x="869" y="209"/>
                  <a:pt x="869" y="209"/>
                  <a:pt x="869" y="209"/>
                </a:cubicBezTo>
                <a:close/>
                <a:moveTo>
                  <a:pt x="894" y="197"/>
                </a:moveTo>
                <a:cubicBezTo>
                  <a:pt x="894" y="197"/>
                  <a:pt x="894" y="197"/>
                  <a:pt x="894" y="197"/>
                </a:cubicBezTo>
                <a:cubicBezTo>
                  <a:pt x="894" y="197"/>
                  <a:pt x="894" y="197"/>
                  <a:pt x="894" y="198"/>
                </a:cubicBezTo>
                <a:cubicBezTo>
                  <a:pt x="894" y="197"/>
                  <a:pt x="894" y="197"/>
                  <a:pt x="894" y="197"/>
                </a:cubicBezTo>
                <a:close/>
                <a:moveTo>
                  <a:pt x="894" y="196"/>
                </a:moveTo>
                <a:cubicBezTo>
                  <a:pt x="894" y="196"/>
                  <a:pt x="894" y="196"/>
                  <a:pt x="894" y="197"/>
                </a:cubicBezTo>
                <a:cubicBezTo>
                  <a:pt x="894" y="197"/>
                  <a:pt x="894" y="197"/>
                  <a:pt x="895" y="197"/>
                </a:cubicBezTo>
                <a:cubicBezTo>
                  <a:pt x="895" y="196"/>
                  <a:pt x="894" y="196"/>
                  <a:pt x="894" y="196"/>
                </a:cubicBezTo>
                <a:cubicBezTo>
                  <a:pt x="895" y="196"/>
                  <a:pt x="895" y="196"/>
                  <a:pt x="895" y="196"/>
                </a:cubicBezTo>
                <a:cubicBezTo>
                  <a:pt x="895" y="196"/>
                  <a:pt x="895" y="195"/>
                  <a:pt x="895" y="195"/>
                </a:cubicBezTo>
                <a:cubicBezTo>
                  <a:pt x="895" y="195"/>
                  <a:pt x="895" y="195"/>
                  <a:pt x="895" y="195"/>
                </a:cubicBezTo>
                <a:cubicBezTo>
                  <a:pt x="895" y="195"/>
                  <a:pt x="895" y="195"/>
                  <a:pt x="894" y="195"/>
                </a:cubicBezTo>
                <a:cubicBezTo>
                  <a:pt x="894" y="195"/>
                  <a:pt x="894" y="195"/>
                  <a:pt x="894" y="195"/>
                </a:cubicBezTo>
                <a:cubicBezTo>
                  <a:pt x="894" y="195"/>
                  <a:pt x="894" y="195"/>
                  <a:pt x="893" y="195"/>
                </a:cubicBezTo>
                <a:cubicBezTo>
                  <a:pt x="894" y="195"/>
                  <a:pt x="894" y="195"/>
                  <a:pt x="894" y="195"/>
                </a:cubicBezTo>
                <a:cubicBezTo>
                  <a:pt x="894" y="195"/>
                  <a:pt x="894" y="195"/>
                  <a:pt x="894" y="195"/>
                </a:cubicBezTo>
                <a:cubicBezTo>
                  <a:pt x="893" y="195"/>
                  <a:pt x="893" y="195"/>
                  <a:pt x="892" y="195"/>
                </a:cubicBezTo>
                <a:cubicBezTo>
                  <a:pt x="892" y="195"/>
                  <a:pt x="892" y="196"/>
                  <a:pt x="892" y="196"/>
                </a:cubicBezTo>
                <a:cubicBezTo>
                  <a:pt x="892" y="196"/>
                  <a:pt x="892" y="196"/>
                  <a:pt x="892" y="196"/>
                </a:cubicBezTo>
                <a:cubicBezTo>
                  <a:pt x="893" y="196"/>
                  <a:pt x="893" y="196"/>
                  <a:pt x="894" y="196"/>
                </a:cubicBezTo>
                <a:close/>
                <a:moveTo>
                  <a:pt x="866" y="213"/>
                </a:moveTo>
                <a:cubicBezTo>
                  <a:pt x="866" y="213"/>
                  <a:pt x="866" y="213"/>
                  <a:pt x="866" y="213"/>
                </a:cubicBezTo>
                <a:cubicBezTo>
                  <a:pt x="866" y="213"/>
                  <a:pt x="866" y="213"/>
                  <a:pt x="866" y="213"/>
                </a:cubicBezTo>
                <a:cubicBezTo>
                  <a:pt x="866" y="213"/>
                  <a:pt x="867" y="213"/>
                  <a:pt x="867" y="213"/>
                </a:cubicBezTo>
                <a:cubicBezTo>
                  <a:pt x="866" y="213"/>
                  <a:pt x="866" y="213"/>
                  <a:pt x="866" y="213"/>
                </a:cubicBezTo>
                <a:close/>
                <a:moveTo>
                  <a:pt x="883" y="205"/>
                </a:moveTo>
                <a:cubicBezTo>
                  <a:pt x="884" y="205"/>
                  <a:pt x="884" y="204"/>
                  <a:pt x="884" y="204"/>
                </a:cubicBezTo>
                <a:cubicBezTo>
                  <a:pt x="884" y="204"/>
                  <a:pt x="884" y="205"/>
                  <a:pt x="884" y="205"/>
                </a:cubicBezTo>
                <a:cubicBezTo>
                  <a:pt x="884" y="205"/>
                  <a:pt x="884" y="205"/>
                  <a:pt x="885" y="205"/>
                </a:cubicBezTo>
                <a:cubicBezTo>
                  <a:pt x="885" y="205"/>
                  <a:pt x="885" y="205"/>
                  <a:pt x="885" y="205"/>
                </a:cubicBezTo>
                <a:cubicBezTo>
                  <a:pt x="885" y="205"/>
                  <a:pt x="885" y="205"/>
                  <a:pt x="885" y="204"/>
                </a:cubicBezTo>
                <a:cubicBezTo>
                  <a:pt x="885" y="204"/>
                  <a:pt x="885" y="204"/>
                  <a:pt x="884" y="204"/>
                </a:cubicBezTo>
                <a:cubicBezTo>
                  <a:pt x="884" y="204"/>
                  <a:pt x="884" y="204"/>
                  <a:pt x="885" y="204"/>
                </a:cubicBezTo>
                <a:cubicBezTo>
                  <a:pt x="884" y="204"/>
                  <a:pt x="884" y="204"/>
                  <a:pt x="884" y="204"/>
                </a:cubicBezTo>
                <a:cubicBezTo>
                  <a:pt x="884" y="204"/>
                  <a:pt x="883" y="204"/>
                  <a:pt x="883" y="204"/>
                </a:cubicBezTo>
                <a:cubicBezTo>
                  <a:pt x="883" y="204"/>
                  <a:pt x="883" y="204"/>
                  <a:pt x="883" y="204"/>
                </a:cubicBezTo>
                <a:cubicBezTo>
                  <a:pt x="883" y="205"/>
                  <a:pt x="883" y="205"/>
                  <a:pt x="883" y="205"/>
                </a:cubicBezTo>
                <a:close/>
                <a:moveTo>
                  <a:pt x="873" y="212"/>
                </a:moveTo>
                <a:cubicBezTo>
                  <a:pt x="873" y="213"/>
                  <a:pt x="873" y="213"/>
                  <a:pt x="873" y="213"/>
                </a:cubicBezTo>
                <a:cubicBezTo>
                  <a:pt x="873" y="213"/>
                  <a:pt x="873" y="213"/>
                  <a:pt x="873" y="213"/>
                </a:cubicBezTo>
                <a:cubicBezTo>
                  <a:pt x="873" y="213"/>
                  <a:pt x="874" y="213"/>
                  <a:pt x="874" y="213"/>
                </a:cubicBezTo>
                <a:cubicBezTo>
                  <a:pt x="874" y="213"/>
                  <a:pt x="874" y="213"/>
                  <a:pt x="873" y="213"/>
                </a:cubicBezTo>
                <a:cubicBezTo>
                  <a:pt x="873" y="214"/>
                  <a:pt x="873" y="214"/>
                  <a:pt x="873" y="214"/>
                </a:cubicBezTo>
                <a:cubicBezTo>
                  <a:pt x="873" y="214"/>
                  <a:pt x="873" y="214"/>
                  <a:pt x="874" y="214"/>
                </a:cubicBezTo>
                <a:cubicBezTo>
                  <a:pt x="874" y="214"/>
                  <a:pt x="874" y="214"/>
                  <a:pt x="874" y="214"/>
                </a:cubicBezTo>
                <a:cubicBezTo>
                  <a:pt x="874" y="214"/>
                  <a:pt x="874" y="214"/>
                  <a:pt x="874" y="214"/>
                </a:cubicBezTo>
                <a:cubicBezTo>
                  <a:pt x="874" y="214"/>
                  <a:pt x="874" y="214"/>
                  <a:pt x="875" y="214"/>
                </a:cubicBezTo>
                <a:cubicBezTo>
                  <a:pt x="874" y="214"/>
                  <a:pt x="874" y="214"/>
                  <a:pt x="874" y="214"/>
                </a:cubicBezTo>
                <a:cubicBezTo>
                  <a:pt x="874" y="214"/>
                  <a:pt x="874" y="214"/>
                  <a:pt x="874" y="214"/>
                </a:cubicBezTo>
                <a:cubicBezTo>
                  <a:pt x="874" y="214"/>
                  <a:pt x="874" y="214"/>
                  <a:pt x="873" y="214"/>
                </a:cubicBezTo>
                <a:cubicBezTo>
                  <a:pt x="874" y="214"/>
                  <a:pt x="874" y="214"/>
                  <a:pt x="874" y="214"/>
                </a:cubicBezTo>
                <a:cubicBezTo>
                  <a:pt x="874" y="214"/>
                  <a:pt x="873" y="215"/>
                  <a:pt x="873" y="215"/>
                </a:cubicBezTo>
                <a:cubicBezTo>
                  <a:pt x="873" y="215"/>
                  <a:pt x="873" y="215"/>
                  <a:pt x="873" y="215"/>
                </a:cubicBezTo>
                <a:cubicBezTo>
                  <a:pt x="873" y="215"/>
                  <a:pt x="873" y="215"/>
                  <a:pt x="874" y="215"/>
                </a:cubicBezTo>
                <a:cubicBezTo>
                  <a:pt x="874" y="215"/>
                  <a:pt x="874" y="215"/>
                  <a:pt x="874" y="215"/>
                </a:cubicBezTo>
                <a:cubicBezTo>
                  <a:pt x="873" y="215"/>
                  <a:pt x="873" y="215"/>
                  <a:pt x="873" y="215"/>
                </a:cubicBezTo>
                <a:cubicBezTo>
                  <a:pt x="873" y="215"/>
                  <a:pt x="873" y="215"/>
                  <a:pt x="873" y="216"/>
                </a:cubicBezTo>
                <a:cubicBezTo>
                  <a:pt x="873" y="216"/>
                  <a:pt x="873" y="216"/>
                  <a:pt x="873" y="216"/>
                </a:cubicBezTo>
                <a:cubicBezTo>
                  <a:pt x="873" y="216"/>
                  <a:pt x="873" y="216"/>
                  <a:pt x="873" y="216"/>
                </a:cubicBezTo>
                <a:cubicBezTo>
                  <a:pt x="873" y="216"/>
                  <a:pt x="872" y="216"/>
                  <a:pt x="872" y="216"/>
                </a:cubicBezTo>
                <a:cubicBezTo>
                  <a:pt x="872" y="216"/>
                  <a:pt x="872" y="216"/>
                  <a:pt x="871" y="216"/>
                </a:cubicBezTo>
                <a:cubicBezTo>
                  <a:pt x="871" y="216"/>
                  <a:pt x="871" y="217"/>
                  <a:pt x="871" y="217"/>
                </a:cubicBezTo>
                <a:cubicBezTo>
                  <a:pt x="871" y="217"/>
                  <a:pt x="871" y="217"/>
                  <a:pt x="871" y="217"/>
                </a:cubicBezTo>
                <a:cubicBezTo>
                  <a:pt x="872" y="217"/>
                  <a:pt x="872" y="217"/>
                  <a:pt x="872" y="217"/>
                </a:cubicBezTo>
                <a:cubicBezTo>
                  <a:pt x="872" y="217"/>
                  <a:pt x="873" y="217"/>
                  <a:pt x="873" y="217"/>
                </a:cubicBezTo>
                <a:cubicBezTo>
                  <a:pt x="873" y="217"/>
                  <a:pt x="873" y="217"/>
                  <a:pt x="873" y="217"/>
                </a:cubicBezTo>
                <a:cubicBezTo>
                  <a:pt x="872" y="217"/>
                  <a:pt x="872" y="217"/>
                  <a:pt x="872" y="217"/>
                </a:cubicBezTo>
                <a:cubicBezTo>
                  <a:pt x="872" y="217"/>
                  <a:pt x="873" y="217"/>
                  <a:pt x="873" y="217"/>
                </a:cubicBezTo>
                <a:cubicBezTo>
                  <a:pt x="873" y="217"/>
                  <a:pt x="873" y="217"/>
                  <a:pt x="873" y="217"/>
                </a:cubicBezTo>
                <a:cubicBezTo>
                  <a:pt x="873" y="218"/>
                  <a:pt x="873" y="218"/>
                  <a:pt x="874" y="218"/>
                </a:cubicBezTo>
                <a:cubicBezTo>
                  <a:pt x="874" y="217"/>
                  <a:pt x="875" y="217"/>
                  <a:pt x="876" y="216"/>
                </a:cubicBezTo>
                <a:cubicBezTo>
                  <a:pt x="876" y="216"/>
                  <a:pt x="876" y="216"/>
                  <a:pt x="875" y="217"/>
                </a:cubicBezTo>
                <a:cubicBezTo>
                  <a:pt x="876" y="217"/>
                  <a:pt x="876" y="217"/>
                  <a:pt x="876" y="217"/>
                </a:cubicBezTo>
                <a:cubicBezTo>
                  <a:pt x="876" y="217"/>
                  <a:pt x="875" y="217"/>
                  <a:pt x="875" y="217"/>
                </a:cubicBezTo>
                <a:cubicBezTo>
                  <a:pt x="875" y="217"/>
                  <a:pt x="875" y="217"/>
                  <a:pt x="875" y="218"/>
                </a:cubicBezTo>
                <a:cubicBezTo>
                  <a:pt x="875" y="218"/>
                  <a:pt x="875" y="218"/>
                  <a:pt x="875" y="218"/>
                </a:cubicBezTo>
                <a:cubicBezTo>
                  <a:pt x="874" y="218"/>
                  <a:pt x="874" y="219"/>
                  <a:pt x="874" y="219"/>
                </a:cubicBezTo>
                <a:cubicBezTo>
                  <a:pt x="874" y="219"/>
                  <a:pt x="874" y="219"/>
                  <a:pt x="874" y="219"/>
                </a:cubicBezTo>
                <a:cubicBezTo>
                  <a:pt x="874" y="219"/>
                  <a:pt x="874" y="220"/>
                  <a:pt x="874" y="220"/>
                </a:cubicBezTo>
                <a:cubicBezTo>
                  <a:pt x="874" y="220"/>
                  <a:pt x="874" y="221"/>
                  <a:pt x="874" y="221"/>
                </a:cubicBezTo>
                <a:cubicBezTo>
                  <a:pt x="874" y="221"/>
                  <a:pt x="874" y="221"/>
                  <a:pt x="873" y="221"/>
                </a:cubicBezTo>
                <a:cubicBezTo>
                  <a:pt x="874" y="221"/>
                  <a:pt x="874" y="221"/>
                  <a:pt x="874" y="221"/>
                </a:cubicBezTo>
                <a:cubicBezTo>
                  <a:pt x="874" y="221"/>
                  <a:pt x="874" y="221"/>
                  <a:pt x="874" y="221"/>
                </a:cubicBezTo>
                <a:cubicBezTo>
                  <a:pt x="874" y="222"/>
                  <a:pt x="874" y="222"/>
                  <a:pt x="874" y="222"/>
                </a:cubicBezTo>
                <a:cubicBezTo>
                  <a:pt x="874" y="222"/>
                  <a:pt x="873" y="223"/>
                  <a:pt x="873" y="223"/>
                </a:cubicBezTo>
                <a:cubicBezTo>
                  <a:pt x="873" y="223"/>
                  <a:pt x="873" y="223"/>
                  <a:pt x="873" y="224"/>
                </a:cubicBezTo>
                <a:cubicBezTo>
                  <a:pt x="873" y="224"/>
                  <a:pt x="873" y="224"/>
                  <a:pt x="873" y="224"/>
                </a:cubicBezTo>
                <a:cubicBezTo>
                  <a:pt x="873" y="224"/>
                  <a:pt x="874" y="224"/>
                  <a:pt x="874" y="224"/>
                </a:cubicBezTo>
                <a:cubicBezTo>
                  <a:pt x="874" y="224"/>
                  <a:pt x="874" y="223"/>
                  <a:pt x="874" y="223"/>
                </a:cubicBezTo>
                <a:cubicBezTo>
                  <a:pt x="874" y="223"/>
                  <a:pt x="874" y="223"/>
                  <a:pt x="874" y="222"/>
                </a:cubicBezTo>
                <a:cubicBezTo>
                  <a:pt x="874" y="222"/>
                  <a:pt x="874" y="222"/>
                  <a:pt x="874" y="222"/>
                </a:cubicBezTo>
                <a:cubicBezTo>
                  <a:pt x="875" y="222"/>
                  <a:pt x="875" y="222"/>
                  <a:pt x="875" y="221"/>
                </a:cubicBezTo>
                <a:cubicBezTo>
                  <a:pt x="875" y="221"/>
                  <a:pt x="875" y="221"/>
                  <a:pt x="874" y="220"/>
                </a:cubicBezTo>
                <a:cubicBezTo>
                  <a:pt x="875" y="220"/>
                  <a:pt x="875" y="220"/>
                  <a:pt x="875" y="220"/>
                </a:cubicBezTo>
                <a:cubicBezTo>
                  <a:pt x="875" y="220"/>
                  <a:pt x="876" y="219"/>
                  <a:pt x="876" y="219"/>
                </a:cubicBezTo>
                <a:cubicBezTo>
                  <a:pt x="876" y="219"/>
                  <a:pt x="876" y="220"/>
                  <a:pt x="875" y="220"/>
                </a:cubicBezTo>
                <a:cubicBezTo>
                  <a:pt x="875" y="220"/>
                  <a:pt x="875" y="221"/>
                  <a:pt x="875" y="221"/>
                </a:cubicBezTo>
                <a:cubicBezTo>
                  <a:pt x="875" y="221"/>
                  <a:pt x="875" y="221"/>
                  <a:pt x="876" y="221"/>
                </a:cubicBezTo>
                <a:cubicBezTo>
                  <a:pt x="876" y="221"/>
                  <a:pt x="876" y="221"/>
                  <a:pt x="876" y="221"/>
                </a:cubicBezTo>
                <a:cubicBezTo>
                  <a:pt x="876" y="220"/>
                  <a:pt x="876" y="220"/>
                  <a:pt x="876" y="220"/>
                </a:cubicBezTo>
                <a:cubicBezTo>
                  <a:pt x="876" y="220"/>
                  <a:pt x="877" y="221"/>
                  <a:pt x="877" y="221"/>
                </a:cubicBezTo>
                <a:cubicBezTo>
                  <a:pt x="877" y="221"/>
                  <a:pt x="877" y="220"/>
                  <a:pt x="877" y="220"/>
                </a:cubicBezTo>
                <a:cubicBezTo>
                  <a:pt x="877" y="220"/>
                  <a:pt x="877" y="220"/>
                  <a:pt x="877" y="219"/>
                </a:cubicBezTo>
                <a:cubicBezTo>
                  <a:pt x="877" y="219"/>
                  <a:pt x="877" y="219"/>
                  <a:pt x="877" y="219"/>
                </a:cubicBezTo>
                <a:cubicBezTo>
                  <a:pt x="877" y="219"/>
                  <a:pt x="877" y="220"/>
                  <a:pt x="877" y="220"/>
                </a:cubicBezTo>
                <a:cubicBezTo>
                  <a:pt x="878" y="220"/>
                  <a:pt x="878" y="220"/>
                  <a:pt x="879" y="221"/>
                </a:cubicBezTo>
                <a:cubicBezTo>
                  <a:pt x="878" y="220"/>
                  <a:pt x="878" y="220"/>
                  <a:pt x="878" y="220"/>
                </a:cubicBezTo>
                <a:cubicBezTo>
                  <a:pt x="877" y="221"/>
                  <a:pt x="877" y="221"/>
                  <a:pt x="877" y="221"/>
                </a:cubicBezTo>
                <a:cubicBezTo>
                  <a:pt x="877" y="222"/>
                  <a:pt x="877" y="222"/>
                  <a:pt x="877" y="222"/>
                </a:cubicBezTo>
                <a:cubicBezTo>
                  <a:pt x="878" y="222"/>
                  <a:pt x="878" y="222"/>
                  <a:pt x="878" y="222"/>
                </a:cubicBezTo>
                <a:cubicBezTo>
                  <a:pt x="878" y="222"/>
                  <a:pt x="878" y="223"/>
                  <a:pt x="878" y="223"/>
                </a:cubicBezTo>
                <a:cubicBezTo>
                  <a:pt x="878" y="223"/>
                  <a:pt x="878" y="223"/>
                  <a:pt x="878" y="223"/>
                </a:cubicBezTo>
                <a:cubicBezTo>
                  <a:pt x="877" y="224"/>
                  <a:pt x="877" y="225"/>
                  <a:pt x="877" y="225"/>
                </a:cubicBezTo>
                <a:cubicBezTo>
                  <a:pt x="877" y="225"/>
                  <a:pt x="877" y="226"/>
                  <a:pt x="877" y="226"/>
                </a:cubicBezTo>
                <a:cubicBezTo>
                  <a:pt x="877" y="226"/>
                  <a:pt x="876" y="226"/>
                  <a:pt x="876" y="225"/>
                </a:cubicBezTo>
                <a:cubicBezTo>
                  <a:pt x="876" y="226"/>
                  <a:pt x="876" y="226"/>
                  <a:pt x="876" y="226"/>
                </a:cubicBezTo>
                <a:cubicBezTo>
                  <a:pt x="877" y="227"/>
                  <a:pt x="877" y="227"/>
                  <a:pt x="877" y="227"/>
                </a:cubicBezTo>
                <a:cubicBezTo>
                  <a:pt x="877" y="227"/>
                  <a:pt x="877" y="227"/>
                  <a:pt x="877" y="226"/>
                </a:cubicBezTo>
                <a:cubicBezTo>
                  <a:pt x="877" y="226"/>
                  <a:pt x="877" y="226"/>
                  <a:pt x="878" y="226"/>
                </a:cubicBezTo>
                <a:cubicBezTo>
                  <a:pt x="878" y="226"/>
                  <a:pt x="879" y="227"/>
                  <a:pt x="880" y="227"/>
                </a:cubicBezTo>
                <a:cubicBezTo>
                  <a:pt x="880" y="227"/>
                  <a:pt x="880" y="226"/>
                  <a:pt x="880" y="226"/>
                </a:cubicBezTo>
                <a:cubicBezTo>
                  <a:pt x="879" y="226"/>
                  <a:pt x="879" y="226"/>
                  <a:pt x="879" y="226"/>
                </a:cubicBezTo>
                <a:cubicBezTo>
                  <a:pt x="879" y="226"/>
                  <a:pt x="879" y="226"/>
                  <a:pt x="879" y="226"/>
                </a:cubicBezTo>
                <a:cubicBezTo>
                  <a:pt x="880" y="226"/>
                  <a:pt x="880" y="226"/>
                  <a:pt x="881" y="226"/>
                </a:cubicBezTo>
                <a:cubicBezTo>
                  <a:pt x="881" y="226"/>
                  <a:pt x="882" y="226"/>
                  <a:pt x="882" y="226"/>
                </a:cubicBezTo>
                <a:cubicBezTo>
                  <a:pt x="882" y="226"/>
                  <a:pt x="882" y="226"/>
                  <a:pt x="882" y="226"/>
                </a:cubicBezTo>
                <a:cubicBezTo>
                  <a:pt x="882" y="226"/>
                  <a:pt x="883" y="226"/>
                  <a:pt x="883" y="226"/>
                </a:cubicBezTo>
                <a:cubicBezTo>
                  <a:pt x="883" y="226"/>
                  <a:pt x="883" y="225"/>
                  <a:pt x="883" y="225"/>
                </a:cubicBezTo>
                <a:cubicBezTo>
                  <a:pt x="884" y="225"/>
                  <a:pt x="885" y="225"/>
                  <a:pt x="886" y="225"/>
                </a:cubicBezTo>
                <a:cubicBezTo>
                  <a:pt x="885" y="225"/>
                  <a:pt x="885" y="225"/>
                  <a:pt x="884" y="226"/>
                </a:cubicBezTo>
                <a:cubicBezTo>
                  <a:pt x="884" y="226"/>
                  <a:pt x="884" y="227"/>
                  <a:pt x="883" y="228"/>
                </a:cubicBezTo>
                <a:cubicBezTo>
                  <a:pt x="884" y="228"/>
                  <a:pt x="884" y="229"/>
                  <a:pt x="885" y="229"/>
                </a:cubicBezTo>
                <a:cubicBezTo>
                  <a:pt x="885" y="229"/>
                  <a:pt x="885" y="229"/>
                  <a:pt x="885" y="229"/>
                </a:cubicBezTo>
                <a:cubicBezTo>
                  <a:pt x="885" y="229"/>
                  <a:pt x="885" y="230"/>
                  <a:pt x="885" y="230"/>
                </a:cubicBezTo>
                <a:cubicBezTo>
                  <a:pt x="886" y="230"/>
                  <a:pt x="886" y="229"/>
                  <a:pt x="886" y="229"/>
                </a:cubicBezTo>
                <a:cubicBezTo>
                  <a:pt x="887" y="229"/>
                  <a:pt x="887" y="229"/>
                  <a:pt x="887" y="229"/>
                </a:cubicBezTo>
                <a:cubicBezTo>
                  <a:pt x="887" y="229"/>
                  <a:pt x="887" y="230"/>
                  <a:pt x="887" y="230"/>
                </a:cubicBezTo>
                <a:cubicBezTo>
                  <a:pt x="887" y="230"/>
                  <a:pt x="887" y="230"/>
                  <a:pt x="887" y="230"/>
                </a:cubicBezTo>
                <a:cubicBezTo>
                  <a:pt x="887" y="230"/>
                  <a:pt x="887" y="231"/>
                  <a:pt x="886" y="231"/>
                </a:cubicBezTo>
                <a:cubicBezTo>
                  <a:pt x="886" y="231"/>
                  <a:pt x="886" y="231"/>
                  <a:pt x="887" y="232"/>
                </a:cubicBezTo>
                <a:cubicBezTo>
                  <a:pt x="886" y="232"/>
                  <a:pt x="886" y="232"/>
                  <a:pt x="886" y="233"/>
                </a:cubicBezTo>
                <a:cubicBezTo>
                  <a:pt x="886" y="233"/>
                  <a:pt x="887" y="233"/>
                  <a:pt x="887" y="233"/>
                </a:cubicBezTo>
                <a:cubicBezTo>
                  <a:pt x="887" y="233"/>
                  <a:pt x="887" y="233"/>
                  <a:pt x="888" y="234"/>
                </a:cubicBezTo>
                <a:cubicBezTo>
                  <a:pt x="888" y="234"/>
                  <a:pt x="888" y="234"/>
                  <a:pt x="888" y="234"/>
                </a:cubicBezTo>
                <a:cubicBezTo>
                  <a:pt x="888" y="234"/>
                  <a:pt x="888" y="234"/>
                  <a:pt x="888" y="234"/>
                </a:cubicBezTo>
                <a:cubicBezTo>
                  <a:pt x="888" y="234"/>
                  <a:pt x="887" y="234"/>
                  <a:pt x="887" y="234"/>
                </a:cubicBezTo>
                <a:cubicBezTo>
                  <a:pt x="887" y="234"/>
                  <a:pt x="887" y="233"/>
                  <a:pt x="886" y="233"/>
                </a:cubicBezTo>
                <a:cubicBezTo>
                  <a:pt x="886" y="233"/>
                  <a:pt x="886" y="233"/>
                  <a:pt x="886" y="233"/>
                </a:cubicBezTo>
                <a:cubicBezTo>
                  <a:pt x="886" y="234"/>
                  <a:pt x="886" y="234"/>
                  <a:pt x="886" y="234"/>
                </a:cubicBezTo>
                <a:cubicBezTo>
                  <a:pt x="886" y="234"/>
                  <a:pt x="887" y="234"/>
                  <a:pt x="887" y="234"/>
                </a:cubicBezTo>
                <a:cubicBezTo>
                  <a:pt x="887" y="234"/>
                  <a:pt x="886" y="234"/>
                  <a:pt x="886" y="234"/>
                </a:cubicBezTo>
                <a:cubicBezTo>
                  <a:pt x="886" y="234"/>
                  <a:pt x="886" y="234"/>
                  <a:pt x="885" y="234"/>
                </a:cubicBezTo>
                <a:cubicBezTo>
                  <a:pt x="885" y="234"/>
                  <a:pt x="884" y="234"/>
                  <a:pt x="884" y="234"/>
                </a:cubicBezTo>
                <a:cubicBezTo>
                  <a:pt x="883" y="234"/>
                  <a:pt x="883" y="234"/>
                  <a:pt x="883" y="234"/>
                </a:cubicBezTo>
                <a:cubicBezTo>
                  <a:pt x="882" y="234"/>
                  <a:pt x="882" y="235"/>
                  <a:pt x="881" y="235"/>
                </a:cubicBezTo>
                <a:cubicBezTo>
                  <a:pt x="881" y="235"/>
                  <a:pt x="880" y="235"/>
                  <a:pt x="880" y="236"/>
                </a:cubicBezTo>
                <a:cubicBezTo>
                  <a:pt x="880" y="236"/>
                  <a:pt x="879" y="236"/>
                  <a:pt x="879" y="236"/>
                </a:cubicBezTo>
                <a:cubicBezTo>
                  <a:pt x="879" y="236"/>
                  <a:pt x="878" y="237"/>
                  <a:pt x="878" y="237"/>
                </a:cubicBezTo>
                <a:cubicBezTo>
                  <a:pt x="878" y="237"/>
                  <a:pt x="879" y="237"/>
                  <a:pt x="879" y="237"/>
                </a:cubicBezTo>
                <a:cubicBezTo>
                  <a:pt x="879" y="237"/>
                  <a:pt x="879" y="237"/>
                  <a:pt x="879" y="237"/>
                </a:cubicBezTo>
                <a:cubicBezTo>
                  <a:pt x="879" y="237"/>
                  <a:pt x="880" y="237"/>
                  <a:pt x="880" y="236"/>
                </a:cubicBezTo>
                <a:cubicBezTo>
                  <a:pt x="880" y="236"/>
                  <a:pt x="881" y="236"/>
                  <a:pt x="881" y="236"/>
                </a:cubicBezTo>
                <a:cubicBezTo>
                  <a:pt x="881" y="236"/>
                  <a:pt x="881" y="236"/>
                  <a:pt x="881" y="237"/>
                </a:cubicBezTo>
                <a:cubicBezTo>
                  <a:pt x="881" y="237"/>
                  <a:pt x="882" y="237"/>
                  <a:pt x="882" y="237"/>
                </a:cubicBezTo>
                <a:cubicBezTo>
                  <a:pt x="882" y="237"/>
                  <a:pt x="881" y="237"/>
                  <a:pt x="881" y="237"/>
                </a:cubicBezTo>
                <a:cubicBezTo>
                  <a:pt x="881" y="238"/>
                  <a:pt x="882" y="238"/>
                  <a:pt x="882" y="238"/>
                </a:cubicBezTo>
                <a:cubicBezTo>
                  <a:pt x="882" y="238"/>
                  <a:pt x="882" y="238"/>
                  <a:pt x="882" y="238"/>
                </a:cubicBezTo>
                <a:cubicBezTo>
                  <a:pt x="882" y="239"/>
                  <a:pt x="881" y="239"/>
                  <a:pt x="881" y="240"/>
                </a:cubicBezTo>
                <a:cubicBezTo>
                  <a:pt x="881" y="240"/>
                  <a:pt x="880" y="240"/>
                  <a:pt x="880" y="240"/>
                </a:cubicBezTo>
                <a:cubicBezTo>
                  <a:pt x="880" y="240"/>
                  <a:pt x="880" y="240"/>
                  <a:pt x="879" y="240"/>
                </a:cubicBezTo>
                <a:cubicBezTo>
                  <a:pt x="879" y="240"/>
                  <a:pt x="879" y="240"/>
                  <a:pt x="879" y="240"/>
                </a:cubicBezTo>
                <a:cubicBezTo>
                  <a:pt x="878" y="241"/>
                  <a:pt x="878" y="241"/>
                  <a:pt x="878" y="241"/>
                </a:cubicBezTo>
                <a:cubicBezTo>
                  <a:pt x="877" y="241"/>
                  <a:pt x="877" y="241"/>
                  <a:pt x="877" y="241"/>
                </a:cubicBezTo>
                <a:cubicBezTo>
                  <a:pt x="876" y="241"/>
                  <a:pt x="876" y="241"/>
                  <a:pt x="876" y="242"/>
                </a:cubicBezTo>
                <a:cubicBezTo>
                  <a:pt x="876" y="242"/>
                  <a:pt x="876" y="242"/>
                  <a:pt x="877" y="242"/>
                </a:cubicBezTo>
                <a:cubicBezTo>
                  <a:pt x="877" y="242"/>
                  <a:pt x="877" y="242"/>
                  <a:pt x="877" y="242"/>
                </a:cubicBezTo>
                <a:cubicBezTo>
                  <a:pt x="876" y="242"/>
                  <a:pt x="876" y="242"/>
                  <a:pt x="876" y="242"/>
                </a:cubicBezTo>
                <a:cubicBezTo>
                  <a:pt x="876" y="242"/>
                  <a:pt x="877" y="242"/>
                  <a:pt x="877" y="242"/>
                </a:cubicBezTo>
                <a:cubicBezTo>
                  <a:pt x="877" y="243"/>
                  <a:pt x="877" y="243"/>
                  <a:pt x="877" y="243"/>
                </a:cubicBezTo>
                <a:cubicBezTo>
                  <a:pt x="877" y="243"/>
                  <a:pt x="877" y="243"/>
                  <a:pt x="878" y="243"/>
                </a:cubicBezTo>
                <a:cubicBezTo>
                  <a:pt x="878" y="243"/>
                  <a:pt x="878" y="243"/>
                  <a:pt x="878" y="243"/>
                </a:cubicBezTo>
                <a:cubicBezTo>
                  <a:pt x="879" y="243"/>
                  <a:pt x="879" y="242"/>
                  <a:pt x="879" y="242"/>
                </a:cubicBezTo>
                <a:cubicBezTo>
                  <a:pt x="880" y="242"/>
                  <a:pt x="880" y="242"/>
                  <a:pt x="881" y="242"/>
                </a:cubicBezTo>
                <a:cubicBezTo>
                  <a:pt x="881" y="242"/>
                  <a:pt x="881" y="242"/>
                  <a:pt x="881" y="242"/>
                </a:cubicBezTo>
                <a:cubicBezTo>
                  <a:pt x="881" y="242"/>
                  <a:pt x="881" y="242"/>
                  <a:pt x="882" y="243"/>
                </a:cubicBezTo>
                <a:cubicBezTo>
                  <a:pt x="881" y="243"/>
                  <a:pt x="881" y="243"/>
                  <a:pt x="881" y="243"/>
                </a:cubicBezTo>
                <a:cubicBezTo>
                  <a:pt x="881" y="243"/>
                  <a:pt x="881" y="243"/>
                  <a:pt x="881" y="243"/>
                </a:cubicBezTo>
                <a:cubicBezTo>
                  <a:pt x="881" y="243"/>
                  <a:pt x="882" y="243"/>
                  <a:pt x="882" y="243"/>
                </a:cubicBezTo>
                <a:cubicBezTo>
                  <a:pt x="882" y="243"/>
                  <a:pt x="882" y="243"/>
                  <a:pt x="882" y="243"/>
                </a:cubicBezTo>
                <a:cubicBezTo>
                  <a:pt x="883" y="243"/>
                  <a:pt x="883" y="243"/>
                  <a:pt x="883" y="243"/>
                </a:cubicBezTo>
                <a:cubicBezTo>
                  <a:pt x="883" y="243"/>
                  <a:pt x="884" y="243"/>
                  <a:pt x="884" y="243"/>
                </a:cubicBezTo>
                <a:cubicBezTo>
                  <a:pt x="884" y="243"/>
                  <a:pt x="884" y="244"/>
                  <a:pt x="885" y="244"/>
                </a:cubicBezTo>
                <a:cubicBezTo>
                  <a:pt x="885" y="244"/>
                  <a:pt x="886" y="244"/>
                  <a:pt x="886" y="244"/>
                </a:cubicBezTo>
                <a:cubicBezTo>
                  <a:pt x="887" y="244"/>
                  <a:pt x="887" y="243"/>
                  <a:pt x="887" y="243"/>
                </a:cubicBezTo>
                <a:cubicBezTo>
                  <a:pt x="887" y="243"/>
                  <a:pt x="887" y="243"/>
                  <a:pt x="888" y="243"/>
                </a:cubicBezTo>
                <a:cubicBezTo>
                  <a:pt x="888" y="243"/>
                  <a:pt x="888" y="243"/>
                  <a:pt x="889" y="243"/>
                </a:cubicBezTo>
                <a:cubicBezTo>
                  <a:pt x="889" y="243"/>
                  <a:pt x="889" y="242"/>
                  <a:pt x="889" y="242"/>
                </a:cubicBezTo>
                <a:cubicBezTo>
                  <a:pt x="890" y="242"/>
                  <a:pt x="890" y="242"/>
                  <a:pt x="890" y="242"/>
                </a:cubicBezTo>
                <a:cubicBezTo>
                  <a:pt x="890" y="242"/>
                  <a:pt x="889" y="243"/>
                  <a:pt x="889" y="243"/>
                </a:cubicBezTo>
                <a:cubicBezTo>
                  <a:pt x="888" y="243"/>
                  <a:pt x="888" y="244"/>
                  <a:pt x="888" y="244"/>
                </a:cubicBezTo>
                <a:cubicBezTo>
                  <a:pt x="888" y="244"/>
                  <a:pt x="888" y="245"/>
                  <a:pt x="888" y="245"/>
                </a:cubicBezTo>
                <a:cubicBezTo>
                  <a:pt x="887" y="245"/>
                  <a:pt x="887" y="245"/>
                  <a:pt x="887" y="245"/>
                </a:cubicBezTo>
                <a:cubicBezTo>
                  <a:pt x="886" y="245"/>
                  <a:pt x="886" y="245"/>
                  <a:pt x="886" y="245"/>
                </a:cubicBezTo>
                <a:cubicBezTo>
                  <a:pt x="886" y="245"/>
                  <a:pt x="885" y="245"/>
                  <a:pt x="885" y="245"/>
                </a:cubicBezTo>
                <a:cubicBezTo>
                  <a:pt x="884" y="245"/>
                  <a:pt x="884" y="245"/>
                  <a:pt x="883" y="245"/>
                </a:cubicBezTo>
                <a:cubicBezTo>
                  <a:pt x="882" y="245"/>
                  <a:pt x="882" y="245"/>
                  <a:pt x="881" y="245"/>
                </a:cubicBezTo>
                <a:cubicBezTo>
                  <a:pt x="881" y="245"/>
                  <a:pt x="881" y="245"/>
                  <a:pt x="881" y="246"/>
                </a:cubicBezTo>
                <a:cubicBezTo>
                  <a:pt x="881" y="246"/>
                  <a:pt x="881" y="246"/>
                  <a:pt x="881" y="246"/>
                </a:cubicBezTo>
                <a:cubicBezTo>
                  <a:pt x="880" y="246"/>
                  <a:pt x="880" y="246"/>
                  <a:pt x="880" y="246"/>
                </a:cubicBezTo>
                <a:cubicBezTo>
                  <a:pt x="880" y="246"/>
                  <a:pt x="880" y="247"/>
                  <a:pt x="880" y="247"/>
                </a:cubicBezTo>
                <a:cubicBezTo>
                  <a:pt x="879" y="248"/>
                  <a:pt x="879" y="248"/>
                  <a:pt x="879" y="248"/>
                </a:cubicBezTo>
                <a:cubicBezTo>
                  <a:pt x="879" y="248"/>
                  <a:pt x="879" y="248"/>
                  <a:pt x="878" y="248"/>
                </a:cubicBezTo>
                <a:cubicBezTo>
                  <a:pt x="878" y="248"/>
                  <a:pt x="878" y="248"/>
                  <a:pt x="877" y="248"/>
                </a:cubicBezTo>
                <a:cubicBezTo>
                  <a:pt x="877" y="249"/>
                  <a:pt x="877" y="249"/>
                  <a:pt x="877" y="249"/>
                </a:cubicBezTo>
                <a:cubicBezTo>
                  <a:pt x="877" y="249"/>
                  <a:pt x="877" y="249"/>
                  <a:pt x="877" y="249"/>
                </a:cubicBezTo>
                <a:cubicBezTo>
                  <a:pt x="877" y="249"/>
                  <a:pt x="877" y="249"/>
                  <a:pt x="876" y="250"/>
                </a:cubicBezTo>
                <a:cubicBezTo>
                  <a:pt x="876" y="250"/>
                  <a:pt x="876" y="250"/>
                  <a:pt x="875" y="250"/>
                </a:cubicBezTo>
                <a:cubicBezTo>
                  <a:pt x="875" y="250"/>
                  <a:pt x="875" y="250"/>
                  <a:pt x="875" y="250"/>
                </a:cubicBezTo>
                <a:cubicBezTo>
                  <a:pt x="874" y="250"/>
                  <a:pt x="874" y="250"/>
                  <a:pt x="874" y="251"/>
                </a:cubicBezTo>
                <a:cubicBezTo>
                  <a:pt x="874" y="251"/>
                  <a:pt x="874" y="251"/>
                  <a:pt x="874" y="251"/>
                </a:cubicBezTo>
                <a:cubicBezTo>
                  <a:pt x="874" y="251"/>
                  <a:pt x="874" y="251"/>
                  <a:pt x="875" y="251"/>
                </a:cubicBezTo>
                <a:cubicBezTo>
                  <a:pt x="875" y="251"/>
                  <a:pt x="875" y="251"/>
                  <a:pt x="875" y="251"/>
                </a:cubicBezTo>
                <a:cubicBezTo>
                  <a:pt x="875" y="251"/>
                  <a:pt x="876" y="251"/>
                  <a:pt x="876" y="251"/>
                </a:cubicBezTo>
                <a:cubicBezTo>
                  <a:pt x="876" y="251"/>
                  <a:pt x="876" y="251"/>
                  <a:pt x="876" y="251"/>
                </a:cubicBezTo>
                <a:cubicBezTo>
                  <a:pt x="877" y="251"/>
                  <a:pt x="877" y="251"/>
                  <a:pt x="877" y="251"/>
                </a:cubicBezTo>
                <a:cubicBezTo>
                  <a:pt x="877" y="251"/>
                  <a:pt x="877" y="251"/>
                  <a:pt x="877" y="251"/>
                </a:cubicBezTo>
                <a:cubicBezTo>
                  <a:pt x="877" y="251"/>
                  <a:pt x="877" y="250"/>
                  <a:pt x="877" y="250"/>
                </a:cubicBezTo>
                <a:cubicBezTo>
                  <a:pt x="877" y="250"/>
                  <a:pt x="877" y="250"/>
                  <a:pt x="878" y="250"/>
                </a:cubicBezTo>
                <a:cubicBezTo>
                  <a:pt x="878" y="250"/>
                  <a:pt x="878" y="250"/>
                  <a:pt x="878" y="250"/>
                </a:cubicBezTo>
                <a:cubicBezTo>
                  <a:pt x="878" y="250"/>
                  <a:pt x="878" y="250"/>
                  <a:pt x="879" y="250"/>
                </a:cubicBezTo>
                <a:cubicBezTo>
                  <a:pt x="879" y="250"/>
                  <a:pt x="879" y="250"/>
                  <a:pt x="879" y="249"/>
                </a:cubicBezTo>
                <a:cubicBezTo>
                  <a:pt x="879" y="249"/>
                  <a:pt x="880" y="250"/>
                  <a:pt x="880" y="250"/>
                </a:cubicBezTo>
                <a:cubicBezTo>
                  <a:pt x="880" y="249"/>
                  <a:pt x="880" y="249"/>
                  <a:pt x="881" y="249"/>
                </a:cubicBezTo>
                <a:cubicBezTo>
                  <a:pt x="881" y="249"/>
                  <a:pt x="881" y="249"/>
                  <a:pt x="881" y="249"/>
                </a:cubicBezTo>
                <a:cubicBezTo>
                  <a:pt x="882" y="249"/>
                  <a:pt x="882" y="249"/>
                  <a:pt x="882" y="249"/>
                </a:cubicBezTo>
                <a:cubicBezTo>
                  <a:pt x="882" y="249"/>
                  <a:pt x="882" y="249"/>
                  <a:pt x="882" y="250"/>
                </a:cubicBezTo>
                <a:cubicBezTo>
                  <a:pt x="882" y="250"/>
                  <a:pt x="883" y="250"/>
                  <a:pt x="883" y="250"/>
                </a:cubicBezTo>
                <a:cubicBezTo>
                  <a:pt x="883" y="250"/>
                  <a:pt x="883" y="250"/>
                  <a:pt x="884" y="250"/>
                </a:cubicBezTo>
                <a:cubicBezTo>
                  <a:pt x="884" y="250"/>
                  <a:pt x="884" y="250"/>
                  <a:pt x="884" y="250"/>
                </a:cubicBezTo>
                <a:cubicBezTo>
                  <a:pt x="884" y="250"/>
                  <a:pt x="884" y="250"/>
                  <a:pt x="884" y="249"/>
                </a:cubicBezTo>
                <a:cubicBezTo>
                  <a:pt x="885" y="249"/>
                  <a:pt x="885" y="249"/>
                  <a:pt x="885" y="249"/>
                </a:cubicBezTo>
                <a:cubicBezTo>
                  <a:pt x="885" y="249"/>
                  <a:pt x="885" y="249"/>
                  <a:pt x="885" y="249"/>
                </a:cubicBezTo>
                <a:cubicBezTo>
                  <a:pt x="885" y="249"/>
                  <a:pt x="885" y="248"/>
                  <a:pt x="885" y="248"/>
                </a:cubicBezTo>
                <a:cubicBezTo>
                  <a:pt x="885" y="248"/>
                  <a:pt x="885" y="248"/>
                  <a:pt x="886" y="248"/>
                </a:cubicBezTo>
                <a:cubicBezTo>
                  <a:pt x="886" y="248"/>
                  <a:pt x="886" y="248"/>
                  <a:pt x="886" y="248"/>
                </a:cubicBezTo>
                <a:cubicBezTo>
                  <a:pt x="886" y="248"/>
                  <a:pt x="886" y="248"/>
                  <a:pt x="886" y="248"/>
                </a:cubicBezTo>
                <a:cubicBezTo>
                  <a:pt x="887" y="247"/>
                  <a:pt x="888" y="247"/>
                  <a:pt x="888" y="247"/>
                </a:cubicBezTo>
                <a:cubicBezTo>
                  <a:pt x="889" y="247"/>
                  <a:pt x="889" y="247"/>
                  <a:pt x="889" y="247"/>
                </a:cubicBezTo>
                <a:cubicBezTo>
                  <a:pt x="890" y="247"/>
                  <a:pt x="890" y="248"/>
                  <a:pt x="890" y="248"/>
                </a:cubicBezTo>
                <a:cubicBezTo>
                  <a:pt x="891" y="248"/>
                  <a:pt x="891" y="248"/>
                  <a:pt x="891" y="248"/>
                </a:cubicBezTo>
                <a:cubicBezTo>
                  <a:pt x="891" y="248"/>
                  <a:pt x="892" y="248"/>
                  <a:pt x="892" y="248"/>
                </a:cubicBezTo>
                <a:cubicBezTo>
                  <a:pt x="892" y="248"/>
                  <a:pt x="893" y="248"/>
                  <a:pt x="893" y="248"/>
                </a:cubicBezTo>
                <a:cubicBezTo>
                  <a:pt x="893" y="248"/>
                  <a:pt x="893" y="247"/>
                  <a:pt x="893" y="247"/>
                </a:cubicBezTo>
                <a:cubicBezTo>
                  <a:pt x="894" y="247"/>
                  <a:pt x="894" y="247"/>
                  <a:pt x="894" y="247"/>
                </a:cubicBezTo>
                <a:cubicBezTo>
                  <a:pt x="895" y="247"/>
                  <a:pt x="895" y="247"/>
                  <a:pt x="895" y="247"/>
                </a:cubicBezTo>
                <a:cubicBezTo>
                  <a:pt x="895" y="247"/>
                  <a:pt x="896" y="246"/>
                  <a:pt x="896" y="246"/>
                </a:cubicBezTo>
                <a:cubicBezTo>
                  <a:pt x="897" y="246"/>
                  <a:pt x="897" y="246"/>
                  <a:pt x="897" y="246"/>
                </a:cubicBezTo>
                <a:cubicBezTo>
                  <a:pt x="897" y="246"/>
                  <a:pt x="897" y="246"/>
                  <a:pt x="897" y="246"/>
                </a:cubicBezTo>
                <a:cubicBezTo>
                  <a:pt x="898" y="246"/>
                  <a:pt x="898" y="246"/>
                  <a:pt x="898" y="246"/>
                </a:cubicBezTo>
                <a:cubicBezTo>
                  <a:pt x="898" y="246"/>
                  <a:pt x="898" y="246"/>
                  <a:pt x="898" y="246"/>
                </a:cubicBezTo>
                <a:cubicBezTo>
                  <a:pt x="898" y="246"/>
                  <a:pt x="899" y="247"/>
                  <a:pt x="899" y="247"/>
                </a:cubicBezTo>
                <a:cubicBezTo>
                  <a:pt x="899" y="246"/>
                  <a:pt x="899" y="246"/>
                  <a:pt x="900" y="246"/>
                </a:cubicBezTo>
                <a:cubicBezTo>
                  <a:pt x="900" y="246"/>
                  <a:pt x="901" y="246"/>
                  <a:pt x="901" y="246"/>
                </a:cubicBezTo>
                <a:cubicBezTo>
                  <a:pt x="902" y="246"/>
                  <a:pt x="902" y="246"/>
                  <a:pt x="903" y="246"/>
                </a:cubicBezTo>
                <a:cubicBezTo>
                  <a:pt x="903" y="246"/>
                  <a:pt x="903" y="246"/>
                  <a:pt x="904" y="246"/>
                </a:cubicBezTo>
                <a:cubicBezTo>
                  <a:pt x="904" y="246"/>
                  <a:pt x="904" y="246"/>
                  <a:pt x="904" y="246"/>
                </a:cubicBezTo>
                <a:cubicBezTo>
                  <a:pt x="904" y="246"/>
                  <a:pt x="905" y="246"/>
                  <a:pt x="905" y="246"/>
                </a:cubicBezTo>
                <a:cubicBezTo>
                  <a:pt x="905" y="246"/>
                  <a:pt x="906" y="246"/>
                  <a:pt x="906" y="246"/>
                </a:cubicBezTo>
                <a:cubicBezTo>
                  <a:pt x="906" y="245"/>
                  <a:pt x="906" y="245"/>
                  <a:pt x="907" y="245"/>
                </a:cubicBezTo>
                <a:cubicBezTo>
                  <a:pt x="907" y="245"/>
                  <a:pt x="907" y="245"/>
                  <a:pt x="907" y="245"/>
                </a:cubicBezTo>
                <a:cubicBezTo>
                  <a:pt x="907" y="245"/>
                  <a:pt x="908" y="245"/>
                  <a:pt x="908" y="245"/>
                </a:cubicBezTo>
                <a:cubicBezTo>
                  <a:pt x="908" y="245"/>
                  <a:pt x="908" y="245"/>
                  <a:pt x="908" y="245"/>
                </a:cubicBezTo>
                <a:cubicBezTo>
                  <a:pt x="908" y="245"/>
                  <a:pt x="908" y="244"/>
                  <a:pt x="909" y="244"/>
                </a:cubicBezTo>
                <a:cubicBezTo>
                  <a:pt x="909" y="244"/>
                  <a:pt x="909" y="244"/>
                  <a:pt x="910" y="244"/>
                </a:cubicBezTo>
                <a:cubicBezTo>
                  <a:pt x="910" y="244"/>
                  <a:pt x="910" y="244"/>
                  <a:pt x="910" y="243"/>
                </a:cubicBezTo>
                <a:cubicBezTo>
                  <a:pt x="910" y="243"/>
                  <a:pt x="910" y="243"/>
                  <a:pt x="909" y="243"/>
                </a:cubicBezTo>
                <a:cubicBezTo>
                  <a:pt x="910" y="243"/>
                  <a:pt x="910" y="243"/>
                  <a:pt x="910" y="243"/>
                </a:cubicBezTo>
                <a:cubicBezTo>
                  <a:pt x="909" y="243"/>
                  <a:pt x="909" y="243"/>
                  <a:pt x="908" y="243"/>
                </a:cubicBezTo>
                <a:cubicBezTo>
                  <a:pt x="908" y="243"/>
                  <a:pt x="908" y="243"/>
                  <a:pt x="907" y="243"/>
                </a:cubicBezTo>
                <a:cubicBezTo>
                  <a:pt x="907" y="243"/>
                  <a:pt x="907" y="243"/>
                  <a:pt x="907" y="243"/>
                </a:cubicBezTo>
                <a:cubicBezTo>
                  <a:pt x="906" y="243"/>
                  <a:pt x="906" y="243"/>
                  <a:pt x="906" y="243"/>
                </a:cubicBezTo>
                <a:cubicBezTo>
                  <a:pt x="906" y="243"/>
                  <a:pt x="905" y="243"/>
                  <a:pt x="905" y="243"/>
                </a:cubicBezTo>
                <a:cubicBezTo>
                  <a:pt x="905" y="243"/>
                  <a:pt x="906" y="243"/>
                  <a:pt x="906" y="243"/>
                </a:cubicBezTo>
                <a:cubicBezTo>
                  <a:pt x="906" y="243"/>
                  <a:pt x="906" y="243"/>
                  <a:pt x="906" y="243"/>
                </a:cubicBezTo>
                <a:cubicBezTo>
                  <a:pt x="906" y="243"/>
                  <a:pt x="906" y="242"/>
                  <a:pt x="906" y="242"/>
                </a:cubicBezTo>
                <a:cubicBezTo>
                  <a:pt x="906" y="242"/>
                  <a:pt x="906" y="242"/>
                  <a:pt x="905" y="242"/>
                </a:cubicBezTo>
                <a:cubicBezTo>
                  <a:pt x="905" y="242"/>
                  <a:pt x="905" y="242"/>
                  <a:pt x="904" y="242"/>
                </a:cubicBezTo>
                <a:cubicBezTo>
                  <a:pt x="905" y="242"/>
                  <a:pt x="905" y="242"/>
                  <a:pt x="906" y="242"/>
                </a:cubicBezTo>
                <a:cubicBezTo>
                  <a:pt x="906" y="242"/>
                  <a:pt x="906" y="242"/>
                  <a:pt x="906" y="242"/>
                </a:cubicBezTo>
                <a:cubicBezTo>
                  <a:pt x="906" y="242"/>
                  <a:pt x="907" y="242"/>
                  <a:pt x="907" y="242"/>
                </a:cubicBezTo>
                <a:cubicBezTo>
                  <a:pt x="907" y="242"/>
                  <a:pt x="907" y="241"/>
                  <a:pt x="907" y="241"/>
                </a:cubicBezTo>
                <a:cubicBezTo>
                  <a:pt x="907" y="241"/>
                  <a:pt x="906" y="241"/>
                  <a:pt x="906" y="241"/>
                </a:cubicBezTo>
                <a:cubicBezTo>
                  <a:pt x="906" y="241"/>
                  <a:pt x="906" y="241"/>
                  <a:pt x="907" y="241"/>
                </a:cubicBezTo>
                <a:cubicBezTo>
                  <a:pt x="907" y="241"/>
                  <a:pt x="907" y="241"/>
                  <a:pt x="907" y="241"/>
                </a:cubicBezTo>
                <a:cubicBezTo>
                  <a:pt x="907" y="241"/>
                  <a:pt x="907" y="241"/>
                  <a:pt x="908" y="241"/>
                </a:cubicBezTo>
                <a:cubicBezTo>
                  <a:pt x="908" y="241"/>
                  <a:pt x="908" y="241"/>
                  <a:pt x="908" y="240"/>
                </a:cubicBezTo>
                <a:cubicBezTo>
                  <a:pt x="908" y="240"/>
                  <a:pt x="908" y="240"/>
                  <a:pt x="909" y="240"/>
                </a:cubicBezTo>
                <a:cubicBezTo>
                  <a:pt x="908" y="240"/>
                  <a:pt x="908" y="240"/>
                  <a:pt x="908" y="240"/>
                </a:cubicBezTo>
                <a:cubicBezTo>
                  <a:pt x="908" y="240"/>
                  <a:pt x="908" y="240"/>
                  <a:pt x="908" y="240"/>
                </a:cubicBezTo>
                <a:cubicBezTo>
                  <a:pt x="908" y="240"/>
                  <a:pt x="908" y="240"/>
                  <a:pt x="908" y="240"/>
                </a:cubicBezTo>
                <a:cubicBezTo>
                  <a:pt x="908" y="240"/>
                  <a:pt x="908" y="239"/>
                  <a:pt x="908" y="239"/>
                </a:cubicBezTo>
                <a:cubicBezTo>
                  <a:pt x="908" y="239"/>
                  <a:pt x="908" y="239"/>
                  <a:pt x="908" y="239"/>
                </a:cubicBezTo>
                <a:cubicBezTo>
                  <a:pt x="909" y="240"/>
                  <a:pt x="909" y="240"/>
                  <a:pt x="909" y="240"/>
                </a:cubicBezTo>
                <a:cubicBezTo>
                  <a:pt x="909" y="240"/>
                  <a:pt x="909" y="239"/>
                  <a:pt x="909" y="239"/>
                </a:cubicBezTo>
                <a:cubicBezTo>
                  <a:pt x="909" y="239"/>
                  <a:pt x="910" y="239"/>
                  <a:pt x="910" y="239"/>
                </a:cubicBezTo>
                <a:cubicBezTo>
                  <a:pt x="910" y="239"/>
                  <a:pt x="910" y="238"/>
                  <a:pt x="910" y="238"/>
                </a:cubicBezTo>
                <a:cubicBezTo>
                  <a:pt x="910" y="238"/>
                  <a:pt x="910" y="237"/>
                  <a:pt x="911" y="237"/>
                </a:cubicBezTo>
                <a:cubicBezTo>
                  <a:pt x="910" y="237"/>
                  <a:pt x="910" y="237"/>
                  <a:pt x="910" y="236"/>
                </a:cubicBezTo>
                <a:cubicBezTo>
                  <a:pt x="910" y="236"/>
                  <a:pt x="910" y="236"/>
                  <a:pt x="910" y="236"/>
                </a:cubicBezTo>
                <a:cubicBezTo>
                  <a:pt x="909" y="235"/>
                  <a:pt x="909" y="235"/>
                  <a:pt x="908" y="235"/>
                </a:cubicBezTo>
                <a:cubicBezTo>
                  <a:pt x="907" y="235"/>
                  <a:pt x="906" y="235"/>
                  <a:pt x="905" y="235"/>
                </a:cubicBezTo>
                <a:cubicBezTo>
                  <a:pt x="905" y="235"/>
                  <a:pt x="904" y="235"/>
                  <a:pt x="904" y="235"/>
                </a:cubicBezTo>
                <a:cubicBezTo>
                  <a:pt x="904" y="235"/>
                  <a:pt x="904" y="235"/>
                  <a:pt x="904" y="235"/>
                </a:cubicBezTo>
                <a:cubicBezTo>
                  <a:pt x="904" y="236"/>
                  <a:pt x="903" y="236"/>
                  <a:pt x="903" y="236"/>
                </a:cubicBezTo>
                <a:cubicBezTo>
                  <a:pt x="903" y="236"/>
                  <a:pt x="903" y="236"/>
                  <a:pt x="902" y="235"/>
                </a:cubicBezTo>
                <a:cubicBezTo>
                  <a:pt x="902" y="235"/>
                  <a:pt x="902" y="235"/>
                  <a:pt x="901" y="235"/>
                </a:cubicBezTo>
                <a:cubicBezTo>
                  <a:pt x="902" y="235"/>
                  <a:pt x="902" y="234"/>
                  <a:pt x="903" y="234"/>
                </a:cubicBezTo>
                <a:cubicBezTo>
                  <a:pt x="903" y="234"/>
                  <a:pt x="903" y="234"/>
                  <a:pt x="903" y="233"/>
                </a:cubicBezTo>
                <a:cubicBezTo>
                  <a:pt x="903" y="233"/>
                  <a:pt x="902" y="233"/>
                  <a:pt x="902" y="232"/>
                </a:cubicBezTo>
                <a:cubicBezTo>
                  <a:pt x="902" y="232"/>
                  <a:pt x="901" y="232"/>
                  <a:pt x="901" y="232"/>
                </a:cubicBezTo>
                <a:cubicBezTo>
                  <a:pt x="901" y="232"/>
                  <a:pt x="900" y="232"/>
                  <a:pt x="900" y="232"/>
                </a:cubicBezTo>
                <a:cubicBezTo>
                  <a:pt x="900" y="231"/>
                  <a:pt x="900" y="231"/>
                  <a:pt x="900" y="231"/>
                </a:cubicBezTo>
                <a:cubicBezTo>
                  <a:pt x="899" y="231"/>
                  <a:pt x="899" y="231"/>
                  <a:pt x="899" y="231"/>
                </a:cubicBezTo>
                <a:cubicBezTo>
                  <a:pt x="899" y="231"/>
                  <a:pt x="899" y="231"/>
                  <a:pt x="899" y="231"/>
                </a:cubicBezTo>
                <a:cubicBezTo>
                  <a:pt x="898" y="231"/>
                  <a:pt x="898" y="231"/>
                  <a:pt x="898" y="231"/>
                </a:cubicBezTo>
                <a:cubicBezTo>
                  <a:pt x="898" y="231"/>
                  <a:pt x="898" y="231"/>
                  <a:pt x="898" y="231"/>
                </a:cubicBezTo>
                <a:cubicBezTo>
                  <a:pt x="898" y="231"/>
                  <a:pt x="898" y="231"/>
                  <a:pt x="898" y="231"/>
                </a:cubicBezTo>
                <a:cubicBezTo>
                  <a:pt x="898" y="231"/>
                  <a:pt x="899" y="231"/>
                  <a:pt x="899" y="231"/>
                </a:cubicBezTo>
                <a:cubicBezTo>
                  <a:pt x="899" y="231"/>
                  <a:pt x="899" y="231"/>
                  <a:pt x="900" y="231"/>
                </a:cubicBezTo>
                <a:cubicBezTo>
                  <a:pt x="900" y="231"/>
                  <a:pt x="900" y="231"/>
                  <a:pt x="900" y="231"/>
                </a:cubicBezTo>
                <a:cubicBezTo>
                  <a:pt x="900" y="231"/>
                  <a:pt x="900" y="231"/>
                  <a:pt x="901" y="231"/>
                </a:cubicBezTo>
                <a:cubicBezTo>
                  <a:pt x="901" y="231"/>
                  <a:pt x="901" y="231"/>
                  <a:pt x="901" y="231"/>
                </a:cubicBezTo>
                <a:cubicBezTo>
                  <a:pt x="901" y="231"/>
                  <a:pt x="901" y="231"/>
                  <a:pt x="902" y="231"/>
                </a:cubicBezTo>
                <a:cubicBezTo>
                  <a:pt x="901" y="231"/>
                  <a:pt x="901" y="231"/>
                  <a:pt x="900" y="230"/>
                </a:cubicBezTo>
                <a:cubicBezTo>
                  <a:pt x="900" y="230"/>
                  <a:pt x="900" y="230"/>
                  <a:pt x="899" y="230"/>
                </a:cubicBezTo>
                <a:cubicBezTo>
                  <a:pt x="900" y="229"/>
                  <a:pt x="900" y="229"/>
                  <a:pt x="900" y="229"/>
                </a:cubicBezTo>
                <a:cubicBezTo>
                  <a:pt x="900" y="229"/>
                  <a:pt x="900" y="229"/>
                  <a:pt x="900" y="229"/>
                </a:cubicBezTo>
                <a:cubicBezTo>
                  <a:pt x="900" y="229"/>
                  <a:pt x="900" y="229"/>
                  <a:pt x="900" y="229"/>
                </a:cubicBezTo>
                <a:cubicBezTo>
                  <a:pt x="899" y="229"/>
                  <a:pt x="899" y="229"/>
                  <a:pt x="899" y="228"/>
                </a:cubicBezTo>
                <a:cubicBezTo>
                  <a:pt x="899" y="228"/>
                  <a:pt x="899" y="228"/>
                  <a:pt x="899" y="228"/>
                </a:cubicBezTo>
                <a:cubicBezTo>
                  <a:pt x="899" y="228"/>
                  <a:pt x="898" y="228"/>
                  <a:pt x="898" y="227"/>
                </a:cubicBezTo>
                <a:cubicBezTo>
                  <a:pt x="898" y="227"/>
                  <a:pt x="897" y="227"/>
                  <a:pt x="897" y="227"/>
                </a:cubicBezTo>
                <a:cubicBezTo>
                  <a:pt x="896" y="227"/>
                  <a:pt x="895" y="227"/>
                  <a:pt x="895" y="227"/>
                </a:cubicBezTo>
                <a:cubicBezTo>
                  <a:pt x="895" y="227"/>
                  <a:pt x="895" y="226"/>
                  <a:pt x="895" y="226"/>
                </a:cubicBezTo>
                <a:cubicBezTo>
                  <a:pt x="895" y="226"/>
                  <a:pt x="894" y="226"/>
                  <a:pt x="894" y="226"/>
                </a:cubicBezTo>
                <a:cubicBezTo>
                  <a:pt x="894" y="226"/>
                  <a:pt x="894" y="225"/>
                  <a:pt x="894" y="225"/>
                </a:cubicBezTo>
                <a:cubicBezTo>
                  <a:pt x="893" y="225"/>
                  <a:pt x="893" y="224"/>
                  <a:pt x="893" y="224"/>
                </a:cubicBezTo>
                <a:cubicBezTo>
                  <a:pt x="893" y="223"/>
                  <a:pt x="893" y="223"/>
                  <a:pt x="892" y="222"/>
                </a:cubicBezTo>
                <a:cubicBezTo>
                  <a:pt x="892" y="222"/>
                  <a:pt x="892" y="222"/>
                  <a:pt x="892" y="222"/>
                </a:cubicBezTo>
                <a:cubicBezTo>
                  <a:pt x="892" y="222"/>
                  <a:pt x="892" y="222"/>
                  <a:pt x="891" y="222"/>
                </a:cubicBezTo>
                <a:cubicBezTo>
                  <a:pt x="891" y="221"/>
                  <a:pt x="890" y="221"/>
                  <a:pt x="890" y="220"/>
                </a:cubicBezTo>
                <a:cubicBezTo>
                  <a:pt x="889" y="220"/>
                  <a:pt x="889" y="220"/>
                  <a:pt x="889" y="220"/>
                </a:cubicBezTo>
                <a:cubicBezTo>
                  <a:pt x="889" y="220"/>
                  <a:pt x="888" y="220"/>
                  <a:pt x="888" y="220"/>
                </a:cubicBezTo>
                <a:cubicBezTo>
                  <a:pt x="888" y="220"/>
                  <a:pt x="887" y="220"/>
                  <a:pt x="887" y="220"/>
                </a:cubicBezTo>
                <a:cubicBezTo>
                  <a:pt x="887" y="220"/>
                  <a:pt x="887" y="220"/>
                  <a:pt x="886" y="220"/>
                </a:cubicBezTo>
                <a:cubicBezTo>
                  <a:pt x="886" y="220"/>
                  <a:pt x="886" y="220"/>
                  <a:pt x="886" y="220"/>
                </a:cubicBezTo>
                <a:cubicBezTo>
                  <a:pt x="885" y="220"/>
                  <a:pt x="885" y="220"/>
                  <a:pt x="884" y="220"/>
                </a:cubicBezTo>
                <a:cubicBezTo>
                  <a:pt x="884" y="220"/>
                  <a:pt x="884" y="220"/>
                  <a:pt x="884" y="220"/>
                </a:cubicBezTo>
                <a:cubicBezTo>
                  <a:pt x="883" y="220"/>
                  <a:pt x="883" y="220"/>
                  <a:pt x="883" y="220"/>
                </a:cubicBezTo>
                <a:cubicBezTo>
                  <a:pt x="882" y="220"/>
                  <a:pt x="882" y="220"/>
                  <a:pt x="882" y="220"/>
                </a:cubicBezTo>
                <a:cubicBezTo>
                  <a:pt x="882" y="220"/>
                  <a:pt x="883" y="220"/>
                  <a:pt x="883" y="220"/>
                </a:cubicBezTo>
                <a:cubicBezTo>
                  <a:pt x="883" y="220"/>
                  <a:pt x="884" y="220"/>
                  <a:pt x="884" y="220"/>
                </a:cubicBezTo>
                <a:cubicBezTo>
                  <a:pt x="884" y="220"/>
                  <a:pt x="885" y="220"/>
                  <a:pt x="885" y="220"/>
                </a:cubicBezTo>
                <a:cubicBezTo>
                  <a:pt x="885" y="219"/>
                  <a:pt x="885" y="219"/>
                  <a:pt x="885" y="219"/>
                </a:cubicBezTo>
                <a:cubicBezTo>
                  <a:pt x="886" y="219"/>
                  <a:pt x="886" y="219"/>
                  <a:pt x="887" y="219"/>
                </a:cubicBezTo>
                <a:cubicBezTo>
                  <a:pt x="887" y="219"/>
                  <a:pt x="887" y="219"/>
                  <a:pt x="887" y="218"/>
                </a:cubicBezTo>
                <a:cubicBezTo>
                  <a:pt x="887" y="218"/>
                  <a:pt x="887" y="218"/>
                  <a:pt x="886" y="218"/>
                </a:cubicBezTo>
                <a:cubicBezTo>
                  <a:pt x="886" y="218"/>
                  <a:pt x="886" y="218"/>
                  <a:pt x="886" y="218"/>
                </a:cubicBezTo>
                <a:cubicBezTo>
                  <a:pt x="886" y="218"/>
                  <a:pt x="886" y="218"/>
                  <a:pt x="886" y="218"/>
                </a:cubicBezTo>
                <a:cubicBezTo>
                  <a:pt x="886" y="218"/>
                  <a:pt x="885" y="218"/>
                  <a:pt x="885" y="218"/>
                </a:cubicBezTo>
                <a:cubicBezTo>
                  <a:pt x="885" y="218"/>
                  <a:pt x="884" y="218"/>
                  <a:pt x="884" y="218"/>
                </a:cubicBezTo>
                <a:cubicBezTo>
                  <a:pt x="885" y="218"/>
                  <a:pt x="885" y="218"/>
                  <a:pt x="885" y="217"/>
                </a:cubicBezTo>
                <a:cubicBezTo>
                  <a:pt x="886" y="217"/>
                  <a:pt x="886" y="217"/>
                  <a:pt x="887" y="217"/>
                </a:cubicBezTo>
                <a:cubicBezTo>
                  <a:pt x="887" y="217"/>
                  <a:pt x="887" y="217"/>
                  <a:pt x="887" y="217"/>
                </a:cubicBezTo>
                <a:cubicBezTo>
                  <a:pt x="887" y="217"/>
                  <a:pt x="887" y="217"/>
                  <a:pt x="888" y="217"/>
                </a:cubicBezTo>
                <a:cubicBezTo>
                  <a:pt x="888" y="216"/>
                  <a:pt x="888" y="216"/>
                  <a:pt x="888" y="216"/>
                </a:cubicBezTo>
                <a:cubicBezTo>
                  <a:pt x="888" y="216"/>
                  <a:pt x="889" y="216"/>
                  <a:pt x="889" y="215"/>
                </a:cubicBezTo>
                <a:cubicBezTo>
                  <a:pt x="889" y="215"/>
                  <a:pt x="889" y="215"/>
                  <a:pt x="889" y="215"/>
                </a:cubicBezTo>
                <a:cubicBezTo>
                  <a:pt x="889" y="215"/>
                  <a:pt x="889" y="215"/>
                  <a:pt x="889" y="215"/>
                </a:cubicBezTo>
                <a:cubicBezTo>
                  <a:pt x="889" y="214"/>
                  <a:pt x="889" y="214"/>
                  <a:pt x="890" y="214"/>
                </a:cubicBezTo>
                <a:cubicBezTo>
                  <a:pt x="890" y="214"/>
                  <a:pt x="889" y="214"/>
                  <a:pt x="889" y="214"/>
                </a:cubicBezTo>
                <a:cubicBezTo>
                  <a:pt x="890" y="213"/>
                  <a:pt x="890" y="213"/>
                  <a:pt x="890" y="213"/>
                </a:cubicBezTo>
                <a:cubicBezTo>
                  <a:pt x="890" y="213"/>
                  <a:pt x="890" y="212"/>
                  <a:pt x="891" y="212"/>
                </a:cubicBezTo>
                <a:cubicBezTo>
                  <a:pt x="891" y="212"/>
                  <a:pt x="891" y="212"/>
                  <a:pt x="891" y="212"/>
                </a:cubicBezTo>
                <a:cubicBezTo>
                  <a:pt x="890" y="211"/>
                  <a:pt x="890" y="211"/>
                  <a:pt x="889" y="211"/>
                </a:cubicBezTo>
                <a:cubicBezTo>
                  <a:pt x="889" y="211"/>
                  <a:pt x="889" y="211"/>
                  <a:pt x="889" y="211"/>
                </a:cubicBezTo>
                <a:cubicBezTo>
                  <a:pt x="888" y="211"/>
                  <a:pt x="888" y="211"/>
                  <a:pt x="887" y="211"/>
                </a:cubicBezTo>
                <a:cubicBezTo>
                  <a:pt x="886" y="211"/>
                  <a:pt x="886" y="211"/>
                  <a:pt x="885" y="211"/>
                </a:cubicBezTo>
                <a:cubicBezTo>
                  <a:pt x="885" y="211"/>
                  <a:pt x="885" y="211"/>
                  <a:pt x="885" y="211"/>
                </a:cubicBezTo>
                <a:cubicBezTo>
                  <a:pt x="885" y="211"/>
                  <a:pt x="885" y="211"/>
                  <a:pt x="884" y="211"/>
                </a:cubicBezTo>
                <a:cubicBezTo>
                  <a:pt x="884" y="211"/>
                  <a:pt x="884" y="211"/>
                  <a:pt x="884" y="211"/>
                </a:cubicBezTo>
                <a:cubicBezTo>
                  <a:pt x="883" y="211"/>
                  <a:pt x="883" y="211"/>
                  <a:pt x="883" y="211"/>
                </a:cubicBezTo>
                <a:cubicBezTo>
                  <a:pt x="883" y="211"/>
                  <a:pt x="883" y="211"/>
                  <a:pt x="883" y="211"/>
                </a:cubicBezTo>
                <a:cubicBezTo>
                  <a:pt x="883" y="211"/>
                  <a:pt x="882" y="212"/>
                  <a:pt x="882" y="212"/>
                </a:cubicBezTo>
                <a:cubicBezTo>
                  <a:pt x="882" y="212"/>
                  <a:pt x="881" y="212"/>
                  <a:pt x="881" y="212"/>
                </a:cubicBezTo>
                <a:cubicBezTo>
                  <a:pt x="881" y="212"/>
                  <a:pt x="881" y="212"/>
                  <a:pt x="881" y="212"/>
                </a:cubicBezTo>
                <a:cubicBezTo>
                  <a:pt x="881" y="212"/>
                  <a:pt x="880" y="212"/>
                  <a:pt x="880" y="212"/>
                </a:cubicBezTo>
                <a:cubicBezTo>
                  <a:pt x="880" y="212"/>
                  <a:pt x="880" y="212"/>
                  <a:pt x="880" y="212"/>
                </a:cubicBezTo>
                <a:cubicBezTo>
                  <a:pt x="880" y="212"/>
                  <a:pt x="881" y="212"/>
                  <a:pt x="881" y="212"/>
                </a:cubicBezTo>
                <a:cubicBezTo>
                  <a:pt x="881" y="211"/>
                  <a:pt x="881" y="211"/>
                  <a:pt x="882" y="211"/>
                </a:cubicBezTo>
                <a:cubicBezTo>
                  <a:pt x="881" y="211"/>
                  <a:pt x="881" y="211"/>
                  <a:pt x="881" y="211"/>
                </a:cubicBezTo>
                <a:cubicBezTo>
                  <a:pt x="881" y="211"/>
                  <a:pt x="880" y="211"/>
                  <a:pt x="880" y="211"/>
                </a:cubicBezTo>
                <a:cubicBezTo>
                  <a:pt x="880" y="211"/>
                  <a:pt x="881" y="210"/>
                  <a:pt x="881" y="210"/>
                </a:cubicBezTo>
                <a:cubicBezTo>
                  <a:pt x="881" y="210"/>
                  <a:pt x="881" y="210"/>
                  <a:pt x="881" y="210"/>
                </a:cubicBezTo>
                <a:cubicBezTo>
                  <a:pt x="882" y="210"/>
                  <a:pt x="882" y="209"/>
                  <a:pt x="883" y="209"/>
                </a:cubicBezTo>
                <a:cubicBezTo>
                  <a:pt x="883" y="209"/>
                  <a:pt x="883" y="208"/>
                  <a:pt x="884" y="208"/>
                </a:cubicBezTo>
                <a:cubicBezTo>
                  <a:pt x="884" y="208"/>
                  <a:pt x="884" y="208"/>
                  <a:pt x="884" y="208"/>
                </a:cubicBezTo>
                <a:cubicBezTo>
                  <a:pt x="884" y="208"/>
                  <a:pt x="885" y="207"/>
                  <a:pt x="885" y="207"/>
                </a:cubicBezTo>
                <a:cubicBezTo>
                  <a:pt x="885" y="207"/>
                  <a:pt x="884" y="207"/>
                  <a:pt x="884" y="207"/>
                </a:cubicBezTo>
                <a:cubicBezTo>
                  <a:pt x="884" y="207"/>
                  <a:pt x="885" y="207"/>
                  <a:pt x="885" y="207"/>
                </a:cubicBezTo>
                <a:cubicBezTo>
                  <a:pt x="885" y="206"/>
                  <a:pt x="885" y="206"/>
                  <a:pt x="885" y="206"/>
                </a:cubicBezTo>
                <a:cubicBezTo>
                  <a:pt x="884" y="206"/>
                  <a:pt x="884" y="206"/>
                  <a:pt x="884" y="206"/>
                </a:cubicBezTo>
                <a:cubicBezTo>
                  <a:pt x="883" y="206"/>
                  <a:pt x="883" y="206"/>
                  <a:pt x="883" y="207"/>
                </a:cubicBezTo>
                <a:cubicBezTo>
                  <a:pt x="883" y="207"/>
                  <a:pt x="883" y="207"/>
                  <a:pt x="882" y="206"/>
                </a:cubicBezTo>
                <a:cubicBezTo>
                  <a:pt x="882" y="207"/>
                  <a:pt x="882" y="207"/>
                  <a:pt x="881" y="207"/>
                </a:cubicBezTo>
                <a:cubicBezTo>
                  <a:pt x="881" y="207"/>
                  <a:pt x="881" y="207"/>
                  <a:pt x="880" y="207"/>
                </a:cubicBezTo>
                <a:cubicBezTo>
                  <a:pt x="880" y="207"/>
                  <a:pt x="880" y="207"/>
                  <a:pt x="880" y="207"/>
                </a:cubicBezTo>
                <a:cubicBezTo>
                  <a:pt x="879" y="207"/>
                  <a:pt x="879" y="207"/>
                  <a:pt x="879" y="207"/>
                </a:cubicBezTo>
                <a:cubicBezTo>
                  <a:pt x="879" y="207"/>
                  <a:pt x="879" y="207"/>
                  <a:pt x="879" y="207"/>
                </a:cubicBezTo>
                <a:cubicBezTo>
                  <a:pt x="879" y="207"/>
                  <a:pt x="879" y="207"/>
                  <a:pt x="879" y="207"/>
                </a:cubicBezTo>
                <a:cubicBezTo>
                  <a:pt x="879" y="207"/>
                  <a:pt x="878" y="207"/>
                  <a:pt x="878" y="207"/>
                </a:cubicBezTo>
                <a:cubicBezTo>
                  <a:pt x="878" y="207"/>
                  <a:pt x="878" y="207"/>
                  <a:pt x="877" y="207"/>
                </a:cubicBezTo>
                <a:cubicBezTo>
                  <a:pt x="877" y="207"/>
                  <a:pt x="877" y="207"/>
                  <a:pt x="878" y="207"/>
                </a:cubicBezTo>
                <a:cubicBezTo>
                  <a:pt x="877" y="207"/>
                  <a:pt x="877" y="207"/>
                  <a:pt x="876" y="207"/>
                </a:cubicBezTo>
                <a:cubicBezTo>
                  <a:pt x="876" y="207"/>
                  <a:pt x="876" y="207"/>
                  <a:pt x="876" y="207"/>
                </a:cubicBezTo>
                <a:cubicBezTo>
                  <a:pt x="876" y="207"/>
                  <a:pt x="876" y="207"/>
                  <a:pt x="876" y="207"/>
                </a:cubicBezTo>
                <a:cubicBezTo>
                  <a:pt x="876" y="208"/>
                  <a:pt x="876" y="208"/>
                  <a:pt x="876" y="208"/>
                </a:cubicBezTo>
                <a:cubicBezTo>
                  <a:pt x="876" y="208"/>
                  <a:pt x="876" y="208"/>
                  <a:pt x="876" y="208"/>
                </a:cubicBezTo>
                <a:cubicBezTo>
                  <a:pt x="876" y="208"/>
                  <a:pt x="876" y="208"/>
                  <a:pt x="876" y="208"/>
                </a:cubicBezTo>
                <a:cubicBezTo>
                  <a:pt x="875" y="209"/>
                  <a:pt x="875" y="209"/>
                  <a:pt x="875" y="209"/>
                </a:cubicBezTo>
                <a:cubicBezTo>
                  <a:pt x="875" y="209"/>
                  <a:pt x="875" y="209"/>
                  <a:pt x="875" y="209"/>
                </a:cubicBezTo>
                <a:cubicBezTo>
                  <a:pt x="875" y="209"/>
                  <a:pt x="875" y="209"/>
                  <a:pt x="875" y="210"/>
                </a:cubicBezTo>
                <a:cubicBezTo>
                  <a:pt x="875" y="210"/>
                  <a:pt x="875" y="210"/>
                  <a:pt x="874" y="210"/>
                </a:cubicBezTo>
                <a:cubicBezTo>
                  <a:pt x="875" y="210"/>
                  <a:pt x="875" y="210"/>
                  <a:pt x="876" y="210"/>
                </a:cubicBezTo>
                <a:cubicBezTo>
                  <a:pt x="876" y="210"/>
                  <a:pt x="876" y="211"/>
                  <a:pt x="876" y="211"/>
                </a:cubicBezTo>
                <a:cubicBezTo>
                  <a:pt x="876" y="211"/>
                  <a:pt x="875" y="211"/>
                  <a:pt x="875" y="210"/>
                </a:cubicBezTo>
                <a:cubicBezTo>
                  <a:pt x="875" y="210"/>
                  <a:pt x="875" y="211"/>
                  <a:pt x="874" y="211"/>
                </a:cubicBezTo>
                <a:cubicBezTo>
                  <a:pt x="874" y="211"/>
                  <a:pt x="874" y="210"/>
                  <a:pt x="874" y="210"/>
                </a:cubicBezTo>
                <a:cubicBezTo>
                  <a:pt x="874" y="210"/>
                  <a:pt x="874" y="210"/>
                  <a:pt x="874" y="211"/>
                </a:cubicBezTo>
                <a:cubicBezTo>
                  <a:pt x="874" y="211"/>
                  <a:pt x="874" y="211"/>
                  <a:pt x="874" y="211"/>
                </a:cubicBezTo>
                <a:cubicBezTo>
                  <a:pt x="874" y="211"/>
                  <a:pt x="874" y="211"/>
                  <a:pt x="874" y="211"/>
                </a:cubicBezTo>
                <a:cubicBezTo>
                  <a:pt x="873" y="211"/>
                  <a:pt x="873" y="211"/>
                  <a:pt x="873" y="211"/>
                </a:cubicBezTo>
                <a:cubicBezTo>
                  <a:pt x="873" y="211"/>
                  <a:pt x="873" y="211"/>
                  <a:pt x="873" y="211"/>
                </a:cubicBezTo>
                <a:cubicBezTo>
                  <a:pt x="873" y="211"/>
                  <a:pt x="873" y="211"/>
                  <a:pt x="873" y="212"/>
                </a:cubicBezTo>
                <a:cubicBezTo>
                  <a:pt x="873" y="212"/>
                  <a:pt x="873" y="212"/>
                  <a:pt x="873" y="212"/>
                </a:cubicBezTo>
                <a:cubicBezTo>
                  <a:pt x="873" y="212"/>
                  <a:pt x="873" y="212"/>
                  <a:pt x="874" y="212"/>
                </a:cubicBezTo>
                <a:cubicBezTo>
                  <a:pt x="874" y="212"/>
                  <a:pt x="874" y="212"/>
                  <a:pt x="874" y="212"/>
                </a:cubicBezTo>
                <a:cubicBezTo>
                  <a:pt x="874" y="212"/>
                  <a:pt x="874" y="212"/>
                  <a:pt x="873" y="213"/>
                </a:cubicBezTo>
                <a:cubicBezTo>
                  <a:pt x="873" y="212"/>
                  <a:pt x="873" y="212"/>
                  <a:pt x="873" y="212"/>
                </a:cubicBezTo>
                <a:close/>
                <a:moveTo>
                  <a:pt x="867" y="212"/>
                </a:moveTo>
                <a:cubicBezTo>
                  <a:pt x="866" y="212"/>
                  <a:pt x="866" y="212"/>
                  <a:pt x="866" y="212"/>
                </a:cubicBezTo>
                <a:cubicBezTo>
                  <a:pt x="865" y="212"/>
                  <a:pt x="865" y="212"/>
                  <a:pt x="865" y="212"/>
                </a:cubicBezTo>
                <a:cubicBezTo>
                  <a:pt x="865" y="212"/>
                  <a:pt x="866" y="212"/>
                  <a:pt x="866" y="212"/>
                </a:cubicBezTo>
                <a:cubicBezTo>
                  <a:pt x="866" y="212"/>
                  <a:pt x="867" y="212"/>
                  <a:pt x="867" y="212"/>
                </a:cubicBezTo>
                <a:cubicBezTo>
                  <a:pt x="867" y="212"/>
                  <a:pt x="867" y="212"/>
                  <a:pt x="867" y="212"/>
                </a:cubicBezTo>
                <a:close/>
                <a:moveTo>
                  <a:pt x="876" y="221"/>
                </a:moveTo>
                <a:cubicBezTo>
                  <a:pt x="876" y="221"/>
                  <a:pt x="876" y="221"/>
                  <a:pt x="876" y="221"/>
                </a:cubicBezTo>
                <a:cubicBezTo>
                  <a:pt x="876" y="221"/>
                  <a:pt x="876" y="221"/>
                  <a:pt x="876" y="221"/>
                </a:cubicBezTo>
                <a:cubicBezTo>
                  <a:pt x="876" y="221"/>
                  <a:pt x="876" y="222"/>
                  <a:pt x="877" y="222"/>
                </a:cubicBezTo>
                <a:cubicBezTo>
                  <a:pt x="877" y="221"/>
                  <a:pt x="877" y="221"/>
                  <a:pt x="876" y="221"/>
                </a:cubicBezTo>
                <a:close/>
                <a:moveTo>
                  <a:pt x="878" y="229"/>
                </a:moveTo>
                <a:cubicBezTo>
                  <a:pt x="878" y="230"/>
                  <a:pt x="878" y="230"/>
                  <a:pt x="878" y="230"/>
                </a:cubicBezTo>
                <a:cubicBezTo>
                  <a:pt x="878" y="230"/>
                  <a:pt x="878" y="230"/>
                  <a:pt x="879" y="230"/>
                </a:cubicBezTo>
                <a:cubicBezTo>
                  <a:pt x="879" y="230"/>
                  <a:pt x="879" y="230"/>
                  <a:pt x="880" y="229"/>
                </a:cubicBezTo>
                <a:cubicBezTo>
                  <a:pt x="880" y="229"/>
                  <a:pt x="880" y="229"/>
                  <a:pt x="880" y="229"/>
                </a:cubicBezTo>
                <a:cubicBezTo>
                  <a:pt x="880" y="229"/>
                  <a:pt x="880" y="228"/>
                  <a:pt x="880" y="228"/>
                </a:cubicBezTo>
                <a:cubicBezTo>
                  <a:pt x="879" y="229"/>
                  <a:pt x="879" y="229"/>
                  <a:pt x="878" y="229"/>
                </a:cubicBezTo>
                <a:close/>
                <a:moveTo>
                  <a:pt x="872" y="222"/>
                </a:moveTo>
                <a:cubicBezTo>
                  <a:pt x="872" y="222"/>
                  <a:pt x="871" y="221"/>
                  <a:pt x="871" y="221"/>
                </a:cubicBezTo>
                <a:cubicBezTo>
                  <a:pt x="871" y="221"/>
                  <a:pt x="870" y="221"/>
                  <a:pt x="870" y="221"/>
                </a:cubicBezTo>
                <a:cubicBezTo>
                  <a:pt x="870" y="222"/>
                  <a:pt x="870" y="222"/>
                  <a:pt x="870" y="222"/>
                </a:cubicBezTo>
                <a:cubicBezTo>
                  <a:pt x="870" y="222"/>
                  <a:pt x="870" y="222"/>
                  <a:pt x="871" y="222"/>
                </a:cubicBezTo>
                <a:cubicBezTo>
                  <a:pt x="871" y="222"/>
                  <a:pt x="871" y="222"/>
                  <a:pt x="871" y="222"/>
                </a:cubicBezTo>
                <a:cubicBezTo>
                  <a:pt x="871" y="222"/>
                  <a:pt x="871" y="222"/>
                  <a:pt x="872" y="222"/>
                </a:cubicBezTo>
                <a:close/>
                <a:moveTo>
                  <a:pt x="870" y="217"/>
                </a:moveTo>
                <a:cubicBezTo>
                  <a:pt x="870" y="217"/>
                  <a:pt x="870" y="217"/>
                  <a:pt x="870" y="217"/>
                </a:cubicBezTo>
                <a:cubicBezTo>
                  <a:pt x="870" y="217"/>
                  <a:pt x="869" y="217"/>
                  <a:pt x="869" y="217"/>
                </a:cubicBezTo>
                <a:cubicBezTo>
                  <a:pt x="869" y="217"/>
                  <a:pt x="869" y="217"/>
                  <a:pt x="870" y="217"/>
                </a:cubicBezTo>
                <a:close/>
                <a:moveTo>
                  <a:pt x="880" y="235"/>
                </a:moveTo>
                <a:cubicBezTo>
                  <a:pt x="881" y="234"/>
                  <a:pt x="881" y="234"/>
                  <a:pt x="882" y="234"/>
                </a:cubicBezTo>
                <a:cubicBezTo>
                  <a:pt x="881" y="234"/>
                  <a:pt x="881" y="234"/>
                  <a:pt x="881" y="234"/>
                </a:cubicBezTo>
                <a:cubicBezTo>
                  <a:pt x="881" y="234"/>
                  <a:pt x="880" y="234"/>
                  <a:pt x="880" y="233"/>
                </a:cubicBezTo>
                <a:cubicBezTo>
                  <a:pt x="880" y="233"/>
                  <a:pt x="880" y="234"/>
                  <a:pt x="879" y="234"/>
                </a:cubicBezTo>
                <a:cubicBezTo>
                  <a:pt x="879" y="234"/>
                  <a:pt x="879" y="234"/>
                  <a:pt x="879" y="234"/>
                </a:cubicBezTo>
                <a:cubicBezTo>
                  <a:pt x="879" y="234"/>
                  <a:pt x="880" y="234"/>
                  <a:pt x="880" y="235"/>
                </a:cubicBezTo>
                <a:close/>
                <a:moveTo>
                  <a:pt x="897" y="247"/>
                </a:moveTo>
                <a:cubicBezTo>
                  <a:pt x="897" y="247"/>
                  <a:pt x="896" y="247"/>
                  <a:pt x="896" y="247"/>
                </a:cubicBezTo>
                <a:cubicBezTo>
                  <a:pt x="896" y="247"/>
                  <a:pt x="895" y="247"/>
                  <a:pt x="895" y="247"/>
                </a:cubicBezTo>
                <a:cubicBezTo>
                  <a:pt x="895" y="247"/>
                  <a:pt x="895" y="247"/>
                  <a:pt x="896" y="247"/>
                </a:cubicBezTo>
                <a:cubicBezTo>
                  <a:pt x="896" y="247"/>
                  <a:pt x="896" y="247"/>
                  <a:pt x="896" y="248"/>
                </a:cubicBezTo>
                <a:cubicBezTo>
                  <a:pt x="897" y="248"/>
                  <a:pt x="897" y="248"/>
                  <a:pt x="897" y="247"/>
                </a:cubicBezTo>
                <a:cubicBezTo>
                  <a:pt x="897" y="247"/>
                  <a:pt x="897" y="247"/>
                  <a:pt x="897" y="247"/>
                </a:cubicBezTo>
                <a:cubicBezTo>
                  <a:pt x="897" y="247"/>
                  <a:pt x="897" y="247"/>
                  <a:pt x="897" y="247"/>
                </a:cubicBezTo>
                <a:cubicBezTo>
                  <a:pt x="897" y="247"/>
                  <a:pt x="897" y="247"/>
                  <a:pt x="897" y="247"/>
                </a:cubicBezTo>
                <a:close/>
                <a:moveTo>
                  <a:pt x="875" y="222"/>
                </a:moveTo>
                <a:cubicBezTo>
                  <a:pt x="875" y="223"/>
                  <a:pt x="875" y="223"/>
                  <a:pt x="875" y="223"/>
                </a:cubicBezTo>
                <a:cubicBezTo>
                  <a:pt x="875" y="223"/>
                  <a:pt x="876" y="223"/>
                  <a:pt x="876" y="223"/>
                </a:cubicBezTo>
                <a:cubicBezTo>
                  <a:pt x="876" y="223"/>
                  <a:pt x="876" y="223"/>
                  <a:pt x="876" y="223"/>
                </a:cubicBezTo>
                <a:cubicBezTo>
                  <a:pt x="876" y="222"/>
                  <a:pt x="876" y="222"/>
                  <a:pt x="876" y="222"/>
                </a:cubicBezTo>
                <a:cubicBezTo>
                  <a:pt x="875" y="222"/>
                  <a:pt x="875" y="222"/>
                  <a:pt x="875" y="222"/>
                </a:cubicBezTo>
                <a:close/>
                <a:moveTo>
                  <a:pt x="873" y="219"/>
                </a:moveTo>
                <a:cubicBezTo>
                  <a:pt x="873" y="219"/>
                  <a:pt x="873" y="218"/>
                  <a:pt x="873" y="218"/>
                </a:cubicBezTo>
                <a:cubicBezTo>
                  <a:pt x="873" y="218"/>
                  <a:pt x="873" y="218"/>
                  <a:pt x="873" y="218"/>
                </a:cubicBezTo>
                <a:cubicBezTo>
                  <a:pt x="873" y="218"/>
                  <a:pt x="873" y="218"/>
                  <a:pt x="872" y="218"/>
                </a:cubicBezTo>
                <a:cubicBezTo>
                  <a:pt x="872" y="217"/>
                  <a:pt x="872" y="217"/>
                  <a:pt x="871" y="217"/>
                </a:cubicBezTo>
                <a:cubicBezTo>
                  <a:pt x="871" y="217"/>
                  <a:pt x="871" y="217"/>
                  <a:pt x="870" y="218"/>
                </a:cubicBezTo>
                <a:cubicBezTo>
                  <a:pt x="871" y="218"/>
                  <a:pt x="871" y="218"/>
                  <a:pt x="872" y="218"/>
                </a:cubicBezTo>
                <a:cubicBezTo>
                  <a:pt x="872" y="218"/>
                  <a:pt x="871" y="218"/>
                  <a:pt x="871" y="218"/>
                </a:cubicBezTo>
                <a:cubicBezTo>
                  <a:pt x="871" y="218"/>
                  <a:pt x="871" y="218"/>
                  <a:pt x="871" y="218"/>
                </a:cubicBezTo>
                <a:cubicBezTo>
                  <a:pt x="871" y="219"/>
                  <a:pt x="871" y="219"/>
                  <a:pt x="870" y="219"/>
                </a:cubicBezTo>
                <a:cubicBezTo>
                  <a:pt x="871" y="219"/>
                  <a:pt x="872" y="219"/>
                  <a:pt x="872" y="219"/>
                </a:cubicBezTo>
                <a:cubicBezTo>
                  <a:pt x="872" y="219"/>
                  <a:pt x="872" y="219"/>
                  <a:pt x="873" y="219"/>
                </a:cubicBezTo>
                <a:close/>
                <a:moveTo>
                  <a:pt x="884" y="205"/>
                </a:moveTo>
                <a:cubicBezTo>
                  <a:pt x="884" y="205"/>
                  <a:pt x="884" y="205"/>
                  <a:pt x="883" y="205"/>
                </a:cubicBezTo>
                <a:cubicBezTo>
                  <a:pt x="883" y="205"/>
                  <a:pt x="883" y="205"/>
                  <a:pt x="883" y="205"/>
                </a:cubicBezTo>
                <a:cubicBezTo>
                  <a:pt x="883" y="205"/>
                  <a:pt x="883" y="205"/>
                  <a:pt x="884" y="206"/>
                </a:cubicBezTo>
                <a:cubicBezTo>
                  <a:pt x="884" y="206"/>
                  <a:pt x="884" y="205"/>
                  <a:pt x="884" y="205"/>
                </a:cubicBezTo>
                <a:close/>
                <a:moveTo>
                  <a:pt x="865" y="215"/>
                </a:moveTo>
                <a:cubicBezTo>
                  <a:pt x="865" y="216"/>
                  <a:pt x="865" y="216"/>
                  <a:pt x="865" y="216"/>
                </a:cubicBezTo>
                <a:cubicBezTo>
                  <a:pt x="865" y="216"/>
                  <a:pt x="866" y="216"/>
                  <a:pt x="866" y="215"/>
                </a:cubicBezTo>
                <a:cubicBezTo>
                  <a:pt x="866" y="215"/>
                  <a:pt x="866" y="215"/>
                  <a:pt x="865" y="215"/>
                </a:cubicBezTo>
                <a:cubicBezTo>
                  <a:pt x="865" y="215"/>
                  <a:pt x="865" y="215"/>
                  <a:pt x="865" y="215"/>
                </a:cubicBezTo>
                <a:close/>
                <a:moveTo>
                  <a:pt x="866" y="213"/>
                </a:moveTo>
                <a:cubicBezTo>
                  <a:pt x="866" y="213"/>
                  <a:pt x="866" y="213"/>
                  <a:pt x="866" y="213"/>
                </a:cubicBezTo>
                <a:cubicBezTo>
                  <a:pt x="866" y="213"/>
                  <a:pt x="866" y="214"/>
                  <a:pt x="866" y="214"/>
                </a:cubicBezTo>
                <a:cubicBezTo>
                  <a:pt x="866" y="214"/>
                  <a:pt x="866" y="214"/>
                  <a:pt x="866" y="214"/>
                </a:cubicBezTo>
                <a:cubicBezTo>
                  <a:pt x="866" y="214"/>
                  <a:pt x="866" y="214"/>
                  <a:pt x="866" y="215"/>
                </a:cubicBezTo>
                <a:cubicBezTo>
                  <a:pt x="866" y="215"/>
                  <a:pt x="866" y="215"/>
                  <a:pt x="866" y="215"/>
                </a:cubicBezTo>
                <a:cubicBezTo>
                  <a:pt x="866" y="215"/>
                  <a:pt x="866" y="214"/>
                  <a:pt x="866" y="214"/>
                </a:cubicBezTo>
                <a:cubicBezTo>
                  <a:pt x="866" y="214"/>
                  <a:pt x="866" y="214"/>
                  <a:pt x="866" y="214"/>
                </a:cubicBezTo>
                <a:cubicBezTo>
                  <a:pt x="866" y="214"/>
                  <a:pt x="866" y="213"/>
                  <a:pt x="866" y="213"/>
                </a:cubicBezTo>
                <a:close/>
                <a:moveTo>
                  <a:pt x="945" y="285"/>
                </a:moveTo>
                <a:cubicBezTo>
                  <a:pt x="945" y="285"/>
                  <a:pt x="945" y="285"/>
                  <a:pt x="945" y="286"/>
                </a:cubicBezTo>
                <a:cubicBezTo>
                  <a:pt x="945" y="286"/>
                  <a:pt x="945" y="286"/>
                  <a:pt x="946" y="286"/>
                </a:cubicBezTo>
                <a:cubicBezTo>
                  <a:pt x="946" y="286"/>
                  <a:pt x="946" y="286"/>
                  <a:pt x="946" y="286"/>
                </a:cubicBezTo>
                <a:cubicBezTo>
                  <a:pt x="945" y="286"/>
                  <a:pt x="945" y="286"/>
                  <a:pt x="945" y="286"/>
                </a:cubicBezTo>
                <a:cubicBezTo>
                  <a:pt x="945" y="286"/>
                  <a:pt x="945" y="287"/>
                  <a:pt x="945" y="287"/>
                </a:cubicBezTo>
                <a:cubicBezTo>
                  <a:pt x="946" y="287"/>
                  <a:pt x="946" y="287"/>
                  <a:pt x="946" y="287"/>
                </a:cubicBezTo>
                <a:cubicBezTo>
                  <a:pt x="946" y="287"/>
                  <a:pt x="946" y="287"/>
                  <a:pt x="946" y="287"/>
                </a:cubicBezTo>
                <a:cubicBezTo>
                  <a:pt x="946" y="287"/>
                  <a:pt x="946" y="287"/>
                  <a:pt x="947" y="287"/>
                </a:cubicBezTo>
                <a:cubicBezTo>
                  <a:pt x="947" y="288"/>
                  <a:pt x="947" y="288"/>
                  <a:pt x="947" y="288"/>
                </a:cubicBezTo>
                <a:cubicBezTo>
                  <a:pt x="947" y="288"/>
                  <a:pt x="947" y="288"/>
                  <a:pt x="946" y="288"/>
                </a:cubicBezTo>
                <a:cubicBezTo>
                  <a:pt x="946" y="288"/>
                  <a:pt x="946" y="288"/>
                  <a:pt x="946" y="288"/>
                </a:cubicBezTo>
                <a:cubicBezTo>
                  <a:pt x="946" y="288"/>
                  <a:pt x="946" y="288"/>
                  <a:pt x="946" y="288"/>
                </a:cubicBezTo>
                <a:cubicBezTo>
                  <a:pt x="947" y="289"/>
                  <a:pt x="947" y="289"/>
                  <a:pt x="948" y="289"/>
                </a:cubicBezTo>
                <a:cubicBezTo>
                  <a:pt x="948" y="289"/>
                  <a:pt x="949" y="289"/>
                  <a:pt x="949" y="289"/>
                </a:cubicBezTo>
                <a:cubicBezTo>
                  <a:pt x="949" y="288"/>
                  <a:pt x="949" y="288"/>
                  <a:pt x="950" y="287"/>
                </a:cubicBezTo>
                <a:cubicBezTo>
                  <a:pt x="950" y="287"/>
                  <a:pt x="950" y="287"/>
                  <a:pt x="949" y="286"/>
                </a:cubicBezTo>
                <a:cubicBezTo>
                  <a:pt x="950" y="286"/>
                  <a:pt x="950" y="285"/>
                  <a:pt x="950" y="285"/>
                </a:cubicBezTo>
                <a:cubicBezTo>
                  <a:pt x="950" y="284"/>
                  <a:pt x="950" y="284"/>
                  <a:pt x="950" y="283"/>
                </a:cubicBezTo>
                <a:cubicBezTo>
                  <a:pt x="950" y="283"/>
                  <a:pt x="950" y="283"/>
                  <a:pt x="950" y="282"/>
                </a:cubicBezTo>
                <a:cubicBezTo>
                  <a:pt x="950" y="282"/>
                  <a:pt x="950" y="282"/>
                  <a:pt x="949" y="281"/>
                </a:cubicBezTo>
                <a:cubicBezTo>
                  <a:pt x="949" y="281"/>
                  <a:pt x="949" y="281"/>
                  <a:pt x="949" y="281"/>
                </a:cubicBezTo>
                <a:cubicBezTo>
                  <a:pt x="949" y="281"/>
                  <a:pt x="949" y="282"/>
                  <a:pt x="949" y="282"/>
                </a:cubicBezTo>
                <a:cubicBezTo>
                  <a:pt x="949" y="282"/>
                  <a:pt x="949" y="282"/>
                  <a:pt x="949" y="282"/>
                </a:cubicBezTo>
                <a:cubicBezTo>
                  <a:pt x="949" y="283"/>
                  <a:pt x="949" y="283"/>
                  <a:pt x="949" y="283"/>
                </a:cubicBezTo>
                <a:cubicBezTo>
                  <a:pt x="949" y="283"/>
                  <a:pt x="949" y="283"/>
                  <a:pt x="948" y="283"/>
                </a:cubicBezTo>
                <a:cubicBezTo>
                  <a:pt x="948" y="283"/>
                  <a:pt x="948" y="283"/>
                  <a:pt x="948" y="283"/>
                </a:cubicBezTo>
                <a:cubicBezTo>
                  <a:pt x="948" y="283"/>
                  <a:pt x="947" y="283"/>
                  <a:pt x="947" y="283"/>
                </a:cubicBezTo>
                <a:cubicBezTo>
                  <a:pt x="947" y="283"/>
                  <a:pt x="946" y="283"/>
                  <a:pt x="946" y="283"/>
                </a:cubicBezTo>
                <a:cubicBezTo>
                  <a:pt x="945" y="284"/>
                  <a:pt x="945" y="284"/>
                  <a:pt x="945" y="284"/>
                </a:cubicBezTo>
                <a:cubicBezTo>
                  <a:pt x="945" y="284"/>
                  <a:pt x="945" y="285"/>
                  <a:pt x="945" y="285"/>
                </a:cubicBezTo>
                <a:cubicBezTo>
                  <a:pt x="945" y="285"/>
                  <a:pt x="945" y="285"/>
                  <a:pt x="945" y="285"/>
                </a:cubicBezTo>
                <a:cubicBezTo>
                  <a:pt x="945" y="285"/>
                  <a:pt x="945" y="285"/>
                  <a:pt x="945" y="285"/>
                </a:cubicBezTo>
                <a:close/>
                <a:moveTo>
                  <a:pt x="976" y="314"/>
                </a:moveTo>
                <a:cubicBezTo>
                  <a:pt x="976" y="314"/>
                  <a:pt x="976" y="315"/>
                  <a:pt x="977" y="315"/>
                </a:cubicBezTo>
                <a:cubicBezTo>
                  <a:pt x="977" y="315"/>
                  <a:pt x="977" y="314"/>
                  <a:pt x="977" y="314"/>
                </a:cubicBezTo>
                <a:cubicBezTo>
                  <a:pt x="977" y="314"/>
                  <a:pt x="977" y="314"/>
                  <a:pt x="977" y="314"/>
                </a:cubicBezTo>
                <a:cubicBezTo>
                  <a:pt x="977" y="314"/>
                  <a:pt x="976" y="314"/>
                  <a:pt x="976" y="314"/>
                </a:cubicBezTo>
                <a:cubicBezTo>
                  <a:pt x="976" y="314"/>
                  <a:pt x="976" y="314"/>
                  <a:pt x="976" y="314"/>
                </a:cubicBezTo>
                <a:close/>
                <a:moveTo>
                  <a:pt x="944" y="290"/>
                </a:moveTo>
                <a:cubicBezTo>
                  <a:pt x="944" y="290"/>
                  <a:pt x="944" y="290"/>
                  <a:pt x="944" y="290"/>
                </a:cubicBezTo>
                <a:cubicBezTo>
                  <a:pt x="944" y="290"/>
                  <a:pt x="944" y="290"/>
                  <a:pt x="944" y="290"/>
                </a:cubicBezTo>
                <a:cubicBezTo>
                  <a:pt x="944" y="290"/>
                  <a:pt x="944" y="290"/>
                  <a:pt x="944" y="289"/>
                </a:cubicBezTo>
                <a:cubicBezTo>
                  <a:pt x="944" y="290"/>
                  <a:pt x="944" y="290"/>
                  <a:pt x="944" y="290"/>
                </a:cubicBezTo>
                <a:cubicBezTo>
                  <a:pt x="944" y="290"/>
                  <a:pt x="944" y="290"/>
                  <a:pt x="943" y="290"/>
                </a:cubicBezTo>
                <a:cubicBezTo>
                  <a:pt x="943" y="290"/>
                  <a:pt x="943" y="290"/>
                  <a:pt x="944" y="290"/>
                </a:cubicBezTo>
                <a:cubicBezTo>
                  <a:pt x="944" y="290"/>
                  <a:pt x="944" y="290"/>
                  <a:pt x="944" y="290"/>
                </a:cubicBezTo>
                <a:close/>
                <a:moveTo>
                  <a:pt x="944" y="293"/>
                </a:moveTo>
                <a:cubicBezTo>
                  <a:pt x="944" y="293"/>
                  <a:pt x="944" y="293"/>
                  <a:pt x="944" y="293"/>
                </a:cubicBezTo>
                <a:cubicBezTo>
                  <a:pt x="945" y="294"/>
                  <a:pt x="945" y="294"/>
                  <a:pt x="945" y="294"/>
                </a:cubicBezTo>
                <a:cubicBezTo>
                  <a:pt x="945" y="294"/>
                  <a:pt x="945" y="294"/>
                  <a:pt x="945" y="295"/>
                </a:cubicBezTo>
                <a:cubicBezTo>
                  <a:pt x="945" y="295"/>
                  <a:pt x="945" y="295"/>
                  <a:pt x="944" y="295"/>
                </a:cubicBezTo>
                <a:cubicBezTo>
                  <a:pt x="944" y="295"/>
                  <a:pt x="944" y="296"/>
                  <a:pt x="945" y="296"/>
                </a:cubicBezTo>
                <a:cubicBezTo>
                  <a:pt x="945" y="296"/>
                  <a:pt x="945" y="296"/>
                  <a:pt x="946" y="296"/>
                </a:cubicBezTo>
                <a:cubicBezTo>
                  <a:pt x="946" y="296"/>
                  <a:pt x="946" y="296"/>
                  <a:pt x="946" y="296"/>
                </a:cubicBezTo>
                <a:cubicBezTo>
                  <a:pt x="945" y="296"/>
                  <a:pt x="945" y="296"/>
                  <a:pt x="945" y="297"/>
                </a:cubicBezTo>
                <a:cubicBezTo>
                  <a:pt x="945" y="297"/>
                  <a:pt x="945" y="297"/>
                  <a:pt x="945" y="298"/>
                </a:cubicBezTo>
                <a:cubicBezTo>
                  <a:pt x="945" y="298"/>
                  <a:pt x="945" y="298"/>
                  <a:pt x="945" y="298"/>
                </a:cubicBezTo>
                <a:cubicBezTo>
                  <a:pt x="945" y="299"/>
                  <a:pt x="945" y="299"/>
                  <a:pt x="945" y="300"/>
                </a:cubicBezTo>
                <a:cubicBezTo>
                  <a:pt x="946" y="300"/>
                  <a:pt x="946" y="300"/>
                  <a:pt x="946" y="300"/>
                </a:cubicBezTo>
                <a:cubicBezTo>
                  <a:pt x="946" y="300"/>
                  <a:pt x="947" y="300"/>
                  <a:pt x="947" y="300"/>
                </a:cubicBezTo>
                <a:cubicBezTo>
                  <a:pt x="947" y="300"/>
                  <a:pt x="947" y="300"/>
                  <a:pt x="947" y="300"/>
                </a:cubicBezTo>
                <a:cubicBezTo>
                  <a:pt x="947" y="300"/>
                  <a:pt x="948" y="300"/>
                  <a:pt x="948" y="300"/>
                </a:cubicBezTo>
                <a:cubicBezTo>
                  <a:pt x="948" y="300"/>
                  <a:pt x="948" y="300"/>
                  <a:pt x="948" y="299"/>
                </a:cubicBezTo>
                <a:cubicBezTo>
                  <a:pt x="948" y="299"/>
                  <a:pt x="948" y="299"/>
                  <a:pt x="948" y="299"/>
                </a:cubicBezTo>
                <a:cubicBezTo>
                  <a:pt x="949" y="299"/>
                  <a:pt x="949" y="299"/>
                  <a:pt x="949" y="299"/>
                </a:cubicBezTo>
                <a:cubicBezTo>
                  <a:pt x="950" y="299"/>
                  <a:pt x="950" y="299"/>
                  <a:pt x="950" y="299"/>
                </a:cubicBezTo>
                <a:cubicBezTo>
                  <a:pt x="950" y="299"/>
                  <a:pt x="950" y="299"/>
                  <a:pt x="951" y="299"/>
                </a:cubicBezTo>
                <a:cubicBezTo>
                  <a:pt x="951" y="299"/>
                  <a:pt x="951" y="299"/>
                  <a:pt x="951" y="299"/>
                </a:cubicBezTo>
                <a:cubicBezTo>
                  <a:pt x="951" y="298"/>
                  <a:pt x="951" y="298"/>
                  <a:pt x="951" y="297"/>
                </a:cubicBezTo>
                <a:cubicBezTo>
                  <a:pt x="951" y="297"/>
                  <a:pt x="951" y="297"/>
                  <a:pt x="951" y="297"/>
                </a:cubicBezTo>
                <a:cubicBezTo>
                  <a:pt x="951" y="297"/>
                  <a:pt x="951" y="296"/>
                  <a:pt x="951" y="296"/>
                </a:cubicBezTo>
                <a:cubicBezTo>
                  <a:pt x="951" y="295"/>
                  <a:pt x="951" y="295"/>
                  <a:pt x="951" y="294"/>
                </a:cubicBezTo>
                <a:cubicBezTo>
                  <a:pt x="951" y="294"/>
                  <a:pt x="950" y="294"/>
                  <a:pt x="950" y="293"/>
                </a:cubicBezTo>
                <a:cubicBezTo>
                  <a:pt x="950" y="293"/>
                  <a:pt x="951" y="293"/>
                  <a:pt x="951" y="293"/>
                </a:cubicBezTo>
                <a:cubicBezTo>
                  <a:pt x="951" y="293"/>
                  <a:pt x="951" y="293"/>
                  <a:pt x="951" y="292"/>
                </a:cubicBezTo>
                <a:cubicBezTo>
                  <a:pt x="951" y="292"/>
                  <a:pt x="951" y="292"/>
                  <a:pt x="951" y="291"/>
                </a:cubicBezTo>
                <a:cubicBezTo>
                  <a:pt x="951" y="291"/>
                  <a:pt x="951" y="291"/>
                  <a:pt x="950" y="291"/>
                </a:cubicBezTo>
                <a:cubicBezTo>
                  <a:pt x="950" y="291"/>
                  <a:pt x="950" y="290"/>
                  <a:pt x="950" y="290"/>
                </a:cubicBezTo>
                <a:cubicBezTo>
                  <a:pt x="950" y="290"/>
                  <a:pt x="949" y="290"/>
                  <a:pt x="949" y="290"/>
                </a:cubicBezTo>
                <a:cubicBezTo>
                  <a:pt x="949" y="290"/>
                  <a:pt x="949" y="290"/>
                  <a:pt x="948" y="290"/>
                </a:cubicBezTo>
                <a:cubicBezTo>
                  <a:pt x="948" y="290"/>
                  <a:pt x="948" y="290"/>
                  <a:pt x="948" y="290"/>
                </a:cubicBezTo>
                <a:cubicBezTo>
                  <a:pt x="947" y="290"/>
                  <a:pt x="946" y="291"/>
                  <a:pt x="946" y="291"/>
                </a:cubicBezTo>
                <a:cubicBezTo>
                  <a:pt x="945" y="291"/>
                  <a:pt x="945" y="291"/>
                  <a:pt x="945" y="291"/>
                </a:cubicBezTo>
                <a:cubicBezTo>
                  <a:pt x="944" y="291"/>
                  <a:pt x="944" y="291"/>
                  <a:pt x="943" y="291"/>
                </a:cubicBezTo>
                <a:cubicBezTo>
                  <a:pt x="943" y="291"/>
                  <a:pt x="943" y="291"/>
                  <a:pt x="943" y="292"/>
                </a:cubicBezTo>
                <a:cubicBezTo>
                  <a:pt x="943" y="292"/>
                  <a:pt x="943" y="292"/>
                  <a:pt x="943" y="292"/>
                </a:cubicBezTo>
                <a:cubicBezTo>
                  <a:pt x="944" y="292"/>
                  <a:pt x="944" y="293"/>
                  <a:pt x="944" y="293"/>
                </a:cubicBezTo>
                <a:close/>
                <a:moveTo>
                  <a:pt x="955" y="283"/>
                </a:moveTo>
                <a:cubicBezTo>
                  <a:pt x="955" y="282"/>
                  <a:pt x="955" y="282"/>
                  <a:pt x="955" y="282"/>
                </a:cubicBezTo>
                <a:cubicBezTo>
                  <a:pt x="955" y="282"/>
                  <a:pt x="955" y="282"/>
                  <a:pt x="954" y="282"/>
                </a:cubicBezTo>
                <a:cubicBezTo>
                  <a:pt x="954" y="282"/>
                  <a:pt x="954" y="282"/>
                  <a:pt x="954" y="282"/>
                </a:cubicBezTo>
                <a:cubicBezTo>
                  <a:pt x="954" y="282"/>
                  <a:pt x="953" y="282"/>
                  <a:pt x="953" y="282"/>
                </a:cubicBezTo>
                <a:cubicBezTo>
                  <a:pt x="953" y="282"/>
                  <a:pt x="953" y="283"/>
                  <a:pt x="952" y="283"/>
                </a:cubicBezTo>
                <a:cubicBezTo>
                  <a:pt x="953" y="283"/>
                  <a:pt x="953" y="283"/>
                  <a:pt x="953" y="283"/>
                </a:cubicBezTo>
                <a:cubicBezTo>
                  <a:pt x="953" y="283"/>
                  <a:pt x="954" y="283"/>
                  <a:pt x="954" y="283"/>
                </a:cubicBezTo>
                <a:cubicBezTo>
                  <a:pt x="954" y="283"/>
                  <a:pt x="955" y="283"/>
                  <a:pt x="955" y="283"/>
                </a:cubicBezTo>
                <a:close/>
                <a:moveTo>
                  <a:pt x="957" y="284"/>
                </a:moveTo>
                <a:cubicBezTo>
                  <a:pt x="957" y="285"/>
                  <a:pt x="958" y="285"/>
                  <a:pt x="958" y="285"/>
                </a:cubicBezTo>
                <a:cubicBezTo>
                  <a:pt x="958" y="285"/>
                  <a:pt x="958" y="284"/>
                  <a:pt x="958" y="284"/>
                </a:cubicBezTo>
                <a:cubicBezTo>
                  <a:pt x="957" y="284"/>
                  <a:pt x="957" y="284"/>
                  <a:pt x="957" y="284"/>
                </a:cubicBezTo>
                <a:close/>
                <a:moveTo>
                  <a:pt x="981" y="305"/>
                </a:moveTo>
                <a:cubicBezTo>
                  <a:pt x="981" y="305"/>
                  <a:pt x="981" y="304"/>
                  <a:pt x="981" y="304"/>
                </a:cubicBezTo>
                <a:cubicBezTo>
                  <a:pt x="981" y="304"/>
                  <a:pt x="981" y="304"/>
                  <a:pt x="981" y="303"/>
                </a:cubicBezTo>
                <a:cubicBezTo>
                  <a:pt x="980" y="304"/>
                  <a:pt x="980" y="304"/>
                  <a:pt x="979" y="304"/>
                </a:cubicBezTo>
                <a:cubicBezTo>
                  <a:pt x="979" y="304"/>
                  <a:pt x="979" y="304"/>
                  <a:pt x="979" y="304"/>
                </a:cubicBezTo>
                <a:cubicBezTo>
                  <a:pt x="978" y="304"/>
                  <a:pt x="978" y="304"/>
                  <a:pt x="978" y="304"/>
                </a:cubicBezTo>
                <a:cubicBezTo>
                  <a:pt x="977" y="304"/>
                  <a:pt x="977" y="304"/>
                  <a:pt x="976" y="305"/>
                </a:cubicBezTo>
                <a:cubicBezTo>
                  <a:pt x="976" y="304"/>
                  <a:pt x="975" y="304"/>
                  <a:pt x="974" y="304"/>
                </a:cubicBezTo>
                <a:cubicBezTo>
                  <a:pt x="973" y="304"/>
                  <a:pt x="973" y="305"/>
                  <a:pt x="972" y="305"/>
                </a:cubicBezTo>
                <a:cubicBezTo>
                  <a:pt x="972" y="305"/>
                  <a:pt x="971" y="305"/>
                  <a:pt x="971" y="305"/>
                </a:cubicBezTo>
                <a:cubicBezTo>
                  <a:pt x="970" y="304"/>
                  <a:pt x="970" y="304"/>
                  <a:pt x="970" y="304"/>
                </a:cubicBezTo>
                <a:cubicBezTo>
                  <a:pt x="969" y="304"/>
                  <a:pt x="969" y="304"/>
                  <a:pt x="968" y="304"/>
                </a:cubicBezTo>
                <a:cubicBezTo>
                  <a:pt x="968" y="304"/>
                  <a:pt x="968" y="304"/>
                  <a:pt x="968" y="304"/>
                </a:cubicBezTo>
                <a:cubicBezTo>
                  <a:pt x="968" y="304"/>
                  <a:pt x="968" y="304"/>
                  <a:pt x="967" y="304"/>
                </a:cubicBezTo>
                <a:cubicBezTo>
                  <a:pt x="967" y="304"/>
                  <a:pt x="967" y="304"/>
                  <a:pt x="966" y="305"/>
                </a:cubicBezTo>
                <a:cubicBezTo>
                  <a:pt x="966" y="305"/>
                  <a:pt x="966" y="305"/>
                  <a:pt x="966" y="306"/>
                </a:cubicBezTo>
                <a:cubicBezTo>
                  <a:pt x="966" y="306"/>
                  <a:pt x="967" y="306"/>
                  <a:pt x="967" y="306"/>
                </a:cubicBezTo>
                <a:cubicBezTo>
                  <a:pt x="967" y="306"/>
                  <a:pt x="968" y="306"/>
                  <a:pt x="968" y="306"/>
                </a:cubicBezTo>
                <a:cubicBezTo>
                  <a:pt x="969" y="307"/>
                  <a:pt x="970" y="307"/>
                  <a:pt x="970" y="307"/>
                </a:cubicBezTo>
                <a:cubicBezTo>
                  <a:pt x="971" y="307"/>
                  <a:pt x="971" y="307"/>
                  <a:pt x="971" y="308"/>
                </a:cubicBezTo>
                <a:cubicBezTo>
                  <a:pt x="972" y="308"/>
                  <a:pt x="972" y="308"/>
                  <a:pt x="972" y="308"/>
                </a:cubicBezTo>
                <a:cubicBezTo>
                  <a:pt x="973" y="309"/>
                  <a:pt x="974" y="309"/>
                  <a:pt x="975" y="309"/>
                </a:cubicBezTo>
                <a:cubicBezTo>
                  <a:pt x="975" y="309"/>
                  <a:pt x="975" y="309"/>
                  <a:pt x="975" y="309"/>
                </a:cubicBezTo>
                <a:cubicBezTo>
                  <a:pt x="975" y="309"/>
                  <a:pt x="976" y="309"/>
                  <a:pt x="976" y="309"/>
                </a:cubicBezTo>
                <a:cubicBezTo>
                  <a:pt x="976" y="309"/>
                  <a:pt x="976" y="310"/>
                  <a:pt x="976" y="310"/>
                </a:cubicBezTo>
                <a:cubicBezTo>
                  <a:pt x="977" y="310"/>
                  <a:pt x="978" y="310"/>
                  <a:pt x="979" y="311"/>
                </a:cubicBezTo>
                <a:cubicBezTo>
                  <a:pt x="979" y="311"/>
                  <a:pt x="979" y="311"/>
                  <a:pt x="980" y="311"/>
                </a:cubicBezTo>
                <a:cubicBezTo>
                  <a:pt x="980" y="310"/>
                  <a:pt x="980" y="310"/>
                  <a:pt x="980" y="310"/>
                </a:cubicBezTo>
                <a:cubicBezTo>
                  <a:pt x="980" y="309"/>
                  <a:pt x="980" y="309"/>
                  <a:pt x="980" y="309"/>
                </a:cubicBezTo>
                <a:cubicBezTo>
                  <a:pt x="980" y="309"/>
                  <a:pt x="980" y="309"/>
                  <a:pt x="980" y="308"/>
                </a:cubicBezTo>
                <a:cubicBezTo>
                  <a:pt x="980" y="308"/>
                  <a:pt x="980" y="308"/>
                  <a:pt x="979" y="307"/>
                </a:cubicBezTo>
                <a:cubicBezTo>
                  <a:pt x="980" y="307"/>
                  <a:pt x="980" y="306"/>
                  <a:pt x="980" y="306"/>
                </a:cubicBezTo>
                <a:cubicBezTo>
                  <a:pt x="981" y="305"/>
                  <a:pt x="981" y="305"/>
                  <a:pt x="981" y="305"/>
                </a:cubicBezTo>
                <a:close/>
                <a:moveTo>
                  <a:pt x="912" y="301"/>
                </a:moveTo>
                <a:cubicBezTo>
                  <a:pt x="913" y="300"/>
                  <a:pt x="913" y="300"/>
                  <a:pt x="913" y="300"/>
                </a:cubicBezTo>
                <a:cubicBezTo>
                  <a:pt x="913" y="300"/>
                  <a:pt x="913" y="300"/>
                  <a:pt x="912" y="300"/>
                </a:cubicBezTo>
                <a:cubicBezTo>
                  <a:pt x="912" y="300"/>
                  <a:pt x="912" y="300"/>
                  <a:pt x="911" y="300"/>
                </a:cubicBezTo>
                <a:cubicBezTo>
                  <a:pt x="911" y="300"/>
                  <a:pt x="911" y="300"/>
                  <a:pt x="911" y="301"/>
                </a:cubicBezTo>
                <a:cubicBezTo>
                  <a:pt x="911" y="301"/>
                  <a:pt x="911" y="301"/>
                  <a:pt x="912" y="301"/>
                </a:cubicBezTo>
                <a:cubicBezTo>
                  <a:pt x="912" y="301"/>
                  <a:pt x="912" y="301"/>
                  <a:pt x="912" y="301"/>
                </a:cubicBezTo>
                <a:close/>
                <a:moveTo>
                  <a:pt x="924" y="296"/>
                </a:moveTo>
                <a:cubicBezTo>
                  <a:pt x="924" y="296"/>
                  <a:pt x="924" y="296"/>
                  <a:pt x="924" y="296"/>
                </a:cubicBezTo>
                <a:cubicBezTo>
                  <a:pt x="924" y="296"/>
                  <a:pt x="923" y="296"/>
                  <a:pt x="923" y="295"/>
                </a:cubicBezTo>
                <a:cubicBezTo>
                  <a:pt x="922" y="295"/>
                  <a:pt x="922" y="295"/>
                  <a:pt x="921" y="296"/>
                </a:cubicBezTo>
                <a:cubicBezTo>
                  <a:pt x="921" y="296"/>
                  <a:pt x="921" y="296"/>
                  <a:pt x="921" y="296"/>
                </a:cubicBezTo>
                <a:cubicBezTo>
                  <a:pt x="922" y="296"/>
                  <a:pt x="922" y="296"/>
                  <a:pt x="923" y="296"/>
                </a:cubicBezTo>
                <a:cubicBezTo>
                  <a:pt x="923" y="296"/>
                  <a:pt x="923" y="296"/>
                  <a:pt x="924" y="296"/>
                </a:cubicBezTo>
                <a:close/>
                <a:moveTo>
                  <a:pt x="918" y="299"/>
                </a:moveTo>
                <a:cubicBezTo>
                  <a:pt x="918" y="298"/>
                  <a:pt x="918" y="298"/>
                  <a:pt x="919" y="298"/>
                </a:cubicBezTo>
                <a:cubicBezTo>
                  <a:pt x="919" y="297"/>
                  <a:pt x="919" y="297"/>
                  <a:pt x="920" y="297"/>
                </a:cubicBezTo>
                <a:cubicBezTo>
                  <a:pt x="919" y="297"/>
                  <a:pt x="919" y="297"/>
                  <a:pt x="919" y="297"/>
                </a:cubicBezTo>
                <a:cubicBezTo>
                  <a:pt x="918" y="297"/>
                  <a:pt x="918" y="297"/>
                  <a:pt x="917" y="297"/>
                </a:cubicBezTo>
                <a:cubicBezTo>
                  <a:pt x="917" y="297"/>
                  <a:pt x="917" y="297"/>
                  <a:pt x="916" y="297"/>
                </a:cubicBezTo>
                <a:cubicBezTo>
                  <a:pt x="916" y="297"/>
                  <a:pt x="916" y="298"/>
                  <a:pt x="916" y="298"/>
                </a:cubicBezTo>
                <a:cubicBezTo>
                  <a:pt x="917" y="298"/>
                  <a:pt x="917" y="298"/>
                  <a:pt x="917" y="298"/>
                </a:cubicBezTo>
                <a:cubicBezTo>
                  <a:pt x="918" y="298"/>
                  <a:pt x="918" y="298"/>
                  <a:pt x="918" y="299"/>
                </a:cubicBezTo>
                <a:close/>
                <a:moveTo>
                  <a:pt x="1037" y="313"/>
                </a:moveTo>
                <a:cubicBezTo>
                  <a:pt x="1037" y="313"/>
                  <a:pt x="1037" y="313"/>
                  <a:pt x="1037" y="313"/>
                </a:cubicBezTo>
                <a:cubicBezTo>
                  <a:pt x="1037" y="313"/>
                  <a:pt x="1038" y="313"/>
                  <a:pt x="1038" y="313"/>
                </a:cubicBezTo>
                <a:cubicBezTo>
                  <a:pt x="1038" y="313"/>
                  <a:pt x="1038" y="313"/>
                  <a:pt x="1038" y="313"/>
                </a:cubicBezTo>
                <a:cubicBezTo>
                  <a:pt x="1038" y="313"/>
                  <a:pt x="1038" y="313"/>
                  <a:pt x="1038" y="312"/>
                </a:cubicBezTo>
                <a:cubicBezTo>
                  <a:pt x="1037" y="313"/>
                  <a:pt x="1037" y="313"/>
                  <a:pt x="1037" y="313"/>
                </a:cubicBezTo>
                <a:cubicBezTo>
                  <a:pt x="1037" y="313"/>
                  <a:pt x="1037" y="313"/>
                  <a:pt x="1037" y="313"/>
                </a:cubicBezTo>
                <a:close/>
                <a:moveTo>
                  <a:pt x="1028" y="293"/>
                </a:moveTo>
                <a:cubicBezTo>
                  <a:pt x="1027" y="293"/>
                  <a:pt x="1027" y="293"/>
                  <a:pt x="1027" y="293"/>
                </a:cubicBezTo>
                <a:cubicBezTo>
                  <a:pt x="1027" y="294"/>
                  <a:pt x="1027" y="294"/>
                  <a:pt x="1027" y="294"/>
                </a:cubicBezTo>
                <a:cubicBezTo>
                  <a:pt x="1027" y="294"/>
                  <a:pt x="1027" y="294"/>
                  <a:pt x="1027" y="294"/>
                </a:cubicBezTo>
                <a:cubicBezTo>
                  <a:pt x="1027" y="294"/>
                  <a:pt x="1028" y="294"/>
                  <a:pt x="1028" y="294"/>
                </a:cubicBezTo>
                <a:cubicBezTo>
                  <a:pt x="1028" y="294"/>
                  <a:pt x="1028" y="294"/>
                  <a:pt x="1028" y="294"/>
                </a:cubicBezTo>
                <a:cubicBezTo>
                  <a:pt x="1028" y="294"/>
                  <a:pt x="1028" y="294"/>
                  <a:pt x="1028" y="294"/>
                </a:cubicBezTo>
                <a:cubicBezTo>
                  <a:pt x="1028" y="293"/>
                  <a:pt x="1028" y="293"/>
                  <a:pt x="1028" y="293"/>
                </a:cubicBezTo>
                <a:close/>
                <a:moveTo>
                  <a:pt x="1038" y="308"/>
                </a:moveTo>
                <a:cubicBezTo>
                  <a:pt x="1039" y="308"/>
                  <a:pt x="1039" y="309"/>
                  <a:pt x="1039" y="309"/>
                </a:cubicBezTo>
                <a:cubicBezTo>
                  <a:pt x="1039" y="308"/>
                  <a:pt x="1039" y="308"/>
                  <a:pt x="1039" y="308"/>
                </a:cubicBezTo>
                <a:cubicBezTo>
                  <a:pt x="1039" y="308"/>
                  <a:pt x="1040" y="308"/>
                  <a:pt x="1040" y="308"/>
                </a:cubicBezTo>
                <a:cubicBezTo>
                  <a:pt x="1040" y="308"/>
                  <a:pt x="1040" y="308"/>
                  <a:pt x="1040" y="308"/>
                </a:cubicBezTo>
                <a:cubicBezTo>
                  <a:pt x="1040" y="308"/>
                  <a:pt x="1040" y="308"/>
                  <a:pt x="1039" y="308"/>
                </a:cubicBezTo>
                <a:cubicBezTo>
                  <a:pt x="1039" y="308"/>
                  <a:pt x="1039" y="308"/>
                  <a:pt x="1039" y="308"/>
                </a:cubicBezTo>
                <a:cubicBezTo>
                  <a:pt x="1039" y="308"/>
                  <a:pt x="1039" y="308"/>
                  <a:pt x="1039" y="308"/>
                </a:cubicBezTo>
                <a:cubicBezTo>
                  <a:pt x="1038" y="308"/>
                  <a:pt x="1038" y="308"/>
                  <a:pt x="1038" y="307"/>
                </a:cubicBezTo>
                <a:cubicBezTo>
                  <a:pt x="1038" y="308"/>
                  <a:pt x="1037" y="308"/>
                  <a:pt x="1037" y="308"/>
                </a:cubicBezTo>
                <a:cubicBezTo>
                  <a:pt x="1037" y="308"/>
                  <a:pt x="1037" y="308"/>
                  <a:pt x="1037" y="308"/>
                </a:cubicBezTo>
                <a:cubicBezTo>
                  <a:pt x="1037" y="308"/>
                  <a:pt x="1037" y="308"/>
                  <a:pt x="1037" y="308"/>
                </a:cubicBezTo>
                <a:cubicBezTo>
                  <a:pt x="1038" y="308"/>
                  <a:pt x="1038" y="308"/>
                  <a:pt x="1038" y="308"/>
                </a:cubicBezTo>
                <a:cubicBezTo>
                  <a:pt x="1038" y="308"/>
                  <a:pt x="1038" y="308"/>
                  <a:pt x="1038" y="308"/>
                </a:cubicBezTo>
                <a:close/>
                <a:moveTo>
                  <a:pt x="1027" y="309"/>
                </a:moveTo>
                <a:cubicBezTo>
                  <a:pt x="1027" y="309"/>
                  <a:pt x="1027" y="309"/>
                  <a:pt x="1027" y="309"/>
                </a:cubicBezTo>
                <a:cubicBezTo>
                  <a:pt x="1027" y="309"/>
                  <a:pt x="1027" y="309"/>
                  <a:pt x="1027" y="309"/>
                </a:cubicBezTo>
                <a:cubicBezTo>
                  <a:pt x="1027" y="309"/>
                  <a:pt x="1027" y="309"/>
                  <a:pt x="1027" y="309"/>
                </a:cubicBezTo>
                <a:cubicBezTo>
                  <a:pt x="1027" y="309"/>
                  <a:pt x="1027" y="309"/>
                  <a:pt x="1027" y="309"/>
                </a:cubicBezTo>
                <a:close/>
                <a:moveTo>
                  <a:pt x="1027" y="312"/>
                </a:moveTo>
                <a:cubicBezTo>
                  <a:pt x="1027" y="312"/>
                  <a:pt x="1027" y="312"/>
                  <a:pt x="1028" y="312"/>
                </a:cubicBezTo>
                <a:cubicBezTo>
                  <a:pt x="1027" y="312"/>
                  <a:pt x="1027" y="312"/>
                  <a:pt x="1027" y="312"/>
                </a:cubicBezTo>
                <a:cubicBezTo>
                  <a:pt x="1027" y="312"/>
                  <a:pt x="1027" y="312"/>
                  <a:pt x="1026" y="312"/>
                </a:cubicBezTo>
                <a:cubicBezTo>
                  <a:pt x="1026" y="312"/>
                  <a:pt x="1027" y="312"/>
                  <a:pt x="1027" y="312"/>
                </a:cubicBezTo>
                <a:cubicBezTo>
                  <a:pt x="1027" y="312"/>
                  <a:pt x="1027" y="312"/>
                  <a:pt x="1027" y="312"/>
                </a:cubicBezTo>
                <a:close/>
                <a:moveTo>
                  <a:pt x="1027" y="310"/>
                </a:moveTo>
                <a:cubicBezTo>
                  <a:pt x="1027" y="310"/>
                  <a:pt x="1027" y="310"/>
                  <a:pt x="1027" y="310"/>
                </a:cubicBezTo>
                <a:cubicBezTo>
                  <a:pt x="1027" y="310"/>
                  <a:pt x="1027" y="310"/>
                  <a:pt x="1027" y="310"/>
                </a:cubicBezTo>
                <a:cubicBezTo>
                  <a:pt x="1027" y="310"/>
                  <a:pt x="1027" y="310"/>
                  <a:pt x="1027" y="310"/>
                </a:cubicBezTo>
                <a:close/>
                <a:moveTo>
                  <a:pt x="1026" y="308"/>
                </a:moveTo>
                <a:cubicBezTo>
                  <a:pt x="1026" y="308"/>
                  <a:pt x="1026" y="309"/>
                  <a:pt x="1026" y="309"/>
                </a:cubicBezTo>
                <a:cubicBezTo>
                  <a:pt x="1026" y="309"/>
                  <a:pt x="1027" y="308"/>
                  <a:pt x="1027" y="308"/>
                </a:cubicBezTo>
                <a:cubicBezTo>
                  <a:pt x="1027" y="308"/>
                  <a:pt x="1027" y="308"/>
                  <a:pt x="1026" y="308"/>
                </a:cubicBezTo>
                <a:cubicBezTo>
                  <a:pt x="1026" y="308"/>
                  <a:pt x="1026" y="308"/>
                  <a:pt x="1026" y="308"/>
                </a:cubicBezTo>
                <a:close/>
                <a:moveTo>
                  <a:pt x="1044" y="316"/>
                </a:moveTo>
                <a:cubicBezTo>
                  <a:pt x="1044" y="316"/>
                  <a:pt x="1044" y="316"/>
                  <a:pt x="1044" y="316"/>
                </a:cubicBezTo>
                <a:cubicBezTo>
                  <a:pt x="1045" y="316"/>
                  <a:pt x="1045" y="316"/>
                  <a:pt x="1045" y="316"/>
                </a:cubicBezTo>
                <a:cubicBezTo>
                  <a:pt x="1045" y="315"/>
                  <a:pt x="1045" y="315"/>
                  <a:pt x="1045" y="315"/>
                </a:cubicBezTo>
                <a:cubicBezTo>
                  <a:pt x="1046" y="315"/>
                  <a:pt x="1046" y="315"/>
                  <a:pt x="1046" y="315"/>
                </a:cubicBezTo>
                <a:cubicBezTo>
                  <a:pt x="1046" y="315"/>
                  <a:pt x="1046" y="315"/>
                  <a:pt x="1046" y="315"/>
                </a:cubicBezTo>
                <a:cubicBezTo>
                  <a:pt x="1046" y="315"/>
                  <a:pt x="1046" y="315"/>
                  <a:pt x="1046" y="315"/>
                </a:cubicBezTo>
                <a:cubicBezTo>
                  <a:pt x="1046" y="315"/>
                  <a:pt x="1046" y="314"/>
                  <a:pt x="1046" y="314"/>
                </a:cubicBezTo>
                <a:cubicBezTo>
                  <a:pt x="1047" y="314"/>
                  <a:pt x="1047" y="314"/>
                  <a:pt x="1047" y="314"/>
                </a:cubicBezTo>
                <a:cubicBezTo>
                  <a:pt x="1047" y="314"/>
                  <a:pt x="1047" y="314"/>
                  <a:pt x="1047" y="314"/>
                </a:cubicBezTo>
                <a:cubicBezTo>
                  <a:pt x="1047" y="314"/>
                  <a:pt x="1046" y="314"/>
                  <a:pt x="1046" y="314"/>
                </a:cubicBezTo>
                <a:cubicBezTo>
                  <a:pt x="1046" y="314"/>
                  <a:pt x="1045" y="314"/>
                  <a:pt x="1045" y="314"/>
                </a:cubicBezTo>
                <a:cubicBezTo>
                  <a:pt x="1045" y="314"/>
                  <a:pt x="1044" y="315"/>
                  <a:pt x="1044" y="315"/>
                </a:cubicBezTo>
                <a:cubicBezTo>
                  <a:pt x="1044" y="315"/>
                  <a:pt x="1044" y="315"/>
                  <a:pt x="1044" y="315"/>
                </a:cubicBezTo>
                <a:cubicBezTo>
                  <a:pt x="1044" y="315"/>
                  <a:pt x="1044" y="315"/>
                  <a:pt x="1044" y="315"/>
                </a:cubicBezTo>
                <a:cubicBezTo>
                  <a:pt x="1044" y="315"/>
                  <a:pt x="1044" y="316"/>
                  <a:pt x="1044" y="316"/>
                </a:cubicBezTo>
                <a:cubicBezTo>
                  <a:pt x="1044" y="316"/>
                  <a:pt x="1044" y="316"/>
                  <a:pt x="1044" y="316"/>
                </a:cubicBezTo>
                <a:close/>
                <a:moveTo>
                  <a:pt x="1020" y="314"/>
                </a:moveTo>
                <a:cubicBezTo>
                  <a:pt x="1020" y="314"/>
                  <a:pt x="1020" y="314"/>
                  <a:pt x="1020" y="314"/>
                </a:cubicBezTo>
                <a:cubicBezTo>
                  <a:pt x="1020" y="314"/>
                  <a:pt x="1020" y="314"/>
                  <a:pt x="1020" y="314"/>
                </a:cubicBezTo>
                <a:cubicBezTo>
                  <a:pt x="1020" y="314"/>
                  <a:pt x="1020" y="314"/>
                  <a:pt x="1020" y="314"/>
                </a:cubicBezTo>
                <a:cubicBezTo>
                  <a:pt x="1020" y="313"/>
                  <a:pt x="1020" y="313"/>
                  <a:pt x="1020" y="313"/>
                </a:cubicBezTo>
                <a:cubicBezTo>
                  <a:pt x="1020" y="313"/>
                  <a:pt x="1020" y="313"/>
                  <a:pt x="1020" y="313"/>
                </a:cubicBezTo>
                <a:cubicBezTo>
                  <a:pt x="1020" y="313"/>
                  <a:pt x="1020" y="313"/>
                  <a:pt x="1020" y="313"/>
                </a:cubicBezTo>
                <a:cubicBezTo>
                  <a:pt x="1019" y="313"/>
                  <a:pt x="1019" y="313"/>
                  <a:pt x="1019" y="313"/>
                </a:cubicBezTo>
                <a:cubicBezTo>
                  <a:pt x="1019" y="313"/>
                  <a:pt x="1019" y="313"/>
                  <a:pt x="1020" y="314"/>
                </a:cubicBezTo>
                <a:close/>
                <a:moveTo>
                  <a:pt x="1020" y="312"/>
                </a:moveTo>
                <a:cubicBezTo>
                  <a:pt x="1020" y="312"/>
                  <a:pt x="1019" y="312"/>
                  <a:pt x="1019" y="312"/>
                </a:cubicBezTo>
                <a:cubicBezTo>
                  <a:pt x="1020" y="312"/>
                  <a:pt x="1020" y="312"/>
                  <a:pt x="1020" y="312"/>
                </a:cubicBezTo>
                <a:cubicBezTo>
                  <a:pt x="1020" y="312"/>
                  <a:pt x="1020" y="312"/>
                  <a:pt x="1020" y="312"/>
                </a:cubicBezTo>
                <a:close/>
                <a:moveTo>
                  <a:pt x="1007" y="306"/>
                </a:moveTo>
                <a:cubicBezTo>
                  <a:pt x="1007" y="306"/>
                  <a:pt x="1007" y="306"/>
                  <a:pt x="1007" y="306"/>
                </a:cubicBezTo>
                <a:cubicBezTo>
                  <a:pt x="1007" y="307"/>
                  <a:pt x="1008" y="307"/>
                  <a:pt x="1008" y="307"/>
                </a:cubicBezTo>
                <a:cubicBezTo>
                  <a:pt x="1008" y="307"/>
                  <a:pt x="1008" y="307"/>
                  <a:pt x="1008" y="307"/>
                </a:cubicBezTo>
                <a:cubicBezTo>
                  <a:pt x="1009" y="307"/>
                  <a:pt x="1009" y="307"/>
                  <a:pt x="1009" y="307"/>
                </a:cubicBezTo>
                <a:cubicBezTo>
                  <a:pt x="1009" y="307"/>
                  <a:pt x="1009" y="307"/>
                  <a:pt x="1009" y="307"/>
                </a:cubicBezTo>
                <a:cubicBezTo>
                  <a:pt x="1009" y="307"/>
                  <a:pt x="1009" y="307"/>
                  <a:pt x="1009" y="307"/>
                </a:cubicBezTo>
                <a:cubicBezTo>
                  <a:pt x="1009" y="306"/>
                  <a:pt x="1009" y="306"/>
                  <a:pt x="1008" y="306"/>
                </a:cubicBezTo>
                <a:cubicBezTo>
                  <a:pt x="1008" y="306"/>
                  <a:pt x="1008" y="306"/>
                  <a:pt x="1008" y="306"/>
                </a:cubicBezTo>
                <a:cubicBezTo>
                  <a:pt x="1008" y="306"/>
                  <a:pt x="1008" y="306"/>
                  <a:pt x="1007" y="306"/>
                </a:cubicBezTo>
                <a:close/>
                <a:moveTo>
                  <a:pt x="1041" y="317"/>
                </a:moveTo>
                <a:cubicBezTo>
                  <a:pt x="1041" y="317"/>
                  <a:pt x="1041" y="317"/>
                  <a:pt x="1041" y="317"/>
                </a:cubicBezTo>
                <a:cubicBezTo>
                  <a:pt x="1041" y="318"/>
                  <a:pt x="1041" y="318"/>
                  <a:pt x="1041" y="318"/>
                </a:cubicBezTo>
                <a:cubicBezTo>
                  <a:pt x="1041" y="318"/>
                  <a:pt x="1041" y="318"/>
                  <a:pt x="1041" y="318"/>
                </a:cubicBezTo>
                <a:cubicBezTo>
                  <a:pt x="1042" y="318"/>
                  <a:pt x="1042" y="317"/>
                  <a:pt x="1042" y="317"/>
                </a:cubicBezTo>
                <a:cubicBezTo>
                  <a:pt x="1042" y="317"/>
                  <a:pt x="1041" y="317"/>
                  <a:pt x="1041" y="317"/>
                </a:cubicBezTo>
                <a:cubicBezTo>
                  <a:pt x="1041" y="317"/>
                  <a:pt x="1041" y="316"/>
                  <a:pt x="1041" y="316"/>
                </a:cubicBezTo>
                <a:cubicBezTo>
                  <a:pt x="1041" y="316"/>
                  <a:pt x="1041" y="317"/>
                  <a:pt x="1041" y="317"/>
                </a:cubicBezTo>
                <a:close/>
                <a:moveTo>
                  <a:pt x="1042" y="316"/>
                </a:moveTo>
                <a:cubicBezTo>
                  <a:pt x="1042" y="316"/>
                  <a:pt x="1042" y="316"/>
                  <a:pt x="1042" y="316"/>
                </a:cubicBezTo>
                <a:cubicBezTo>
                  <a:pt x="1041" y="316"/>
                  <a:pt x="1041" y="316"/>
                  <a:pt x="1041" y="316"/>
                </a:cubicBezTo>
                <a:cubicBezTo>
                  <a:pt x="1041" y="316"/>
                  <a:pt x="1041" y="316"/>
                  <a:pt x="1041" y="316"/>
                </a:cubicBezTo>
                <a:cubicBezTo>
                  <a:pt x="1041" y="316"/>
                  <a:pt x="1041" y="316"/>
                  <a:pt x="1042" y="316"/>
                </a:cubicBezTo>
                <a:close/>
                <a:moveTo>
                  <a:pt x="1019" y="301"/>
                </a:moveTo>
                <a:cubicBezTo>
                  <a:pt x="1019" y="302"/>
                  <a:pt x="1019" y="302"/>
                  <a:pt x="1019" y="302"/>
                </a:cubicBezTo>
                <a:cubicBezTo>
                  <a:pt x="1019" y="302"/>
                  <a:pt x="1019" y="302"/>
                  <a:pt x="1019" y="302"/>
                </a:cubicBezTo>
                <a:cubicBezTo>
                  <a:pt x="1019" y="302"/>
                  <a:pt x="1020" y="302"/>
                  <a:pt x="1020" y="302"/>
                </a:cubicBezTo>
                <a:cubicBezTo>
                  <a:pt x="1020" y="302"/>
                  <a:pt x="1020" y="302"/>
                  <a:pt x="1020" y="302"/>
                </a:cubicBezTo>
                <a:cubicBezTo>
                  <a:pt x="1020" y="302"/>
                  <a:pt x="1021" y="302"/>
                  <a:pt x="1021" y="302"/>
                </a:cubicBezTo>
                <a:cubicBezTo>
                  <a:pt x="1021" y="303"/>
                  <a:pt x="1021" y="303"/>
                  <a:pt x="1021" y="303"/>
                </a:cubicBezTo>
                <a:cubicBezTo>
                  <a:pt x="1021" y="303"/>
                  <a:pt x="1021" y="303"/>
                  <a:pt x="1021" y="303"/>
                </a:cubicBezTo>
                <a:cubicBezTo>
                  <a:pt x="1022" y="303"/>
                  <a:pt x="1022" y="303"/>
                  <a:pt x="1022" y="303"/>
                </a:cubicBezTo>
                <a:cubicBezTo>
                  <a:pt x="1022" y="303"/>
                  <a:pt x="1022" y="303"/>
                  <a:pt x="1023" y="304"/>
                </a:cubicBezTo>
                <a:cubicBezTo>
                  <a:pt x="1023" y="304"/>
                  <a:pt x="1023" y="304"/>
                  <a:pt x="1023" y="304"/>
                </a:cubicBezTo>
                <a:cubicBezTo>
                  <a:pt x="1024" y="304"/>
                  <a:pt x="1024" y="304"/>
                  <a:pt x="1024" y="304"/>
                </a:cubicBezTo>
                <a:cubicBezTo>
                  <a:pt x="1024" y="304"/>
                  <a:pt x="1024" y="304"/>
                  <a:pt x="1024" y="304"/>
                </a:cubicBezTo>
                <a:cubicBezTo>
                  <a:pt x="1025" y="305"/>
                  <a:pt x="1025" y="305"/>
                  <a:pt x="1025" y="305"/>
                </a:cubicBezTo>
                <a:cubicBezTo>
                  <a:pt x="1025" y="305"/>
                  <a:pt x="1025" y="305"/>
                  <a:pt x="1025" y="305"/>
                </a:cubicBezTo>
                <a:cubicBezTo>
                  <a:pt x="1025" y="306"/>
                  <a:pt x="1025" y="306"/>
                  <a:pt x="1025" y="306"/>
                </a:cubicBezTo>
                <a:cubicBezTo>
                  <a:pt x="1025" y="306"/>
                  <a:pt x="1026" y="306"/>
                  <a:pt x="1026" y="306"/>
                </a:cubicBezTo>
                <a:cubicBezTo>
                  <a:pt x="1026" y="306"/>
                  <a:pt x="1026" y="306"/>
                  <a:pt x="1026" y="307"/>
                </a:cubicBezTo>
                <a:cubicBezTo>
                  <a:pt x="1027" y="307"/>
                  <a:pt x="1027" y="306"/>
                  <a:pt x="1027" y="306"/>
                </a:cubicBezTo>
                <a:cubicBezTo>
                  <a:pt x="1027" y="306"/>
                  <a:pt x="1027" y="307"/>
                  <a:pt x="1027" y="307"/>
                </a:cubicBezTo>
                <a:cubicBezTo>
                  <a:pt x="1027" y="306"/>
                  <a:pt x="1028" y="306"/>
                  <a:pt x="1028" y="306"/>
                </a:cubicBezTo>
                <a:cubicBezTo>
                  <a:pt x="1027" y="306"/>
                  <a:pt x="1027" y="306"/>
                  <a:pt x="1027" y="306"/>
                </a:cubicBezTo>
                <a:cubicBezTo>
                  <a:pt x="1027" y="306"/>
                  <a:pt x="1027" y="306"/>
                  <a:pt x="1027" y="306"/>
                </a:cubicBezTo>
                <a:cubicBezTo>
                  <a:pt x="1026" y="306"/>
                  <a:pt x="1026" y="306"/>
                  <a:pt x="1026" y="305"/>
                </a:cubicBezTo>
                <a:cubicBezTo>
                  <a:pt x="1026" y="305"/>
                  <a:pt x="1026" y="305"/>
                  <a:pt x="1026" y="305"/>
                </a:cubicBezTo>
                <a:cubicBezTo>
                  <a:pt x="1026" y="305"/>
                  <a:pt x="1026" y="305"/>
                  <a:pt x="1026" y="305"/>
                </a:cubicBezTo>
                <a:cubicBezTo>
                  <a:pt x="1026" y="304"/>
                  <a:pt x="1026" y="304"/>
                  <a:pt x="1026" y="304"/>
                </a:cubicBezTo>
                <a:cubicBezTo>
                  <a:pt x="1026" y="304"/>
                  <a:pt x="1026" y="304"/>
                  <a:pt x="1025" y="304"/>
                </a:cubicBezTo>
                <a:cubicBezTo>
                  <a:pt x="1025" y="303"/>
                  <a:pt x="1025" y="303"/>
                  <a:pt x="1024" y="303"/>
                </a:cubicBezTo>
                <a:cubicBezTo>
                  <a:pt x="1024" y="303"/>
                  <a:pt x="1024" y="303"/>
                  <a:pt x="1024" y="303"/>
                </a:cubicBezTo>
                <a:cubicBezTo>
                  <a:pt x="1024" y="303"/>
                  <a:pt x="1024" y="303"/>
                  <a:pt x="1023" y="303"/>
                </a:cubicBezTo>
                <a:cubicBezTo>
                  <a:pt x="1023" y="303"/>
                  <a:pt x="1023" y="303"/>
                  <a:pt x="1023" y="303"/>
                </a:cubicBezTo>
                <a:cubicBezTo>
                  <a:pt x="1023" y="302"/>
                  <a:pt x="1023" y="302"/>
                  <a:pt x="1022" y="302"/>
                </a:cubicBezTo>
                <a:cubicBezTo>
                  <a:pt x="1022" y="302"/>
                  <a:pt x="1022" y="302"/>
                  <a:pt x="1021" y="302"/>
                </a:cubicBezTo>
                <a:cubicBezTo>
                  <a:pt x="1021" y="302"/>
                  <a:pt x="1021" y="301"/>
                  <a:pt x="1021" y="301"/>
                </a:cubicBezTo>
                <a:cubicBezTo>
                  <a:pt x="1020" y="301"/>
                  <a:pt x="1020" y="301"/>
                  <a:pt x="1019" y="301"/>
                </a:cubicBezTo>
                <a:close/>
                <a:moveTo>
                  <a:pt x="1037" y="300"/>
                </a:moveTo>
                <a:cubicBezTo>
                  <a:pt x="1037" y="300"/>
                  <a:pt x="1036" y="300"/>
                  <a:pt x="1036" y="300"/>
                </a:cubicBezTo>
                <a:cubicBezTo>
                  <a:pt x="1036" y="300"/>
                  <a:pt x="1035" y="300"/>
                  <a:pt x="1035" y="300"/>
                </a:cubicBezTo>
                <a:cubicBezTo>
                  <a:pt x="1035" y="301"/>
                  <a:pt x="1034" y="301"/>
                  <a:pt x="1034" y="301"/>
                </a:cubicBezTo>
                <a:cubicBezTo>
                  <a:pt x="1034" y="301"/>
                  <a:pt x="1034" y="301"/>
                  <a:pt x="1034" y="301"/>
                </a:cubicBezTo>
                <a:cubicBezTo>
                  <a:pt x="1034" y="301"/>
                  <a:pt x="1034" y="302"/>
                  <a:pt x="1034" y="302"/>
                </a:cubicBezTo>
                <a:cubicBezTo>
                  <a:pt x="1034" y="302"/>
                  <a:pt x="1034" y="302"/>
                  <a:pt x="1035" y="302"/>
                </a:cubicBezTo>
                <a:cubicBezTo>
                  <a:pt x="1035" y="302"/>
                  <a:pt x="1035" y="302"/>
                  <a:pt x="1035" y="302"/>
                </a:cubicBezTo>
                <a:cubicBezTo>
                  <a:pt x="1035" y="302"/>
                  <a:pt x="1035" y="301"/>
                  <a:pt x="1035" y="301"/>
                </a:cubicBezTo>
                <a:cubicBezTo>
                  <a:pt x="1035" y="301"/>
                  <a:pt x="1035" y="301"/>
                  <a:pt x="1036" y="301"/>
                </a:cubicBezTo>
                <a:cubicBezTo>
                  <a:pt x="1036" y="301"/>
                  <a:pt x="1036" y="301"/>
                  <a:pt x="1036" y="301"/>
                </a:cubicBezTo>
                <a:cubicBezTo>
                  <a:pt x="1036" y="301"/>
                  <a:pt x="1036" y="301"/>
                  <a:pt x="1036" y="301"/>
                </a:cubicBezTo>
                <a:cubicBezTo>
                  <a:pt x="1036" y="301"/>
                  <a:pt x="1036" y="301"/>
                  <a:pt x="1036" y="302"/>
                </a:cubicBezTo>
                <a:cubicBezTo>
                  <a:pt x="1036" y="302"/>
                  <a:pt x="1036" y="302"/>
                  <a:pt x="1035" y="302"/>
                </a:cubicBezTo>
                <a:cubicBezTo>
                  <a:pt x="1036" y="302"/>
                  <a:pt x="1036" y="302"/>
                  <a:pt x="1036" y="302"/>
                </a:cubicBezTo>
                <a:cubicBezTo>
                  <a:pt x="1036" y="302"/>
                  <a:pt x="1037" y="302"/>
                  <a:pt x="1037" y="302"/>
                </a:cubicBezTo>
                <a:cubicBezTo>
                  <a:pt x="1037" y="302"/>
                  <a:pt x="1037" y="302"/>
                  <a:pt x="1037" y="301"/>
                </a:cubicBezTo>
                <a:cubicBezTo>
                  <a:pt x="1037" y="301"/>
                  <a:pt x="1037" y="301"/>
                  <a:pt x="1037" y="301"/>
                </a:cubicBezTo>
                <a:cubicBezTo>
                  <a:pt x="1037" y="301"/>
                  <a:pt x="1037" y="301"/>
                  <a:pt x="1037" y="301"/>
                </a:cubicBezTo>
                <a:cubicBezTo>
                  <a:pt x="1037" y="301"/>
                  <a:pt x="1037" y="301"/>
                  <a:pt x="1037" y="300"/>
                </a:cubicBezTo>
                <a:cubicBezTo>
                  <a:pt x="1037" y="300"/>
                  <a:pt x="1037" y="300"/>
                  <a:pt x="1037" y="300"/>
                </a:cubicBezTo>
                <a:close/>
                <a:moveTo>
                  <a:pt x="1034" y="305"/>
                </a:moveTo>
                <a:cubicBezTo>
                  <a:pt x="1034" y="305"/>
                  <a:pt x="1034" y="305"/>
                  <a:pt x="1034" y="305"/>
                </a:cubicBezTo>
                <a:cubicBezTo>
                  <a:pt x="1034" y="305"/>
                  <a:pt x="1035" y="306"/>
                  <a:pt x="1035" y="306"/>
                </a:cubicBezTo>
                <a:cubicBezTo>
                  <a:pt x="1035" y="306"/>
                  <a:pt x="1035" y="306"/>
                  <a:pt x="1036" y="305"/>
                </a:cubicBezTo>
                <a:cubicBezTo>
                  <a:pt x="1036" y="305"/>
                  <a:pt x="1036" y="305"/>
                  <a:pt x="1036" y="305"/>
                </a:cubicBezTo>
                <a:cubicBezTo>
                  <a:pt x="1036" y="305"/>
                  <a:pt x="1036" y="304"/>
                  <a:pt x="1036" y="304"/>
                </a:cubicBezTo>
                <a:cubicBezTo>
                  <a:pt x="1036" y="304"/>
                  <a:pt x="1035" y="304"/>
                  <a:pt x="1035" y="304"/>
                </a:cubicBezTo>
                <a:cubicBezTo>
                  <a:pt x="1035" y="304"/>
                  <a:pt x="1035" y="304"/>
                  <a:pt x="1035" y="304"/>
                </a:cubicBezTo>
                <a:cubicBezTo>
                  <a:pt x="1035" y="304"/>
                  <a:pt x="1034" y="304"/>
                  <a:pt x="1034" y="304"/>
                </a:cubicBezTo>
                <a:cubicBezTo>
                  <a:pt x="1034" y="304"/>
                  <a:pt x="1034" y="304"/>
                  <a:pt x="1034" y="304"/>
                </a:cubicBezTo>
                <a:cubicBezTo>
                  <a:pt x="1034" y="304"/>
                  <a:pt x="1035" y="304"/>
                  <a:pt x="1035" y="304"/>
                </a:cubicBezTo>
                <a:cubicBezTo>
                  <a:pt x="1035" y="305"/>
                  <a:pt x="1035" y="305"/>
                  <a:pt x="1035" y="305"/>
                </a:cubicBezTo>
                <a:cubicBezTo>
                  <a:pt x="1035" y="305"/>
                  <a:pt x="1034" y="305"/>
                  <a:pt x="1034" y="305"/>
                </a:cubicBezTo>
                <a:close/>
                <a:moveTo>
                  <a:pt x="1023" y="301"/>
                </a:moveTo>
                <a:cubicBezTo>
                  <a:pt x="1023" y="301"/>
                  <a:pt x="1023" y="301"/>
                  <a:pt x="1023" y="301"/>
                </a:cubicBezTo>
                <a:cubicBezTo>
                  <a:pt x="1023" y="301"/>
                  <a:pt x="1022" y="301"/>
                  <a:pt x="1022" y="301"/>
                </a:cubicBezTo>
                <a:cubicBezTo>
                  <a:pt x="1022" y="301"/>
                  <a:pt x="1022" y="301"/>
                  <a:pt x="1022" y="301"/>
                </a:cubicBezTo>
                <a:cubicBezTo>
                  <a:pt x="1022" y="301"/>
                  <a:pt x="1023" y="301"/>
                  <a:pt x="1023" y="301"/>
                </a:cubicBezTo>
                <a:cubicBezTo>
                  <a:pt x="1023" y="301"/>
                  <a:pt x="1023" y="301"/>
                  <a:pt x="1023" y="301"/>
                </a:cubicBezTo>
                <a:close/>
                <a:moveTo>
                  <a:pt x="1032" y="311"/>
                </a:moveTo>
                <a:cubicBezTo>
                  <a:pt x="1032" y="311"/>
                  <a:pt x="1033" y="311"/>
                  <a:pt x="1033" y="311"/>
                </a:cubicBezTo>
                <a:cubicBezTo>
                  <a:pt x="1033" y="311"/>
                  <a:pt x="1033" y="311"/>
                  <a:pt x="1033" y="311"/>
                </a:cubicBezTo>
                <a:cubicBezTo>
                  <a:pt x="1033" y="310"/>
                  <a:pt x="1033" y="310"/>
                  <a:pt x="1033" y="310"/>
                </a:cubicBezTo>
                <a:cubicBezTo>
                  <a:pt x="1033" y="310"/>
                  <a:pt x="1033" y="310"/>
                  <a:pt x="1033" y="310"/>
                </a:cubicBezTo>
                <a:cubicBezTo>
                  <a:pt x="1032" y="310"/>
                  <a:pt x="1032" y="310"/>
                  <a:pt x="1032" y="310"/>
                </a:cubicBezTo>
                <a:cubicBezTo>
                  <a:pt x="1032" y="311"/>
                  <a:pt x="1032" y="311"/>
                  <a:pt x="1032" y="311"/>
                </a:cubicBezTo>
                <a:close/>
                <a:moveTo>
                  <a:pt x="1008" y="303"/>
                </a:moveTo>
                <a:cubicBezTo>
                  <a:pt x="1008" y="303"/>
                  <a:pt x="1008" y="303"/>
                  <a:pt x="1008" y="302"/>
                </a:cubicBezTo>
                <a:cubicBezTo>
                  <a:pt x="1008" y="302"/>
                  <a:pt x="1008" y="302"/>
                  <a:pt x="1008" y="302"/>
                </a:cubicBezTo>
                <a:cubicBezTo>
                  <a:pt x="1008" y="302"/>
                  <a:pt x="1008" y="302"/>
                  <a:pt x="1007" y="302"/>
                </a:cubicBezTo>
                <a:cubicBezTo>
                  <a:pt x="1007" y="302"/>
                  <a:pt x="1007" y="302"/>
                  <a:pt x="1007" y="302"/>
                </a:cubicBezTo>
                <a:cubicBezTo>
                  <a:pt x="1007" y="303"/>
                  <a:pt x="1007" y="303"/>
                  <a:pt x="1007" y="303"/>
                </a:cubicBezTo>
                <a:cubicBezTo>
                  <a:pt x="1007" y="303"/>
                  <a:pt x="1007" y="303"/>
                  <a:pt x="1007" y="303"/>
                </a:cubicBezTo>
                <a:cubicBezTo>
                  <a:pt x="1007" y="303"/>
                  <a:pt x="1008" y="303"/>
                  <a:pt x="1008" y="303"/>
                </a:cubicBezTo>
                <a:close/>
                <a:moveTo>
                  <a:pt x="1021" y="300"/>
                </a:moveTo>
                <a:cubicBezTo>
                  <a:pt x="1021" y="300"/>
                  <a:pt x="1021" y="301"/>
                  <a:pt x="1021" y="301"/>
                </a:cubicBezTo>
                <a:cubicBezTo>
                  <a:pt x="1021" y="301"/>
                  <a:pt x="1021" y="301"/>
                  <a:pt x="1021" y="301"/>
                </a:cubicBezTo>
                <a:cubicBezTo>
                  <a:pt x="1021" y="301"/>
                  <a:pt x="1022" y="301"/>
                  <a:pt x="1022" y="301"/>
                </a:cubicBezTo>
                <a:cubicBezTo>
                  <a:pt x="1022" y="301"/>
                  <a:pt x="1021" y="300"/>
                  <a:pt x="1021" y="300"/>
                </a:cubicBezTo>
                <a:close/>
                <a:moveTo>
                  <a:pt x="1006" y="304"/>
                </a:moveTo>
                <a:cubicBezTo>
                  <a:pt x="1006" y="304"/>
                  <a:pt x="1006" y="304"/>
                  <a:pt x="1006" y="305"/>
                </a:cubicBezTo>
                <a:cubicBezTo>
                  <a:pt x="1006" y="305"/>
                  <a:pt x="1006" y="305"/>
                  <a:pt x="1006" y="305"/>
                </a:cubicBezTo>
                <a:cubicBezTo>
                  <a:pt x="1006" y="305"/>
                  <a:pt x="1007" y="305"/>
                  <a:pt x="1007" y="305"/>
                </a:cubicBezTo>
                <a:cubicBezTo>
                  <a:pt x="1007" y="305"/>
                  <a:pt x="1007" y="305"/>
                  <a:pt x="1007" y="304"/>
                </a:cubicBezTo>
                <a:cubicBezTo>
                  <a:pt x="1007" y="305"/>
                  <a:pt x="1007" y="305"/>
                  <a:pt x="1007" y="305"/>
                </a:cubicBezTo>
                <a:cubicBezTo>
                  <a:pt x="1007" y="305"/>
                  <a:pt x="1007" y="305"/>
                  <a:pt x="1007" y="305"/>
                </a:cubicBezTo>
                <a:cubicBezTo>
                  <a:pt x="1007" y="305"/>
                  <a:pt x="1007" y="305"/>
                  <a:pt x="1008" y="305"/>
                </a:cubicBezTo>
                <a:cubicBezTo>
                  <a:pt x="1008" y="305"/>
                  <a:pt x="1008" y="305"/>
                  <a:pt x="1008" y="305"/>
                </a:cubicBezTo>
                <a:cubicBezTo>
                  <a:pt x="1008" y="305"/>
                  <a:pt x="1008" y="305"/>
                  <a:pt x="1009" y="305"/>
                </a:cubicBezTo>
                <a:cubicBezTo>
                  <a:pt x="1009" y="305"/>
                  <a:pt x="1008" y="305"/>
                  <a:pt x="1008" y="305"/>
                </a:cubicBezTo>
                <a:cubicBezTo>
                  <a:pt x="1008" y="305"/>
                  <a:pt x="1008" y="305"/>
                  <a:pt x="1008" y="305"/>
                </a:cubicBezTo>
                <a:cubicBezTo>
                  <a:pt x="1008" y="304"/>
                  <a:pt x="1008" y="304"/>
                  <a:pt x="1008" y="304"/>
                </a:cubicBezTo>
                <a:cubicBezTo>
                  <a:pt x="1008" y="304"/>
                  <a:pt x="1008" y="304"/>
                  <a:pt x="1008" y="304"/>
                </a:cubicBezTo>
                <a:cubicBezTo>
                  <a:pt x="1008" y="304"/>
                  <a:pt x="1008" y="304"/>
                  <a:pt x="1008" y="303"/>
                </a:cubicBezTo>
                <a:cubicBezTo>
                  <a:pt x="1007" y="303"/>
                  <a:pt x="1007" y="303"/>
                  <a:pt x="1007" y="303"/>
                </a:cubicBezTo>
                <a:cubicBezTo>
                  <a:pt x="1007" y="303"/>
                  <a:pt x="1007" y="304"/>
                  <a:pt x="1007" y="304"/>
                </a:cubicBezTo>
                <a:cubicBezTo>
                  <a:pt x="1007" y="304"/>
                  <a:pt x="1007" y="304"/>
                  <a:pt x="1007" y="304"/>
                </a:cubicBezTo>
                <a:cubicBezTo>
                  <a:pt x="1006" y="304"/>
                  <a:pt x="1006" y="304"/>
                  <a:pt x="1006" y="304"/>
                </a:cubicBezTo>
                <a:close/>
                <a:moveTo>
                  <a:pt x="1003" y="297"/>
                </a:moveTo>
                <a:cubicBezTo>
                  <a:pt x="1002" y="297"/>
                  <a:pt x="1002" y="297"/>
                  <a:pt x="1002" y="297"/>
                </a:cubicBezTo>
                <a:cubicBezTo>
                  <a:pt x="1002" y="297"/>
                  <a:pt x="1002" y="298"/>
                  <a:pt x="1002" y="298"/>
                </a:cubicBezTo>
                <a:cubicBezTo>
                  <a:pt x="1002" y="298"/>
                  <a:pt x="1002" y="298"/>
                  <a:pt x="1002" y="298"/>
                </a:cubicBezTo>
                <a:cubicBezTo>
                  <a:pt x="1002" y="298"/>
                  <a:pt x="1002" y="298"/>
                  <a:pt x="1002" y="298"/>
                </a:cubicBezTo>
                <a:cubicBezTo>
                  <a:pt x="1003" y="298"/>
                  <a:pt x="1003" y="299"/>
                  <a:pt x="1003" y="299"/>
                </a:cubicBezTo>
                <a:cubicBezTo>
                  <a:pt x="1004" y="299"/>
                  <a:pt x="1004" y="299"/>
                  <a:pt x="1004" y="299"/>
                </a:cubicBezTo>
                <a:cubicBezTo>
                  <a:pt x="1004" y="299"/>
                  <a:pt x="1004" y="299"/>
                  <a:pt x="1004" y="299"/>
                </a:cubicBezTo>
                <a:cubicBezTo>
                  <a:pt x="1004" y="299"/>
                  <a:pt x="1004" y="299"/>
                  <a:pt x="1004" y="299"/>
                </a:cubicBezTo>
                <a:cubicBezTo>
                  <a:pt x="1004" y="299"/>
                  <a:pt x="1004" y="299"/>
                  <a:pt x="1004" y="298"/>
                </a:cubicBezTo>
                <a:cubicBezTo>
                  <a:pt x="1003" y="298"/>
                  <a:pt x="1003" y="298"/>
                  <a:pt x="1003" y="298"/>
                </a:cubicBezTo>
                <a:cubicBezTo>
                  <a:pt x="1003" y="298"/>
                  <a:pt x="1003" y="298"/>
                  <a:pt x="1003" y="297"/>
                </a:cubicBezTo>
                <a:cubicBezTo>
                  <a:pt x="1003" y="297"/>
                  <a:pt x="1003" y="297"/>
                  <a:pt x="1003" y="297"/>
                </a:cubicBezTo>
                <a:close/>
                <a:moveTo>
                  <a:pt x="1036" y="309"/>
                </a:moveTo>
                <a:cubicBezTo>
                  <a:pt x="1036" y="309"/>
                  <a:pt x="1036" y="308"/>
                  <a:pt x="1036" y="308"/>
                </a:cubicBezTo>
                <a:cubicBezTo>
                  <a:pt x="1036" y="308"/>
                  <a:pt x="1035" y="308"/>
                  <a:pt x="1035" y="308"/>
                </a:cubicBezTo>
                <a:cubicBezTo>
                  <a:pt x="1035" y="309"/>
                  <a:pt x="1035" y="309"/>
                  <a:pt x="1035" y="309"/>
                </a:cubicBezTo>
                <a:cubicBezTo>
                  <a:pt x="1035" y="309"/>
                  <a:pt x="1035" y="309"/>
                  <a:pt x="1035" y="309"/>
                </a:cubicBezTo>
                <a:cubicBezTo>
                  <a:pt x="1036" y="309"/>
                  <a:pt x="1036" y="309"/>
                  <a:pt x="1036" y="309"/>
                </a:cubicBezTo>
                <a:close/>
                <a:moveTo>
                  <a:pt x="1030" y="311"/>
                </a:moveTo>
                <a:cubicBezTo>
                  <a:pt x="1031" y="311"/>
                  <a:pt x="1031" y="311"/>
                  <a:pt x="1031" y="311"/>
                </a:cubicBezTo>
                <a:cubicBezTo>
                  <a:pt x="1031" y="311"/>
                  <a:pt x="1031" y="311"/>
                  <a:pt x="1031" y="311"/>
                </a:cubicBezTo>
                <a:cubicBezTo>
                  <a:pt x="1031" y="310"/>
                  <a:pt x="1031" y="310"/>
                  <a:pt x="1031" y="310"/>
                </a:cubicBezTo>
                <a:cubicBezTo>
                  <a:pt x="1031" y="310"/>
                  <a:pt x="1031" y="310"/>
                  <a:pt x="1031" y="310"/>
                </a:cubicBezTo>
                <a:cubicBezTo>
                  <a:pt x="1031" y="310"/>
                  <a:pt x="1031" y="311"/>
                  <a:pt x="1030" y="311"/>
                </a:cubicBezTo>
                <a:close/>
                <a:moveTo>
                  <a:pt x="1031" y="297"/>
                </a:moveTo>
                <a:cubicBezTo>
                  <a:pt x="1031" y="297"/>
                  <a:pt x="1031" y="297"/>
                  <a:pt x="1031" y="297"/>
                </a:cubicBezTo>
                <a:cubicBezTo>
                  <a:pt x="1031" y="297"/>
                  <a:pt x="1031" y="297"/>
                  <a:pt x="1030" y="297"/>
                </a:cubicBezTo>
                <a:cubicBezTo>
                  <a:pt x="1030" y="297"/>
                  <a:pt x="1030" y="297"/>
                  <a:pt x="1030" y="297"/>
                </a:cubicBezTo>
                <a:cubicBezTo>
                  <a:pt x="1029" y="297"/>
                  <a:pt x="1029" y="297"/>
                  <a:pt x="1029" y="297"/>
                </a:cubicBezTo>
                <a:cubicBezTo>
                  <a:pt x="1029" y="297"/>
                  <a:pt x="1029" y="297"/>
                  <a:pt x="1029" y="298"/>
                </a:cubicBezTo>
                <a:cubicBezTo>
                  <a:pt x="1030" y="298"/>
                  <a:pt x="1030" y="298"/>
                  <a:pt x="1030" y="298"/>
                </a:cubicBezTo>
                <a:cubicBezTo>
                  <a:pt x="1030" y="298"/>
                  <a:pt x="1030" y="298"/>
                  <a:pt x="1030" y="298"/>
                </a:cubicBezTo>
                <a:cubicBezTo>
                  <a:pt x="1031" y="298"/>
                  <a:pt x="1031" y="298"/>
                  <a:pt x="1031" y="298"/>
                </a:cubicBezTo>
                <a:cubicBezTo>
                  <a:pt x="1031" y="298"/>
                  <a:pt x="1031" y="298"/>
                  <a:pt x="1031" y="297"/>
                </a:cubicBezTo>
                <a:cubicBezTo>
                  <a:pt x="1031" y="297"/>
                  <a:pt x="1032" y="297"/>
                  <a:pt x="1032" y="297"/>
                </a:cubicBezTo>
                <a:cubicBezTo>
                  <a:pt x="1032" y="297"/>
                  <a:pt x="1031" y="297"/>
                  <a:pt x="1031" y="297"/>
                </a:cubicBezTo>
                <a:close/>
                <a:moveTo>
                  <a:pt x="1028" y="302"/>
                </a:moveTo>
                <a:cubicBezTo>
                  <a:pt x="1028" y="302"/>
                  <a:pt x="1027" y="302"/>
                  <a:pt x="1027" y="302"/>
                </a:cubicBezTo>
                <a:cubicBezTo>
                  <a:pt x="1027" y="302"/>
                  <a:pt x="1027" y="302"/>
                  <a:pt x="1027" y="302"/>
                </a:cubicBezTo>
                <a:cubicBezTo>
                  <a:pt x="1027" y="302"/>
                  <a:pt x="1027" y="302"/>
                  <a:pt x="1027" y="302"/>
                </a:cubicBezTo>
                <a:cubicBezTo>
                  <a:pt x="1028" y="302"/>
                  <a:pt x="1028" y="302"/>
                  <a:pt x="1028" y="302"/>
                </a:cubicBezTo>
                <a:cubicBezTo>
                  <a:pt x="1028" y="303"/>
                  <a:pt x="1028" y="303"/>
                  <a:pt x="1028" y="303"/>
                </a:cubicBezTo>
                <a:cubicBezTo>
                  <a:pt x="1028" y="303"/>
                  <a:pt x="1028" y="303"/>
                  <a:pt x="1028" y="303"/>
                </a:cubicBezTo>
                <a:cubicBezTo>
                  <a:pt x="1028" y="303"/>
                  <a:pt x="1028" y="302"/>
                  <a:pt x="1028" y="302"/>
                </a:cubicBezTo>
                <a:cubicBezTo>
                  <a:pt x="1028" y="302"/>
                  <a:pt x="1028" y="302"/>
                  <a:pt x="1028" y="302"/>
                </a:cubicBezTo>
                <a:close/>
                <a:moveTo>
                  <a:pt x="1032" y="309"/>
                </a:moveTo>
                <a:cubicBezTo>
                  <a:pt x="1032" y="309"/>
                  <a:pt x="1032" y="309"/>
                  <a:pt x="1032" y="309"/>
                </a:cubicBezTo>
                <a:cubicBezTo>
                  <a:pt x="1032" y="309"/>
                  <a:pt x="1032" y="309"/>
                  <a:pt x="1032" y="309"/>
                </a:cubicBezTo>
                <a:cubicBezTo>
                  <a:pt x="1032" y="309"/>
                  <a:pt x="1032" y="309"/>
                  <a:pt x="1032" y="309"/>
                </a:cubicBezTo>
                <a:close/>
                <a:moveTo>
                  <a:pt x="1031" y="309"/>
                </a:moveTo>
                <a:cubicBezTo>
                  <a:pt x="1031" y="308"/>
                  <a:pt x="1031" y="308"/>
                  <a:pt x="1031" y="308"/>
                </a:cubicBezTo>
                <a:cubicBezTo>
                  <a:pt x="1031" y="308"/>
                  <a:pt x="1031" y="308"/>
                  <a:pt x="1031" y="308"/>
                </a:cubicBezTo>
                <a:cubicBezTo>
                  <a:pt x="1031" y="308"/>
                  <a:pt x="1031" y="309"/>
                  <a:pt x="1031" y="309"/>
                </a:cubicBezTo>
                <a:cubicBezTo>
                  <a:pt x="1031" y="309"/>
                  <a:pt x="1031" y="309"/>
                  <a:pt x="1032" y="309"/>
                </a:cubicBezTo>
                <a:cubicBezTo>
                  <a:pt x="1032" y="309"/>
                  <a:pt x="1031" y="309"/>
                  <a:pt x="1031" y="309"/>
                </a:cubicBezTo>
                <a:close/>
                <a:moveTo>
                  <a:pt x="1029" y="307"/>
                </a:moveTo>
                <a:cubicBezTo>
                  <a:pt x="1029" y="307"/>
                  <a:pt x="1028" y="307"/>
                  <a:pt x="1028" y="307"/>
                </a:cubicBezTo>
                <a:cubicBezTo>
                  <a:pt x="1028" y="307"/>
                  <a:pt x="1028" y="307"/>
                  <a:pt x="1028" y="307"/>
                </a:cubicBezTo>
                <a:cubicBezTo>
                  <a:pt x="1028" y="307"/>
                  <a:pt x="1028" y="307"/>
                  <a:pt x="1028" y="307"/>
                </a:cubicBezTo>
                <a:cubicBezTo>
                  <a:pt x="1029" y="308"/>
                  <a:pt x="1029" y="308"/>
                  <a:pt x="1030" y="308"/>
                </a:cubicBezTo>
                <a:cubicBezTo>
                  <a:pt x="1030" y="308"/>
                  <a:pt x="1030" y="308"/>
                  <a:pt x="1030" y="308"/>
                </a:cubicBezTo>
                <a:cubicBezTo>
                  <a:pt x="1030" y="308"/>
                  <a:pt x="1030" y="308"/>
                  <a:pt x="1030" y="308"/>
                </a:cubicBezTo>
                <a:cubicBezTo>
                  <a:pt x="1030" y="308"/>
                  <a:pt x="1029" y="307"/>
                  <a:pt x="1029" y="307"/>
                </a:cubicBezTo>
                <a:cubicBezTo>
                  <a:pt x="1029" y="307"/>
                  <a:pt x="1029" y="307"/>
                  <a:pt x="1029" y="307"/>
                </a:cubicBezTo>
                <a:close/>
                <a:moveTo>
                  <a:pt x="1032" y="295"/>
                </a:moveTo>
                <a:cubicBezTo>
                  <a:pt x="1032" y="295"/>
                  <a:pt x="1032" y="295"/>
                  <a:pt x="1032" y="295"/>
                </a:cubicBezTo>
                <a:cubicBezTo>
                  <a:pt x="1032" y="295"/>
                  <a:pt x="1033" y="295"/>
                  <a:pt x="1033" y="295"/>
                </a:cubicBezTo>
                <a:cubicBezTo>
                  <a:pt x="1033" y="295"/>
                  <a:pt x="1033" y="295"/>
                  <a:pt x="1034" y="295"/>
                </a:cubicBezTo>
                <a:cubicBezTo>
                  <a:pt x="1034" y="295"/>
                  <a:pt x="1034" y="295"/>
                  <a:pt x="1034" y="295"/>
                </a:cubicBezTo>
                <a:cubicBezTo>
                  <a:pt x="1033" y="295"/>
                  <a:pt x="1033" y="295"/>
                  <a:pt x="1033" y="295"/>
                </a:cubicBezTo>
                <a:cubicBezTo>
                  <a:pt x="1033" y="295"/>
                  <a:pt x="1032" y="295"/>
                  <a:pt x="1032" y="295"/>
                </a:cubicBezTo>
                <a:close/>
                <a:moveTo>
                  <a:pt x="1023" y="316"/>
                </a:moveTo>
                <a:cubicBezTo>
                  <a:pt x="1023" y="316"/>
                  <a:pt x="1023" y="317"/>
                  <a:pt x="1023" y="317"/>
                </a:cubicBezTo>
                <a:cubicBezTo>
                  <a:pt x="1023" y="317"/>
                  <a:pt x="1023" y="317"/>
                  <a:pt x="1023" y="317"/>
                </a:cubicBezTo>
                <a:cubicBezTo>
                  <a:pt x="1023" y="317"/>
                  <a:pt x="1023" y="318"/>
                  <a:pt x="1023" y="318"/>
                </a:cubicBezTo>
                <a:cubicBezTo>
                  <a:pt x="1023" y="318"/>
                  <a:pt x="1023" y="318"/>
                  <a:pt x="1024" y="318"/>
                </a:cubicBezTo>
                <a:cubicBezTo>
                  <a:pt x="1024" y="318"/>
                  <a:pt x="1025" y="318"/>
                  <a:pt x="1025" y="318"/>
                </a:cubicBezTo>
                <a:cubicBezTo>
                  <a:pt x="1026" y="318"/>
                  <a:pt x="1026" y="318"/>
                  <a:pt x="1026" y="318"/>
                </a:cubicBezTo>
                <a:cubicBezTo>
                  <a:pt x="1026" y="318"/>
                  <a:pt x="1027" y="318"/>
                  <a:pt x="1027" y="318"/>
                </a:cubicBezTo>
                <a:cubicBezTo>
                  <a:pt x="1027" y="318"/>
                  <a:pt x="1027" y="318"/>
                  <a:pt x="1028" y="318"/>
                </a:cubicBezTo>
                <a:cubicBezTo>
                  <a:pt x="1028" y="318"/>
                  <a:pt x="1029" y="319"/>
                  <a:pt x="1029" y="319"/>
                </a:cubicBezTo>
                <a:cubicBezTo>
                  <a:pt x="1029" y="319"/>
                  <a:pt x="1029" y="319"/>
                  <a:pt x="1029" y="319"/>
                </a:cubicBezTo>
                <a:cubicBezTo>
                  <a:pt x="1029" y="319"/>
                  <a:pt x="1030" y="319"/>
                  <a:pt x="1030" y="319"/>
                </a:cubicBezTo>
                <a:cubicBezTo>
                  <a:pt x="1031" y="319"/>
                  <a:pt x="1031" y="319"/>
                  <a:pt x="1031" y="319"/>
                </a:cubicBezTo>
                <a:cubicBezTo>
                  <a:pt x="1032" y="319"/>
                  <a:pt x="1032" y="319"/>
                  <a:pt x="1033" y="319"/>
                </a:cubicBezTo>
                <a:cubicBezTo>
                  <a:pt x="1033" y="319"/>
                  <a:pt x="1034" y="319"/>
                  <a:pt x="1035" y="319"/>
                </a:cubicBezTo>
                <a:cubicBezTo>
                  <a:pt x="1035" y="319"/>
                  <a:pt x="1035" y="319"/>
                  <a:pt x="1036" y="319"/>
                </a:cubicBezTo>
                <a:cubicBezTo>
                  <a:pt x="1036" y="319"/>
                  <a:pt x="1036" y="319"/>
                  <a:pt x="1037" y="319"/>
                </a:cubicBezTo>
                <a:cubicBezTo>
                  <a:pt x="1037" y="319"/>
                  <a:pt x="1037" y="319"/>
                  <a:pt x="1037" y="318"/>
                </a:cubicBezTo>
                <a:cubicBezTo>
                  <a:pt x="1037" y="318"/>
                  <a:pt x="1037" y="318"/>
                  <a:pt x="1037" y="318"/>
                </a:cubicBezTo>
                <a:cubicBezTo>
                  <a:pt x="1037" y="318"/>
                  <a:pt x="1037" y="318"/>
                  <a:pt x="1037" y="318"/>
                </a:cubicBezTo>
                <a:cubicBezTo>
                  <a:pt x="1037" y="318"/>
                  <a:pt x="1037" y="318"/>
                  <a:pt x="1037" y="318"/>
                </a:cubicBezTo>
                <a:cubicBezTo>
                  <a:pt x="1037" y="318"/>
                  <a:pt x="1037" y="318"/>
                  <a:pt x="1037" y="318"/>
                </a:cubicBezTo>
                <a:cubicBezTo>
                  <a:pt x="1036" y="318"/>
                  <a:pt x="1036" y="318"/>
                  <a:pt x="1036" y="319"/>
                </a:cubicBezTo>
                <a:cubicBezTo>
                  <a:pt x="1036" y="318"/>
                  <a:pt x="1036" y="318"/>
                  <a:pt x="1035" y="318"/>
                </a:cubicBezTo>
                <a:cubicBezTo>
                  <a:pt x="1035" y="318"/>
                  <a:pt x="1035" y="318"/>
                  <a:pt x="1035" y="318"/>
                </a:cubicBezTo>
                <a:cubicBezTo>
                  <a:pt x="1035" y="318"/>
                  <a:pt x="1035" y="318"/>
                  <a:pt x="1034" y="318"/>
                </a:cubicBezTo>
                <a:cubicBezTo>
                  <a:pt x="1034" y="318"/>
                  <a:pt x="1034" y="318"/>
                  <a:pt x="1034" y="318"/>
                </a:cubicBezTo>
                <a:cubicBezTo>
                  <a:pt x="1034" y="318"/>
                  <a:pt x="1034" y="318"/>
                  <a:pt x="1034" y="317"/>
                </a:cubicBezTo>
                <a:cubicBezTo>
                  <a:pt x="1034" y="317"/>
                  <a:pt x="1034" y="317"/>
                  <a:pt x="1034" y="317"/>
                </a:cubicBezTo>
                <a:cubicBezTo>
                  <a:pt x="1033" y="317"/>
                  <a:pt x="1033" y="317"/>
                  <a:pt x="1032" y="317"/>
                </a:cubicBezTo>
                <a:cubicBezTo>
                  <a:pt x="1032" y="317"/>
                  <a:pt x="1032" y="317"/>
                  <a:pt x="1031" y="317"/>
                </a:cubicBezTo>
                <a:cubicBezTo>
                  <a:pt x="1031" y="317"/>
                  <a:pt x="1030" y="317"/>
                  <a:pt x="1030" y="317"/>
                </a:cubicBezTo>
                <a:cubicBezTo>
                  <a:pt x="1029" y="317"/>
                  <a:pt x="1029" y="317"/>
                  <a:pt x="1028" y="317"/>
                </a:cubicBezTo>
                <a:cubicBezTo>
                  <a:pt x="1028" y="317"/>
                  <a:pt x="1028" y="317"/>
                  <a:pt x="1028" y="317"/>
                </a:cubicBezTo>
                <a:cubicBezTo>
                  <a:pt x="1027" y="317"/>
                  <a:pt x="1027" y="317"/>
                  <a:pt x="1027" y="317"/>
                </a:cubicBezTo>
                <a:cubicBezTo>
                  <a:pt x="1027" y="317"/>
                  <a:pt x="1026" y="317"/>
                  <a:pt x="1026" y="317"/>
                </a:cubicBezTo>
                <a:cubicBezTo>
                  <a:pt x="1026" y="317"/>
                  <a:pt x="1026" y="317"/>
                  <a:pt x="1026" y="317"/>
                </a:cubicBezTo>
                <a:cubicBezTo>
                  <a:pt x="1026" y="317"/>
                  <a:pt x="1026" y="317"/>
                  <a:pt x="1026" y="317"/>
                </a:cubicBezTo>
                <a:cubicBezTo>
                  <a:pt x="1026" y="316"/>
                  <a:pt x="1026" y="316"/>
                  <a:pt x="1026" y="316"/>
                </a:cubicBezTo>
                <a:cubicBezTo>
                  <a:pt x="1026" y="316"/>
                  <a:pt x="1025" y="316"/>
                  <a:pt x="1025" y="316"/>
                </a:cubicBezTo>
                <a:cubicBezTo>
                  <a:pt x="1025" y="316"/>
                  <a:pt x="1025" y="316"/>
                  <a:pt x="1025" y="316"/>
                </a:cubicBezTo>
                <a:cubicBezTo>
                  <a:pt x="1025" y="316"/>
                  <a:pt x="1025" y="316"/>
                  <a:pt x="1025" y="316"/>
                </a:cubicBezTo>
                <a:cubicBezTo>
                  <a:pt x="1025" y="316"/>
                  <a:pt x="1025" y="317"/>
                  <a:pt x="1025" y="317"/>
                </a:cubicBezTo>
                <a:cubicBezTo>
                  <a:pt x="1025" y="317"/>
                  <a:pt x="1025" y="317"/>
                  <a:pt x="1024" y="317"/>
                </a:cubicBezTo>
                <a:cubicBezTo>
                  <a:pt x="1024" y="316"/>
                  <a:pt x="1024" y="316"/>
                  <a:pt x="1024" y="316"/>
                </a:cubicBezTo>
                <a:cubicBezTo>
                  <a:pt x="1024" y="316"/>
                  <a:pt x="1024" y="316"/>
                  <a:pt x="1024" y="316"/>
                </a:cubicBezTo>
                <a:cubicBezTo>
                  <a:pt x="1024" y="316"/>
                  <a:pt x="1024" y="316"/>
                  <a:pt x="1024" y="316"/>
                </a:cubicBezTo>
                <a:cubicBezTo>
                  <a:pt x="1024" y="316"/>
                  <a:pt x="1024" y="317"/>
                  <a:pt x="1024" y="317"/>
                </a:cubicBezTo>
                <a:cubicBezTo>
                  <a:pt x="1024" y="317"/>
                  <a:pt x="1024" y="317"/>
                  <a:pt x="1024" y="317"/>
                </a:cubicBezTo>
                <a:cubicBezTo>
                  <a:pt x="1023" y="317"/>
                  <a:pt x="1023" y="316"/>
                  <a:pt x="1023" y="316"/>
                </a:cubicBezTo>
                <a:close/>
                <a:moveTo>
                  <a:pt x="1044" y="313"/>
                </a:moveTo>
                <a:cubicBezTo>
                  <a:pt x="1044" y="313"/>
                  <a:pt x="1044" y="313"/>
                  <a:pt x="1044" y="313"/>
                </a:cubicBezTo>
                <a:cubicBezTo>
                  <a:pt x="1044" y="313"/>
                  <a:pt x="1044" y="313"/>
                  <a:pt x="1044" y="313"/>
                </a:cubicBezTo>
                <a:cubicBezTo>
                  <a:pt x="1044" y="313"/>
                  <a:pt x="1044" y="313"/>
                  <a:pt x="1044" y="313"/>
                </a:cubicBezTo>
                <a:cubicBezTo>
                  <a:pt x="1044" y="313"/>
                  <a:pt x="1044" y="313"/>
                  <a:pt x="1044" y="313"/>
                </a:cubicBezTo>
                <a:cubicBezTo>
                  <a:pt x="1044" y="313"/>
                  <a:pt x="1044" y="313"/>
                  <a:pt x="1044" y="313"/>
                </a:cubicBezTo>
                <a:close/>
                <a:moveTo>
                  <a:pt x="1034" y="296"/>
                </a:moveTo>
                <a:cubicBezTo>
                  <a:pt x="1033" y="296"/>
                  <a:pt x="1033" y="296"/>
                  <a:pt x="1033" y="296"/>
                </a:cubicBezTo>
                <a:cubicBezTo>
                  <a:pt x="1033" y="296"/>
                  <a:pt x="1033" y="296"/>
                  <a:pt x="1033" y="296"/>
                </a:cubicBezTo>
                <a:cubicBezTo>
                  <a:pt x="1033" y="296"/>
                  <a:pt x="1033" y="296"/>
                  <a:pt x="1034" y="296"/>
                </a:cubicBezTo>
                <a:cubicBezTo>
                  <a:pt x="1034" y="296"/>
                  <a:pt x="1034" y="296"/>
                  <a:pt x="1035" y="296"/>
                </a:cubicBezTo>
                <a:cubicBezTo>
                  <a:pt x="1035" y="296"/>
                  <a:pt x="1035" y="296"/>
                  <a:pt x="1035" y="296"/>
                </a:cubicBezTo>
                <a:cubicBezTo>
                  <a:pt x="1035" y="296"/>
                  <a:pt x="1034" y="296"/>
                  <a:pt x="1034" y="296"/>
                </a:cubicBezTo>
                <a:cubicBezTo>
                  <a:pt x="1034" y="296"/>
                  <a:pt x="1034" y="296"/>
                  <a:pt x="1034" y="296"/>
                </a:cubicBezTo>
                <a:close/>
                <a:moveTo>
                  <a:pt x="1079" y="319"/>
                </a:moveTo>
                <a:cubicBezTo>
                  <a:pt x="1079" y="319"/>
                  <a:pt x="1079" y="319"/>
                  <a:pt x="1080" y="319"/>
                </a:cubicBezTo>
                <a:cubicBezTo>
                  <a:pt x="1079" y="319"/>
                  <a:pt x="1079" y="319"/>
                  <a:pt x="1079" y="319"/>
                </a:cubicBezTo>
                <a:cubicBezTo>
                  <a:pt x="1079" y="319"/>
                  <a:pt x="1079" y="319"/>
                  <a:pt x="1079" y="319"/>
                </a:cubicBezTo>
                <a:cubicBezTo>
                  <a:pt x="1078" y="319"/>
                  <a:pt x="1077" y="319"/>
                  <a:pt x="1077" y="319"/>
                </a:cubicBezTo>
                <a:cubicBezTo>
                  <a:pt x="1076" y="320"/>
                  <a:pt x="1075" y="320"/>
                  <a:pt x="1075" y="320"/>
                </a:cubicBezTo>
                <a:cubicBezTo>
                  <a:pt x="1074" y="320"/>
                  <a:pt x="1074" y="320"/>
                  <a:pt x="1073" y="320"/>
                </a:cubicBezTo>
                <a:cubicBezTo>
                  <a:pt x="1073" y="320"/>
                  <a:pt x="1072" y="320"/>
                  <a:pt x="1072" y="319"/>
                </a:cubicBezTo>
                <a:cubicBezTo>
                  <a:pt x="1072" y="319"/>
                  <a:pt x="1071" y="319"/>
                  <a:pt x="1071" y="319"/>
                </a:cubicBezTo>
                <a:cubicBezTo>
                  <a:pt x="1071" y="319"/>
                  <a:pt x="1071" y="320"/>
                  <a:pt x="1071" y="320"/>
                </a:cubicBezTo>
                <a:cubicBezTo>
                  <a:pt x="1071" y="320"/>
                  <a:pt x="1071" y="320"/>
                  <a:pt x="1071" y="320"/>
                </a:cubicBezTo>
                <a:cubicBezTo>
                  <a:pt x="1070" y="320"/>
                  <a:pt x="1070" y="320"/>
                  <a:pt x="1070" y="320"/>
                </a:cubicBezTo>
                <a:cubicBezTo>
                  <a:pt x="1070" y="320"/>
                  <a:pt x="1069" y="320"/>
                  <a:pt x="1069" y="320"/>
                </a:cubicBezTo>
                <a:cubicBezTo>
                  <a:pt x="1069" y="320"/>
                  <a:pt x="1068" y="320"/>
                  <a:pt x="1068" y="320"/>
                </a:cubicBezTo>
                <a:cubicBezTo>
                  <a:pt x="1068" y="321"/>
                  <a:pt x="1068" y="321"/>
                  <a:pt x="1068" y="321"/>
                </a:cubicBezTo>
                <a:cubicBezTo>
                  <a:pt x="1068" y="321"/>
                  <a:pt x="1068" y="321"/>
                  <a:pt x="1068" y="321"/>
                </a:cubicBezTo>
                <a:cubicBezTo>
                  <a:pt x="1068" y="322"/>
                  <a:pt x="1068" y="322"/>
                  <a:pt x="1068" y="322"/>
                </a:cubicBezTo>
                <a:cubicBezTo>
                  <a:pt x="1069" y="322"/>
                  <a:pt x="1069" y="323"/>
                  <a:pt x="1069" y="323"/>
                </a:cubicBezTo>
                <a:cubicBezTo>
                  <a:pt x="1070" y="323"/>
                  <a:pt x="1070" y="323"/>
                  <a:pt x="1071" y="323"/>
                </a:cubicBezTo>
                <a:cubicBezTo>
                  <a:pt x="1071" y="323"/>
                  <a:pt x="1071" y="323"/>
                  <a:pt x="1071" y="323"/>
                </a:cubicBezTo>
                <a:cubicBezTo>
                  <a:pt x="1072" y="323"/>
                  <a:pt x="1072" y="323"/>
                  <a:pt x="1072" y="323"/>
                </a:cubicBezTo>
                <a:cubicBezTo>
                  <a:pt x="1072" y="323"/>
                  <a:pt x="1073" y="323"/>
                  <a:pt x="1073" y="323"/>
                </a:cubicBezTo>
                <a:cubicBezTo>
                  <a:pt x="1074" y="322"/>
                  <a:pt x="1074" y="322"/>
                  <a:pt x="1074" y="322"/>
                </a:cubicBezTo>
                <a:cubicBezTo>
                  <a:pt x="1075" y="322"/>
                  <a:pt x="1075" y="322"/>
                  <a:pt x="1075" y="322"/>
                </a:cubicBezTo>
                <a:cubicBezTo>
                  <a:pt x="1076" y="322"/>
                  <a:pt x="1076" y="322"/>
                  <a:pt x="1077" y="322"/>
                </a:cubicBezTo>
                <a:cubicBezTo>
                  <a:pt x="1077" y="322"/>
                  <a:pt x="1077" y="322"/>
                  <a:pt x="1077" y="321"/>
                </a:cubicBezTo>
                <a:cubicBezTo>
                  <a:pt x="1077" y="321"/>
                  <a:pt x="1077" y="321"/>
                  <a:pt x="1076" y="321"/>
                </a:cubicBezTo>
                <a:cubicBezTo>
                  <a:pt x="1077" y="320"/>
                  <a:pt x="1077" y="320"/>
                  <a:pt x="1078" y="320"/>
                </a:cubicBezTo>
                <a:cubicBezTo>
                  <a:pt x="1078" y="320"/>
                  <a:pt x="1078" y="319"/>
                  <a:pt x="1079" y="319"/>
                </a:cubicBezTo>
                <a:close/>
                <a:moveTo>
                  <a:pt x="775" y="312"/>
                </a:moveTo>
                <a:cubicBezTo>
                  <a:pt x="774" y="312"/>
                  <a:pt x="774" y="312"/>
                  <a:pt x="774" y="312"/>
                </a:cubicBezTo>
                <a:cubicBezTo>
                  <a:pt x="774" y="313"/>
                  <a:pt x="774" y="313"/>
                  <a:pt x="774" y="313"/>
                </a:cubicBezTo>
                <a:cubicBezTo>
                  <a:pt x="774" y="313"/>
                  <a:pt x="775" y="313"/>
                  <a:pt x="775" y="313"/>
                </a:cubicBezTo>
                <a:cubicBezTo>
                  <a:pt x="775" y="313"/>
                  <a:pt x="775" y="313"/>
                  <a:pt x="776" y="313"/>
                </a:cubicBezTo>
                <a:cubicBezTo>
                  <a:pt x="775" y="312"/>
                  <a:pt x="775" y="312"/>
                  <a:pt x="775" y="312"/>
                </a:cubicBezTo>
                <a:cubicBezTo>
                  <a:pt x="775" y="312"/>
                  <a:pt x="775" y="312"/>
                  <a:pt x="775" y="312"/>
                </a:cubicBezTo>
                <a:close/>
                <a:moveTo>
                  <a:pt x="762" y="309"/>
                </a:moveTo>
                <a:cubicBezTo>
                  <a:pt x="762" y="310"/>
                  <a:pt x="762" y="310"/>
                  <a:pt x="763" y="310"/>
                </a:cubicBezTo>
                <a:cubicBezTo>
                  <a:pt x="762" y="310"/>
                  <a:pt x="762" y="310"/>
                  <a:pt x="762" y="309"/>
                </a:cubicBezTo>
                <a:cubicBezTo>
                  <a:pt x="762" y="309"/>
                  <a:pt x="762" y="309"/>
                  <a:pt x="762" y="309"/>
                </a:cubicBezTo>
                <a:close/>
                <a:moveTo>
                  <a:pt x="760" y="310"/>
                </a:moveTo>
                <a:cubicBezTo>
                  <a:pt x="760" y="310"/>
                  <a:pt x="760" y="311"/>
                  <a:pt x="760" y="311"/>
                </a:cubicBezTo>
                <a:cubicBezTo>
                  <a:pt x="760" y="311"/>
                  <a:pt x="761" y="311"/>
                  <a:pt x="761" y="311"/>
                </a:cubicBezTo>
                <a:cubicBezTo>
                  <a:pt x="761" y="311"/>
                  <a:pt x="761" y="311"/>
                  <a:pt x="762" y="311"/>
                </a:cubicBezTo>
                <a:cubicBezTo>
                  <a:pt x="761" y="311"/>
                  <a:pt x="761" y="310"/>
                  <a:pt x="761" y="310"/>
                </a:cubicBezTo>
                <a:cubicBezTo>
                  <a:pt x="760" y="310"/>
                  <a:pt x="760" y="310"/>
                  <a:pt x="760" y="310"/>
                </a:cubicBezTo>
                <a:close/>
                <a:moveTo>
                  <a:pt x="766" y="309"/>
                </a:moveTo>
                <a:cubicBezTo>
                  <a:pt x="766" y="309"/>
                  <a:pt x="767" y="309"/>
                  <a:pt x="767" y="309"/>
                </a:cubicBezTo>
                <a:cubicBezTo>
                  <a:pt x="767" y="309"/>
                  <a:pt x="767" y="309"/>
                  <a:pt x="767" y="309"/>
                </a:cubicBezTo>
                <a:cubicBezTo>
                  <a:pt x="767" y="309"/>
                  <a:pt x="766" y="309"/>
                  <a:pt x="766" y="309"/>
                </a:cubicBezTo>
                <a:cubicBezTo>
                  <a:pt x="766" y="309"/>
                  <a:pt x="766" y="309"/>
                  <a:pt x="766" y="309"/>
                </a:cubicBezTo>
                <a:close/>
                <a:moveTo>
                  <a:pt x="820" y="330"/>
                </a:moveTo>
                <a:cubicBezTo>
                  <a:pt x="819" y="330"/>
                  <a:pt x="819" y="330"/>
                  <a:pt x="818" y="330"/>
                </a:cubicBezTo>
                <a:cubicBezTo>
                  <a:pt x="819" y="331"/>
                  <a:pt x="819" y="331"/>
                  <a:pt x="819" y="331"/>
                </a:cubicBezTo>
                <a:cubicBezTo>
                  <a:pt x="819" y="331"/>
                  <a:pt x="819" y="331"/>
                  <a:pt x="820" y="331"/>
                </a:cubicBezTo>
                <a:cubicBezTo>
                  <a:pt x="820" y="331"/>
                  <a:pt x="820" y="331"/>
                  <a:pt x="820" y="331"/>
                </a:cubicBezTo>
                <a:cubicBezTo>
                  <a:pt x="820" y="331"/>
                  <a:pt x="820" y="330"/>
                  <a:pt x="820" y="330"/>
                </a:cubicBezTo>
                <a:close/>
                <a:moveTo>
                  <a:pt x="834" y="348"/>
                </a:moveTo>
                <a:cubicBezTo>
                  <a:pt x="834" y="348"/>
                  <a:pt x="833" y="349"/>
                  <a:pt x="833" y="349"/>
                </a:cubicBezTo>
                <a:cubicBezTo>
                  <a:pt x="833" y="349"/>
                  <a:pt x="833" y="349"/>
                  <a:pt x="833" y="349"/>
                </a:cubicBezTo>
                <a:cubicBezTo>
                  <a:pt x="834" y="349"/>
                  <a:pt x="834" y="349"/>
                  <a:pt x="835" y="349"/>
                </a:cubicBezTo>
                <a:cubicBezTo>
                  <a:pt x="835" y="348"/>
                  <a:pt x="835" y="348"/>
                  <a:pt x="836" y="348"/>
                </a:cubicBezTo>
                <a:cubicBezTo>
                  <a:pt x="836" y="347"/>
                  <a:pt x="836" y="347"/>
                  <a:pt x="835" y="347"/>
                </a:cubicBezTo>
                <a:cubicBezTo>
                  <a:pt x="835" y="347"/>
                  <a:pt x="834" y="347"/>
                  <a:pt x="834" y="347"/>
                </a:cubicBezTo>
                <a:cubicBezTo>
                  <a:pt x="834" y="348"/>
                  <a:pt x="834" y="348"/>
                  <a:pt x="834" y="348"/>
                </a:cubicBezTo>
                <a:close/>
                <a:moveTo>
                  <a:pt x="816" y="347"/>
                </a:moveTo>
                <a:cubicBezTo>
                  <a:pt x="816" y="347"/>
                  <a:pt x="816" y="347"/>
                  <a:pt x="816" y="347"/>
                </a:cubicBezTo>
                <a:cubicBezTo>
                  <a:pt x="816" y="348"/>
                  <a:pt x="816" y="348"/>
                  <a:pt x="816" y="348"/>
                </a:cubicBezTo>
                <a:cubicBezTo>
                  <a:pt x="816" y="348"/>
                  <a:pt x="816" y="348"/>
                  <a:pt x="816" y="349"/>
                </a:cubicBezTo>
                <a:cubicBezTo>
                  <a:pt x="816" y="349"/>
                  <a:pt x="817" y="348"/>
                  <a:pt x="817" y="348"/>
                </a:cubicBezTo>
                <a:cubicBezTo>
                  <a:pt x="817" y="348"/>
                  <a:pt x="817" y="348"/>
                  <a:pt x="817" y="347"/>
                </a:cubicBezTo>
                <a:cubicBezTo>
                  <a:pt x="817" y="347"/>
                  <a:pt x="816" y="347"/>
                  <a:pt x="816" y="347"/>
                </a:cubicBezTo>
                <a:close/>
                <a:moveTo>
                  <a:pt x="826" y="349"/>
                </a:moveTo>
                <a:cubicBezTo>
                  <a:pt x="826" y="349"/>
                  <a:pt x="826" y="350"/>
                  <a:pt x="826" y="350"/>
                </a:cubicBezTo>
                <a:cubicBezTo>
                  <a:pt x="826" y="350"/>
                  <a:pt x="827" y="351"/>
                  <a:pt x="827" y="351"/>
                </a:cubicBezTo>
                <a:cubicBezTo>
                  <a:pt x="827" y="351"/>
                  <a:pt x="827" y="350"/>
                  <a:pt x="828" y="350"/>
                </a:cubicBezTo>
                <a:cubicBezTo>
                  <a:pt x="828" y="350"/>
                  <a:pt x="828" y="350"/>
                  <a:pt x="828" y="350"/>
                </a:cubicBezTo>
                <a:cubicBezTo>
                  <a:pt x="828" y="350"/>
                  <a:pt x="828" y="349"/>
                  <a:pt x="828" y="349"/>
                </a:cubicBezTo>
                <a:cubicBezTo>
                  <a:pt x="828" y="349"/>
                  <a:pt x="827" y="349"/>
                  <a:pt x="827" y="349"/>
                </a:cubicBezTo>
                <a:cubicBezTo>
                  <a:pt x="827" y="349"/>
                  <a:pt x="827" y="349"/>
                  <a:pt x="826" y="349"/>
                </a:cubicBezTo>
                <a:close/>
                <a:moveTo>
                  <a:pt x="836" y="345"/>
                </a:moveTo>
                <a:cubicBezTo>
                  <a:pt x="836" y="345"/>
                  <a:pt x="836" y="345"/>
                  <a:pt x="836" y="346"/>
                </a:cubicBezTo>
                <a:cubicBezTo>
                  <a:pt x="836" y="346"/>
                  <a:pt x="836" y="345"/>
                  <a:pt x="837" y="345"/>
                </a:cubicBezTo>
                <a:cubicBezTo>
                  <a:pt x="837" y="345"/>
                  <a:pt x="838" y="345"/>
                  <a:pt x="838" y="345"/>
                </a:cubicBezTo>
                <a:cubicBezTo>
                  <a:pt x="838" y="345"/>
                  <a:pt x="837" y="345"/>
                  <a:pt x="837" y="345"/>
                </a:cubicBezTo>
                <a:cubicBezTo>
                  <a:pt x="837" y="345"/>
                  <a:pt x="836" y="345"/>
                  <a:pt x="836" y="345"/>
                </a:cubicBezTo>
                <a:close/>
                <a:moveTo>
                  <a:pt x="821" y="350"/>
                </a:moveTo>
                <a:cubicBezTo>
                  <a:pt x="822" y="350"/>
                  <a:pt x="822" y="349"/>
                  <a:pt x="823" y="349"/>
                </a:cubicBezTo>
                <a:cubicBezTo>
                  <a:pt x="823" y="349"/>
                  <a:pt x="824" y="349"/>
                  <a:pt x="824" y="349"/>
                </a:cubicBezTo>
                <a:cubicBezTo>
                  <a:pt x="824" y="349"/>
                  <a:pt x="824" y="348"/>
                  <a:pt x="824" y="348"/>
                </a:cubicBezTo>
                <a:cubicBezTo>
                  <a:pt x="824" y="348"/>
                  <a:pt x="824" y="348"/>
                  <a:pt x="823" y="348"/>
                </a:cubicBezTo>
                <a:cubicBezTo>
                  <a:pt x="823" y="348"/>
                  <a:pt x="823" y="348"/>
                  <a:pt x="823" y="348"/>
                </a:cubicBezTo>
                <a:cubicBezTo>
                  <a:pt x="822" y="348"/>
                  <a:pt x="822" y="349"/>
                  <a:pt x="822" y="349"/>
                </a:cubicBezTo>
                <a:cubicBezTo>
                  <a:pt x="821" y="349"/>
                  <a:pt x="821" y="349"/>
                  <a:pt x="821" y="349"/>
                </a:cubicBezTo>
                <a:cubicBezTo>
                  <a:pt x="821" y="349"/>
                  <a:pt x="820" y="349"/>
                  <a:pt x="820" y="349"/>
                </a:cubicBezTo>
                <a:cubicBezTo>
                  <a:pt x="820" y="349"/>
                  <a:pt x="820" y="350"/>
                  <a:pt x="821" y="350"/>
                </a:cubicBezTo>
                <a:cubicBezTo>
                  <a:pt x="821" y="350"/>
                  <a:pt x="821" y="350"/>
                  <a:pt x="821" y="350"/>
                </a:cubicBezTo>
                <a:close/>
                <a:moveTo>
                  <a:pt x="815" y="351"/>
                </a:moveTo>
                <a:cubicBezTo>
                  <a:pt x="815" y="351"/>
                  <a:pt x="815" y="351"/>
                  <a:pt x="815" y="352"/>
                </a:cubicBezTo>
                <a:cubicBezTo>
                  <a:pt x="815" y="352"/>
                  <a:pt x="815" y="352"/>
                  <a:pt x="815" y="352"/>
                </a:cubicBezTo>
                <a:cubicBezTo>
                  <a:pt x="815" y="352"/>
                  <a:pt x="815" y="352"/>
                  <a:pt x="815" y="352"/>
                </a:cubicBezTo>
                <a:cubicBezTo>
                  <a:pt x="816" y="352"/>
                  <a:pt x="816" y="352"/>
                  <a:pt x="816" y="352"/>
                </a:cubicBezTo>
                <a:cubicBezTo>
                  <a:pt x="816" y="352"/>
                  <a:pt x="816" y="351"/>
                  <a:pt x="816" y="351"/>
                </a:cubicBezTo>
                <a:cubicBezTo>
                  <a:pt x="816" y="351"/>
                  <a:pt x="816" y="351"/>
                  <a:pt x="815" y="351"/>
                </a:cubicBezTo>
                <a:close/>
                <a:moveTo>
                  <a:pt x="819" y="350"/>
                </a:moveTo>
                <a:cubicBezTo>
                  <a:pt x="819" y="350"/>
                  <a:pt x="819" y="350"/>
                  <a:pt x="819" y="350"/>
                </a:cubicBezTo>
                <a:cubicBezTo>
                  <a:pt x="819" y="350"/>
                  <a:pt x="819" y="350"/>
                  <a:pt x="819" y="350"/>
                </a:cubicBezTo>
                <a:cubicBezTo>
                  <a:pt x="819" y="350"/>
                  <a:pt x="819" y="350"/>
                  <a:pt x="819" y="350"/>
                </a:cubicBezTo>
                <a:cubicBezTo>
                  <a:pt x="819" y="350"/>
                  <a:pt x="819" y="350"/>
                  <a:pt x="819" y="350"/>
                </a:cubicBezTo>
                <a:cubicBezTo>
                  <a:pt x="819" y="350"/>
                  <a:pt x="819" y="350"/>
                  <a:pt x="819" y="350"/>
                </a:cubicBezTo>
                <a:close/>
                <a:moveTo>
                  <a:pt x="782" y="395"/>
                </a:moveTo>
                <a:cubicBezTo>
                  <a:pt x="781" y="395"/>
                  <a:pt x="781" y="395"/>
                  <a:pt x="781" y="395"/>
                </a:cubicBezTo>
                <a:cubicBezTo>
                  <a:pt x="781" y="395"/>
                  <a:pt x="781" y="395"/>
                  <a:pt x="781" y="395"/>
                </a:cubicBezTo>
                <a:cubicBezTo>
                  <a:pt x="781" y="396"/>
                  <a:pt x="781" y="396"/>
                  <a:pt x="781" y="396"/>
                </a:cubicBezTo>
                <a:cubicBezTo>
                  <a:pt x="781" y="396"/>
                  <a:pt x="781" y="396"/>
                  <a:pt x="782" y="396"/>
                </a:cubicBezTo>
                <a:cubicBezTo>
                  <a:pt x="782" y="396"/>
                  <a:pt x="782" y="395"/>
                  <a:pt x="783" y="395"/>
                </a:cubicBezTo>
                <a:cubicBezTo>
                  <a:pt x="782" y="395"/>
                  <a:pt x="782" y="395"/>
                  <a:pt x="782" y="395"/>
                </a:cubicBezTo>
                <a:cubicBezTo>
                  <a:pt x="782" y="395"/>
                  <a:pt x="782" y="395"/>
                  <a:pt x="782" y="395"/>
                </a:cubicBezTo>
                <a:close/>
                <a:moveTo>
                  <a:pt x="786" y="396"/>
                </a:moveTo>
                <a:cubicBezTo>
                  <a:pt x="786" y="396"/>
                  <a:pt x="786" y="396"/>
                  <a:pt x="786" y="396"/>
                </a:cubicBezTo>
                <a:cubicBezTo>
                  <a:pt x="786" y="397"/>
                  <a:pt x="786" y="397"/>
                  <a:pt x="786" y="397"/>
                </a:cubicBezTo>
                <a:cubicBezTo>
                  <a:pt x="786" y="397"/>
                  <a:pt x="786" y="397"/>
                  <a:pt x="786" y="397"/>
                </a:cubicBezTo>
                <a:cubicBezTo>
                  <a:pt x="786" y="397"/>
                  <a:pt x="786" y="397"/>
                  <a:pt x="787" y="397"/>
                </a:cubicBezTo>
                <a:cubicBezTo>
                  <a:pt x="787" y="397"/>
                  <a:pt x="787" y="397"/>
                  <a:pt x="787" y="397"/>
                </a:cubicBezTo>
                <a:cubicBezTo>
                  <a:pt x="787" y="397"/>
                  <a:pt x="787" y="397"/>
                  <a:pt x="787" y="397"/>
                </a:cubicBezTo>
                <a:cubicBezTo>
                  <a:pt x="787" y="397"/>
                  <a:pt x="787" y="397"/>
                  <a:pt x="787" y="397"/>
                </a:cubicBezTo>
                <a:cubicBezTo>
                  <a:pt x="787" y="396"/>
                  <a:pt x="787" y="396"/>
                  <a:pt x="786" y="396"/>
                </a:cubicBezTo>
                <a:close/>
                <a:moveTo>
                  <a:pt x="793" y="395"/>
                </a:moveTo>
                <a:cubicBezTo>
                  <a:pt x="793" y="395"/>
                  <a:pt x="793" y="395"/>
                  <a:pt x="793" y="395"/>
                </a:cubicBezTo>
                <a:cubicBezTo>
                  <a:pt x="793" y="396"/>
                  <a:pt x="793" y="396"/>
                  <a:pt x="793" y="396"/>
                </a:cubicBezTo>
                <a:cubicBezTo>
                  <a:pt x="793" y="396"/>
                  <a:pt x="793" y="396"/>
                  <a:pt x="793" y="396"/>
                </a:cubicBezTo>
                <a:cubicBezTo>
                  <a:pt x="793" y="395"/>
                  <a:pt x="793" y="395"/>
                  <a:pt x="793" y="395"/>
                </a:cubicBezTo>
                <a:close/>
                <a:moveTo>
                  <a:pt x="793" y="397"/>
                </a:moveTo>
                <a:cubicBezTo>
                  <a:pt x="793" y="398"/>
                  <a:pt x="792" y="398"/>
                  <a:pt x="792" y="398"/>
                </a:cubicBezTo>
                <a:cubicBezTo>
                  <a:pt x="792" y="398"/>
                  <a:pt x="793" y="398"/>
                  <a:pt x="793" y="398"/>
                </a:cubicBezTo>
                <a:cubicBezTo>
                  <a:pt x="793" y="398"/>
                  <a:pt x="793" y="398"/>
                  <a:pt x="793" y="398"/>
                </a:cubicBezTo>
                <a:cubicBezTo>
                  <a:pt x="793" y="398"/>
                  <a:pt x="794" y="398"/>
                  <a:pt x="794" y="398"/>
                </a:cubicBezTo>
                <a:cubicBezTo>
                  <a:pt x="794" y="398"/>
                  <a:pt x="794" y="398"/>
                  <a:pt x="793" y="398"/>
                </a:cubicBezTo>
                <a:cubicBezTo>
                  <a:pt x="793" y="398"/>
                  <a:pt x="793" y="398"/>
                  <a:pt x="793" y="397"/>
                </a:cubicBezTo>
                <a:close/>
                <a:moveTo>
                  <a:pt x="783" y="396"/>
                </a:moveTo>
                <a:cubicBezTo>
                  <a:pt x="783" y="396"/>
                  <a:pt x="783" y="396"/>
                  <a:pt x="783" y="396"/>
                </a:cubicBezTo>
                <a:cubicBezTo>
                  <a:pt x="783" y="396"/>
                  <a:pt x="783" y="396"/>
                  <a:pt x="783" y="396"/>
                </a:cubicBezTo>
                <a:cubicBezTo>
                  <a:pt x="783" y="396"/>
                  <a:pt x="783" y="396"/>
                  <a:pt x="783" y="396"/>
                </a:cubicBezTo>
                <a:cubicBezTo>
                  <a:pt x="783" y="396"/>
                  <a:pt x="783" y="396"/>
                  <a:pt x="783" y="396"/>
                </a:cubicBezTo>
                <a:cubicBezTo>
                  <a:pt x="783" y="396"/>
                  <a:pt x="783" y="396"/>
                  <a:pt x="783" y="396"/>
                </a:cubicBezTo>
                <a:close/>
                <a:moveTo>
                  <a:pt x="792" y="402"/>
                </a:moveTo>
                <a:cubicBezTo>
                  <a:pt x="792" y="402"/>
                  <a:pt x="792" y="402"/>
                  <a:pt x="792" y="402"/>
                </a:cubicBezTo>
                <a:cubicBezTo>
                  <a:pt x="792" y="402"/>
                  <a:pt x="792" y="402"/>
                  <a:pt x="792" y="402"/>
                </a:cubicBezTo>
                <a:cubicBezTo>
                  <a:pt x="792" y="402"/>
                  <a:pt x="792" y="401"/>
                  <a:pt x="792" y="401"/>
                </a:cubicBezTo>
                <a:cubicBezTo>
                  <a:pt x="792" y="401"/>
                  <a:pt x="792" y="402"/>
                  <a:pt x="792" y="402"/>
                </a:cubicBezTo>
                <a:close/>
                <a:moveTo>
                  <a:pt x="789" y="402"/>
                </a:moveTo>
                <a:cubicBezTo>
                  <a:pt x="789" y="402"/>
                  <a:pt x="789" y="402"/>
                  <a:pt x="789" y="402"/>
                </a:cubicBezTo>
                <a:cubicBezTo>
                  <a:pt x="789" y="402"/>
                  <a:pt x="789" y="403"/>
                  <a:pt x="789" y="403"/>
                </a:cubicBezTo>
                <a:cubicBezTo>
                  <a:pt x="790" y="403"/>
                  <a:pt x="790" y="403"/>
                  <a:pt x="791" y="403"/>
                </a:cubicBezTo>
                <a:cubicBezTo>
                  <a:pt x="791" y="403"/>
                  <a:pt x="791" y="403"/>
                  <a:pt x="791" y="402"/>
                </a:cubicBezTo>
                <a:cubicBezTo>
                  <a:pt x="790" y="402"/>
                  <a:pt x="790" y="402"/>
                  <a:pt x="790" y="402"/>
                </a:cubicBezTo>
                <a:cubicBezTo>
                  <a:pt x="789" y="402"/>
                  <a:pt x="789" y="402"/>
                  <a:pt x="789" y="402"/>
                </a:cubicBezTo>
                <a:close/>
                <a:moveTo>
                  <a:pt x="788" y="397"/>
                </a:moveTo>
                <a:cubicBezTo>
                  <a:pt x="788" y="397"/>
                  <a:pt x="788" y="397"/>
                  <a:pt x="788" y="397"/>
                </a:cubicBezTo>
                <a:cubicBezTo>
                  <a:pt x="788" y="397"/>
                  <a:pt x="788" y="397"/>
                  <a:pt x="789" y="397"/>
                </a:cubicBezTo>
                <a:cubicBezTo>
                  <a:pt x="788" y="397"/>
                  <a:pt x="788" y="396"/>
                  <a:pt x="788" y="396"/>
                </a:cubicBezTo>
                <a:cubicBezTo>
                  <a:pt x="788" y="396"/>
                  <a:pt x="788" y="396"/>
                  <a:pt x="788" y="397"/>
                </a:cubicBezTo>
                <a:close/>
                <a:moveTo>
                  <a:pt x="1178" y="422"/>
                </a:moveTo>
                <a:cubicBezTo>
                  <a:pt x="1178" y="422"/>
                  <a:pt x="1178" y="421"/>
                  <a:pt x="1178" y="421"/>
                </a:cubicBezTo>
                <a:cubicBezTo>
                  <a:pt x="1178" y="421"/>
                  <a:pt x="1177" y="421"/>
                  <a:pt x="1177" y="421"/>
                </a:cubicBezTo>
                <a:cubicBezTo>
                  <a:pt x="1177" y="421"/>
                  <a:pt x="1177" y="421"/>
                  <a:pt x="1176" y="421"/>
                </a:cubicBezTo>
                <a:cubicBezTo>
                  <a:pt x="1176" y="421"/>
                  <a:pt x="1176" y="421"/>
                  <a:pt x="1175" y="421"/>
                </a:cubicBezTo>
                <a:cubicBezTo>
                  <a:pt x="1175" y="421"/>
                  <a:pt x="1175" y="421"/>
                  <a:pt x="1175" y="421"/>
                </a:cubicBezTo>
                <a:cubicBezTo>
                  <a:pt x="1175" y="421"/>
                  <a:pt x="1174" y="421"/>
                  <a:pt x="1174" y="421"/>
                </a:cubicBezTo>
                <a:cubicBezTo>
                  <a:pt x="1174" y="421"/>
                  <a:pt x="1174" y="420"/>
                  <a:pt x="1174" y="420"/>
                </a:cubicBezTo>
                <a:cubicBezTo>
                  <a:pt x="1174" y="420"/>
                  <a:pt x="1174" y="420"/>
                  <a:pt x="1173" y="420"/>
                </a:cubicBezTo>
                <a:cubicBezTo>
                  <a:pt x="1173" y="420"/>
                  <a:pt x="1173" y="420"/>
                  <a:pt x="1173" y="420"/>
                </a:cubicBezTo>
                <a:cubicBezTo>
                  <a:pt x="1173" y="421"/>
                  <a:pt x="1173" y="421"/>
                  <a:pt x="1173" y="421"/>
                </a:cubicBezTo>
                <a:cubicBezTo>
                  <a:pt x="1172" y="421"/>
                  <a:pt x="1172" y="421"/>
                  <a:pt x="1172" y="421"/>
                </a:cubicBezTo>
                <a:cubicBezTo>
                  <a:pt x="1172" y="421"/>
                  <a:pt x="1172" y="421"/>
                  <a:pt x="1172" y="421"/>
                </a:cubicBezTo>
                <a:cubicBezTo>
                  <a:pt x="1173" y="422"/>
                  <a:pt x="1173" y="422"/>
                  <a:pt x="1173" y="422"/>
                </a:cubicBezTo>
                <a:cubicBezTo>
                  <a:pt x="1173" y="422"/>
                  <a:pt x="1174" y="422"/>
                  <a:pt x="1174" y="422"/>
                </a:cubicBezTo>
                <a:cubicBezTo>
                  <a:pt x="1175" y="422"/>
                  <a:pt x="1175" y="422"/>
                  <a:pt x="1176" y="422"/>
                </a:cubicBezTo>
                <a:cubicBezTo>
                  <a:pt x="1176" y="422"/>
                  <a:pt x="1176" y="422"/>
                  <a:pt x="1177" y="422"/>
                </a:cubicBezTo>
                <a:cubicBezTo>
                  <a:pt x="1177" y="422"/>
                  <a:pt x="1177" y="422"/>
                  <a:pt x="1177" y="422"/>
                </a:cubicBezTo>
                <a:cubicBezTo>
                  <a:pt x="1178" y="422"/>
                  <a:pt x="1178" y="422"/>
                  <a:pt x="1178" y="422"/>
                </a:cubicBezTo>
                <a:close/>
                <a:moveTo>
                  <a:pt x="1166" y="421"/>
                </a:moveTo>
                <a:cubicBezTo>
                  <a:pt x="1166" y="422"/>
                  <a:pt x="1166" y="422"/>
                  <a:pt x="1167" y="422"/>
                </a:cubicBezTo>
                <a:cubicBezTo>
                  <a:pt x="1167" y="422"/>
                  <a:pt x="1168" y="422"/>
                  <a:pt x="1168" y="422"/>
                </a:cubicBezTo>
                <a:cubicBezTo>
                  <a:pt x="1167" y="422"/>
                  <a:pt x="1167" y="421"/>
                  <a:pt x="1167" y="421"/>
                </a:cubicBezTo>
                <a:cubicBezTo>
                  <a:pt x="1166" y="421"/>
                  <a:pt x="1166" y="421"/>
                  <a:pt x="1166" y="421"/>
                </a:cubicBezTo>
                <a:close/>
                <a:moveTo>
                  <a:pt x="958" y="322"/>
                </a:moveTo>
                <a:cubicBezTo>
                  <a:pt x="958" y="322"/>
                  <a:pt x="958" y="322"/>
                  <a:pt x="958" y="322"/>
                </a:cubicBezTo>
                <a:cubicBezTo>
                  <a:pt x="958" y="322"/>
                  <a:pt x="958" y="323"/>
                  <a:pt x="959" y="323"/>
                </a:cubicBezTo>
                <a:cubicBezTo>
                  <a:pt x="959" y="323"/>
                  <a:pt x="959" y="323"/>
                  <a:pt x="959" y="322"/>
                </a:cubicBezTo>
                <a:cubicBezTo>
                  <a:pt x="959" y="322"/>
                  <a:pt x="959" y="322"/>
                  <a:pt x="959" y="322"/>
                </a:cubicBezTo>
                <a:cubicBezTo>
                  <a:pt x="959" y="322"/>
                  <a:pt x="958" y="322"/>
                  <a:pt x="958" y="322"/>
                </a:cubicBezTo>
                <a:close/>
                <a:moveTo>
                  <a:pt x="847" y="427"/>
                </a:moveTo>
                <a:cubicBezTo>
                  <a:pt x="846" y="427"/>
                  <a:pt x="846" y="427"/>
                  <a:pt x="846" y="427"/>
                </a:cubicBezTo>
                <a:cubicBezTo>
                  <a:pt x="846" y="427"/>
                  <a:pt x="846" y="427"/>
                  <a:pt x="846" y="427"/>
                </a:cubicBezTo>
                <a:cubicBezTo>
                  <a:pt x="846" y="427"/>
                  <a:pt x="846" y="428"/>
                  <a:pt x="846" y="428"/>
                </a:cubicBezTo>
                <a:cubicBezTo>
                  <a:pt x="846" y="428"/>
                  <a:pt x="846" y="428"/>
                  <a:pt x="847" y="428"/>
                </a:cubicBezTo>
                <a:cubicBezTo>
                  <a:pt x="847" y="428"/>
                  <a:pt x="847" y="428"/>
                  <a:pt x="847" y="428"/>
                </a:cubicBezTo>
                <a:cubicBezTo>
                  <a:pt x="847" y="428"/>
                  <a:pt x="847" y="428"/>
                  <a:pt x="847" y="427"/>
                </a:cubicBezTo>
                <a:cubicBezTo>
                  <a:pt x="847" y="427"/>
                  <a:pt x="847" y="427"/>
                  <a:pt x="847" y="427"/>
                </a:cubicBezTo>
                <a:close/>
                <a:moveTo>
                  <a:pt x="939" y="452"/>
                </a:moveTo>
                <a:cubicBezTo>
                  <a:pt x="939" y="452"/>
                  <a:pt x="939" y="452"/>
                  <a:pt x="939" y="452"/>
                </a:cubicBezTo>
                <a:cubicBezTo>
                  <a:pt x="939" y="452"/>
                  <a:pt x="939" y="452"/>
                  <a:pt x="939" y="452"/>
                </a:cubicBezTo>
                <a:cubicBezTo>
                  <a:pt x="939" y="452"/>
                  <a:pt x="939" y="452"/>
                  <a:pt x="940" y="452"/>
                </a:cubicBezTo>
                <a:cubicBezTo>
                  <a:pt x="940" y="452"/>
                  <a:pt x="940" y="452"/>
                  <a:pt x="940" y="452"/>
                </a:cubicBezTo>
                <a:cubicBezTo>
                  <a:pt x="940" y="451"/>
                  <a:pt x="939" y="451"/>
                  <a:pt x="939" y="451"/>
                </a:cubicBezTo>
                <a:cubicBezTo>
                  <a:pt x="939" y="451"/>
                  <a:pt x="939" y="451"/>
                  <a:pt x="939" y="452"/>
                </a:cubicBezTo>
                <a:close/>
                <a:moveTo>
                  <a:pt x="950" y="439"/>
                </a:moveTo>
                <a:cubicBezTo>
                  <a:pt x="950" y="439"/>
                  <a:pt x="950" y="439"/>
                  <a:pt x="950" y="438"/>
                </a:cubicBezTo>
                <a:cubicBezTo>
                  <a:pt x="950" y="438"/>
                  <a:pt x="950" y="438"/>
                  <a:pt x="950" y="438"/>
                </a:cubicBezTo>
                <a:cubicBezTo>
                  <a:pt x="950" y="438"/>
                  <a:pt x="949" y="439"/>
                  <a:pt x="949" y="439"/>
                </a:cubicBezTo>
                <a:cubicBezTo>
                  <a:pt x="949" y="439"/>
                  <a:pt x="949" y="439"/>
                  <a:pt x="948" y="440"/>
                </a:cubicBezTo>
                <a:cubicBezTo>
                  <a:pt x="948" y="440"/>
                  <a:pt x="948" y="440"/>
                  <a:pt x="948" y="440"/>
                </a:cubicBezTo>
                <a:cubicBezTo>
                  <a:pt x="948" y="440"/>
                  <a:pt x="948" y="440"/>
                  <a:pt x="948" y="440"/>
                </a:cubicBezTo>
                <a:cubicBezTo>
                  <a:pt x="948" y="440"/>
                  <a:pt x="948" y="441"/>
                  <a:pt x="949" y="441"/>
                </a:cubicBezTo>
                <a:cubicBezTo>
                  <a:pt x="949" y="441"/>
                  <a:pt x="949" y="441"/>
                  <a:pt x="950" y="441"/>
                </a:cubicBezTo>
                <a:cubicBezTo>
                  <a:pt x="950" y="440"/>
                  <a:pt x="950" y="440"/>
                  <a:pt x="950" y="439"/>
                </a:cubicBezTo>
                <a:close/>
                <a:moveTo>
                  <a:pt x="1646" y="707"/>
                </a:moveTo>
                <a:cubicBezTo>
                  <a:pt x="1646" y="707"/>
                  <a:pt x="1646" y="707"/>
                  <a:pt x="1645" y="707"/>
                </a:cubicBezTo>
                <a:cubicBezTo>
                  <a:pt x="1646" y="707"/>
                  <a:pt x="1646" y="707"/>
                  <a:pt x="1646" y="707"/>
                </a:cubicBezTo>
                <a:cubicBezTo>
                  <a:pt x="1646" y="707"/>
                  <a:pt x="1647" y="707"/>
                  <a:pt x="1647" y="707"/>
                </a:cubicBezTo>
                <a:cubicBezTo>
                  <a:pt x="1647" y="707"/>
                  <a:pt x="1647" y="707"/>
                  <a:pt x="1647" y="706"/>
                </a:cubicBezTo>
                <a:cubicBezTo>
                  <a:pt x="1647" y="706"/>
                  <a:pt x="1647" y="706"/>
                  <a:pt x="1646" y="706"/>
                </a:cubicBezTo>
                <a:cubicBezTo>
                  <a:pt x="1646" y="706"/>
                  <a:pt x="1646" y="706"/>
                  <a:pt x="1646" y="707"/>
                </a:cubicBezTo>
                <a:close/>
                <a:moveTo>
                  <a:pt x="1648" y="710"/>
                </a:moveTo>
                <a:cubicBezTo>
                  <a:pt x="1648" y="710"/>
                  <a:pt x="1648" y="709"/>
                  <a:pt x="1649" y="709"/>
                </a:cubicBezTo>
                <a:cubicBezTo>
                  <a:pt x="1649" y="709"/>
                  <a:pt x="1649" y="709"/>
                  <a:pt x="1649" y="709"/>
                </a:cubicBezTo>
                <a:cubicBezTo>
                  <a:pt x="1649" y="708"/>
                  <a:pt x="1649" y="708"/>
                  <a:pt x="1649" y="708"/>
                </a:cubicBezTo>
                <a:cubicBezTo>
                  <a:pt x="1648" y="708"/>
                  <a:pt x="1648" y="708"/>
                  <a:pt x="1648" y="708"/>
                </a:cubicBezTo>
                <a:cubicBezTo>
                  <a:pt x="1648" y="708"/>
                  <a:pt x="1648" y="709"/>
                  <a:pt x="1648" y="709"/>
                </a:cubicBezTo>
                <a:cubicBezTo>
                  <a:pt x="1648" y="709"/>
                  <a:pt x="1647" y="709"/>
                  <a:pt x="1647" y="709"/>
                </a:cubicBezTo>
                <a:cubicBezTo>
                  <a:pt x="1647" y="709"/>
                  <a:pt x="1647" y="710"/>
                  <a:pt x="1647" y="710"/>
                </a:cubicBezTo>
                <a:cubicBezTo>
                  <a:pt x="1648" y="710"/>
                  <a:pt x="1648" y="710"/>
                  <a:pt x="1648" y="711"/>
                </a:cubicBezTo>
                <a:cubicBezTo>
                  <a:pt x="1648" y="711"/>
                  <a:pt x="1648" y="711"/>
                  <a:pt x="1649" y="711"/>
                </a:cubicBezTo>
                <a:cubicBezTo>
                  <a:pt x="1648" y="710"/>
                  <a:pt x="1648" y="710"/>
                  <a:pt x="1648" y="710"/>
                </a:cubicBezTo>
                <a:close/>
                <a:moveTo>
                  <a:pt x="1642" y="711"/>
                </a:moveTo>
                <a:cubicBezTo>
                  <a:pt x="1642" y="711"/>
                  <a:pt x="1642" y="710"/>
                  <a:pt x="1642" y="709"/>
                </a:cubicBezTo>
                <a:cubicBezTo>
                  <a:pt x="1641" y="709"/>
                  <a:pt x="1641" y="709"/>
                  <a:pt x="1641" y="708"/>
                </a:cubicBezTo>
                <a:cubicBezTo>
                  <a:pt x="1641" y="708"/>
                  <a:pt x="1641" y="708"/>
                  <a:pt x="1640" y="708"/>
                </a:cubicBezTo>
                <a:cubicBezTo>
                  <a:pt x="1640" y="708"/>
                  <a:pt x="1640" y="707"/>
                  <a:pt x="1640" y="707"/>
                </a:cubicBezTo>
                <a:cubicBezTo>
                  <a:pt x="1640" y="706"/>
                  <a:pt x="1640" y="705"/>
                  <a:pt x="1640" y="704"/>
                </a:cubicBezTo>
                <a:cubicBezTo>
                  <a:pt x="1639" y="704"/>
                  <a:pt x="1639" y="704"/>
                  <a:pt x="1639" y="704"/>
                </a:cubicBezTo>
                <a:cubicBezTo>
                  <a:pt x="1639" y="704"/>
                  <a:pt x="1639" y="703"/>
                  <a:pt x="1639" y="703"/>
                </a:cubicBezTo>
                <a:cubicBezTo>
                  <a:pt x="1639" y="703"/>
                  <a:pt x="1639" y="702"/>
                  <a:pt x="1638" y="702"/>
                </a:cubicBezTo>
                <a:cubicBezTo>
                  <a:pt x="1638" y="702"/>
                  <a:pt x="1638" y="702"/>
                  <a:pt x="1638" y="701"/>
                </a:cubicBezTo>
                <a:cubicBezTo>
                  <a:pt x="1638" y="701"/>
                  <a:pt x="1638" y="701"/>
                  <a:pt x="1638" y="701"/>
                </a:cubicBezTo>
                <a:cubicBezTo>
                  <a:pt x="1638" y="701"/>
                  <a:pt x="1638" y="701"/>
                  <a:pt x="1638" y="701"/>
                </a:cubicBezTo>
                <a:cubicBezTo>
                  <a:pt x="1637" y="700"/>
                  <a:pt x="1637" y="700"/>
                  <a:pt x="1637" y="699"/>
                </a:cubicBezTo>
                <a:cubicBezTo>
                  <a:pt x="1637" y="699"/>
                  <a:pt x="1637" y="700"/>
                  <a:pt x="1637" y="700"/>
                </a:cubicBezTo>
                <a:cubicBezTo>
                  <a:pt x="1637" y="700"/>
                  <a:pt x="1637" y="700"/>
                  <a:pt x="1637" y="700"/>
                </a:cubicBezTo>
                <a:cubicBezTo>
                  <a:pt x="1637" y="701"/>
                  <a:pt x="1637" y="701"/>
                  <a:pt x="1637" y="701"/>
                </a:cubicBezTo>
                <a:cubicBezTo>
                  <a:pt x="1637" y="702"/>
                  <a:pt x="1637" y="703"/>
                  <a:pt x="1637" y="703"/>
                </a:cubicBezTo>
                <a:cubicBezTo>
                  <a:pt x="1637" y="704"/>
                  <a:pt x="1637" y="704"/>
                  <a:pt x="1637" y="704"/>
                </a:cubicBezTo>
                <a:cubicBezTo>
                  <a:pt x="1637" y="704"/>
                  <a:pt x="1637" y="705"/>
                  <a:pt x="1637" y="705"/>
                </a:cubicBezTo>
                <a:cubicBezTo>
                  <a:pt x="1637" y="705"/>
                  <a:pt x="1637" y="705"/>
                  <a:pt x="1637" y="706"/>
                </a:cubicBezTo>
                <a:cubicBezTo>
                  <a:pt x="1637" y="706"/>
                  <a:pt x="1638" y="706"/>
                  <a:pt x="1638" y="706"/>
                </a:cubicBezTo>
                <a:cubicBezTo>
                  <a:pt x="1638" y="706"/>
                  <a:pt x="1638" y="706"/>
                  <a:pt x="1638" y="706"/>
                </a:cubicBezTo>
                <a:cubicBezTo>
                  <a:pt x="1638" y="707"/>
                  <a:pt x="1638" y="707"/>
                  <a:pt x="1638" y="708"/>
                </a:cubicBezTo>
                <a:cubicBezTo>
                  <a:pt x="1638" y="708"/>
                  <a:pt x="1638" y="708"/>
                  <a:pt x="1638" y="709"/>
                </a:cubicBezTo>
                <a:cubicBezTo>
                  <a:pt x="1639" y="709"/>
                  <a:pt x="1639" y="709"/>
                  <a:pt x="1639" y="709"/>
                </a:cubicBezTo>
                <a:cubicBezTo>
                  <a:pt x="1639" y="709"/>
                  <a:pt x="1639" y="709"/>
                  <a:pt x="1639" y="709"/>
                </a:cubicBezTo>
                <a:cubicBezTo>
                  <a:pt x="1639" y="709"/>
                  <a:pt x="1639" y="710"/>
                  <a:pt x="1639" y="710"/>
                </a:cubicBezTo>
                <a:cubicBezTo>
                  <a:pt x="1639" y="710"/>
                  <a:pt x="1640" y="711"/>
                  <a:pt x="1640" y="711"/>
                </a:cubicBezTo>
                <a:cubicBezTo>
                  <a:pt x="1640" y="711"/>
                  <a:pt x="1640" y="711"/>
                  <a:pt x="1640" y="712"/>
                </a:cubicBezTo>
                <a:cubicBezTo>
                  <a:pt x="1640" y="712"/>
                  <a:pt x="1640" y="712"/>
                  <a:pt x="1640" y="712"/>
                </a:cubicBezTo>
                <a:cubicBezTo>
                  <a:pt x="1641" y="712"/>
                  <a:pt x="1641" y="713"/>
                  <a:pt x="1641" y="713"/>
                </a:cubicBezTo>
                <a:cubicBezTo>
                  <a:pt x="1642" y="713"/>
                  <a:pt x="1642" y="713"/>
                  <a:pt x="1642" y="713"/>
                </a:cubicBezTo>
                <a:cubicBezTo>
                  <a:pt x="1642" y="714"/>
                  <a:pt x="1642" y="714"/>
                  <a:pt x="1642" y="714"/>
                </a:cubicBezTo>
                <a:cubicBezTo>
                  <a:pt x="1642" y="714"/>
                  <a:pt x="1643" y="714"/>
                  <a:pt x="1643" y="714"/>
                </a:cubicBezTo>
                <a:cubicBezTo>
                  <a:pt x="1643" y="714"/>
                  <a:pt x="1643" y="714"/>
                  <a:pt x="1643" y="713"/>
                </a:cubicBezTo>
                <a:cubicBezTo>
                  <a:pt x="1643" y="713"/>
                  <a:pt x="1643" y="713"/>
                  <a:pt x="1643" y="713"/>
                </a:cubicBezTo>
                <a:cubicBezTo>
                  <a:pt x="1642" y="712"/>
                  <a:pt x="1642" y="712"/>
                  <a:pt x="1642" y="711"/>
                </a:cubicBezTo>
                <a:close/>
                <a:moveTo>
                  <a:pt x="1649" y="712"/>
                </a:moveTo>
                <a:cubicBezTo>
                  <a:pt x="1649" y="713"/>
                  <a:pt x="1648" y="713"/>
                  <a:pt x="1648" y="713"/>
                </a:cubicBezTo>
                <a:cubicBezTo>
                  <a:pt x="1648" y="713"/>
                  <a:pt x="1649" y="714"/>
                  <a:pt x="1649" y="714"/>
                </a:cubicBezTo>
                <a:cubicBezTo>
                  <a:pt x="1649" y="714"/>
                  <a:pt x="1649" y="714"/>
                  <a:pt x="1649" y="714"/>
                </a:cubicBezTo>
                <a:cubicBezTo>
                  <a:pt x="1650" y="714"/>
                  <a:pt x="1650" y="714"/>
                  <a:pt x="1650" y="714"/>
                </a:cubicBezTo>
                <a:cubicBezTo>
                  <a:pt x="1650" y="714"/>
                  <a:pt x="1650" y="714"/>
                  <a:pt x="1650" y="713"/>
                </a:cubicBezTo>
                <a:cubicBezTo>
                  <a:pt x="1650" y="713"/>
                  <a:pt x="1650" y="713"/>
                  <a:pt x="1650" y="713"/>
                </a:cubicBezTo>
                <a:cubicBezTo>
                  <a:pt x="1649" y="713"/>
                  <a:pt x="1649" y="713"/>
                  <a:pt x="1649" y="712"/>
                </a:cubicBezTo>
                <a:close/>
                <a:moveTo>
                  <a:pt x="1182" y="700"/>
                </a:moveTo>
                <a:cubicBezTo>
                  <a:pt x="1182" y="700"/>
                  <a:pt x="1182" y="700"/>
                  <a:pt x="1182" y="700"/>
                </a:cubicBezTo>
                <a:cubicBezTo>
                  <a:pt x="1182" y="700"/>
                  <a:pt x="1182" y="701"/>
                  <a:pt x="1182" y="701"/>
                </a:cubicBezTo>
                <a:cubicBezTo>
                  <a:pt x="1182" y="701"/>
                  <a:pt x="1182" y="701"/>
                  <a:pt x="1182" y="701"/>
                </a:cubicBezTo>
                <a:cubicBezTo>
                  <a:pt x="1182" y="701"/>
                  <a:pt x="1183" y="701"/>
                  <a:pt x="1183" y="701"/>
                </a:cubicBezTo>
                <a:cubicBezTo>
                  <a:pt x="1183" y="701"/>
                  <a:pt x="1183" y="702"/>
                  <a:pt x="1183" y="702"/>
                </a:cubicBezTo>
                <a:cubicBezTo>
                  <a:pt x="1183" y="702"/>
                  <a:pt x="1183" y="702"/>
                  <a:pt x="1183" y="702"/>
                </a:cubicBezTo>
                <a:cubicBezTo>
                  <a:pt x="1183" y="701"/>
                  <a:pt x="1183" y="701"/>
                  <a:pt x="1183" y="701"/>
                </a:cubicBezTo>
                <a:cubicBezTo>
                  <a:pt x="1183" y="700"/>
                  <a:pt x="1183" y="700"/>
                  <a:pt x="1182" y="700"/>
                </a:cubicBezTo>
                <a:close/>
                <a:moveTo>
                  <a:pt x="1176" y="677"/>
                </a:moveTo>
                <a:cubicBezTo>
                  <a:pt x="1176" y="677"/>
                  <a:pt x="1176" y="677"/>
                  <a:pt x="1176" y="677"/>
                </a:cubicBezTo>
                <a:cubicBezTo>
                  <a:pt x="1176" y="677"/>
                  <a:pt x="1177" y="677"/>
                  <a:pt x="1177" y="677"/>
                </a:cubicBezTo>
                <a:cubicBezTo>
                  <a:pt x="1177" y="677"/>
                  <a:pt x="1177" y="677"/>
                  <a:pt x="1177" y="677"/>
                </a:cubicBezTo>
                <a:cubicBezTo>
                  <a:pt x="1177" y="677"/>
                  <a:pt x="1177" y="677"/>
                  <a:pt x="1177" y="677"/>
                </a:cubicBezTo>
                <a:cubicBezTo>
                  <a:pt x="1177" y="677"/>
                  <a:pt x="1177" y="677"/>
                  <a:pt x="1177" y="677"/>
                </a:cubicBezTo>
                <a:cubicBezTo>
                  <a:pt x="1177" y="677"/>
                  <a:pt x="1176" y="677"/>
                  <a:pt x="1176" y="677"/>
                </a:cubicBezTo>
                <a:close/>
                <a:moveTo>
                  <a:pt x="1180" y="678"/>
                </a:moveTo>
                <a:cubicBezTo>
                  <a:pt x="1180" y="678"/>
                  <a:pt x="1179" y="678"/>
                  <a:pt x="1179" y="678"/>
                </a:cubicBezTo>
                <a:cubicBezTo>
                  <a:pt x="1179" y="678"/>
                  <a:pt x="1179" y="679"/>
                  <a:pt x="1178" y="679"/>
                </a:cubicBezTo>
                <a:cubicBezTo>
                  <a:pt x="1178" y="679"/>
                  <a:pt x="1178" y="679"/>
                  <a:pt x="1178" y="679"/>
                </a:cubicBezTo>
                <a:cubicBezTo>
                  <a:pt x="1178" y="678"/>
                  <a:pt x="1178" y="678"/>
                  <a:pt x="1178" y="678"/>
                </a:cubicBezTo>
                <a:cubicBezTo>
                  <a:pt x="1178" y="678"/>
                  <a:pt x="1178" y="678"/>
                  <a:pt x="1178" y="678"/>
                </a:cubicBezTo>
                <a:cubicBezTo>
                  <a:pt x="1178" y="677"/>
                  <a:pt x="1178" y="677"/>
                  <a:pt x="1178" y="677"/>
                </a:cubicBezTo>
                <a:cubicBezTo>
                  <a:pt x="1178" y="677"/>
                  <a:pt x="1178" y="677"/>
                  <a:pt x="1178" y="677"/>
                </a:cubicBezTo>
                <a:cubicBezTo>
                  <a:pt x="1178" y="677"/>
                  <a:pt x="1178" y="678"/>
                  <a:pt x="1177" y="678"/>
                </a:cubicBezTo>
                <a:cubicBezTo>
                  <a:pt x="1177" y="678"/>
                  <a:pt x="1177" y="678"/>
                  <a:pt x="1177" y="678"/>
                </a:cubicBezTo>
                <a:cubicBezTo>
                  <a:pt x="1177" y="678"/>
                  <a:pt x="1177" y="678"/>
                  <a:pt x="1176" y="678"/>
                </a:cubicBezTo>
                <a:cubicBezTo>
                  <a:pt x="1176" y="678"/>
                  <a:pt x="1176" y="677"/>
                  <a:pt x="1176" y="677"/>
                </a:cubicBezTo>
                <a:cubicBezTo>
                  <a:pt x="1176" y="677"/>
                  <a:pt x="1175" y="677"/>
                  <a:pt x="1175" y="677"/>
                </a:cubicBezTo>
                <a:cubicBezTo>
                  <a:pt x="1175" y="677"/>
                  <a:pt x="1176" y="676"/>
                  <a:pt x="1176" y="676"/>
                </a:cubicBezTo>
                <a:cubicBezTo>
                  <a:pt x="1176" y="676"/>
                  <a:pt x="1176" y="676"/>
                  <a:pt x="1176" y="676"/>
                </a:cubicBezTo>
                <a:cubicBezTo>
                  <a:pt x="1176" y="676"/>
                  <a:pt x="1176" y="676"/>
                  <a:pt x="1176" y="676"/>
                </a:cubicBezTo>
                <a:cubicBezTo>
                  <a:pt x="1176" y="676"/>
                  <a:pt x="1176" y="676"/>
                  <a:pt x="1176" y="675"/>
                </a:cubicBezTo>
                <a:cubicBezTo>
                  <a:pt x="1176" y="676"/>
                  <a:pt x="1176" y="676"/>
                  <a:pt x="1175" y="676"/>
                </a:cubicBezTo>
                <a:cubicBezTo>
                  <a:pt x="1175" y="676"/>
                  <a:pt x="1175" y="676"/>
                  <a:pt x="1175" y="676"/>
                </a:cubicBezTo>
                <a:cubicBezTo>
                  <a:pt x="1175" y="676"/>
                  <a:pt x="1175" y="676"/>
                  <a:pt x="1175" y="677"/>
                </a:cubicBezTo>
                <a:cubicBezTo>
                  <a:pt x="1175" y="677"/>
                  <a:pt x="1175" y="677"/>
                  <a:pt x="1175" y="677"/>
                </a:cubicBezTo>
                <a:cubicBezTo>
                  <a:pt x="1175" y="677"/>
                  <a:pt x="1175" y="677"/>
                  <a:pt x="1175" y="677"/>
                </a:cubicBezTo>
                <a:cubicBezTo>
                  <a:pt x="1175" y="678"/>
                  <a:pt x="1175" y="678"/>
                  <a:pt x="1175" y="678"/>
                </a:cubicBezTo>
                <a:cubicBezTo>
                  <a:pt x="1175" y="678"/>
                  <a:pt x="1175" y="678"/>
                  <a:pt x="1174" y="678"/>
                </a:cubicBezTo>
                <a:cubicBezTo>
                  <a:pt x="1174" y="679"/>
                  <a:pt x="1174" y="679"/>
                  <a:pt x="1174" y="679"/>
                </a:cubicBezTo>
                <a:cubicBezTo>
                  <a:pt x="1174" y="679"/>
                  <a:pt x="1174" y="679"/>
                  <a:pt x="1174" y="680"/>
                </a:cubicBezTo>
                <a:cubicBezTo>
                  <a:pt x="1174" y="680"/>
                  <a:pt x="1174" y="680"/>
                  <a:pt x="1174" y="680"/>
                </a:cubicBezTo>
                <a:cubicBezTo>
                  <a:pt x="1175" y="679"/>
                  <a:pt x="1175" y="679"/>
                  <a:pt x="1175" y="679"/>
                </a:cubicBezTo>
                <a:cubicBezTo>
                  <a:pt x="1175" y="679"/>
                  <a:pt x="1176" y="679"/>
                  <a:pt x="1176" y="679"/>
                </a:cubicBezTo>
                <a:cubicBezTo>
                  <a:pt x="1176" y="679"/>
                  <a:pt x="1176" y="679"/>
                  <a:pt x="1176" y="680"/>
                </a:cubicBezTo>
                <a:cubicBezTo>
                  <a:pt x="1176" y="680"/>
                  <a:pt x="1176" y="680"/>
                  <a:pt x="1176" y="680"/>
                </a:cubicBezTo>
                <a:cubicBezTo>
                  <a:pt x="1177" y="680"/>
                  <a:pt x="1177" y="680"/>
                  <a:pt x="1177" y="680"/>
                </a:cubicBezTo>
                <a:cubicBezTo>
                  <a:pt x="1177" y="680"/>
                  <a:pt x="1177" y="680"/>
                  <a:pt x="1177" y="679"/>
                </a:cubicBezTo>
                <a:cubicBezTo>
                  <a:pt x="1177" y="680"/>
                  <a:pt x="1178" y="680"/>
                  <a:pt x="1178" y="680"/>
                </a:cubicBezTo>
                <a:cubicBezTo>
                  <a:pt x="1178" y="680"/>
                  <a:pt x="1178" y="680"/>
                  <a:pt x="1178" y="680"/>
                </a:cubicBezTo>
                <a:cubicBezTo>
                  <a:pt x="1178" y="680"/>
                  <a:pt x="1178" y="681"/>
                  <a:pt x="1178" y="681"/>
                </a:cubicBezTo>
                <a:cubicBezTo>
                  <a:pt x="1178" y="681"/>
                  <a:pt x="1179" y="681"/>
                  <a:pt x="1179" y="681"/>
                </a:cubicBezTo>
                <a:cubicBezTo>
                  <a:pt x="1179" y="681"/>
                  <a:pt x="1179" y="681"/>
                  <a:pt x="1180" y="680"/>
                </a:cubicBezTo>
                <a:cubicBezTo>
                  <a:pt x="1180" y="680"/>
                  <a:pt x="1180" y="680"/>
                  <a:pt x="1180" y="680"/>
                </a:cubicBezTo>
                <a:cubicBezTo>
                  <a:pt x="1179" y="680"/>
                  <a:pt x="1179" y="680"/>
                  <a:pt x="1179" y="680"/>
                </a:cubicBezTo>
                <a:cubicBezTo>
                  <a:pt x="1178" y="680"/>
                  <a:pt x="1178" y="680"/>
                  <a:pt x="1178" y="680"/>
                </a:cubicBezTo>
                <a:cubicBezTo>
                  <a:pt x="1178" y="679"/>
                  <a:pt x="1179" y="679"/>
                  <a:pt x="1179" y="679"/>
                </a:cubicBezTo>
                <a:cubicBezTo>
                  <a:pt x="1179" y="679"/>
                  <a:pt x="1179" y="679"/>
                  <a:pt x="1179" y="679"/>
                </a:cubicBezTo>
                <a:cubicBezTo>
                  <a:pt x="1180" y="679"/>
                  <a:pt x="1180" y="679"/>
                  <a:pt x="1180" y="679"/>
                </a:cubicBezTo>
                <a:cubicBezTo>
                  <a:pt x="1180" y="679"/>
                  <a:pt x="1180" y="679"/>
                  <a:pt x="1180" y="679"/>
                </a:cubicBezTo>
                <a:cubicBezTo>
                  <a:pt x="1180" y="679"/>
                  <a:pt x="1180" y="679"/>
                  <a:pt x="1180" y="678"/>
                </a:cubicBezTo>
                <a:cubicBezTo>
                  <a:pt x="1180" y="678"/>
                  <a:pt x="1180" y="678"/>
                  <a:pt x="1180" y="678"/>
                </a:cubicBezTo>
                <a:close/>
                <a:moveTo>
                  <a:pt x="1172" y="545"/>
                </a:moveTo>
                <a:cubicBezTo>
                  <a:pt x="1172" y="545"/>
                  <a:pt x="1171" y="545"/>
                  <a:pt x="1171" y="545"/>
                </a:cubicBezTo>
                <a:cubicBezTo>
                  <a:pt x="1171" y="545"/>
                  <a:pt x="1171" y="545"/>
                  <a:pt x="1171" y="545"/>
                </a:cubicBezTo>
                <a:cubicBezTo>
                  <a:pt x="1170" y="545"/>
                  <a:pt x="1170" y="546"/>
                  <a:pt x="1170" y="546"/>
                </a:cubicBezTo>
                <a:cubicBezTo>
                  <a:pt x="1170" y="546"/>
                  <a:pt x="1170" y="546"/>
                  <a:pt x="1170" y="546"/>
                </a:cubicBezTo>
                <a:cubicBezTo>
                  <a:pt x="1170" y="546"/>
                  <a:pt x="1170" y="547"/>
                  <a:pt x="1171" y="547"/>
                </a:cubicBezTo>
                <a:cubicBezTo>
                  <a:pt x="1171" y="547"/>
                  <a:pt x="1171" y="547"/>
                  <a:pt x="1172" y="547"/>
                </a:cubicBezTo>
                <a:cubicBezTo>
                  <a:pt x="1172" y="547"/>
                  <a:pt x="1172" y="546"/>
                  <a:pt x="1172" y="546"/>
                </a:cubicBezTo>
                <a:cubicBezTo>
                  <a:pt x="1172" y="546"/>
                  <a:pt x="1172" y="546"/>
                  <a:pt x="1172" y="546"/>
                </a:cubicBezTo>
                <a:cubicBezTo>
                  <a:pt x="1172" y="546"/>
                  <a:pt x="1172" y="545"/>
                  <a:pt x="1172" y="545"/>
                </a:cubicBezTo>
                <a:cubicBezTo>
                  <a:pt x="1172" y="545"/>
                  <a:pt x="1172" y="545"/>
                  <a:pt x="1172" y="545"/>
                </a:cubicBezTo>
                <a:close/>
                <a:moveTo>
                  <a:pt x="1162" y="547"/>
                </a:moveTo>
                <a:cubicBezTo>
                  <a:pt x="1161" y="547"/>
                  <a:pt x="1161" y="546"/>
                  <a:pt x="1161" y="546"/>
                </a:cubicBezTo>
                <a:cubicBezTo>
                  <a:pt x="1161" y="546"/>
                  <a:pt x="1160" y="546"/>
                  <a:pt x="1160" y="546"/>
                </a:cubicBezTo>
                <a:cubicBezTo>
                  <a:pt x="1160" y="547"/>
                  <a:pt x="1160" y="547"/>
                  <a:pt x="1160" y="547"/>
                </a:cubicBezTo>
                <a:cubicBezTo>
                  <a:pt x="1160" y="548"/>
                  <a:pt x="1161" y="548"/>
                  <a:pt x="1161" y="549"/>
                </a:cubicBezTo>
                <a:cubicBezTo>
                  <a:pt x="1161" y="549"/>
                  <a:pt x="1161" y="549"/>
                  <a:pt x="1161" y="549"/>
                </a:cubicBezTo>
                <a:cubicBezTo>
                  <a:pt x="1162" y="549"/>
                  <a:pt x="1162" y="548"/>
                  <a:pt x="1163" y="548"/>
                </a:cubicBezTo>
                <a:cubicBezTo>
                  <a:pt x="1162" y="548"/>
                  <a:pt x="1162" y="548"/>
                  <a:pt x="1162" y="548"/>
                </a:cubicBezTo>
                <a:cubicBezTo>
                  <a:pt x="1162" y="548"/>
                  <a:pt x="1162" y="547"/>
                  <a:pt x="1162" y="547"/>
                </a:cubicBezTo>
                <a:close/>
                <a:moveTo>
                  <a:pt x="1135" y="514"/>
                </a:moveTo>
                <a:cubicBezTo>
                  <a:pt x="1135" y="514"/>
                  <a:pt x="1135" y="514"/>
                  <a:pt x="1135" y="514"/>
                </a:cubicBezTo>
                <a:cubicBezTo>
                  <a:pt x="1135" y="514"/>
                  <a:pt x="1135" y="514"/>
                  <a:pt x="1135" y="514"/>
                </a:cubicBezTo>
                <a:cubicBezTo>
                  <a:pt x="1135" y="514"/>
                  <a:pt x="1135" y="514"/>
                  <a:pt x="1135" y="514"/>
                </a:cubicBezTo>
                <a:cubicBezTo>
                  <a:pt x="1135" y="514"/>
                  <a:pt x="1135" y="514"/>
                  <a:pt x="1135" y="514"/>
                </a:cubicBezTo>
                <a:close/>
                <a:moveTo>
                  <a:pt x="1138" y="528"/>
                </a:moveTo>
                <a:cubicBezTo>
                  <a:pt x="1138" y="528"/>
                  <a:pt x="1138" y="528"/>
                  <a:pt x="1138" y="528"/>
                </a:cubicBezTo>
                <a:cubicBezTo>
                  <a:pt x="1138" y="528"/>
                  <a:pt x="1138" y="528"/>
                  <a:pt x="1138" y="528"/>
                </a:cubicBezTo>
                <a:cubicBezTo>
                  <a:pt x="1138" y="529"/>
                  <a:pt x="1138" y="529"/>
                  <a:pt x="1138" y="529"/>
                </a:cubicBezTo>
                <a:cubicBezTo>
                  <a:pt x="1138" y="529"/>
                  <a:pt x="1138" y="528"/>
                  <a:pt x="1138" y="528"/>
                </a:cubicBezTo>
                <a:cubicBezTo>
                  <a:pt x="1138" y="528"/>
                  <a:pt x="1138" y="528"/>
                  <a:pt x="1138" y="528"/>
                </a:cubicBezTo>
                <a:cubicBezTo>
                  <a:pt x="1138" y="528"/>
                  <a:pt x="1139" y="527"/>
                  <a:pt x="1139" y="527"/>
                </a:cubicBezTo>
                <a:cubicBezTo>
                  <a:pt x="1139" y="527"/>
                  <a:pt x="1138" y="527"/>
                  <a:pt x="1138" y="528"/>
                </a:cubicBezTo>
                <a:cubicBezTo>
                  <a:pt x="1138" y="528"/>
                  <a:pt x="1138" y="528"/>
                  <a:pt x="1138" y="528"/>
                </a:cubicBezTo>
                <a:close/>
                <a:moveTo>
                  <a:pt x="1141" y="520"/>
                </a:moveTo>
                <a:cubicBezTo>
                  <a:pt x="1141" y="520"/>
                  <a:pt x="1141" y="520"/>
                  <a:pt x="1141" y="520"/>
                </a:cubicBezTo>
                <a:cubicBezTo>
                  <a:pt x="1141" y="520"/>
                  <a:pt x="1141" y="519"/>
                  <a:pt x="1141" y="519"/>
                </a:cubicBezTo>
                <a:cubicBezTo>
                  <a:pt x="1141" y="519"/>
                  <a:pt x="1141" y="518"/>
                  <a:pt x="1141" y="518"/>
                </a:cubicBezTo>
                <a:cubicBezTo>
                  <a:pt x="1141" y="518"/>
                  <a:pt x="1141" y="518"/>
                  <a:pt x="1141" y="518"/>
                </a:cubicBezTo>
                <a:cubicBezTo>
                  <a:pt x="1141" y="517"/>
                  <a:pt x="1141" y="516"/>
                  <a:pt x="1142" y="516"/>
                </a:cubicBezTo>
                <a:cubicBezTo>
                  <a:pt x="1141" y="516"/>
                  <a:pt x="1141" y="515"/>
                  <a:pt x="1141" y="515"/>
                </a:cubicBezTo>
                <a:cubicBezTo>
                  <a:pt x="1141" y="515"/>
                  <a:pt x="1141" y="514"/>
                  <a:pt x="1141" y="513"/>
                </a:cubicBezTo>
                <a:cubicBezTo>
                  <a:pt x="1141" y="513"/>
                  <a:pt x="1141" y="513"/>
                  <a:pt x="1141" y="513"/>
                </a:cubicBezTo>
                <a:cubicBezTo>
                  <a:pt x="1141" y="513"/>
                  <a:pt x="1141" y="513"/>
                  <a:pt x="1140" y="513"/>
                </a:cubicBezTo>
                <a:cubicBezTo>
                  <a:pt x="1140" y="513"/>
                  <a:pt x="1140" y="512"/>
                  <a:pt x="1140" y="512"/>
                </a:cubicBezTo>
                <a:cubicBezTo>
                  <a:pt x="1140" y="512"/>
                  <a:pt x="1140" y="511"/>
                  <a:pt x="1140" y="511"/>
                </a:cubicBezTo>
                <a:cubicBezTo>
                  <a:pt x="1139" y="511"/>
                  <a:pt x="1139" y="511"/>
                  <a:pt x="1139" y="511"/>
                </a:cubicBezTo>
                <a:cubicBezTo>
                  <a:pt x="1139" y="511"/>
                  <a:pt x="1139" y="510"/>
                  <a:pt x="1139" y="510"/>
                </a:cubicBezTo>
                <a:cubicBezTo>
                  <a:pt x="1139" y="510"/>
                  <a:pt x="1139" y="510"/>
                  <a:pt x="1139" y="509"/>
                </a:cubicBezTo>
                <a:cubicBezTo>
                  <a:pt x="1139" y="510"/>
                  <a:pt x="1138" y="510"/>
                  <a:pt x="1138" y="510"/>
                </a:cubicBezTo>
                <a:cubicBezTo>
                  <a:pt x="1138" y="510"/>
                  <a:pt x="1138" y="510"/>
                  <a:pt x="1138" y="511"/>
                </a:cubicBezTo>
                <a:cubicBezTo>
                  <a:pt x="1138" y="511"/>
                  <a:pt x="1138" y="511"/>
                  <a:pt x="1137" y="511"/>
                </a:cubicBezTo>
                <a:cubicBezTo>
                  <a:pt x="1137" y="511"/>
                  <a:pt x="1137" y="511"/>
                  <a:pt x="1137" y="510"/>
                </a:cubicBezTo>
                <a:cubicBezTo>
                  <a:pt x="1136" y="510"/>
                  <a:pt x="1136" y="510"/>
                  <a:pt x="1136" y="510"/>
                </a:cubicBezTo>
                <a:cubicBezTo>
                  <a:pt x="1136" y="511"/>
                  <a:pt x="1136" y="511"/>
                  <a:pt x="1137" y="511"/>
                </a:cubicBezTo>
                <a:cubicBezTo>
                  <a:pt x="1137" y="511"/>
                  <a:pt x="1137" y="512"/>
                  <a:pt x="1137" y="512"/>
                </a:cubicBezTo>
                <a:cubicBezTo>
                  <a:pt x="1137" y="512"/>
                  <a:pt x="1137" y="512"/>
                  <a:pt x="1137" y="512"/>
                </a:cubicBezTo>
                <a:cubicBezTo>
                  <a:pt x="1137" y="512"/>
                  <a:pt x="1137" y="512"/>
                  <a:pt x="1137" y="512"/>
                </a:cubicBezTo>
                <a:cubicBezTo>
                  <a:pt x="1137" y="513"/>
                  <a:pt x="1136" y="513"/>
                  <a:pt x="1136" y="513"/>
                </a:cubicBezTo>
                <a:cubicBezTo>
                  <a:pt x="1136" y="513"/>
                  <a:pt x="1136" y="514"/>
                  <a:pt x="1136" y="514"/>
                </a:cubicBezTo>
                <a:cubicBezTo>
                  <a:pt x="1136" y="514"/>
                  <a:pt x="1136" y="515"/>
                  <a:pt x="1135" y="515"/>
                </a:cubicBezTo>
                <a:cubicBezTo>
                  <a:pt x="1135" y="515"/>
                  <a:pt x="1135" y="515"/>
                  <a:pt x="1135" y="515"/>
                </a:cubicBezTo>
                <a:cubicBezTo>
                  <a:pt x="1134" y="515"/>
                  <a:pt x="1134" y="515"/>
                  <a:pt x="1134" y="515"/>
                </a:cubicBezTo>
                <a:cubicBezTo>
                  <a:pt x="1134" y="515"/>
                  <a:pt x="1134" y="516"/>
                  <a:pt x="1134" y="516"/>
                </a:cubicBezTo>
                <a:cubicBezTo>
                  <a:pt x="1133" y="516"/>
                  <a:pt x="1133" y="516"/>
                  <a:pt x="1133" y="516"/>
                </a:cubicBezTo>
                <a:cubicBezTo>
                  <a:pt x="1133" y="516"/>
                  <a:pt x="1133" y="516"/>
                  <a:pt x="1133" y="516"/>
                </a:cubicBezTo>
                <a:cubicBezTo>
                  <a:pt x="1133" y="515"/>
                  <a:pt x="1133" y="515"/>
                  <a:pt x="1133" y="515"/>
                </a:cubicBezTo>
                <a:cubicBezTo>
                  <a:pt x="1132" y="515"/>
                  <a:pt x="1132" y="515"/>
                  <a:pt x="1132" y="515"/>
                </a:cubicBezTo>
                <a:cubicBezTo>
                  <a:pt x="1132" y="515"/>
                  <a:pt x="1132" y="515"/>
                  <a:pt x="1132" y="515"/>
                </a:cubicBezTo>
                <a:cubicBezTo>
                  <a:pt x="1131" y="515"/>
                  <a:pt x="1131" y="516"/>
                  <a:pt x="1131" y="516"/>
                </a:cubicBezTo>
                <a:cubicBezTo>
                  <a:pt x="1132" y="516"/>
                  <a:pt x="1132" y="517"/>
                  <a:pt x="1132" y="517"/>
                </a:cubicBezTo>
                <a:cubicBezTo>
                  <a:pt x="1132" y="517"/>
                  <a:pt x="1132" y="517"/>
                  <a:pt x="1132" y="517"/>
                </a:cubicBezTo>
                <a:cubicBezTo>
                  <a:pt x="1132" y="517"/>
                  <a:pt x="1132" y="517"/>
                  <a:pt x="1132" y="517"/>
                </a:cubicBezTo>
                <a:cubicBezTo>
                  <a:pt x="1132" y="517"/>
                  <a:pt x="1132" y="517"/>
                  <a:pt x="1131" y="517"/>
                </a:cubicBezTo>
                <a:cubicBezTo>
                  <a:pt x="1131" y="517"/>
                  <a:pt x="1131" y="517"/>
                  <a:pt x="1130" y="517"/>
                </a:cubicBezTo>
                <a:cubicBezTo>
                  <a:pt x="1130" y="517"/>
                  <a:pt x="1131" y="518"/>
                  <a:pt x="1131" y="518"/>
                </a:cubicBezTo>
                <a:cubicBezTo>
                  <a:pt x="1131" y="518"/>
                  <a:pt x="1131" y="518"/>
                  <a:pt x="1131" y="518"/>
                </a:cubicBezTo>
                <a:cubicBezTo>
                  <a:pt x="1131" y="518"/>
                  <a:pt x="1132" y="519"/>
                  <a:pt x="1132" y="519"/>
                </a:cubicBezTo>
                <a:cubicBezTo>
                  <a:pt x="1131" y="519"/>
                  <a:pt x="1131" y="519"/>
                  <a:pt x="1131" y="519"/>
                </a:cubicBezTo>
                <a:cubicBezTo>
                  <a:pt x="1131" y="519"/>
                  <a:pt x="1131" y="519"/>
                  <a:pt x="1131" y="519"/>
                </a:cubicBezTo>
                <a:cubicBezTo>
                  <a:pt x="1130" y="519"/>
                  <a:pt x="1130" y="519"/>
                  <a:pt x="1130" y="519"/>
                </a:cubicBezTo>
                <a:cubicBezTo>
                  <a:pt x="1130" y="519"/>
                  <a:pt x="1130" y="519"/>
                  <a:pt x="1130" y="519"/>
                </a:cubicBezTo>
                <a:cubicBezTo>
                  <a:pt x="1129" y="519"/>
                  <a:pt x="1129" y="520"/>
                  <a:pt x="1128" y="520"/>
                </a:cubicBezTo>
                <a:cubicBezTo>
                  <a:pt x="1128" y="520"/>
                  <a:pt x="1128" y="519"/>
                  <a:pt x="1128" y="519"/>
                </a:cubicBezTo>
                <a:cubicBezTo>
                  <a:pt x="1129" y="519"/>
                  <a:pt x="1129" y="519"/>
                  <a:pt x="1129" y="519"/>
                </a:cubicBezTo>
                <a:cubicBezTo>
                  <a:pt x="1129" y="519"/>
                  <a:pt x="1129" y="519"/>
                  <a:pt x="1128" y="518"/>
                </a:cubicBezTo>
                <a:cubicBezTo>
                  <a:pt x="1128" y="519"/>
                  <a:pt x="1128" y="519"/>
                  <a:pt x="1127" y="519"/>
                </a:cubicBezTo>
                <a:cubicBezTo>
                  <a:pt x="1128" y="519"/>
                  <a:pt x="1128" y="519"/>
                  <a:pt x="1128" y="519"/>
                </a:cubicBezTo>
                <a:cubicBezTo>
                  <a:pt x="1128" y="519"/>
                  <a:pt x="1128" y="519"/>
                  <a:pt x="1128" y="520"/>
                </a:cubicBezTo>
                <a:cubicBezTo>
                  <a:pt x="1127" y="520"/>
                  <a:pt x="1127" y="520"/>
                  <a:pt x="1127" y="520"/>
                </a:cubicBezTo>
                <a:cubicBezTo>
                  <a:pt x="1127" y="520"/>
                  <a:pt x="1127" y="520"/>
                  <a:pt x="1127" y="521"/>
                </a:cubicBezTo>
                <a:cubicBezTo>
                  <a:pt x="1127" y="521"/>
                  <a:pt x="1127" y="521"/>
                  <a:pt x="1128" y="521"/>
                </a:cubicBezTo>
                <a:cubicBezTo>
                  <a:pt x="1128" y="521"/>
                  <a:pt x="1127" y="521"/>
                  <a:pt x="1127" y="521"/>
                </a:cubicBezTo>
                <a:cubicBezTo>
                  <a:pt x="1127" y="521"/>
                  <a:pt x="1127" y="521"/>
                  <a:pt x="1127" y="521"/>
                </a:cubicBezTo>
                <a:cubicBezTo>
                  <a:pt x="1127" y="521"/>
                  <a:pt x="1126" y="521"/>
                  <a:pt x="1126" y="522"/>
                </a:cubicBezTo>
                <a:cubicBezTo>
                  <a:pt x="1126" y="521"/>
                  <a:pt x="1126" y="521"/>
                  <a:pt x="1126" y="521"/>
                </a:cubicBezTo>
                <a:cubicBezTo>
                  <a:pt x="1126" y="521"/>
                  <a:pt x="1126" y="521"/>
                  <a:pt x="1126" y="521"/>
                </a:cubicBezTo>
                <a:cubicBezTo>
                  <a:pt x="1126" y="521"/>
                  <a:pt x="1126" y="521"/>
                  <a:pt x="1126" y="520"/>
                </a:cubicBezTo>
                <a:cubicBezTo>
                  <a:pt x="1126" y="520"/>
                  <a:pt x="1126" y="520"/>
                  <a:pt x="1126" y="520"/>
                </a:cubicBezTo>
                <a:cubicBezTo>
                  <a:pt x="1125" y="520"/>
                  <a:pt x="1124" y="521"/>
                  <a:pt x="1124" y="521"/>
                </a:cubicBezTo>
                <a:cubicBezTo>
                  <a:pt x="1124" y="521"/>
                  <a:pt x="1124" y="522"/>
                  <a:pt x="1123" y="522"/>
                </a:cubicBezTo>
                <a:cubicBezTo>
                  <a:pt x="1124" y="522"/>
                  <a:pt x="1124" y="522"/>
                  <a:pt x="1124" y="523"/>
                </a:cubicBezTo>
                <a:cubicBezTo>
                  <a:pt x="1124" y="523"/>
                  <a:pt x="1123" y="523"/>
                  <a:pt x="1123" y="523"/>
                </a:cubicBezTo>
                <a:cubicBezTo>
                  <a:pt x="1123" y="523"/>
                  <a:pt x="1123" y="523"/>
                  <a:pt x="1123" y="523"/>
                </a:cubicBezTo>
                <a:cubicBezTo>
                  <a:pt x="1123" y="523"/>
                  <a:pt x="1123" y="523"/>
                  <a:pt x="1122" y="522"/>
                </a:cubicBezTo>
                <a:cubicBezTo>
                  <a:pt x="1122" y="522"/>
                  <a:pt x="1122" y="522"/>
                  <a:pt x="1123" y="522"/>
                </a:cubicBezTo>
                <a:cubicBezTo>
                  <a:pt x="1122" y="522"/>
                  <a:pt x="1122" y="521"/>
                  <a:pt x="1122" y="521"/>
                </a:cubicBezTo>
                <a:cubicBezTo>
                  <a:pt x="1122" y="522"/>
                  <a:pt x="1121" y="522"/>
                  <a:pt x="1121" y="522"/>
                </a:cubicBezTo>
                <a:cubicBezTo>
                  <a:pt x="1121" y="522"/>
                  <a:pt x="1120" y="522"/>
                  <a:pt x="1120" y="521"/>
                </a:cubicBezTo>
                <a:cubicBezTo>
                  <a:pt x="1120" y="521"/>
                  <a:pt x="1120" y="522"/>
                  <a:pt x="1120" y="522"/>
                </a:cubicBezTo>
                <a:cubicBezTo>
                  <a:pt x="1119" y="522"/>
                  <a:pt x="1119" y="522"/>
                  <a:pt x="1119" y="522"/>
                </a:cubicBezTo>
                <a:cubicBezTo>
                  <a:pt x="1119" y="522"/>
                  <a:pt x="1119" y="522"/>
                  <a:pt x="1119" y="523"/>
                </a:cubicBezTo>
                <a:cubicBezTo>
                  <a:pt x="1119" y="523"/>
                  <a:pt x="1119" y="523"/>
                  <a:pt x="1119" y="523"/>
                </a:cubicBezTo>
                <a:cubicBezTo>
                  <a:pt x="1119" y="523"/>
                  <a:pt x="1119" y="523"/>
                  <a:pt x="1118" y="523"/>
                </a:cubicBezTo>
                <a:cubicBezTo>
                  <a:pt x="1118" y="522"/>
                  <a:pt x="1118" y="522"/>
                  <a:pt x="1119" y="522"/>
                </a:cubicBezTo>
                <a:cubicBezTo>
                  <a:pt x="1118" y="522"/>
                  <a:pt x="1118" y="522"/>
                  <a:pt x="1118" y="522"/>
                </a:cubicBezTo>
                <a:cubicBezTo>
                  <a:pt x="1118" y="522"/>
                  <a:pt x="1118" y="522"/>
                  <a:pt x="1118" y="522"/>
                </a:cubicBezTo>
                <a:cubicBezTo>
                  <a:pt x="1117" y="522"/>
                  <a:pt x="1117" y="522"/>
                  <a:pt x="1117" y="522"/>
                </a:cubicBezTo>
                <a:cubicBezTo>
                  <a:pt x="1116" y="522"/>
                  <a:pt x="1116" y="523"/>
                  <a:pt x="1115" y="523"/>
                </a:cubicBezTo>
                <a:cubicBezTo>
                  <a:pt x="1115" y="523"/>
                  <a:pt x="1115" y="523"/>
                  <a:pt x="1115" y="523"/>
                </a:cubicBezTo>
                <a:cubicBezTo>
                  <a:pt x="1115" y="523"/>
                  <a:pt x="1114" y="523"/>
                  <a:pt x="1114" y="523"/>
                </a:cubicBezTo>
                <a:cubicBezTo>
                  <a:pt x="1114" y="523"/>
                  <a:pt x="1114" y="522"/>
                  <a:pt x="1113" y="522"/>
                </a:cubicBezTo>
                <a:cubicBezTo>
                  <a:pt x="1113" y="523"/>
                  <a:pt x="1113" y="523"/>
                  <a:pt x="1113" y="523"/>
                </a:cubicBezTo>
                <a:cubicBezTo>
                  <a:pt x="1113" y="523"/>
                  <a:pt x="1113" y="524"/>
                  <a:pt x="1113" y="524"/>
                </a:cubicBezTo>
                <a:cubicBezTo>
                  <a:pt x="1112" y="525"/>
                  <a:pt x="1112" y="525"/>
                  <a:pt x="1111" y="526"/>
                </a:cubicBezTo>
                <a:cubicBezTo>
                  <a:pt x="1111" y="526"/>
                  <a:pt x="1111" y="526"/>
                  <a:pt x="1111" y="526"/>
                </a:cubicBezTo>
                <a:cubicBezTo>
                  <a:pt x="1111" y="526"/>
                  <a:pt x="1110" y="527"/>
                  <a:pt x="1110" y="527"/>
                </a:cubicBezTo>
                <a:cubicBezTo>
                  <a:pt x="1110" y="527"/>
                  <a:pt x="1110" y="527"/>
                  <a:pt x="1110" y="527"/>
                </a:cubicBezTo>
                <a:cubicBezTo>
                  <a:pt x="1110" y="528"/>
                  <a:pt x="1110" y="528"/>
                  <a:pt x="1111" y="528"/>
                </a:cubicBezTo>
                <a:cubicBezTo>
                  <a:pt x="1110" y="528"/>
                  <a:pt x="1110" y="528"/>
                  <a:pt x="1110" y="529"/>
                </a:cubicBezTo>
                <a:cubicBezTo>
                  <a:pt x="1110" y="529"/>
                  <a:pt x="1110" y="529"/>
                  <a:pt x="1110" y="530"/>
                </a:cubicBezTo>
                <a:cubicBezTo>
                  <a:pt x="1110" y="530"/>
                  <a:pt x="1110" y="530"/>
                  <a:pt x="1110" y="531"/>
                </a:cubicBezTo>
                <a:cubicBezTo>
                  <a:pt x="1110" y="531"/>
                  <a:pt x="1111" y="532"/>
                  <a:pt x="1111" y="533"/>
                </a:cubicBezTo>
                <a:cubicBezTo>
                  <a:pt x="1111" y="533"/>
                  <a:pt x="1111" y="533"/>
                  <a:pt x="1111" y="533"/>
                </a:cubicBezTo>
                <a:cubicBezTo>
                  <a:pt x="1111" y="534"/>
                  <a:pt x="1111" y="534"/>
                  <a:pt x="1112" y="534"/>
                </a:cubicBezTo>
                <a:cubicBezTo>
                  <a:pt x="1112" y="534"/>
                  <a:pt x="1112" y="534"/>
                  <a:pt x="1112" y="534"/>
                </a:cubicBezTo>
                <a:cubicBezTo>
                  <a:pt x="1111" y="535"/>
                  <a:pt x="1111" y="535"/>
                  <a:pt x="1111" y="535"/>
                </a:cubicBezTo>
                <a:cubicBezTo>
                  <a:pt x="1111" y="535"/>
                  <a:pt x="1111" y="535"/>
                  <a:pt x="1111" y="535"/>
                </a:cubicBezTo>
                <a:cubicBezTo>
                  <a:pt x="1111" y="536"/>
                  <a:pt x="1111" y="536"/>
                  <a:pt x="1110" y="537"/>
                </a:cubicBezTo>
                <a:cubicBezTo>
                  <a:pt x="1110" y="537"/>
                  <a:pt x="1110" y="537"/>
                  <a:pt x="1109" y="537"/>
                </a:cubicBezTo>
                <a:cubicBezTo>
                  <a:pt x="1109" y="538"/>
                  <a:pt x="1109" y="538"/>
                  <a:pt x="1109" y="538"/>
                </a:cubicBezTo>
                <a:cubicBezTo>
                  <a:pt x="1109" y="538"/>
                  <a:pt x="1109" y="538"/>
                  <a:pt x="1109" y="538"/>
                </a:cubicBezTo>
                <a:cubicBezTo>
                  <a:pt x="1108" y="539"/>
                  <a:pt x="1108" y="539"/>
                  <a:pt x="1108" y="539"/>
                </a:cubicBezTo>
                <a:cubicBezTo>
                  <a:pt x="1108" y="539"/>
                  <a:pt x="1108" y="539"/>
                  <a:pt x="1107" y="539"/>
                </a:cubicBezTo>
                <a:cubicBezTo>
                  <a:pt x="1107" y="540"/>
                  <a:pt x="1107" y="540"/>
                  <a:pt x="1107" y="541"/>
                </a:cubicBezTo>
                <a:cubicBezTo>
                  <a:pt x="1107" y="541"/>
                  <a:pt x="1107" y="541"/>
                  <a:pt x="1106" y="541"/>
                </a:cubicBezTo>
                <a:cubicBezTo>
                  <a:pt x="1106" y="541"/>
                  <a:pt x="1106" y="541"/>
                  <a:pt x="1105" y="541"/>
                </a:cubicBezTo>
                <a:cubicBezTo>
                  <a:pt x="1105" y="541"/>
                  <a:pt x="1105" y="541"/>
                  <a:pt x="1105" y="542"/>
                </a:cubicBezTo>
                <a:cubicBezTo>
                  <a:pt x="1105" y="542"/>
                  <a:pt x="1105" y="542"/>
                  <a:pt x="1105" y="543"/>
                </a:cubicBezTo>
                <a:cubicBezTo>
                  <a:pt x="1104" y="543"/>
                  <a:pt x="1104" y="543"/>
                  <a:pt x="1104" y="544"/>
                </a:cubicBezTo>
                <a:cubicBezTo>
                  <a:pt x="1104" y="544"/>
                  <a:pt x="1104" y="544"/>
                  <a:pt x="1104" y="545"/>
                </a:cubicBezTo>
                <a:cubicBezTo>
                  <a:pt x="1104" y="545"/>
                  <a:pt x="1103" y="545"/>
                  <a:pt x="1103" y="545"/>
                </a:cubicBezTo>
                <a:cubicBezTo>
                  <a:pt x="1103" y="545"/>
                  <a:pt x="1103" y="545"/>
                  <a:pt x="1103" y="546"/>
                </a:cubicBezTo>
                <a:cubicBezTo>
                  <a:pt x="1103" y="546"/>
                  <a:pt x="1103" y="546"/>
                  <a:pt x="1103" y="547"/>
                </a:cubicBezTo>
                <a:cubicBezTo>
                  <a:pt x="1104" y="547"/>
                  <a:pt x="1104" y="548"/>
                  <a:pt x="1104" y="548"/>
                </a:cubicBezTo>
                <a:cubicBezTo>
                  <a:pt x="1104" y="548"/>
                  <a:pt x="1104" y="549"/>
                  <a:pt x="1104" y="549"/>
                </a:cubicBezTo>
                <a:cubicBezTo>
                  <a:pt x="1104" y="549"/>
                  <a:pt x="1104" y="549"/>
                  <a:pt x="1104" y="549"/>
                </a:cubicBezTo>
                <a:cubicBezTo>
                  <a:pt x="1104" y="549"/>
                  <a:pt x="1105" y="550"/>
                  <a:pt x="1105" y="550"/>
                </a:cubicBezTo>
                <a:cubicBezTo>
                  <a:pt x="1105" y="550"/>
                  <a:pt x="1105" y="550"/>
                  <a:pt x="1105" y="550"/>
                </a:cubicBezTo>
                <a:cubicBezTo>
                  <a:pt x="1105" y="550"/>
                  <a:pt x="1105" y="550"/>
                  <a:pt x="1105" y="550"/>
                </a:cubicBezTo>
                <a:cubicBezTo>
                  <a:pt x="1105" y="550"/>
                  <a:pt x="1104" y="550"/>
                  <a:pt x="1104" y="550"/>
                </a:cubicBezTo>
                <a:cubicBezTo>
                  <a:pt x="1104" y="550"/>
                  <a:pt x="1104" y="550"/>
                  <a:pt x="1104" y="551"/>
                </a:cubicBezTo>
                <a:cubicBezTo>
                  <a:pt x="1104" y="551"/>
                  <a:pt x="1104" y="552"/>
                  <a:pt x="1104" y="552"/>
                </a:cubicBezTo>
                <a:cubicBezTo>
                  <a:pt x="1104" y="552"/>
                  <a:pt x="1104" y="553"/>
                  <a:pt x="1104" y="553"/>
                </a:cubicBezTo>
                <a:cubicBezTo>
                  <a:pt x="1104" y="554"/>
                  <a:pt x="1104" y="554"/>
                  <a:pt x="1104" y="554"/>
                </a:cubicBezTo>
                <a:cubicBezTo>
                  <a:pt x="1104" y="554"/>
                  <a:pt x="1104" y="554"/>
                  <a:pt x="1104" y="554"/>
                </a:cubicBezTo>
                <a:cubicBezTo>
                  <a:pt x="1104" y="554"/>
                  <a:pt x="1104" y="554"/>
                  <a:pt x="1104" y="555"/>
                </a:cubicBezTo>
                <a:cubicBezTo>
                  <a:pt x="1104" y="555"/>
                  <a:pt x="1105" y="555"/>
                  <a:pt x="1105" y="555"/>
                </a:cubicBezTo>
                <a:cubicBezTo>
                  <a:pt x="1105" y="556"/>
                  <a:pt x="1105" y="556"/>
                  <a:pt x="1105" y="556"/>
                </a:cubicBezTo>
                <a:cubicBezTo>
                  <a:pt x="1105" y="556"/>
                  <a:pt x="1106" y="556"/>
                  <a:pt x="1106" y="556"/>
                </a:cubicBezTo>
                <a:cubicBezTo>
                  <a:pt x="1106" y="556"/>
                  <a:pt x="1106" y="557"/>
                  <a:pt x="1106" y="557"/>
                </a:cubicBezTo>
                <a:cubicBezTo>
                  <a:pt x="1106" y="557"/>
                  <a:pt x="1107" y="557"/>
                  <a:pt x="1107" y="557"/>
                </a:cubicBezTo>
                <a:cubicBezTo>
                  <a:pt x="1107" y="557"/>
                  <a:pt x="1107" y="557"/>
                  <a:pt x="1107" y="557"/>
                </a:cubicBezTo>
                <a:cubicBezTo>
                  <a:pt x="1107" y="557"/>
                  <a:pt x="1107" y="557"/>
                  <a:pt x="1108" y="557"/>
                </a:cubicBezTo>
                <a:cubicBezTo>
                  <a:pt x="1108" y="558"/>
                  <a:pt x="1108" y="558"/>
                  <a:pt x="1108" y="558"/>
                </a:cubicBezTo>
                <a:cubicBezTo>
                  <a:pt x="1109" y="558"/>
                  <a:pt x="1109" y="558"/>
                  <a:pt x="1109" y="558"/>
                </a:cubicBezTo>
                <a:cubicBezTo>
                  <a:pt x="1109" y="558"/>
                  <a:pt x="1109" y="558"/>
                  <a:pt x="1109" y="559"/>
                </a:cubicBezTo>
                <a:cubicBezTo>
                  <a:pt x="1109" y="559"/>
                  <a:pt x="1109" y="559"/>
                  <a:pt x="1109" y="559"/>
                </a:cubicBezTo>
                <a:cubicBezTo>
                  <a:pt x="1109" y="559"/>
                  <a:pt x="1110" y="559"/>
                  <a:pt x="1110" y="559"/>
                </a:cubicBezTo>
                <a:cubicBezTo>
                  <a:pt x="1110" y="559"/>
                  <a:pt x="1110" y="559"/>
                  <a:pt x="1111" y="559"/>
                </a:cubicBezTo>
                <a:cubicBezTo>
                  <a:pt x="1111" y="559"/>
                  <a:pt x="1111" y="558"/>
                  <a:pt x="1112" y="558"/>
                </a:cubicBezTo>
                <a:cubicBezTo>
                  <a:pt x="1112" y="558"/>
                  <a:pt x="1112" y="558"/>
                  <a:pt x="1113" y="558"/>
                </a:cubicBezTo>
                <a:cubicBezTo>
                  <a:pt x="1114" y="558"/>
                  <a:pt x="1115" y="558"/>
                  <a:pt x="1116" y="558"/>
                </a:cubicBezTo>
                <a:cubicBezTo>
                  <a:pt x="1116" y="558"/>
                  <a:pt x="1116" y="558"/>
                  <a:pt x="1116" y="558"/>
                </a:cubicBezTo>
                <a:cubicBezTo>
                  <a:pt x="1117" y="558"/>
                  <a:pt x="1117" y="558"/>
                  <a:pt x="1118" y="558"/>
                </a:cubicBezTo>
                <a:cubicBezTo>
                  <a:pt x="1118" y="557"/>
                  <a:pt x="1118" y="557"/>
                  <a:pt x="1119" y="557"/>
                </a:cubicBezTo>
                <a:cubicBezTo>
                  <a:pt x="1119" y="557"/>
                  <a:pt x="1119" y="557"/>
                  <a:pt x="1119" y="557"/>
                </a:cubicBezTo>
                <a:cubicBezTo>
                  <a:pt x="1119" y="557"/>
                  <a:pt x="1120" y="556"/>
                  <a:pt x="1120" y="556"/>
                </a:cubicBezTo>
                <a:cubicBezTo>
                  <a:pt x="1120" y="556"/>
                  <a:pt x="1120" y="555"/>
                  <a:pt x="1121" y="555"/>
                </a:cubicBezTo>
                <a:cubicBezTo>
                  <a:pt x="1121" y="555"/>
                  <a:pt x="1121" y="555"/>
                  <a:pt x="1121" y="554"/>
                </a:cubicBezTo>
                <a:cubicBezTo>
                  <a:pt x="1121" y="554"/>
                  <a:pt x="1121" y="554"/>
                  <a:pt x="1122" y="554"/>
                </a:cubicBezTo>
                <a:cubicBezTo>
                  <a:pt x="1122" y="554"/>
                  <a:pt x="1122" y="553"/>
                  <a:pt x="1122" y="553"/>
                </a:cubicBezTo>
                <a:cubicBezTo>
                  <a:pt x="1122" y="553"/>
                  <a:pt x="1122" y="553"/>
                  <a:pt x="1122" y="553"/>
                </a:cubicBezTo>
                <a:cubicBezTo>
                  <a:pt x="1122" y="553"/>
                  <a:pt x="1122" y="553"/>
                  <a:pt x="1122" y="552"/>
                </a:cubicBezTo>
                <a:cubicBezTo>
                  <a:pt x="1122" y="552"/>
                  <a:pt x="1123" y="552"/>
                  <a:pt x="1123" y="551"/>
                </a:cubicBezTo>
                <a:cubicBezTo>
                  <a:pt x="1123" y="551"/>
                  <a:pt x="1123" y="551"/>
                  <a:pt x="1123" y="551"/>
                </a:cubicBezTo>
                <a:cubicBezTo>
                  <a:pt x="1123" y="551"/>
                  <a:pt x="1123" y="551"/>
                  <a:pt x="1123" y="551"/>
                </a:cubicBezTo>
                <a:cubicBezTo>
                  <a:pt x="1123" y="551"/>
                  <a:pt x="1124" y="550"/>
                  <a:pt x="1124" y="550"/>
                </a:cubicBezTo>
                <a:cubicBezTo>
                  <a:pt x="1124" y="549"/>
                  <a:pt x="1125" y="549"/>
                  <a:pt x="1125" y="548"/>
                </a:cubicBezTo>
                <a:cubicBezTo>
                  <a:pt x="1125" y="547"/>
                  <a:pt x="1125" y="547"/>
                  <a:pt x="1126" y="546"/>
                </a:cubicBezTo>
                <a:cubicBezTo>
                  <a:pt x="1126" y="546"/>
                  <a:pt x="1126" y="546"/>
                  <a:pt x="1126" y="546"/>
                </a:cubicBezTo>
                <a:cubicBezTo>
                  <a:pt x="1127" y="546"/>
                  <a:pt x="1127" y="545"/>
                  <a:pt x="1127" y="545"/>
                </a:cubicBezTo>
                <a:cubicBezTo>
                  <a:pt x="1128" y="544"/>
                  <a:pt x="1128" y="543"/>
                  <a:pt x="1128" y="543"/>
                </a:cubicBezTo>
                <a:cubicBezTo>
                  <a:pt x="1129" y="542"/>
                  <a:pt x="1130" y="541"/>
                  <a:pt x="1130" y="540"/>
                </a:cubicBezTo>
                <a:cubicBezTo>
                  <a:pt x="1130" y="540"/>
                  <a:pt x="1131" y="539"/>
                  <a:pt x="1131" y="539"/>
                </a:cubicBezTo>
                <a:cubicBezTo>
                  <a:pt x="1131" y="539"/>
                  <a:pt x="1131" y="538"/>
                  <a:pt x="1131" y="538"/>
                </a:cubicBezTo>
                <a:cubicBezTo>
                  <a:pt x="1132" y="537"/>
                  <a:pt x="1132" y="537"/>
                  <a:pt x="1132" y="537"/>
                </a:cubicBezTo>
                <a:cubicBezTo>
                  <a:pt x="1132" y="536"/>
                  <a:pt x="1132" y="536"/>
                  <a:pt x="1132" y="536"/>
                </a:cubicBezTo>
                <a:cubicBezTo>
                  <a:pt x="1133" y="536"/>
                  <a:pt x="1133" y="535"/>
                  <a:pt x="1134" y="535"/>
                </a:cubicBezTo>
                <a:cubicBezTo>
                  <a:pt x="1134" y="534"/>
                  <a:pt x="1134" y="534"/>
                  <a:pt x="1135" y="533"/>
                </a:cubicBezTo>
                <a:cubicBezTo>
                  <a:pt x="1135" y="532"/>
                  <a:pt x="1135" y="532"/>
                  <a:pt x="1135" y="531"/>
                </a:cubicBezTo>
                <a:cubicBezTo>
                  <a:pt x="1135" y="531"/>
                  <a:pt x="1135" y="531"/>
                  <a:pt x="1136" y="531"/>
                </a:cubicBezTo>
                <a:cubicBezTo>
                  <a:pt x="1136" y="531"/>
                  <a:pt x="1136" y="530"/>
                  <a:pt x="1136" y="530"/>
                </a:cubicBezTo>
                <a:cubicBezTo>
                  <a:pt x="1136" y="530"/>
                  <a:pt x="1136" y="530"/>
                  <a:pt x="1136" y="530"/>
                </a:cubicBezTo>
                <a:cubicBezTo>
                  <a:pt x="1136" y="529"/>
                  <a:pt x="1136" y="529"/>
                  <a:pt x="1136" y="529"/>
                </a:cubicBezTo>
                <a:cubicBezTo>
                  <a:pt x="1136" y="528"/>
                  <a:pt x="1137" y="528"/>
                  <a:pt x="1137" y="528"/>
                </a:cubicBezTo>
                <a:cubicBezTo>
                  <a:pt x="1137" y="528"/>
                  <a:pt x="1137" y="527"/>
                  <a:pt x="1137" y="527"/>
                </a:cubicBezTo>
                <a:cubicBezTo>
                  <a:pt x="1137" y="527"/>
                  <a:pt x="1138" y="527"/>
                  <a:pt x="1138" y="527"/>
                </a:cubicBezTo>
                <a:cubicBezTo>
                  <a:pt x="1138" y="526"/>
                  <a:pt x="1138" y="526"/>
                  <a:pt x="1138" y="526"/>
                </a:cubicBezTo>
                <a:cubicBezTo>
                  <a:pt x="1138" y="526"/>
                  <a:pt x="1138" y="525"/>
                  <a:pt x="1137" y="525"/>
                </a:cubicBezTo>
                <a:cubicBezTo>
                  <a:pt x="1138" y="525"/>
                  <a:pt x="1138" y="525"/>
                  <a:pt x="1138" y="525"/>
                </a:cubicBezTo>
                <a:cubicBezTo>
                  <a:pt x="1138" y="525"/>
                  <a:pt x="1138" y="524"/>
                  <a:pt x="1138" y="524"/>
                </a:cubicBezTo>
                <a:cubicBezTo>
                  <a:pt x="1138" y="524"/>
                  <a:pt x="1138" y="524"/>
                  <a:pt x="1138" y="524"/>
                </a:cubicBezTo>
                <a:cubicBezTo>
                  <a:pt x="1138" y="523"/>
                  <a:pt x="1138" y="523"/>
                  <a:pt x="1138" y="523"/>
                </a:cubicBezTo>
                <a:cubicBezTo>
                  <a:pt x="1138" y="523"/>
                  <a:pt x="1138" y="523"/>
                  <a:pt x="1138" y="523"/>
                </a:cubicBezTo>
                <a:cubicBezTo>
                  <a:pt x="1139" y="523"/>
                  <a:pt x="1139" y="523"/>
                  <a:pt x="1139" y="523"/>
                </a:cubicBezTo>
                <a:cubicBezTo>
                  <a:pt x="1139" y="523"/>
                  <a:pt x="1139" y="523"/>
                  <a:pt x="1139" y="524"/>
                </a:cubicBezTo>
                <a:cubicBezTo>
                  <a:pt x="1139" y="524"/>
                  <a:pt x="1139" y="524"/>
                  <a:pt x="1140" y="525"/>
                </a:cubicBezTo>
                <a:cubicBezTo>
                  <a:pt x="1140" y="525"/>
                  <a:pt x="1140" y="525"/>
                  <a:pt x="1140" y="525"/>
                </a:cubicBezTo>
                <a:cubicBezTo>
                  <a:pt x="1140" y="525"/>
                  <a:pt x="1140" y="525"/>
                  <a:pt x="1141" y="524"/>
                </a:cubicBezTo>
                <a:cubicBezTo>
                  <a:pt x="1141" y="524"/>
                  <a:pt x="1141" y="524"/>
                  <a:pt x="1141" y="524"/>
                </a:cubicBezTo>
                <a:cubicBezTo>
                  <a:pt x="1141" y="524"/>
                  <a:pt x="1141" y="524"/>
                  <a:pt x="1141" y="524"/>
                </a:cubicBezTo>
                <a:cubicBezTo>
                  <a:pt x="1141" y="523"/>
                  <a:pt x="1141" y="523"/>
                  <a:pt x="1141" y="523"/>
                </a:cubicBezTo>
                <a:cubicBezTo>
                  <a:pt x="1141" y="523"/>
                  <a:pt x="1141" y="523"/>
                  <a:pt x="1142" y="523"/>
                </a:cubicBezTo>
                <a:cubicBezTo>
                  <a:pt x="1142" y="522"/>
                  <a:pt x="1142" y="522"/>
                  <a:pt x="1142" y="522"/>
                </a:cubicBezTo>
                <a:cubicBezTo>
                  <a:pt x="1141" y="522"/>
                  <a:pt x="1141" y="521"/>
                  <a:pt x="1141" y="521"/>
                </a:cubicBezTo>
                <a:cubicBezTo>
                  <a:pt x="1141" y="521"/>
                  <a:pt x="1141" y="520"/>
                  <a:pt x="1141" y="520"/>
                </a:cubicBezTo>
                <a:close/>
                <a:moveTo>
                  <a:pt x="1136" y="512"/>
                </a:moveTo>
                <a:cubicBezTo>
                  <a:pt x="1136" y="512"/>
                  <a:pt x="1136" y="512"/>
                  <a:pt x="1136" y="512"/>
                </a:cubicBezTo>
                <a:cubicBezTo>
                  <a:pt x="1135" y="512"/>
                  <a:pt x="1135" y="512"/>
                  <a:pt x="1135" y="512"/>
                </a:cubicBezTo>
                <a:cubicBezTo>
                  <a:pt x="1135" y="512"/>
                  <a:pt x="1135" y="513"/>
                  <a:pt x="1135" y="513"/>
                </a:cubicBezTo>
                <a:cubicBezTo>
                  <a:pt x="1135" y="512"/>
                  <a:pt x="1135" y="512"/>
                  <a:pt x="1136" y="512"/>
                </a:cubicBezTo>
                <a:close/>
                <a:moveTo>
                  <a:pt x="1134" y="514"/>
                </a:moveTo>
                <a:cubicBezTo>
                  <a:pt x="1134" y="514"/>
                  <a:pt x="1134" y="514"/>
                  <a:pt x="1134" y="514"/>
                </a:cubicBezTo>
                <a:cubicBezTo>
                  <a:pt x="1134" y="514"/>
                  <a:pt x="1134" y="514"/>
                  <a:pt x="1133" y="513"/>
                </a:cubicBezTo>
                <a:cubicBezTo>
                  <a:pt x="1133" y="513"/>
                  <a:pt x="1133" y="513"/>
                  <a:pt x="1133" y="513"/>
                </a:cubicBezTo>
                <a:cubicBezTo>
                  <a:pt x="1133" y="513"/>
                  <a:pt x="1133" y="513"/>
                  <a:pt x="1133" y="513"/>
                </a:cubicBezTo>
                <a:cubicBezTo>
                  <a:pt x="1133" y="514"/>
                  <a:pt x="1133" y="514"/>
                  <a:pt x="1133" y="514"/>
                </a:cubicBezTo>
                <a:cubicBezTo>
                  <a:pt x="1133" y="514"/>
                  <a:pt x="1133" y="514"/>
                  <a:pt x="1133" y="514"/>
                </a:cubicBezTo>
                <a:cubicBezTo>
                  <a:pt x="1133" y="514"/>
                  <a:pt x="1134" y="514"/>
                  <a:pt x="1134" y="514"/>
                </a:cubicBezTo>
                <a:close/>
                <a:moveTo>
                  <a:pt x="1536" y="623"/>
                </a:moveTo>
                <a:cubicBezTo>
                  <a:pt x="1536" y="623"/>
                  <a:pt x="1535" y="623"/>
                  <a:pt x="1535" y="623"/>
                </a:cubicBezTo>
                <a:cubicBezTo>
                  <a:pt x="1535" y="622"/>
                  <a:pt x="1535" y="622"/>
                  <a:pt x="1535" y="622"/>
                </a:cubicBezTo>
                <a:cubicBezTo>
                  <a:pt x="1535" y="622"/>
                  <a:pt x="1535" y="622"/>
                  <a:pt x="1535" y="622"/>
                </a:cubicBezTo>
                <a:cubicBezTo>
                  <a:pt x="1535" y="622"/>
                  <a:pt x="1535" y="622"/>
                  <a:pt x="1535" y="622"/>
                </a:cubicBezTo>
                <a:cubicBezTo>
                  <a:pt x="1534" y="622"/>
                  <a:pt x="1534" y="622"/>
                  <a:pt x="1534" y="622"/>
                </a:cubicBezTo>
                <a:cubicBezTo>
                  <a:pt x="1534" y="622"/>
                  <a:pt x="1534" y="622"/>
                  <a:pt x="1534" y="622"/>
                </a:cubicBezTo>
                <a:cubicBezTo>
                  <a:pt x="1534" y="622"/>
                  <a:pt x="1534" y="622"/>
                  <a:pt x="1534" y="622"/>
                </a:cubicBezTo>
                <a:cubicBezTo>
                  <a:pt x="1534" y="623"/>
                  <a:pt x="1534" y="623"/>
                  <a:pt x="1534" y="623"/>
                </a:cubicBezTo>
                <a:cubicBezTo>
                  <a:pt x="1534" y="623"/>
                  <a:pt x="1533" y="623"/>
                  <a:pt x="1533" y="623"/>
                </a:cubicBezTo>
                <a:cubicBezTo>
                  <a:pt x="1533" y="623"/>
                  <a:pt x="1533" y="623"/>
                  <a:pt x="1533" y="623"/>
                </a:cubicBezTo>
                <a:cubicBezTo>
                  <a:pt x="1534" y="623"/>
                  <a:pt x="1534" y="623"/>
                  <a:pt x="1534" y="624"/>
                </a:cubicBezTo>
                <a:cubicBezTo>
                  <a:pt x="1535" y="624"/>
                  <a:pt x="1535" y="624"/>
                  <a:pt x="1535" y="624"/>
                </a:cubicBezTo>
                <a:cubicBezTo>
                  <a:pt x="1535" y="624"/>
                  <a:pt x="1536" y="624"/>
                  <a:pt x="1536" y="624"/>
                </a:cubicBezTo>
                <a:cubicBezTo>
                  <a:pt x="1536" y="624"/>
                  <a:pt x="1536" y="624"/>
                  <a:pt x="1536" y="623"/>
                </a:cubicBezTo>
                <a:cubicBezTo>
                  <a:pt x="1535" y="623"/>
                  <a:pt x="1535" y="623"/>
                  <a:pt x="1535" y="623"/>
                </a:cubicBezTo>
                <a:cubicBezTo>
                  <a:pt x="1535" y="623"/>
                  <a:pt x="1535" y="623"/>
                  <a:pt x="1535" y="623"/>
                </a:cubicBezTo>
                <a:cubicBezTo>
                  <a:pt x="1535" y="623"/>
                  <a:pt x="1536" y="623"/>
                  <a:pt x="1536" y="623"/>
                </a:cubicBezTo>
                <a:cubicBezTo>
                  <a:pt x="1536" y="623"/>
                  <a:pt x="1536" y="623"/>
                  <a:pt x="1536" y="623"/>
                </a:cubicBezTo>
                <a:close/>
                <a:moveTo>
                  <a:pt x="1541" y="726"/>
                </a:moveTo>
                <a:cubicBezTo>
                  <a:pt x="1542" y="726"/>
                  <a:pt x="1542" y="726"/>
                  <a:pt x="1542" y="726"/>
                </a:cubicBezTo>
                <a:cubicBezTo>
                  <a:pt x="1543" y="726"/>
                  <a:pt x="1543" y="726"/>
                  <a:pt x="1543" y="725"/>
                </a:cubicBezTo>
                <a:cubicBezTo>
                  <a:pt x="1543" y="725"/>
                  <a:pt x="1543" y="725"/>
                  <a:pt x="1543" y="725"/>
                </a:cubicBezTo>
                <a:cubicBezTo>
                  <a:pt x="1544" y="725"/>
                  <a:pt x="1544" y="725"/>
                  <a:pt x="1545" y="725"/>
                </a:cubicBezTo>
                <a:cubicBezTo>
                  <a:pt x="1545" y="725"/>
                  <a:pt x="1546" y="724"/>
                  <a:pt x="1546" y="724"/>
                </a:cubicBezTo>
                <a:cubicBezTo>
                  <a:pt x="1546" y="724"/>
                  <a:pt x="1546" y="724"/>
                  <a:pt x="1547" y="724"/>
                </a:cubicBezTo>
                <a:cubicBezTo>
                  <a:pt x="1547" y="724"/>
                  <a:pt x="1547" y="723"/>
                  <a:pt x="1548" y="723"/>
                </a:cubicBezTo>
                <a:cubicBezTo>
                  <a:pt x="1548" y="723"/>
                  <a:pt x="1549" y="723"/>
                  <a:pt x="1549" y="723"/>
                </a:cubicBezTo>
                <a:cubicBezTo>
                  <a:pt x="1549" y="723"/>
                  <a:pt x="1550" y="723"/>
                  <a:pt x="1550" y="723"/>
                </a:cubicBezTo>
                <a:cubicBezTo>
                  <a:pt x="1550" y="723"/>
                  <a:pt x="1549" y="723"/>
                  <a:pt x="1549" y="723"/>
                </a:cubicBezTo>
                <a:cubicBezTo>
                  <a:pt x="1549" y="723"/>
                  <a:pt x="1549" y="723"/>
                  <a:pt x="1549" y="723"/>
                </a:cubicBezTo>
                <a:cubicBezTo>
                  <a:pt x="1550" y="723"/>
                  <a:pt x="1550" y="723"/>
                  <a:pt x="1551" y="723"/>
                </a:cubicBezTo>
                <a:cubicBezTo>
                  <a:pt x="1551" y="723"/>
                  <a:pt x="1552" y="723"/>
                  <a:pt x="1552" y="723"/>
                </a:cubicBezTo>
                <a:cubicBezTo>
                  <a:pt x="1553" y="723"/>
                  <a:pt x="1553" y="723"/>
                  <a:pt x="1553" y="722"/>
                </a:cubicBezTo>
                <a:cubicBezTo>
                  <a:pt x="1553" y="722"/>
                  <a:pt x="1553" y="722"/>
                  <a:pt x="1553" y="722"/>
                </a:cubicBezTo>
                <a:cubicBezTo>
                  <a:pt x="1553" y="722"/>
                  <a:pt x="1553" y="722"/>
                  <a:pt x="1554" y="721"/>
                </a:cubicBezTo>
                <a:cubicBezTo>
                  <a:pt x="1554" y="721"/>
                  <a:pt x="1555" y="721"/>
                  <a:pt x="1555" y="721"/>
                </a:cubicBezTo>
                <a:cubicBezTo>
                  <a:pt x="1556" y="721"/>
                  <a:pt x="1556" y="721"/>
                  <a:pt x="1556" y="720"/>
                </a:cubicBezTo>
                <a:cubicBezTo>
                  <a:pt x="1556" y="720"/>
                  <a:pt x="1556" y="721"/>
                  <a:pt x="1557" y="721"/>
                </a:cubicBezTo>
                <a:cubicBezTo>
                  <a:pt x="1557" y="720"/>
                  <a:pt x="1558" y="720"/>
                  <a:pt x="1558" y="720"/>
                </a:cubicBezTo>
                <a:cubicBezTo>
                  <a:pt x="1558" y="719"/>
                  <a:pt x="1558" y="719"/>
                  <a:pt x="1559" y="719"/>
                </a:cubicBezTo>
                <a:cubicBezTo>
                  <a:pt x="1559" y="719"/>
                  <a:pt x="1559" y="718"/>
                  <a:pt x="1559" y="718"/>
                </a:cubicBezTo>
                <a:cubicBezTo>
                  <a:pt x="1559" y="718"/>
                  <a:pt x="1559" y="718"/>
                  <a:pt x="1559" y="718"/>
                </a:cubicBezTo>
                <a:cubicBezTo>
                  <a:pt x="1559" y="718"/>
                  <a:pt x="1560" y="717"/>
                  <a:pt x="1560" y="717"/>
                </a:cubicBezTo>
                <a:cubicBezTo>
                  <a:pt x="1560" y="717"/>
                  <a:pt x="1561" y="716"/>
                  <a:pt x="1562" y="716"/>
                </a:cubicBezTo>
                <a:cubicBezTo>
                  <a:pt x="1562" y="715"/>
                  <a:pt x="1562" y="715"/>
                  <a:pt x="1563" y="715"/>
                </a:cubicBezTo>
                <a:cubicBezTo>
                  <a:pt x="1564" y="714"/>
                  <a:pt x="1564" y="714"/>
                  <a:pt x="1565" y="713"/>
                </a:cubicBezTo>
                <a:cubicBezTo>
                  <a:pt x="1565" y="713"/>
                  <a:pt x="1566" y="713"/>
                  <a:pt x="1566" y="712"/>
                </a:cubicBezTo>
                <a:cubicBezTo>
                  <a:pt x="1566" y="712"/>
                  <a:pt x="1567" y="711"/>
                  <a:pt x="1567" y="711"/>
                </a:cubicBezTo>
                <a:cubicBezTo>
                  <a:pt x="1568" y="711"/>
                  <a:pt x="1568" y="711"/>
                  <a:pt x="1569" y="711"/>
                </a:cubicBezTo>
                <a:cubicBezTo>
                  <a:pt x="1569" y="711"/>
                  <a:pt x="1569" y="710"/>
                  <a:pt x="1570" y="710"/>
                </a:cubicBezTo>
                <a:cubicBezTo>
                  <a:pt x="1570" y="710"/>
                  <a:pt x="1570" y="709"/>
                  <a:pt x="1570" y="709"/>
                </a:cubicBezTo>
                <a:cubicBezTo>
                  <a:pt x="1570" y="709"/>
                  <a:pt x="1570" y="709"/>
                  <a:pt x="1571" y="709"/>
                </a:cubicBezTo>
                <a:cubicBezTo>
                  <a:pt x="1571" y="708"/>
                  <a:pt x="1571" y="707"/>
                  <a:pt x="1571" y="707"/>
                </a:cubicBezTo>
                <a:cubicBezTo>
                  <a:pt x="1571" y="707"/>
                  <a:pt x="1571" y="706"/>
                  <a:pt x="1571" y="706"/>
                </a:cubicBezTo>
                <a:cubicBezTo>
                  <a:pt x="1571" y="705"/>
                  <a:pt x="1571" y="705"/>
                  <a:pt x="1571" y="704"/>
                </a:cubicBezTo>
                <a:cubicBezTo>
                  <a:pt x="1571" y="704"/>
                  <a:pt x="1571" y="704"/>
                  <a:pt x="1571" y="704"/>
                </a:cubicBezTo>
                <a:cubicBezTo>
                  <a:pt x="1571" y="704"/>
                  <a:pt x="1572" y="703"/>
                  <a:pt x="1572" y="703"/>
                </a:cubicBezTo>
                <a:cubicBezTo>
                  <a:pt x="1572" y="703"/>
                  <a:pt x="1572" y="703"/>
                  <a:pt x="1572" y="703"/>
                </a:cubicBezTo>
                <a:cubicBezTo>
                  <a:pt x="1572" y="703"/>
                  <a:pt x="1572" y="703"/>
                  <a:pt x="1572" y="702"/>
                </a:cubicBezTo>
                <a:cubicBezTo>
                  <a:pt x="1573" y="702"/>
                  <a:pt x="1573" y="702"/>
                  <a:pt x="1574" y="702"/>
                </a:cubicBezTo>
                <a:cubicBezTo>
                  <a:pt x="1574" y="702"/>
                  <a:pt x="1574" y="701"/>
                  <a:pt x="1574" y="701"/>
                </a:cubicBezTo>
                <a:cubicBezTo>
                  <a:pt x="1574" y="701"/>
                  <a:pt x="1574" y="700"/>
                  <a:pt x="1575" y="699"/>
                </a:cubicBezTo>
                <a:cubicBezTo>
                  <a:pt x="1575" y="699"/>
                  <a:pt x="1575" y="699"/>
                  <a:pt x="1575" y="699"/>
                </a:cubicBezTo>
                <a:cubicBezTo>
                  <a:pt x="1575" y="699"/>
                  <a:pt x="1575" y="699"/>
                  <a:pt x="1575" y="698"/>
                </a:cubicBezTo>
                <a:cubicBezTo>
                  <a:pt x="1575" y="698"/>
                  <a:pt x="1575" y="698"/>
                  <a:pt x="1575" y="698"/>
                </a:cubicBezTo>
                <a:cubicBezTo>
                  <a:pt x="1576" y="697"/>
                  <a:pt x="1576" y="697"/>
                  <a:pt x="1576" y="696"/>
                </a:cubicBezTo>
                <a:cubicBezTo>
                  <a:pt x="1576" y="696"/>
                  <a:pt x="1576" y="696"/>
                  <a:pt x="1576" y="696"/>
                </a:cubicBezTo>
                <a:cubicBezTo>
                  <a:pt x="1576" y="696"/>
                  <a:pt x="1576" y="696"/>
                  <a:pt x="1577" y="695"/>
                </a:cubicBezTo>
                <a:cubicBezTo>
                  <a:pt x="1576" y="695"/>
                  <a:pt x="1576" y="695"/>
                  <a:pt x="1576" y="695"/>
                </a:cubicBezTo>
                <a:cubicBezTo>
                  <a:pt x="1576" y="695"/>
                  <a:pt x="1576" y="694"/>
                  <a:pt x="1576" y="694"/>
                </a:cubicBezTo>
                <a:cubicBezTo>
                  <a:pt x="1576" y="694"/>
                  <a:pt x="1576" y="693"/>
                  <a:pt x="1576" y="693"/>
                </a:cubicBezTo>
                <a:cubicBezTo>
                  <a:pt x="1576" y="693"/>
                  <a:pt x="1576" y="693"/>
                  <a:pt x="1576" y="692"/>
                </a:cubicBezTo>
                <a:cubicBezTo>
                  <a:pt x="1576" y="692"/>
                  <a:pt x="1576" y="691"/>
                  <a:pt x="1576" y="691"/>
                </a:cubicBezTo>
                <a:cubicBezTo>
                  <a:pt x="1576" y="691"/>
                  <a:pt x="1576" y="690"/>
                  <a:pt x="1576" y="690"/>
                </a:cubicBezTo>
                <a:cubicBezTo>
                  <a:pt x="1576" y="690"/>
                  <a:pt x="1576" y="689"/>
                  <a:pt x="1576" y="689"/>
                </a:cubicBezTo>
                <a:cubicBezTo>
                  <a:pt x="1575" y="689"/>
                  <a:pt x="1575" y="689"/>
                  <a:pt x="1575" y="689"/>
                </a:cubicBezTo>
                <a:cubicBezTo>
                  <a:pt x="1575" y="689"/>
                  <a:pt x="1575" y="688"/>
                  <a:pt x="1574" y="688"/>
                </a:cubicBezTo>
                <a:cubicBezTo>
                  <a:pt x="1574" y="688"/>
                  <a:pt x="1574" y="688"/>
                  <a:pt x="1574" y="688"/>
                </a:cubicBezTo>
                <a:cubicBezTo>
                  <a:pt x="1574" y="687"/>
                  <a:pt x="1574" y="687"/>
                  <a:pt x="1574" y="687"/>
                </a:cubicBezTo>
                <a:cubicBezTo>
                  <a:pt x="1574" y="687"/>
                  <a:pt x="1574" y="687"/>
                  <a:pt x="1574" y="687"/>
                </a:cubicBezTo>
                <a:cubicBezTo>
                  <a:pt x="1574" y="686"/>
                  <a:pt x="1574" y="686"/>
                  <a:pt x="1574" y="686"/>
                </a:cubicBezTo>
                <a:cubicBezTo>
                  <a:pt x="1574" y="686"/>
                  <a:pt x="1574" y="685"/>
                  <a:pt x="1573" y="685"/>
                </a:cubicBezTo>
                <a:cubicBezTo>
                  <a:pt x="1573" y="685"/>
                  <a:pt x="1573" y="684"/>
                  <a:pt x="1573" y="684"/>
                </a:cubicBezTo>
                <a:cubicBezTo>
                  <a:pt x="1573" y="684"/>
                  <a:pt x="1573" y="684"/>
                  <a:pt x="1574" y="684"/>
                </a:cubicBezTo>
                <a:cubicBezTo>
                  <a:pt x="1573" y="683"/>
                  <a:pt x="1573" y="683"/>
                  <a:pt x="1573" y="683"/>
                </a:cubicBezTo>
                <a:cubicBezTo>
                  <a:pt x="1574" y="683"/>
                  <a:pt x="1574" y="682"/>
                  <a:pt x="1575" y="682"/>
                </a:cubicBezTo>
                <a:cubicBezTo>
                  <a:pt x="1575" y="682"/>
                  <a:pt x="1575" y="682"/>
                  <a:pt x="1575" y="681"/>
                </a:cubicBezTo>
                <a:cubicBezTo>
                  <a:pt x="1575" y="681"/>
                  <a:pt x="1575" y="681"/>
                  <a:pt x="1575" y="681"/>
                </a:cubicBezTo>
                <a:cubicBezTo>
                  <a:pt x="1575" y="681"/>
                  <a:pt x="1576" y="680"/>
                  <a:pt x="1576" y="680"/>
                </a:cubicBezTo>
                <a:cubicBezTo>
                  <a:pt x="1576" y="680"/>
                  <a:pt x="1575" y="680"/>
                  <a:pt x="1575" y="680"/>
                </a:cubicBezTo>
                <a:cubicBezTo>
                  <a:pt x="1575" y="680"/>
                  <a:pt x="1575" y="680"/>
                  <a:pt x="1575" y="680"/>
                </a:cubicBezTo>
                <a:cubicBezTo>
                  <a:pt x="1575" y="680"/>
                  <a:pt x="1575" y="680"/>
                  <a:pt x="1575" y="680"/>
                </a:cubicBezTo>
                <a:cubicBezTo>
                  <a:pt x="1575" y="680"/>
                  <a:pt x="1575" y="681"/>
                  <a:pt x="1575" y="681"/>
                </a:cubicBezTo>
                <a:cubicBezTo>
                  <a:pt x="1574" y="680"/>
                  <a:pt x="1574" y="679"/>
                  <a:pt x="1573" y="678"/>
                </a:cubicBezTo>
                <a:cubicBezTo>
                  <a:pt x="1573" y="678"/>
                  <a:pt x="1573" y="678"/>
                  <a:pt x="1573" y="677"/>
                </a:cubicBezTo>
                <a:cubicBezTo>
                  <a:pt x="1573" y="677"/>
                  <a:pt x="1573" y="677"/>
                  <a:pt x="1573" y="677"/>
                </a:cubicBezTo>
                <a:cubicBezTo>
                  <a:pt x="1573" y="678"/>
                  <a:pt x="1573" y="678"/>
                  <a:pt x="1573" y="678"/>
                </a:cubicBezTo>
                <a:cubicBezTo>
                  <a:pt x="1572" y="678"/>
                  <a:pt x="1572" y="678"/>
                  <a:pt x="1572" y="678"/>
                </a:cubicBezTo>
                <a:cubicBezTo>
                  <a:pt x="1572" y="679"/>
                  <a:pt x="1572" y="679"/>
                  <a:pt x="1572" y="680"/>
                </a:cubicBezTo>
                <a:cubicBezTo>
                  <a:pt x="1572" y="679"/>
                  <a:pt x="1572" y="679"/>
                  <a:pt x="1572" y="678"/>
                </a:cubicBezTo>
                <a:cubicBezTo>
                  <a:pt x="1571" y="678"/>
                  <a:pt x="1571" y="678"/>
                  <a:pt x="1571" y="678"/>
                </a:cubicBezTo>
                <a:cubicBezTo>
                  <a:pt x="1571" y="678"/>
                  <a:pt x="1571" y="678"/>
                  <a:pt x="1571" y="678"/>
                </a:cubicBezTo>
                <a:cubicBezTo>
                  <a:pt x="1571" y="678"/>
                  <a:pt x="1571" y="677"/>
                  <a:pt x="1571" y="677"/>
                </a:cubicBezTo>
                <a:cubicBezTo>
                  <a:pt x="1571" y="676"/>
                  <a:pt x="1572" y="676"/>
                  <a:pt x="1572" y="675"/>
                </a:cubicBezTo>
                <a:cubicBezTo>
                  <a:pt x="1572" y="675"/>
                  <a:pt x="1572" y="675"/>
                  <a:pt x="1572" y="675"/>
                </a:cubicBezTo>
                <a:cubicBezTo>
                  <a:pt x="1572" y="675"/>
                  <a:pt x="1572" y="675"/>
                  <a:pt x="1572" y="675"/>
                </a:cubicBezTo>
                <a:cubicBezTo>
                  <a:pt x="1572" y="674"/>
                  <a:pt x="1572" y="674"/>
                  <a:pt x="1572" y="674"/>
                </a:cubicBezTo>
                <a:cubicBezTo>
                  <a:pt x="1572" y="674"/>
                  <a:pt x="1572" y="674"/>
                  <a:pt x="1572" y="673"/>
                </a:cubicBezTo>
                <a:cubicBezTo>
                  <a:pt x="1572" y="673"/>
                  <a:pt x="1572" y="673"/>
                  <a:pt x="1572" y="673"/>
                </a:cubicBezTo>
                <a:cubicBezTo>
                  <a:pt x="1572" y="673"/>
                  <a:pt x="1572" y="672"/>
                  <a:pt x="1573" y="672"/>
                </a:cubicBezTo>
                <a:cubicBezTo>
                  <a:pt x="1572" y="672"/>
                  <a:pt x="1572" y="671"/>
                  <a:pt x="1572" y="671"/>
                </a:cubicBezTo>
                <a:cubicBezTo>
                  <a:pt x="1572" y="670"/>
                  <a:pt x="1572" y="670"/>
                  <a:pt x="1572" y="670"/>
                </a:cubicBezTo>
                <a:cubicBezTo>
                  <a:pt x="1572" y="670"/>
                  <a:pt x="1572" y="669"/>
                  <a:pt x="1572" y="669"/>
                </a:cubicBezTo>
                <a:cubicBezTo>
                  <a:pt x="1572" y="669"/>
                  <a:pt x="1572" y="669"/>
                  <a:pt x="1573" y="670"/>
                </a:cubicBezTo>
                <a:cubicBezTo>
                  <a:pt x="1573" y="669"/>
                  <a:pt x="1573" y="669"/>
                  <a:pt x="1573" y="669"/>
                </a:cubicBezTo>
                <a:cubicBezTo>
                  <a:pt x="1573" y="668"/>
                  <a:pt x="1573" y="668"/>
                  <a:pt x="1573" y="668"/>
                </a:cubicBezTo>
                <a:cubicBezTo>
                  <a:pt x="1572" y="668"/>
                  <a:pt x="1572" y="668"/>
                  <a:pt x="1572" y="668"/>
                </a:cubicBezTo>
                <a:cubicBezTo>
                  <a:pt x="1572" y="667"/>
                  <a:pt x="1572" y="667"/>
                  <a:pt x="1572" y="667"/>
                </a:cubicBezTo>
                <a:cubicBezTo>
                  <a:pt x="1571" y="667"/>
                  <a:pt x="1571" y="666"/>
                  <a:pt x="1571" y="666"/>
                </a:cubicBezTo>
                <a:cubicBezTo>
                  <a:pt x="1571" y="666"/>
                  <a:pt x="1571" y="666"/>
                  <a:pt x="1570" y="666"/>
                </a:cubicBezTo>
                <a:cubicBezTo>
                  <a:pt x="1570" y="665"/>
                  <a:pt x="1570" y="665"/>
                  <a:pt x="1570" y="665"/>
                </a:cubicBezTo>
                <a:cubicBezTo>
                  <a:pt x="1570" y="665"/>
                  <a:pt x="1570" y="665"/>
                  <a:pt x="1569" y="665"/>
                </a:cubicBezTo>
                <a:cubicBezTo>
                  <a:pt x="1569" y="665"/>
                  <a:pt x="1569" y="665"/>
                  <a:pt x="1569" y="664"/>
                </a:cubicBezTo>
                <a:cubicBezTo>
                  <a:pt x="1569" y="664"/>
                  <a:pt x="1569" y="664"/>
                  <a:pt x="1568" y="664"/>
                </a:cubicBezTo>
                <a:cubicBezTo>
                  <a:pt x="1568" y="664"/>
                  <a:pt x="1568" y="664"/>
                  <a:pt x="1568" y="664"/>
                </a:cubicBezTo>
                <a:cubicBezTo>
                  <a:pt x="1568" y="664"/>
                  <a:pt x="1568" y="664"/>
                  <a:pt x="1568" y="663"/>
                </a:cubicBezTo>
                <a:cubicBezTo>
                  <a:pt x="1569" y="664"/>
                  <a:pt x="1569" y="664"/>
                  <a:pt x="1569" y="664"/>
                </a:cubicBezTo>
                <a:cubicBezTo>
                  <a:pt x="1569" y="664"/>
                  <a:pt x="1569" y="663"/>
                  <a:pt x="1570" y="663"/>
                </a:cubicBezTo>
                <a:cubicBezTo>
                  <a:pt x="1570" y="663"/>
                  <a:pt x="1570" y="663"/>
                  <a:pt x="1569" y="663"/>
                </a:cubicBezTo>
                <a:cubicBezTo>
                  <a:pt x="1569" y="663"/>
                  <a:pt x="1569" y="662"/>
                  <a:pt x="1568" y="662"/>
                </a:cubicBezTo>
                <a:cubicBezTo>
                  <a:pt x="1568" y="662"/>
                  <a:pt x="1568" y="662"/>
                  <a:pt x="1568" y="662"/>
                </a:cubicBezTo>
                <a:cubicBezTo>
                  <a:pt x="1568" y="662"/>
                  <a:pt x="1568" y="662"/>
                  <a:pt x="1568" y="661"/>
                </a:cubicBezTo>
                <a:cubicBezTo>
                  <a:pt x="1568" y="661"/>
                  <a:pt x="1567" y="661"/>
                  <a:pt x="1567" y="661"/>
                </a:cubicBezTo>
                <a:cubicBezTo>
                  <a:pt x="1567" y="661"/>
                  <a:pt x="1566" y="660"/>
                  <a:pt x="1566" y="660"/>
                </a:cubicBezTo>
                <a:cubicBezTo>
                  <a:pt x="1566" y="659"/>
                  <a:pt x="1566" y="659"/>
                  <a:pt x="1566" y="658"/>
                </a:cubicBezTo>
                <a:cubicBezTo>
                  <a:pt x="1566" y="658"/>
                  <a:pt x="1566" y="657"/>
                  <a:pt x="1566" y="657"/>
                </a:cubicBezTo>
                <a:cubicBezTo>
                  <a:pt x="1566" y="657"/>
                  <a:pt x="1566" y="656"/>
                  <a:pt x="1566" y="656"/>
                </a:cubicBezTo>
                <a:cubicBezTo>
                  <a:pt x="1566" y="656"/>
                  <a:pt x="1566" y="655"/>
                  <a:pt x="1566" y="655"/>
                </a:cubicBezTo>
                <a:cubicBezTo>
                  <a:pt x="1566" y="655"/>
                  <a:pt x="1567" y="655"/>
                  <a:pt x="1567" y="655"/>
                </a:cubicBezTo>
                <a:cubicBezTo>
                  <a:pt x="1567" y="655"/>
                  <a:pt x="1567" y="654"/>
                  <a:pt x="1568" y="654"/>
                </a:cubicBezTo>
                <a:cubicBezTo>
                  <a:pt x="1568" y="653"/>
                  <a:pt x="1568" y="653"/>
                  <a:pt x="1568" y="652"/>
                </a:cubicBezTo>
                <a:cubicBezTo>
                  <a:pt x="1568" y="652"/>
                  <a:pt x="1568" y="651"/>
                  <a:pt x="1568" y="651"/>
                </a:cubicBezTo>
                <a:cubicBezTo>
                  <a:pt x="1568" y="651"/>
                  <a:pt x="1568" y="651"/>
                  <a:pt x="1569" y="651"/>
                </a:cubicBezTo>
                <a:cubicBezTo>
                  <a:pt x="1568" y="651"/>
                  <a:pt x="1568" y="651"/>
                  <a:pt x="1568" y="650"/>
                </a:cubicBezTo>
                <a:cubicBezTo>
                  <a:pt x="1568" y="650"/>
                  <a:pt x="1568" y="650"/>
                  <a:pt x="1568" y="650"/>
                </a:cubicBezTo>
                <a:cubicBezTo>
                  <a:pt x="1567" y="650"/>
                  <a:pt x="1567" y="649"/>
                  <a:pt x="1567" y="648"/>
                </a:cubicBezTo>
                <a:cubicBezTo>
                  <a:pt x="1568" y="648"/>
                  <a:pt x="1568" y="647"/>
                  <a:pt x="1568" y="647"/>
                </a:cubicBezTo>
                <a:cubicBezTo>
                  <a:pt x="1568" y="647"/>
                  <a:pt x="1568" y="647"/>
                  <a:pt x="1568" y="647"/>
                </a:cubicBezTo>
                <a:cubicBezTo>
                  <a:pt x="1569" y="647"/>
                  <a:pt x="1569" y="647"/>
                  <a:pt x="1569" y="646"/>
                </a:cubicBezTo>
                <a:cubicBezTo>
                  <a:pt x="1569" y="646"/>
                  <a:pt x="1569" y="646"/>
                  <a:pt x="1568" y="646"/>
                </a:cubicBezTo>
                <a:cubicBezTo>
                  <a:pt x="1569" y="645"/>
                  <a:pt x="1569" y="644"/>
                  <a:pt x="1569" y="644"/>
                </a:cubicBezTo>
                <a:cubicBezTo>
                  <a:pt x="1569" y="644"/>
                  <a:pt x="1570" y="643"/>
                  <a:pt x="1570" y="643"/>
                </a:cubicBezTo>
                <a:cubicBezTo>
                  <a:pt x="1570" y="643"/>
                  <a:pt x="1570" y="643"/>
                  <a:pt x="1570" y="642"/>
                </a:cubicBezTo>
                <a:cubicBezTo>
                  <a:pt x="1570" y="642"/>
                  <a:pt x="1570" y="642"/>
                  <a:pt x="1570" y="642"/>
                </a:cubicBezTo>
                <a:cubicBezTo>
                  <a:pt x="1570" y="642"/>
                  <a:pt x="1570" y="642"/>
                  <a:pt x="1571" y="642"/>
                </a:cubicBezTo>
                <a:cubicBezTo>
                  <a:pt x="1570" y="641"/>
                  <a:pt x="1570" y="641"/>
                  <a:pt x="1570" y="640"/>
                </a:cubicBezTo>
                <a:cubicBezTo>
                  <a:pt x="1569" y="640"/>
                  <a:pt x="1569" y="640"/>
                  <a:pt x="1569" y="639"/>
                </a:cubicBezTo>
                <a:cubicBezTo>
                  <a:pt x="1569" y="639"/>
                  <a:pt x="1569" y="639"/>
                  <a:pt x="1569" y="639"/>
                </a:cubicBezTo>
                <a:cubicBezTo>
                  <a:pt x="1569" y="639"/>
                  <a:pt x="1569" y="638"/>
                  <a:pt x="1569" y="638"/>
                </a:cubicBezTo>
                <a:cubicBezTo>
                  <a:pt x="1568" y="638"/>
                  <a:pt x="1568" y="638"/>
                  <a:pt x="1568" y="638"/>
                </a:cubicBezTo>
                <a:cubicBezTo>
                  <a:pt x="1567" y="638"/>
                  <a:pt x="1567" y="638"/>
                  <a:pt x="1567" y="638"/>
                </a:cubicBezTo>
                <a:cubicBezTo>
                  <a:pt x="1567" y="638"/>
                  <a:pt x="1567" y="638"/>
                  <a:pt x="1566" y="638"/>
                </a:cubicBezTo>
                <a:cubicBezTo>
                  <a:pt x="1566" y="638"/>
                  <a:pt x="1566" y="638"/>
                  <a:pt x="1566" y="638"/>
                </a:cubicBezTo>
                <a:cubicBezTo>
                  <a:pt x="1566" y="637"/>
                  <a:pt x="1565" y="637"/>
                  <a:pt x="1565" y="636"/>
                </a:cubicBezTo>
                <a:cubicBezTo>
                  <a:pt x="1565" y="636"/>
                  <a:pt x="1565" y="636"/>
                  <a:pt x="1566" y="636"/>
                </a:cubicBezTo>
                <a:cubicBezTo>
                  <a:pt x="1566" y="635"/>
                  <a:pt x="1566" y="635"/>
                  <a:pt x="1565" y="635"/>
                </a:cubicBezTo>
                <a:cubicBezTo>
                  <a:pt x="1566" y="634"/>
                  <a:pt x="1566" y="634"/>
                  <a:pt x="1566" y="634"/>
                </a:cubicBezTo>
                <a:cubicBezTo>
                  <a:pt x="1567" y="633"/>
                  <a:pt x="1567" y="633"/>
                  <a:pt x="1567" y="632"/>
                </a:cubicBezTo>
                <a:cubicBezTo>
                  <a:pt x="1567" y="632"/>
                  <a:pt x="1567" y="632"/>
                  <a:pt x="1566" y="632"/>
                </a:cubicBezTo>
                <a:cubicBezTo>
                  <a:pt x="1566" y="632"/>
                  <a:pt x="1566" y="631"/>
                  <a:pt x="1566" y="631"/>
                </a:cubicBezTo>
                <a:cubicBezTo>
                  <a:pt x="1567" y="631"/>
                  <a:pt x="1567" y="631"/>
                  <a:pt x="1567" y="631"/>
                </a:cubicBezTo>
                <a:cubicBezTo>
                  <a:pt x="1567" y="630"/>
                  <a:pt x="1567" y="630"/>
                  <a:pt x="1567" y="630"/>
                </a:cubicBezTo>
                <a:cubicBezTo>
                  <a:pt x="1567" y="630"/>
                  <a:pt x="1567" y="629"/>
                  <a:pt x="1567" y="629"/>
                </a:cubicBezTo>
                <a:cubicBezTo>
                  <a:pt x="1567" y="629"/>
                  <a:pt x="1567" y="629"/>
                  <a:pt x="1567" y="629"/>
                </a:cubicBezTo>
                <a:cubicBezTo>
                  <a:pt x="1567" y="629"/>
                  <a:pt x="1567" y="628"/>
                  <a:pt x="1567" y="628"/>
                </a:cubicBezTo>
                <a:cubicBezTo>
                  <a:pt x="1567" y="628"/>
                  <a:pt x="1568" y="628"/>
                  <a:pt x="1568" y="628"/>
                </a:cubicBezTo>
                <a:cubicBezTo>
                  <a:pt x="1568" y="628"/>
                  <a:pt x="1567" y="627"/>
                  <a:pt x="1567" y="627"/>
                </a:cubicBezTo>
                <a:cubicBezTo>
                  <a:pt x="1567" y="627"/>
                  <a:pt x="1567" y="627"/>
                  <a:pt x="1567" y="627"/>
                </a:cubicBezTo>
                <a:cubicBezTo>
                  <a:pt x="1566" y="627"/>
                  <a:pt x="1566" y="627"/>
                  <a:pt x="1566" y="626"/>
                </a:cubicBezTo>
                <a:cubicBezTo>
                  <a:pt x="1567" y="626"/>
                  <a:pt x="1567" y="625"/>
                  <a:pt x="1567" y="625"/>
                </a:cubicBezTo>
                <a:cubicBezTo>
                  <a:pt x="1567" y="625"/>
                  <a:pt x="1567" y="625"/>
                  <a:pt x="1567" y="624"/>
                </a:cubicBezTo>
                <a:cubicBezTo>
                  <a:pt x="1567" y="624"/>
                  <a:pt x="1567" y="624"/>
                  <a:pt x="1567" y="623"/>
                </a:cubicBezTo>
                <a:cubicBezTo>
                  <a:pt x="1567" y="623"/>
                  <a:pt x="1567" y="623"/>
                  <a:pt x="1566" y="623"/>
                </a:cubicBezTo>
                <a:cubicBezTo>
                  <a:pt x="1567" y="623"/>
                  <a:pt x="1567" y="623"/>
                  <a:pt x="1567" y="622"/>
                </a:cubicBezTo>
                <a:cubicBezTo>
                  <a:pt x="1566" y="622"/>
                  <a:pt x="1566" y="622"/>
                  <a:pt x="1565" y="622"/>
                </a:cubicBezTo>
                <a:cubicBezTo>
                  <a:pt x="1565" y="622"/>
                  <a:pt x="1565" y="623"/>
                  <a:pt x="1565" y="623"/>
                </a:cubicBezTo>
                <a:cubicBezTo>
                  <a:pt x="1565" y="623"/>
                  <a:pt x="1564" y="623"/>
                  <a:pt x="1564" y="624"/>
                </a:cubicBezTo>
                <a:cubicBezTo>
                  <a:pt x="1564" y="624"/>
                  <a:pt x="1564" y="624"/>
                  <a:pt x="1563" y="625"/>
                </a:cubicBezTo>
                <a:cubicBezTo>
                  <a:pt x="1563" y="625"/>
                  <a:pt x="1563" y="625"/>
                  <a:pt x="1563" y="625"/>
                </a:cubicBezTo>
                <a:cubicBezTo>
                  <a:pt x="1563" y="625"/>
                  <a:pt x="1563" y="625"/>
                  <a:pt x="1563" y="626"/>
                </a:cubicBezTo>
                <a:cubicBezTo>
                  <a:pt x="1562" y="625"/>
                  <a:pt x="1562" y="625"/>
                  <a:pt x="1562" y="625"/>
                </a:cubicBezTo>
                <a:cubicBezTo>
                  <a:pt x="1562" y="626"/>
                  <a:pt x="1561" y="626"/>
                  <a:pt x="1561" y="626"/>
                </a:cubicBezTo>
                <a:cubicBezTo>
                  <a:pt x="1561" y="626"/>
                  <a:pt x="1560" y="626"/>
                  <a:pt x="1560" y="627"/>
                </a:cubicBezTo>
                <a:cubicBezTo>
                  <a:pt x="1560" y="627"/>
                  <a:pt x="1560" y="627"/>
                  <a:pt x="1560" y="627"/>
                </a:cubicBezTo>
                <a:cubicBezTo>
                  <a:pt x="1561" y="628"/>
                  <a:pt x="1561" y="628"/>
                  <a:pt x="1561" y="628"/>
                </a:cubicBezTo>
                <a:cubicBezTo>
                  <a:pt x="1561" y="628"/>
                  <a:pt x="1561" y="628"/>
                  <a:pt x="1560" y="628"/>
                </a:cubicBezTo>
                <a:cubicBezTo>
                  <a:pt x="1560" y="628"/>
                  <a:pt x="1560" y="628"/>
                  <a:pt x="1560" y="628"/>
                </a:cubicBezTo>
                <a:cubicBezTo>
                  <a:pt x="1560" y="628"/>
                  <a:pt x="1559" y="628"/>
                  <a:pt x="1559" y="629"/>
                </a:cubicBezTo>
                <a:cubicBezTo>
                  <a:pt x="1559" y="629"/>
                  <a:pt x="1559" y="629"/>
                  <a:pt x="1558" y="629"/>
                </a:cubicBezTo>
                <a:cubicBezTo>
                  <a:pt x="1558" y="629"/>
                  <a:pt x="1559" y="630"/>
                  <a:pt x="1559" y="630"/>
                </a:cubicBezTo>
                <a:cubicBezTo>
                  <a:pt x="1559" y="630"/>
                  <a:pt x="1559" y="630"/>
                  <a:pt x="1558" y="631"/>
                </a:cubicBezTo>
                <a:cubicBezTo>
                  <a:pt x="1558" y="631"/>
                  <a:pt x="1558" y="630"/>
                  <a:pt x="1558" y="630"/>
                </a:cubicBezTo>
                <a:cubicBezTo>
                  <a:pt x="1558" y="630"/>
                  <a:pt x="1557" y="630"/>
                  <a:pt x="1557" y="630"/>
                </a:cubicBezTo>
                <a:cubicBezTo>
                  <a:pt x="1557" y="631"/>
                  <a:pt x="1557" y="631"/>
                  <a:pt x="1556" y="632"/>
                </a:cubicBezTo>
                <a:cubicBezTo>
                  <a:pt x="1556" y="632"/>
                  <a:pt x="1556" y="633"/>
                  <a:pt x="1556" y="633"/>
                </a:cubicBezTo>
                <a:cubicBezTo>
                  <a:pt x="1556" y="633"/>
                  <a:pt x="1555" y="634"/>
                  <a:pt x="1555" y="634"/>
                </a:cubicBezTo>
                <a:cubicBezTo>
                  <a:pt x="1555" y="635"/>
                  <a:pt x="1555" y="635"/>
                  <a:pt x="1555" y="635"/>
                </a:cubicBezTo>
                <a:cubicBezTo>
                  <a:pt x="1555" y="636"/>
                  <a:pt x="1555" y="636"/>
                  <a:pt x="1555" y="636"/>
                </a:cubicBezTo>
                <a:cubicBezTo>
                  <a:pt x="1554" y="636"/>
                  <a:pt x="1554" y="636"/>
                  <a:pt x="1554" y="636"/>
                </a:cubicBezTo>
                <a:cubicBezTo>
                  <a:pt x="1553" y="637"/>
                  <a:pt x="1553" y="637"/>
                  <a:pt x="1553" y="637"/>
                </a:cubicBezTo>
                <a:cubicBezTo>
                  <a:pt x="1553" y="637"/>
                  <a:pt x="1552" y="638"/>
                  <a:pt x="1552" y="638"/>
                </a:cubicBezTo>
                <a:cubicBezTo>
                  <a:pt x="1551" y="639"/>
                  <a:pt x="1551" y="639"/>
                  <a:pt x="1551" y="640"/>
                </a:cubicBezTo>
                <a:cubicBezTo>
                  <a:pt x="1550" y="640"/>
                  <a:pt x="1550" y="640"/>
                  <a:pt x="1550" y="640"/>
                </a:cubicBezTo>
                <a:cubicBezTo>
                  <a:pt x="1550" y="640"/>
                  <a:pt x="1550" y="641"/>
                  <a:pt x="1550" y="641"/>
                </a:cubicBezTo>
                <a:cubicBezTo>
                  <a:pt x="1549" y="641"/>
                  <a:pt x="1549" y="641"/>
                  <a:pt x="1549" y="642"/>
                </a:cubicBezTo>
                <a:cubicBezTo>
                  <a:pt x="1548" y="642"/>
                  <a:pt x="1548" y="642"/>
                  <a:pt x="1548" y="642"/>
                </a:cubicBezTo>
                <a:cubicBezTo>
                  <a:pt x="1547" y="642"/>
                  <a:pt x="1547" y="643"/>
                  <a:pt x="1547" y="643"/>
                </a:cubicBezTo>
                <a:cubicBezTo>
                  <a:pt x="1546" y="643"/>
                  <a:pt x="1546" y="643"/>
                  <a:pt x="1545" y="644"/>
                </a:cubicBezTo>
                <a:cubicBezTo>
                  <a:pt x="1544" y="643"/>
                  <a:pt x="1543" y="643"/>
                  <a:pt x="1542" y="643"/>
                </a:cubicBezTo>
                <a:cubicBezTo>
                  <a:pt x="1542" y="643"/>
                  <a:pt x="1542" y="642"/>
                  <a:pt x="1541" y="642"/>
                </a:cubicBezTo>
                <a:cubicBezTo>
                  <a:pt x="1541" y="642"/>
                  <a:pt x="1541" y="642"/>
                  <a:pt x="1540" y="642"/>
                </a:cubicBezTo>
                <a:cubicBezTo>
                  <a:pt x="1540" y="641"/>
                  <a:pt x="1540" y="641"/>
                  <a:pt x="1540" y="641"/>
                </a:cubicBezTo>
                <a:cubicBezTo>
                  <a:pt x="1540" y="640"/>
                  <a:pt x="1539" y="640"/>
                  <a:pt x="1539" y="640"/>
                </a:cubicBezTo>
                <a:cubicBezTo>
                  <a:pt x="1539" y="640"/>
                  <a:pt x="1539" y="639"/>
                  <a:pt x="1539" y="639"/>
                </a:cubicBezTo>
                <a:cubicBezTo>
                  <a:pt x="1539" y="639"/>
                  <a:pt x="1539" y="639"/>
                  <a:pt x="1539" y="639"/>
                </a:cubicBezTo>
                <a:cubicBezTo>
                  <a:pt x="1539" y="639"/>
                  <a:pt x="1539" y="638"/>
                  <a:pt x="1539" y="638"/>
                </a:cubicBezTo>
                <a:cubicBezTo>
                  <a:pt x="1539" y="638"/>
                  <a:pt x="1539" y="638"/>
                  <a:pt x="1538" y="637"/>
                </a:cubicBezTo>
                <a:cubicBezTo>
                  <a:pt x="1538" y="637"/>
                  <a:pt x="1538" y="637"/>
                  <a:pt x="1537" y="637"/>
                </a:cubicBezTo>
                <a:cubicBezTo>
                  <a:pt x="1537" y="637"/>
                  <a:pt x="1537" y="636"/>
                  <a:pt x="1536" y="636"/>
                </a:cubicBezTo>
                <a:cubicBezTo>
                  <a:pt x="1536" y="636"/>
                  <a:pt x="1536" y="635"/>
                  <a:pt x="1535" y="635"/>
                </a:cubicBezTo>
                <a:cubicBezTo>
                  <a:pt x="1535" y="635"/>
                  <a:pt x="1535" y="635"/>
                  <a:pt x="1535" y="634"/>
                </a:cubicBezTo>
                <a:cubicBezTo>
                  <a:pt x="1535" y="634"/>
                  <a:pt x="1535" y="633"/>
                  <a:pt x="1535" y="633"/>
                </a:cubicBezTo>
                <a:cubicBezTo>
                  <a:pt x="1534" y="633"/>
                  <a:pt x="1534" y="633"/>
                  <a:pt x="1534" y="632"/>
                </a:cubicBezTo>
                <a:cubicBezTo>
                  <a:pt x="1533" y="632"/>
                  <a:pt x="1533" y="632"/>
                  <a:pt x="1533" y="632"/>
                </a:cubicBezTo>
                <a:cubicBezTo>
                  <a:pt x="1533" y="631"/>
                  <a:pt x="1533" y="631"/>
                  <a:pt x="1533" y="631"/>
                </a:cubicBezTo>
                <a:cubicBezTo>
                  <a:pt x="1533" y="631"/>
                  <a:pt x="1533" y="631"/>
                  <a:pt x="1532" y="631"/>
                </a:cubicBezTo>
                <a:cubicBezTo>
                  <a:pt x="1532" y="631"/>
                  <a:pt x="1532" y="630"/>
                  <a:pt x="1532" y="630"/>
                </a:cubicBezTo>
                <a:cubicBezTo>
                  <a:pt x="1532" y="630"/>
                  <a:pt x="1531" y="630"/>
                  <a:pt x="1531" y="630"/>
                </a:cubicBezTo>
                <a:cubicBezTo>
                  <a:pt x="1531" y="630"/>
                  <a:pt x="1531" y="630"/>
                  <a:pt x="1530" y="629"/>
                </a:cubicBezTo>
                <a:cubicBezTo>
                  <a:pt x="1530" y="629"/>
                  <a:pt x="1531" y="629"/>
                  <a:pt x="1531" y="629"/>
                </a:cubicBezTo>
                <a:cubicBezTo>
                  <a:pt x="1530" y="629"/>
                  <a:pt x="1530" y="628"/>
                  <a:pt x="1530" y="628"/>
                </a:cubicBezTo>
                <a:cubicBezTo>
                  <a:pt x="1530" y="628"/>
                  <a:pt x="1530" y="628"/>
                  <a:pt x="1530" y="627"/>
                </a:cubicBezTo>
                <a:cubicBezTo>
                  <a:pt x="1530" y="627"/>
                  <a:pt x="1529" y="626"/>
                  <a:pt x="1529" y="626"/>
                </a:cubicBezTo>
                <a:cubicBezTo>
                  <a:pt x="1529" y="626"/>
                  <a:pt x="1529" y="626"/>
                  <a:pt x="1529" y="626"/>
                </a:cubicBezTo>
                <a:cubicBezTo>
                  <a:pt x="1528" y="625"/>
                  <a:pt x="1528" y="625"/>
                  <a:pt x="1528" y="624"/>
                </a:cubicBezTo>
                <a:cubicBezTo>
                  <a:pt x="1528" y="624"/>
                  <a:pt x="1528" y="624"/>
                  <a:pt x="1528" y="623"/>
                </a:cubicBezTo>
                <a:cubicBezTo>
                  <a:pt x="1529" y="623"/>
                  <a:pt x="1529" y="623"/>
                  <a:pt x="1530" y="623"/>
                </a:cubicBezTo>
                <a:cubicBezTo>
                  <a:pt x="1530" y="623"/>
                  <a:pt x="1530" y="622"/>
                  <a:pt x="1530" y="622"/>
                </a:cubicBezTo>
                <a:cubicBezTo>
                  <a:pt x="1530" y="622"/>
                  <a:pt x="1531" y="622"/>
                  <a:pt x="1531" y="622"/>
                </a:cubicBezTo>
                <a:cubicBezTo>
                  <a:pt x="1531" y="622"/>
                  <a:pt x="1532" y="621"/>
                  <a:pt x="1532" y="621"/>
                </a:cubicBezTo>
                <a:cubicBezTo>
                  <a:pt x="1532" y="621"/>
                  <a:pt x="1532" y="621"/>
                  <a:pt x="1533" y="621"/>
                </a:cubicBezTo>
                <a:cubicBezTo>
                  <a:pt x="1532" y="621"/>
                  <a:pt x="1532" y="621"/>
                  <a:pt x="1532" y="621"/>
                </a:cubicBezTo>
                <a:cubicBezTo>
                  <a:pt x="1531" y="620"/>
                  <a:pt x="1531" y="620"/>
                  <a:pt x="1531" y="620"/>
                </a:cubicBezTo>
                <a:cubicBezTo>
                  <a:pt x="1532" y="620"/>
                  <a:pt x="1532" y="619"/>
                  <a:pt x="1532" y="619"/>
                </a:cubicBezTo>
                <a:cubicBezTo>
                  <a:pt x="1532" y="619"/>
                  <a:pt x="1533" y="619"/>
                  <a:pt x="1533" y="619"/>
                </a:cubicBezTo>
                <a:cubicBezTo>
                  <a:pt x="1533" y="619"/>
                  <a:pt x="1533" y="619"/>
                  <a:pt x="1533" y="619"/>
                </a:cubicBezTo>
                <a:cubicBezTo>
                  <a:pt x="1533" y="619"/>
                  <a:pt x="1533" y="619"/>
                  <a:pt x="1534" y="619"/>
                </a:cubicBezTo>
                <a:cubicBezTo>
                  <a:pt x="1534" y="619"/>
                  <a:pt x="1534" y="619"/>
                  <a:pt x="1534" y="619"/>
                </a:cubicBezTo>
                <a:cubicBezTo>
                  <a:pt x="1534" y="619"/>
                  <a:pt x="1534" y="620"/>
                  <a:pt x="1535" y="620"/>
                </a:cubicBezTo>
                <a:cubicBezTo>
                  <a:pt x="1535" y="620"/>
                  <a:pt x="1535" y="620"/>
                  <a:pt x="1536" y="620"/>
                </a:cubicBezTo>
                <a:cubicBezTo>
                  <a:pt x="1536" y="620"/>
                  <a:pt x="1536" y="619"/>
                  <a:pt x="1536" y="619"/>
                </a:cubicBezTo>
                <a:cubicBezTo>
                  <a:pt x="1536" y="619"/>
                  <a:pt x="1536" y="619"/>
                  <a:pt x="1536" y="618"/>
                </a:cubicBezTo>
                <a:cubicBezTo>
                  <a:pt x="1536" y="618"/>
                  <a:pt x="1536" y="618"/>
                  <a:pt x="1537" y="618"/>
                </a:cubicBezTo>
                <a:cubicBezTo>
                  <a:pt x="1537" y="618"/>
                  <a:pt x="1537" y="618"/>
                  <a:pt x="1537" y="619"/>
                </a:cubicBezTo>
                <a:cubicBezTo>
                  <a:pt x="1538" y="618"/>
                  <a:pt x="1538" y="618"/>
                  <a:pt x="1538" y="618"/>
                </a:cubicBezTo>
                <a:cubicBezTo>
                  <a:pt x="1538" y="618"/>
                  <a:pt x="1539" y="618"/>
                  <a:pt x="1539" y="618"/>
                </a:cubicBezTo>
                <a:cubicBezTo>
                  <a:pt x="1539" y="617"/>
                  <a:pt x="1539" y="617"/>
                  <a:pt x="1540" y="617"/>
                </a:cubicBezTo>
                <a:cubicBezTo>
                  <a:pt x="1540" y="617"/>
                  <a:pt x="1540" y="617"/>
                  <a:pt x="1540" y="617"/>
                </a:cubicBezTo>
                <a:cubicBezTo>
                  <a:pt x="1540" y="617"/>
                  <a:pt x="1539" y="616"/>
                  <a:pt x="1539" y="616"/>
                </a:cubicBezTo>
                <a:cubicBezTo>
                  <a:pt x="1539" y="616"/>
                  <a:pt x="1539" y="616"/>
                  <a:pt x="1538" y="617"/>
                </a:cubicBezTo>
                <a:cubicBezTo>
                  <a:pt x="1538" y="616"/>
                  <a:pt x="1538" y="616"/>
                  <a:pt x="1538" y="616"/>
                </a:cubicBezTo>
                <a:cubicBezTo>
                  <a:pt x="1538" y="616"/>
                  <a:pt x="1538" y="615"/>
                  <a:pt x="1538" y="615"/>
                </a:cubicBezTo>
                <a:cubicBezTo>
                  <a:pt x="1538" y="615"/>
                  <a:pt x="1538" y="615"/>
                  <a:pt x="1537" y="615"/>
                </a:cubicBezTo>
                <a:cubicBezTo>
                  <a:pt x="1537" y="615"/>
                  <a:pt x="1536" y="615"/>
                  <a:pt x="1536" y="615"/>
                </a:cubicBezTo>
                <a:cubicBezTo>
                  <a:pt x="1536" y="616"/>
                  <a:pt x="1536" y="616"/>
                  <a:pt x="1536" y="616"/>
                </a:cubicBezTo>
                <a:cubicBezTo>
                  <a:pt x="1536" y="616"/>
                  <a:pt x="1536" y="616"/>
                  <a:pt x="1536" y="616"/>
                </a:cubicBezTo>
                <a:cubicBezTo>
                  <a:pt x="1536" y="616"/>
                  <a:pt x="1536" y="616"/>
                  <a:pt x="1535" y="616"/>
                </a:cubicBezTo>
                <a:cubicBezTo>
                  <a:pt x="1535" y="616"/>
                  <a:pt x="1535" y="616"/>
                  <a:pt x="1535" y="616"/>
                </a:cubicBezTo>
                <a:cubicBezTo>
                  <a:pt x="1535" y="615"/>
                  <a:pt x="1535" y="615"/>
                  <a:pt x="1535" y="615"/>
                </a:cubicBezTo>
                <a:cubicBezTo>
                  <a:pt x="1535" y="615"/>
                  <a:pt x="1535" y="615"/>
                  <a:pt x="1535" y="615"/>
                </a:cubicBezTo>
                <a:cubicBezTo>
                  <a:pt x="1534" y="615"/>
                  <a:pt x="1534" y="615"/>
                  <a:pt x="1534" y="615"/>
                </a:cubicBezTo>
                <a:cubicBezTo>
                  <a:pt x="1534" y="615"/>
                  <a:pt x="1534" y="615"/>
                  <a:pt x="1533" y="615"/>
                </a:cubicBezTo>
                <a:cubicBezTo>
                  <a:pt x="1534" y="615"/>
                  <a:pt x="1534" y="615"/>
                  <a:pt x="1534" y="614"/>
                </a:cubicBezTo>
                <a:cubicBezTo>
                  <a:pt x="1534" y="614"/>
                  <a:pt x="1534" y="614"/>
                  <a:pt x="1534" y="614"/>
                </a:cubicBezTo>
                <a:cubicBezTo>
                  <a:pt x="1534" y="614"/>
                  <a:pt x="1535" y="614"/>
                  <a:pt x="1535" y="614"/>
                </a:cubicBezTo>
                <a:cubicBezTo>
                  <a:pt x="1534" y="614"/>
                  <a:pt x="1534" y="614"/>
                  <a:pt x="1534" y="614"/>
                </a:cubicBezTo>
                <a:cubicBezTo>
                  <a:pt x="1534" y="614"/>
                  <a:pt x="1534" y="614"/>
                  <a:pt x="1533" y="614"/>
                </a:cubicBezTo>
                <a:cubicBezTo>
                  <a:pt x="1533" y="614"/>
                  <a:pt x="1533" y="614"/>
                  <a:pt x="1532" y="614"/>
                </a:cubicBezTo>
                <a:cubicBezTo>
                  <a:pt x="1532" y="614"/>
                  <a:pt x="1532" y="614"/>
                  <a:pt x="1532" y="614"/>
                </a:cubicBezTo>
                <a:cubicBezTo>
                  <a:pt x="1532" y="614"/>
                  <a:pt x="1532" y="614"/>
                  <a:pt x="1531" y="614"/>
                </a:cubicBezTo>
                <a:cubicBezTo>
                  <a:pt x="1531" y="614"/>
                  <a:pt x="1531" y="614"/>
                  <a:pt x="1531" y="614"/>
                </a:cubicBezTo>
                <a:cubicBezTo>
                  <a:pt x="1531" y="614"/>
                  <a:pt x="1531" y="613"/>
                  <a:pt x="1530" y="613"/>
                </a:cubicBezTo>
                <a:cubicBezTo>
                  <a:pt x="1530" y="613"/>
                  <a:pt x="1531" y="613"/>
                  <a:pt x="1531" y="613"/>
                </a:cubicBezTo>
                <a:cubicBezTo>
                  <a:pt x="1530" y="613"/>
                  <a:pt x="1530" y="612"/>
                  <a:pt x="1530" y="612"/>
                </a:cubicBezTo>
                <a:cubicBezTo>
                  <a:pt x="1530" y="612"/>
                  <a:pt x="1530" y="612"/>
                  <a:pt x="1530" y="612"/>
                </a:cubicBezTo>
                <a:cubicBezTo>
                  <a:pt x="1529" y="612"/>
                  <a:pt x="1529" y="612"/>
                  <a:pt x="1529" y="612"/>
                </a:cubicBezTo>
                <a:cubicBezTo>
                  <a:pt x="1528" y="612"/>
                  <a:pt x="1528" y="611"/>
                  <a:pt x="1528" y="611"/>
                </a:cubicBezTo>
                <a:cubicBezTo>
                  <a:pt x="1528" y="611"/>
                  <a:pt x="1528" y="611"/>
                  <a:pt x="1527" y="611"/>
                </a:cubicBezTo>
                <a:cubicBezTo>
                  <a:pt x="1527" y="611"/>
                  <a:pt x="1527" y="611"/>
                  <a:pt x="1527" y="611"/>
                </a:cubicBezTo>
                <a:cubicBezTo>
                  <a:pt x="1527" y="611"/>
                  <a:pt x="1527" y="610"/>
                  <a:pt x="1527" y="610"/>
                </a:cubicBezTo>
                <a:cubicBezTo>
                  <a:pt x="1527" y="610"/>
                  <a:pt x="1527" y="610"/>
                  <a:pt x="1527" y="609"/>
                </a:cubicBezTo>
                <a:cubicBezTo>
                  <a:pt x="1526" y="609"/>
                  <a:pt x="1526" y="609"/>
                  <a:pt x="1526" y="609"/>
                </a:cubicBezTo>
                <a:cubicBezTo>
                  <a:pt x="1525" y="609"/>
                  <a:pt x="1525" y="609"/>
                  <a:pt x="1525" y="609"/>
                </a:cubicBezTo>
                <a:cubicBezTo>
                  <a:pt x="1524" y="609"/>
                  <a:pt x="1524" y="608"/>
                  <a:pt x="1524" y="608"/>
                </a:cubicBezTo>
                <a:cubicBezTo>
                  <a:pt x="1524" y="608"/>
                  <a:pt x="1524" y="608"/>
                  <a:pt x="1524" y="608"/>
                </a:cubicBezTo>
                <a:cubicBezTo>
                  <a:pt x="1524" y="607"/>
                  <a:pt x="1524" y="607"/>
                  <a:pt x="1524" y="607"/>
                </a:cubicBezTo>
                <a:cubicBezTo>
                  <a:pt x="1524" y="607"/>
                  <a:pt x="1523" y="607"/>
                  <a:pt x="1523" y="607"/>
                </a:cubicBezTo>
                <a:cubicBezTo>
                  <a:pt x="1523" y="607"/>
                  <a:pt x="1523" y="607"/>
                  <a:pt x="1523" y="607"/>
                </a:cubicBezTo>
                <a:cubicBezTo>
                  <a:pt x="1523" y="607"/>
                  <a:pt x="1522" y="607"/>
                  <a:pt x="1522" y="607"/>
                </a:cubicBezTo>
                <a:cubicBezTo>
                  <a:pt x="1522" y="607"/>
                  <a:pt x="1522" y="606"/>
                  <a:pt x="1522" y="606"/>
                </a:cubicBezTo>
                <a:cubicBezTo>
                  <a:pt x="1521" y="606"/>
                  <a:pt x="1521" y="606"/>
                  <a:pt x="1521" y="606"/>
                </a:cubicBezTo>
                <a:cubicBezTo>
                  <a:pt x="1521" y="605"/>
                  <a:pt x="1520" y="605"/>
                  <a:pt x="1520" y="605"/>
                </a:cubicBezTo>
                <a:cubicBezTo>
                  <a:pt x="1520" y="605"/>
                  <a:pt x="1520" y="605"/>
                  <a:pt x="1520" y="605"/>
                </a:cubicBezTo>
                <a:cubicBezTo>
                  <a:pt x="1520" y="605"/>
                  <a:pt x="1520" y="604"/>
                  <a:pt x="1519" y="604"/>
                </a:cubicBezTo>
                <a:cubicBezTo>
                  <a:pt x="1519" y="604"/>
                  <a:pt x="1519" y="604"/>
                  <a:pt x="1518" y="604"/>
                </a:cubicBezTo>
                <a:cubicBezTo>
                  <a:pt x="1519" y="605"/>
                  <a:pt x="1519" y="605"/>
                  <a:pt x="1519" y="605"/>
                </a:cubicBezTo>
                <a:cubicBezTo>
                  <a:pt x="1519" y="605"/>
                  <a:pt x="1519" y="605"/>
                  <a:pt x="1519" y="605"/>
                </a:cubicBezTo>
                <a:cubicBezTo>
                  <a:pt x="1519" y="605"/>
                  <a:pt x="1519" y="606"/>
                  <a:pt x="1520" y="606"/>
                </a:cubicBezTo>
                <a:cubicBezTo>
                  <a:pt x="1520" y="606"/>
                  <a:pt x="1520" y="606"/>
                  <a:pt x="1520" y="606"/>
                </a:cubicBezTo>
                <a:cubicBezTo>
                  <a:pt x="1521" y="606"/>
                  <a:pt x="1521" y="607"/>
                  <a:pt x="1521" y="607"/>
                </a:cubicBezTo>
                <a:cubicBezTo>
                  <a:pt x="1521" y="607"/>
                  <a:pt x="1521" y="607"/>
                  <a:pt x="1521" y="608"/>
                </a:cubicBezTo>
                <a:cubicBezTo>
                  <a:pt x="1521" y="608"/>
                  <a:pt x="1521" y="608"/>
                  <a:pt x="1521" y="609"/>
                </a:cubicBezTo>
                <a:cubicBezTo>
                  <a:pt x="1520" y="609"/>
                  <a:pt x="1520" y="609"/>
                  <a:pt x="1520" y="608"/>
                </a:cubicBezTo>
                <a:cubicBezTo>
                  <a:pt x="1520" y="609"/>
                  <a:pt x="1519" y="609"/>
                  <a:pt x="1519" y="609"/>
                </a:cubicBezTo>
                <a:cubicBezTo>
                  <a:pt x="1519" y="609"/>
                  <a:pt x="1519" y="609"/>
                  <a:pt x="1519" y="609"/>
                </a:cubicBezTo>
                <a:cubicBezTo>
                  <a:pt x="1519" y="608"/>
                  <a:pt x="1519" y="608"/>
                  <a:pt x="1518" y="608"/>
                </a:cubicBezTo>
                <a:cubicBezTo>
                  <a:pt x="1518" y="608"/>
                  <a:pt x="1518" y="608"/>
                  <a:pt x="1518" y="608"/>
                </a:cubicBezTo>
                <a:cubicBezTo>
                  <a:pt x="1517" y="608"/>
                  <a:pt x="1516" y="608"/>
                  <a:pt x="1515" y="607"/>
                </a:cubicBezTo>
                <a:cubicBezTo>
                  <a:pt x="1515" y="607"/>
                  <a:pt x="1515" y="607"/>
                  <a:pt x="1514" y="606"/>
                </a:cubicBezTo>
                <a:cubicBezTo>
                  <a:pt x="1514" y="606"/>
                  <a:pt x="1514" y="606"/>
                  <a:pt x="1514" y="607"/>
                </a:cubicBezTo>
                <a:cubicBezTo>
                  <a:pt x="1514" y="606"/>
                  <a:pt x="1513" y="606"/>
                  <a:pt x="1513" y="606"/>
                </a:cubicBezTo>
                <a:cubicBezTo>
                  <a:pt x="1513" y="607"/>
                  <a:pt x="1513" y="607"/>
                  <a:pt x="1513" y="607"/>
                </a:cubicBezTo>
                <a:cubicBezTo>
                  <a:pt x="1513" y="607"/>
                  <a:pt x="1512" y="607"/>
                  <a:pt x="1512" y="607"/>
                </a:cubicBezTo>
                <a:cubicBezTo>
                  <a:pt x="1512" y="607"/>
                  <a:pt x="1512" y="607"/>
                  <a:pt x="1512" y="608"/>
                </a:cubicBezTo>
                <a:cubicBezTo>
                  <a:pt x="1512" y="608"/>
                  <a:pt x="1512" y="607"/>
                  <a:pt x="1512" y="607"/>
                </a:cubicBezTo>
                <a:cubicBezTo>
                  <a:pt x="1511" y="607"/>
                  <a:pt x="1511" y="607"/>
                  <a:pt x="1511" y="607"/>
                </a:cubicBezTo>
                <a:cubicBezTo>
                  <a:pt x="1511" y="607"/>
                  <a:pt x="1510" y="607"/>
                  <a:pt x="1510" y="607"/>
                </a:cubicBezTo>
                <a:cubicBezTo>
                  <a:pt x="1510" y="607"/>
                  <a:pt x="1510" y="607"/>
                  <a:pt x="1510" y="607"/>
                </a:cubicBezTo>
                <a:cubicBezTo>
                  <a:pt x="1510" y="608"/>
                  <a:pt x="1510" y="608"/>
                  <a:pt x="1510" y="608"/>
                </a:cubicBezTo>
                <a:cubicBezTo>
                  <a:pt x="1510" y="607"/>
                  <a:pt x="1510" y="607"/>
                  <a:pt x="1509" y="607"/>
                </a:cubicBezTo>
                <a:cubicBezTo>
                  <a:pt x="1509" y="607"/>
                  <a:pt x="1509" y="607"/>
                  <a:pt x="1509" y="607"/>
                </a:cubicBezTo>
                <a:cubicBezTo>
                  <a:pt x="1509" y="607"/>
                  <a:pt x="1509" y="608"/>
                  <a:pt x="1509" y="608"/>
                </a:cubicBezTo>
                <a:cubicBezTo>
                  <a:pt x="1509" y="608"/>
                  <a:pt x="1508" y="608"/>
                  <a:pt x="1508" y="608"/>
                </a:cubicBezTo>
                <a:cubicBezTo>
                  <a:pt x="1508" y="608"/>
                  <a:pt x="1508" y="608"/>
                  <a:pt x="1507" y="608"/>
                </a:cubicBezTo>
                <a:cubicBezTo>
                  <a:pt x="1507" y="608"/>
                  <a:pt x="1507" y="608"/>
                  <a:pt x="1507" y="608"/>
                </a:cubicBezTo>
                <a:cubicBezTo>
                  <a:pt x="1507" y="609"/>
                  <a:pt x="1508" y="609"/>
                  <a:pt x="1508" y="609"/>
                </a:cubicBezTo>
                <a:cubicBezTo>
                  <a:pt x="1508" y="609"/>
                  <a:pt x="1508" y="609"/>
                  <a:pt x="1508" y="610"/>
                </a:cubicBezTo>
                <a:cubicBezTo>
                  <a:pt x="1508" y="609"/>
                  <a:pt x="1507" y="609"/>
                  <a:pt x="1507" y="609"/>
                </a:cubicBezTo>
                <a:cubicBezTo>
                  <a:pt x="1507" y="609"/>
                  <a:pt x="1507" y="609"/>
                  <a:pt x="1506" y="609"/>
                </a:cubicBezTo>
                <a:cubicBezTo>
                  <a:pt x="1506" y="609"/>
                  <a:pt x="1506" y="609"/>
                  <a:pt x="1506" y="609"/>
                </a:cubicBezTo>
                <a:cubicBezTo>
                  <a:pt x="1505" y="609"/>
                  <a:pt x="1505" y="609"/>
                  <a:pt x="1504" y="609"/>
                </a:cubicBezTo>
                <a:cubicBezTo>
                  <a:pt x="1504" y="610"/>
                  <a:pt x="1504" y="610"/>
                  <a:pt x="1503" y="610"/>
                </a:cubicBezTo>
                <a:cubicBezTo>
                  <a:pt x="1503" y="610"/>
                  <a:pt x="1503" y="610"/>
                  <a:pt x="1503" y="610"/>
                </a:cubicBezTo>
                <a:cubicBezTo>
                  <a:pt x="1502" y="610"/>
                  <a:pt x="1502" y="611"/>
                  <a:pt x="1502" y="611"/>
                </a:cubicBezTo>
                <a:cubicBezTo>
                  <a:pt x="1502" y="611"/>
                  <a:pt x="1501" y="611"/>
                  <a:pt x="1501" y="611"/>
                </a:cubicBezTo>
                <a:cubicBezTo>
                  <a:pt x="1501" y="611"/>
                  <a:pt x="1501" y="612"/>
                  <a:pt x="1502" y="612"/>
                </a:cubicBezTo>
                <a:cubicBezTo>
                  <a:pt x="1502" y="612"/>
                  <a:pt x="1502" y="612"/>
                  <a:pt x="1503" y="613"/>
                </a:cubicBezTo>
                <a:cubicBezTo>
                  <a:pt x="1503" y="613"/>
                  <a:pt x="1503" y="613"/>
                  <a:pt x="1502" y="612"/>
                </a:cubicBezTo>
                <a:cubicBezTo>
                  <a:pt x="1502" y="613"/>
                  <a:pt x="1502" y="613"/>
                  <a:pt x="1502" y="613"/>
                </a:cubicBezTo>
                <a:cubicBezTo>
                  <a:pt x="1502" y="613"/>
                  <a:pt x="1503" y="614"/>
                  <a:pt x="1503" y="614"/>
                </a:cubicBezTo>
                <a:cubicBezTo>
                  <a:pt x="1503" y="614"/>
                  <a:pt x="1503" y="614"/>
                  <a:pt x="1503" y="614"/>
                </a:cubicBezTo>
                <a:cubicBezTo>
                  <a:pt x="1502" y="614"/>
                  <a:pt x="1502" y="614"/>
                  <a:pt x="1502" y="613"/>
                </a:cubicBezTo>
                <a:cubicBezTo>
                  <a:pt x="1501" y="613"/>
                  <a:pt x="1501" y="613"/>
                  <a:pt x="1501" y="613"/>
                </a:cubicBezTo>
                <a:cubicBezTo>
                  <a:pt x="1501" y="613"/>
                  <a:pt x="1501" y="613"/>
                  <a:pt x="1501" y="613"/>
                </a:cubicBezTo>
                <a:cubicBezTo>
                  <a:pt x="1501" y="614"/>
                  <a:pt x="1502" y="614"/>
                  <a:pt x="1502" y="614"/>
                </a:cubicBezTo>
                <a:cubicBezTo>
                  <a:pt x="1502" y="614"/>
                  <a:pt x="1501" y="615"/>
                  <a:pt x="1501" y="615"/>
                </a:cubicBezTo>
                <a:cubicBezTo>
                  <a:pt x="1502" y="615"/>
                  <a:pt x="1502" y="616"/>
                  <a:pt x="1502" y="616"/>
                </a:cubicBezTo>
                <a:cubicBezTo>
                  <a:pt x="1502" y="615"/>
                  <a:pt x="1501" y="615"/>
                  <a:pt x="1501" y="615"/>
                </a:cubicBezTo>
                <a:cubicBezTo>
                  <a:pt x="1501" y="614"/>
                  <a:pt x="1501" y="614"/>
                  <a:pt x="1501" y="613"/>
                </a:cubicBezTo>
                <a:cubicBezTo>
                  <a:pt x="1500" y="613"/>
                  <a:pt x="1500" y="613"/>
                  <a:pt x="1500" y="613"/>
                </a:cubicBezTo>
                <a:cubicBezTo>
                  <a:pt x="1500" y="613"/>
                  <a:pt x="1500" y="613"/>
                  <a:pt x="1500" y="613"/>
                </a:cubicBezTo>
                <a:cubicBezTo>
                  <a:pt x="1500" y="614"/>
                  <a:pt x="1499" y="614"/>
                  <a:pt x="1499" y="614"/>
                </a:cubicBezTo>
                <a:cubicBezTo>
                  <a:pt x="1499" y="614"/>
                  <a:pt x="1499" y="613"/>
                  <a:pt x="1499" y="613"/>
                </a:cubicBezTo>
                <a:cubicBezTo>
                  <a:pt x="1499" y="613"/>
                  <a:pt x="1498" y="612"/>
                  <a:pt x="1498" y="612"/>
                </a:cubicBezTo>
                <a:cubicBezTo>
                  <a:pt x="1497" y="611"/>
                  <a:pt x="1497" y="611"/>
                  <a:pt x="1496" y="611"/>
                </a:cubicBezTo>
                <a:cubicBezTo>
                  <a:pt x="1496" y="611"/>
                  <a:pt x="1497" y="612"/>
                  <a:pt x="1497" y="612"/>
                </a:cubicBezTo>
                <a:cubicBezTo>
                  <a:pt x="1496" y="612"/>
                  <a:pt x="1496" y="612"/>
                  <a:pt x="1496" y="612"/>
                </a:cubicBezTo>
                <a:cubicBezTo>
                  <a:pt x="1496" y="612"/>
                  <a:pt x="1496" y="612"/>
                  <a:pt x="1496" y="612"/>
                </a:cubicBezTo>
                <a:cubicBezTo>
                  <a:pt x="1496" y="611"/>
                  <a:pt x="1495" y="611"/>
                  <a:pt x="1495" y="611"/>
                </a:cubicBezTo>
                <a:cubicBezTo>
                  <a:pt x="1495" y="611"/>
                  <a:pt x="1495" y="612"/>
                  <a:pt x="1495" y="612"/>
                </a:cubicBezTo>
                <a:cubicBezTo>
                  <a:pt x="1495" y="612"/>
                  <a:pt x="1495" y="612"/>
                  <a:pt x="1495" y="613"/>
                </a:cubicBezTo>
                <a:cubicBezTo>
                  <a:pt x="1495" y="613"/>
                  <a:pt x="1495" y="613"/>
                  <a:pt x="1495" y="613"/>
                </a:cubicBezTo>
                <a:cubicBezTo>
                  <a:pt x="1495" y="613"/>
                  <a:pt x="1495" y="613"/>
                  <a:pt x="1495" y="613"/>
                </a:cubicBezTo>
                <a:cubicBezTo>
                  <a:pt x="1495" y="613"/>
                  <a:pt x="1494" y="612"/>
                  <a:pt x="1494" y="612"/>
                </a:cubicBezTo>
                <a:cubicBezTo>
                  <a:pt x="1494" y="613"/>
                  <a:pt x="1494" y="613"/>
                  <a:pt x="1494" y="613"/>
                </a:cubicBezTo>
                <a:cubicBezTo>
                  <a:pt x="1494" y="613"/>
                  <a:pt x="1493" y="613"/>
                  <a:pt x="1493" y="613"/>
                </a:cubicBezTo>
                <a:cubicBezTo>
                  <a:pt x="1493" y="613"/>
                  <a:pt x="1492" y="613"/>
                  <a:pt x="1492" y="613"/>
                </a:cubicBezTo>
                <a:cubicBezTo>
                  <a:pt x="1492" y="613"/>
                  <a:pt x="1493" y="613"/>
                  <a:pt x="1493" y="613"/>
                </a:cubicBezTo>
                <a:cubicBezTo>
                  <a:pt x="1493" y="612"/>
                  <a:pt x="1494" y="612"/>
                  <a:pt x="1494" y="612"/>
                </a:cubicBezTo>
                <a:cubicBezTo>
                  <a:pt x="1494" y="612"/>
                  <a:pt x="1494" y="611"/>
                  <a:pt x="1494" y="611"/>
                </a:cubicBezTo>
                <a:cubicBezTo>
                  <a:pt x="1495" y="611"/>
                  <a:pt x="1495" y="611"/>
                  <a:pt x="1495" y="611"/>
                </a:cubicBezTo>
                <a:cubicBezTo>
                  <a:pt x="1495" y="610"/>
                  <a:pt x="1495" y="610"/>
                  <a:pt x="1495" y="610"/>
                </a:cubicBezTo>
                <a:cubicBezTo>
                  <a:pt x="1495" y="610"/>
                  <a:pt x="1495" y="610"/>
                  <a:pt x="1494" y="610"/>
                </a:cubicBezTo>
                <a:cubicBezTo>
                  <a:pt x="1494" y="609"/>
                  <a:pt x="1494" y="608"/>
                  <a:pt x="1494" y="607"/>
                </a:cubicBezTo>
                <a:cubicBezTo>
                  <a:pt x="1494" y="607"/>
                  <a:pt x="1494" y="607"/>
                  <a:pt x="1493" y="606"/>
                </a:cubicBezTo>
                <a:cubicBezTo>
                  <a:pt x="1493" y="606"/>
                  <a:pt x="1493" y="606"/>
                  <a:pt x="1492" y="606"/>
                </a:cubicBezTo>
                <a:cubicBezTo>
                  <a:pt x="1492" y="605"/>
                  <a:pt x="1492" y="605"/>
                  <a:pt x="1492" y="605"/>
                </a:cubicBezTo>
                <a:cubicBezTo>
                  <a:pt x="1491" y="605"/>
                  <a:pt x="1491" y="605"/>
                  <a:pt x="1491" y="605"/>
                </a:cubicBezTo>
                <a:cubicBezTo>
                  <a:pt x="1491" y="605"/>
                  <a:pt x="1491" y="605"/>
                  <a:pt x="1491" y="605"/>
                </a:cubicBezTo>
                <a:cubicBezTo>
                  <a:pt x="1491" y="605"/>
                  <a:pt x="1491" y="605"/>
                  <a:pt x="1491" y="605"/>
                </a:cubicBezTo>
                <a:cubicBezTo>
                  <a:pt x="1490" y="606"/>
                  <a:pt x="1490" y="606"/>
                  <a:pt x="1490" y="606"/>
                </a:cubicBezTo>
                <a:cubicBezTo>
                  <a:pt x="1490" y="606"/>
                  <a:pt x="1489" y="606"/>
                  <a:pt x="1489" y="606"/>
                </a:cubicBezTo>
                <a:cubicBezTo>
                  <a:pt x="1489" y="606"/>
                  <a:pt x="1489" y="605"/>
                  <a:pt x="1490" y="605"/>
                </a:cubicBezTo>
                <a:cubicBezTo>
                  <a:pt x="1489" y="605"/>
                  <a:pt x="1489" y="605"/>
                  <a:pt x="1489" y="605"/>
                </a:cubicBezTo>
                <a:cubicBezTo>
                  <a:pt x="1489" y="605"/>
                  <a:pt x="1488" y="605"/>
                  <a:pt x="1488" y="606"/>
                </a:cubicBezTo>
                <a:cubicBezTo>
                  <a:pt x="1488" y="605"/>
                  <a:pt x="1488" y="605"/>
                  <a:pt x="1488" y="604"/>
                </a:cubicBezTo>
                <a:cubicBezTo>
                  <a:pt x="1488" y="604"/>
                  <a:pt x="1488" y="604"/>
                  <a:pt x="1488" y="604"/>
                </a:cubicBezTo>
                <a:cubicBezTo>
                  <a:pt x="1488" y="604"/>
                  <a:pt x="1487" y="604"/>
                  <a:pt x="1487" y="605"/>
                </a:cubicBezTo>
                <a:cubicBezTo>
                  <a:pt x="1487" y="605"/>
                  <a:pt x="1488" y="605"/>
                  <a:pt x="1488" y="605"/>
                </a:cubicBezTo>
                <a:cubicBezTo>
                  <a:pt x="1487" y="605"/>
                  <a:pt x="1487" y="605"/>
                  <a:pt x="1487" y="605"/>
                </a:cubicBezTo>
                <a:cubicBezTo>
                  <a:pt x="1487" y="605"/>
                  <a:pt x="1486" y="606"/>
                  <a:pt x="1486" y="606"/>
                </a:cubicBezTo>
                <a:cubicBezTo>
                  <a:pt x="1486" y="606"/>
                  <a:pt x="1486" y="606"/>
                  <a:pt x="1486" y="606"/>
                </a:cubicBezTo>
                <a:cubicBezTo>
                  <a:pt x="1486" y="606"/>
                  <a:pt x="1486" y="606"/>
                  <a:pt x="1485" y="606"/>
                </a:cubicBezTo>
                <a:cubicBezTo>
                  <a:pt x="1485" y="606"/>
                  <a:pt x="1485" y="606"/>
                  <a:pt x="1485" y="606"/>
                </a:cubicBezTo>
                <a:cubicBezTo>
                  <a:pt x="1485" y="606"/>
                  <a:pt x="1485" y="606"/>
                  <a:pt x="1485" y="606"/>
                </a:cubicBezTo>
                <a:cubicBezTo>
                  <a:pt x="1485" y="605"/>
                  <a:pt x="1485" y="605"/>
                  <a:pt x="1485" y="605"/>
                </a:cubicBezTo>
                <a:cubicBezTo>
                  <a:pt x="1485" y="605"/>
                  <a:pt x="1485" y="605"/>
                  <a:pt x="1485" y="605"/>
                </a:cubicBezTo>
                <a:cubicBezTo>
                  <a:pt x="1485" y="605"/>
                  <a:pt x="1485" y="605"/>
                  <a:pt x="1485" y="605"/>
                </a:cubicBezTo>
                <a:cubicBezTo>
                  <a:pt x="1485" y="605"/>
                  <a:pt x="1484" y="605"/>
                  <a:pt x="1484" y="605"/>
                </a:cubicBezTo>
                <a:cubicBezTo>
                  <a:pt x="1484" y="605"/>
                  <a:pt x="1483" y="605"/>
                  <a:pt x="1483" y="605"/>
                </a:cubicBezTo>
                <a:cubicBezTo>
                  <a:pt x="1483" y="605"/>
                  <a:pt x="1483" y="605"/>
                  <a:pt x="1483" y="605"/>
                </a:cubicBezTo>
                <a:cubicBezTo>
                  <a:pt x="1482" y="606"/>
                  <a:pt x="1482" y="606"/>
                  <a:pt x="1482" y="606"/>
                </a:cubicBezTo>
                <a:cubicBezTo>
                  <a:pt x="1482" y="606"/>
                  <a:pt x="1483" y="607"/>
                  <a:pt x="1483" y="607"/>
                </a:cubicBezTo>
                <a:cubicBezTo>
                  <a:pt x="1483" y="607"/>
                  <a:pt x="1482" y="607"/>
                  <a:pt x="1482" y="607"/>
                </a:cubicBezTo>
                <a:cubicBezTo>
                  <a:pt x="1482" y="607"/>
                  <a:pt x="1481" y="607"/>
                  <a:pt x="1481" y="606"/>
                </a:cubicBezTo>
                <a:cubicBezTo>
                  <a:pt x="1481" y="607"/>
                  <a:pt x="1480" y="607"/>
                  <a:pt x="1480" y="607"/>
                </a:cubicBezTo>
                <a:cubicBezTo>
                  <a:pt x="1480" y="607"/>
                  <a:pt x="1480" y="607"/>
                  <a:pt x="1480" y="607"/>
                </a:cubicBezTo>
                <a:cubicBezTo>
                  <a:pt x="1480" y="607"/>
                  <a:pt x="1481" y="608"/>
                  <a:pt x="1481" y="608"/>
                </a:cubicBezTo>
                <a:cubicBezTo>
                  <a:pt x="1481" y="608"/>
                  <a:pt x="1481" y="608"/>
                  <a:pt x="1480" y="608"/>
                </a:cubicBezTo>
                <a:cubicBezTo>
                  <a:pt x="1480" y="608"/>
                  <a:pt x="1480" y="608"/>
                  <a:pt x="1480" y="608"/>
                </a:cubicBezTo>
                <a:cubicBezTo>
                  <a:pt x="1480" y="608"/>
                  <a:pt x="1479" y="607"/>
                  <a:pt x="1479" y="607"/>
                </a:cubicBezTo>
                <a:cubicBezTo>
                  <a:pt x="1479" y="607"/>
                  <a:pt x="1479" y="607"/>
                  <a:pt x="1478" y="607"/>
                </a:cubicBezTo>
                <a:cubicBezTo>
                  <a:pt x="1478" y="607"/>
                  <a:pt x="1478" y="607"/>
                  <a:pt x="1477" y="607"/>
                </a:cubicBezTo>
                <a:cubicBezTo>
                  <a:pt x="1477" y="607"/>
                  <a:pt x="1477" y="608"/>
                  <a:pt x="1477" y="608"/>
                </a:cubicBezTo>
                <a:cubicBezTo>
                  <a:pt x="1477" y="608"/>
                  <a:pt x="1477" y="608"/>
                  <a:pt x="1477" y="608"/>
                </a:cubicBezTo>
                <a:cubicBezTo>
                  <a:pt x="1477" y="608"/>
                  <a:pt x="1477" y="609"/>
                  <a:pt x="1477" y="609"/>
                </a:cubicBezTo>
                <a:cubicBezTo>
                  <a:pt x="1477" y="609"/>
                  <a:pt x="1478" y="609"/>
                  <a:pt x="1478" y="609"/>
                </a:cubicBezTo>
                <a:cubicBezTo>
                  <a:pt x="1477" y="609"/>
                  <a:pt x="1477" y="609"/>
                  <a:pt x="1477" y="609"/>
                </a:cubicBezTo>
                <a:cubicBezTo>
                  <a:pt x="1477" y="609"/>
                  <a:pt x="1477" y="610"/>
                  <a:pt x="1477" y="610"/>
                </a:cubicBezTo>
                <a:cubicBezTo>
                  <a:pt x="1477" y="610"/>
                  <a:pt x="1477" y="610"/>
                  <a:pt x="1476" y="610"/>
                </a:cubicBezTo>
                <a:cubicBezTo>
                  <a:pt x="1476" y="610"/>
                  <a:pt x="1476" y="610"/>
                  <a:pt x="1476" y="610"/>
                </a:cubicBezTo>
                <a:cubicBezTo>
                  <a:pt x="1476" y="610"/>
                  <a:pt x="1477" y="611"/>
                  <a:pt x="1477" y="611"/>
                </a:cubicBezTo>
                <a:cubicBezTo>
                  <a:pt x="1477" y="611"/>
                  <a:pt x="1476" y="611"/>
                  <a:pt x="1476" y="611"/>
                </a:cubicBezTo>
                <a:cubicBezTo>
                  <a:pt x="1476" y="611"/>
                  <a:pt x="1476" y="611"/>
                  <a:pt x="1476" y="611"/>
                </a:cubicBezTo>
                <a:cubicBezTo>
                  <a:pt x="1475" y="611"/>
                  <a:pt x="1475" y="611"/>
                  <a:pt x="1475" y="611"/>
                </a:cubicBezTo>
                <a:cubicBezTo>
                  <a:pt x="1475" y="611"/>
                  <a:pt x="1475" y="610"/>
                  <a:pt x="1475" y="610"/>
                </a:cubicBezTo>
                <a:cubicBezTo>
                  <a:pt x="1474" y="610"/>
                  <a:pt x="1474" y="610"/>
                  <a:pt x="1474" y="609"/>
                </a:cubicBezTo>
                <a:cubicBezTo>
                  <a:pt x="1474" y="610"/>
                  <a:pt x="1473" y="610"/>
                  <a:pt x="1473" y="610"/>
                </a:cubicBezTo>
                <a:cubicBezTo>
                  <a:pt x="1473" y="610"/>
                  <a:pt x="1473" y="609"/>
                  <a:pt x="1473" y="609"/>
                </a:cubicBezTo>
                <a:cubicBezTo>
                  <a:pt x="1473" y="609"/>
                  <a:pt x="1473" y="609"/>
                  <a:pt x="1472" y="608"/>
                </a:cubicBezTo>
                <a:cubicBezTo>
                  <a:pt x="1472" y="608"/>
                  <a:pt x="1472" y="609"/>
                  <a:pt x="1472" y="609"/>
                </a:cubicBezTo>
                <a:cubicBezTo>
                  <a:pt x="1472" y="609"/>
                  <a:pt x="1472" y="609"/>
                  <a:pt x="1473" y="610"/>
                </a:cubicBezTo>
                <a:cubicBezTo>
                  <a:pt x="1472" y="610"/>
                  <a:pt x="1472" y="610"/>
                  <a:pt x="1472" y="610"/>
                </a:cubicBezTo>
                <a:cubicBezTo>
                  <a:pt x="1472" y="610"/>
                  <a:pt x="1472" y="610"/>
                  <a:pt x="1471" y="610"/>
                </a:cubicBezTo>
                <a:cubicBezTo>
                  <a:pt x="1472" y="610"/>
                  <a:pt x="1472" y="611"/>
                  <a:pt x="1472" y="611"/>
                </a:cubicBezTo>
                <a:cubicBezTo>
                  <a:pt x="1472" y="611"/>
                  <a:pt x="1473" y="611"/>
                  <a:pt x="1473" y="611"/>
                </a:cubicBezTo>
                <a:cubicBezTo>
                  <a:pt x="1473" y="611"/>
                  <a:pt x="1472" y="612"/>
                  <a:pt x="1472" y="612"/>
                </a:cubicBezTo>
                <a:cubicBezTo>
                  <a:pt x="1472" y="612"/>
                  <a:pt x="1472" y="612"/>
                  <a:pt x="1472" y="612"/>
                </a:cubicBezTo>
                <a:cubicBezTo>
                  <a:pt x="1472" y="612"/>
                  <a:pt x="1472" y="612"/>
                  <a:pt x="1472" y="612"/>
                </a:cubicBezTo>
                <a:cubicBezTo>
                  <a:pt x="1472" y="612"/>
                  <a:pt x="1471" y="612"/>
                  <a:pt x="1471" y="612"/>
                </a:cubicBezTo>
                <a:cubicBezTo>
                  <a:pt x="1471" y="612"/>
                  <a:pt x="1471" y="612"/>
                  <a:pt x="1471" y="613"/>
                </a:cubicBezTo>
                <a:cubicBezTo>
                  <a:pt x="1471" y="613"/>
                  <a:pt x="1471" y="613"/>
                  <a:pt x="1470" y="613"/>
                </a:cubicBezTo>
                <a:cubicBezTo>
                  <a:pt x="1470" y="614"/>
                  <a:pt x="1470" y="614"/>
                  <a:pt x="1470" y="614"/>
                </a:cubicBezTo>
                <a:cubicBezTo>
                  <a:pt x="1470" y="613"/>
                  <a:pt x="1470" y="612"/>
                  <a:pt x="1470" y="611"/>
                </a:cubicBezTo>
                <a:cubicBezTo>
                  <a:pt x="1469" y="611"/>
                  <a:pt x="1469" y="610"/>
                  <a:pt x="1469" y="609"/>
                </a:cubicBezTo>
                <a:cubicBezTo>
                  <a:pt x="1469" y="609"/>
                  <a:pt x="1469" y="609"/>
                  <a:pt x="1469" y="609"/>
                </a:cubicBezTo>
                <a:cubicBezTo>
                  <a:pt x="1469" y="608"/>
                  <a:pt x="1469" y="608"/>
                  <a:pt x="1469" y="608"/>
                </a:cubicBezTo>
                <a:cubicBezTo>
                  <a:pt x="1469" y="608"/>
                  <a:pt x="1469" y="608"/>
                  <a:pt x="1469" y="608"/>
                </a:cubicBezTo>
                <a:cubicBezTo>
                  <a:pt x="1469" y="608"/>
                  <a:pt x="1468" y="608"/>
                  <a:pt x="1468" y="608"/>
                </a:cubicBezTo>
                <a:cubicBezTo>
                  <a:pt x="1468" y="609"/>
                  <a:pt x="1467" y="609"/>
                  <a:pt x="1467" y="609"/>
                </a:cubicBezTo>
                <a:cubicBezTo>
                  <a:pt x="1467" y="609"/>
                  <a:pt x="1467" y="609"/>
                  <a:pt x="1466" y="609"/>
                </a:cubicBezTo>
                <a:cubicBezTo>
                  <a:pt x="1466" y="609"/>
                  <a:pt x="1466" y="609"/>
                  <a:pt x="1466" y="610"/>
                </a:cubicBezTo>
                <a:cubicBezTo>
                  <a:pt x="1466" y="609"/>
                  <a:pt x="1466" y="609"/>
                  <a:pt x="1465" y="609"/>
                </a:cubicBezTo>
                <a:cubicBezTo>
                  <a:pt x="1465" y="609"/>
                  <a:pt x="1465" y="609"/>
                  <a:pt x="1465" y="610"/>
                </a:cubicBezTo>
                <a:cubicBezTo>
                  <a:pt x="1464" y="610"/>
                  <a:pt x="1464" y="610"/>
                  <a:pt x="1464" y="610"/>
                </a:cubicBezTo>
                <a:cubicBezTo>
                  <a:pt x="1464" y="610"/>
                  <a:pt x="1464" y="610"/>
                  <a:pt x="1464" y="611"/>
                </a:cubicBezTo>
                <a:cubicBezTo>
                  <a:pt x="1463" y="611"/>
                  <a:pt x="1463" y="612"/>
                  <a:pt x="1463" y="613"/>
                </a:cubicBezTo>
                <a:cubicBezTo>
                  <a:pt x="1463" y="613"/>
                  <a:pt x="1463" y="613"/>
                  <a:pt x="1463" y="613"/>
                </a:cubicBezTo>
                <a:cubicBezTo>
                  <a:pt x="1463" y="613"/>
                  <a:pt x="1463" y="613"/>
                  <a:pt x="1463" y="613"/>
                </a:cubicBezTo>
                <a:cubicBezTo>
                  <a:pt x="1463" y="614"/>
                  <a:pt x="1462" y="614"/>
                  <a:pt x="1462" y="614"/>
                </a:cubicBezTo>
                <a:cubicBezTo>
                  <a:pt x="1462" y="614"/>
                  <a:pt x="1462" y="614"/>
                  <a:pt x="1461" y="614"/>
                </a:cubicBezTo>
                <a:cubicBezTo>
                  <a:pt x="1461" y="614"/>
                  <a:pt x="1460" y="614"/>
                  <a:pt x="1460" y="614"/>
                </a:cubicBezTo>
                <a:cubicBezTo>
                  <a:pt x="1460" y="614"/>
                  <a:pt x="1460" y="614"/>
                  <a:pt x="1460" y="614"/>
                </a:cubicBezTo>
                <a:cubicBezTo>
                  <a:pt x="1460" y="614"/>
                  <a:pt x="1459" y="614"/>
                  <a:pt x="1459" y="615"/>
                </a:cubicBezTo>
                <a:cubicBezTo>
                  <a:pt x="1459" y="615"/>
                  <a:pt x="1459" y="615"/>
                  <a:pt x="1458" y="615"/>
                </a:cubicBezTo>
                <a:cubicBezTo>
                  <a:pt x="1458" y="615"/>
                  <a:pt x="1458" y="616"/>
                  <a:pt x="1458" y="616"/>
                </a:cubicBezTo>
                <a:cubicBezTo>
                  <a:pt x="1457" y="616"/>
                  <a:pt x="1456" y="616"/>
                  <a:pt x="1456" y="617"/>
                </a:cubicBezTo>
                <a:cubicBezTo>
                  <a:pt x="1455" y="617"/>
                  <a:pt x="1454" y="617"/>
                  <a:pt x="1453" y="617"/>
                </a:cubicBezTo>
                <a:cubicBezTo>
                  <a:pt x="1452" y="617"/>
                  <a:pt x="1451" y="617"/>
                  <a:pt x="1450" y="616"/>
                </a:cubicBezTo>
                <a:cubicBezTo>
                  <a:pt x="1450" y="616"/>
                  <a:pt x="1450" y="616"/>
                  <a:pt x="1449" y="616"/>
                </a:cubicBezTo>
                <a:cubicBezTo>
                  <a:pt x="1449" y="616"/>
                  <a:pt x="1449" y="616"/>
                  <a:pt x="1448" y="616"/>
                </a:cubicBezTo>
                <a:cubicBezTo>
                  <a:pt x="1448" y="616"/>
                  <a:pt x="1447" y="616"/>
                  <a:pt x="1447" y="616"/>
                </a:cubicBezTo>
                <a:cubicBezTo>
                  <a:pt x="1447" y="616"/>
                  <a:pt x="1446" y="615"/>
                  <a:pt x="1446" y="615"/>
                </a:cubicBezTo>
                <a:cubicBezTo>
                  <a:pt x="1445" y="615"/>
                  <a:pt x="1445" y="615"/>
                  <a:pt x="1444" y="615"/>
                </a:cubicBezTo>
                <a:cubicBezTo>
                  <a:pt x="1444" y="615"/>
                  <a:pt x="1444" y="616"/>
                  <a:pt x="1444" y="616"/>
                </a:cubicBezTo>
                <a:cubicBezTo>
                  <a:pt x="1444" y="616"/>
                  <a:pt x="1443" y="616"/>
                  <a:pt x="1443" y="616"/>
                </a:cubicBezTo>
                <a:cubicBezTo>
                  <a:pt x="1442" y="615"/>
                  <a:pt x="1441" y="615"/>
                  <a:pt x="1440" y="615"/>
                </a:cubicBezTo>
                <a:cubicBezTo>
                  <a:pt x="1440" y="615"/>
                  <a:pt x="1440" y="615"/>
                  <a:pt x="1439" y="615"/>
                </a:cubicBezTo>
                <a:cubicBezTo>
                  <a:pt x="1439" y="615"/>
                  <a:pt x="1439" y="615"/>
                  <a:pt x="1439" y="615"/>
                </a:cubicBezTo>
                <a:cubicBezTo>
                  <a:pt x="1438" y="615"/>
                  <a:pt x="1438" y="615"/>
                  <a:pt x="1437" y="615"/>
                </a:cubicBezTo>
                <a:cubicBezTo>
                  <a:pt x="1436" y="615"/>
                  <a:pt x="1436" y="615"/>
                  <a:pt x="1436" y="615"/>
                </a:cubicBezTo>
                <a:cubicBezTo>
                  <a:pt x="1435" y="615"/>
                  <a:pt x="1435" y="615"/>
                  <a:pt x="1435" y="614"/>
                </a:cubicBezTo>
                <a:cubicBezTo>
                  <a:pt x="1435" y="614"/>
                  <a:pt x="1434" y="614"/>
                  <a:pt x="1434" y="614"/>
                </a:cubicBezTo>
                <a:cubicBezTo>
                  <a:pt x="1434" y="614"/>
                  <a:pt x="1434" y="614"/>
                  <a:pt x="1434" y="614"/>
                </a:cubicBezTo>
                <a:cubicBezTo>
                  <a:pt x="1434" y="614"/>
                  <a:pt x="1433" y="614"/>
                  <a:pt x="1433" y="614"/>
                </a:cubicBezTo>
                <a:cubicBezTo>
                  <a:pt x="1433" y="614"/>
                  <a:pt x="1433" y="614"/>
                  <a:pt x="1432" y="614"/>
                </a:cubicBezTo>
                <a:cubicBezTo>
                  <a:pt x="1432" y="614"/>
                  <a:pt x="1431" y="614"/>
                  <a:pt x="1430" y="614"/>
                </a:cubicBezTo>
                <a:cubicBezTo>
                  <a:pt x="1430" y="614"/>
                  <a:pt x="1430" y="614"/>
                  <a:pt x="1430" y="614"/>
                </a:cubicBezTo>
                <a:cubicBezTo>
                  <a:pt x="1430" y="614"/>
                  <a:pt x="1430" y="614"/>
                  <a:pt x="1429" y="614"/>
                </a:cubicBezTo>
                <a:cubicBezTo>
                  <a:pt x="1429" y="614"/>
                  <a:pt x="1428" y="614"/>
                  <a:pt x="1428" y="615"/>
                </a:cubicBezTo>
                <a:cubicBezTo>
                  <a:pt x="1427" y="615"/>
                  <a:pt x="1426" y="615"/>
                  <a:pt x="1426" y="615"/>
                </a:cubicBezTo>
                <a:cubicBezTo>
                  <a:pt x="1425" y="615"/>
                  <a:pt x="1424" y="615"/>
                  <a:pt x="1423" y="615"/>
                </a:cubicBezTo>
                <a:cubicBezTo>
                  <a:pt x="1422" y="615"/>
                  <a:pt x="1422" y="615"/>
                  <a:pt x="1421" y="615"/>
                </a:cubicBezTo>
                <a:cubicBezTo>
                  <a:pt x="1421" y="616"/>
                  <a:pt x="1421" y="616"/>
                  <a:pt x="1421" y="617"/>
                </a:cubicBezTo>
                <a:cubicBezTo>
                  <a:pt x="1420" y="617"/>
                  <a:pt x="1420" y="617"/>
                  <a:pt x="1420" y="617"/>
                </a:cubicBezTo>
                <a:cubicBezTo>
                  <a:pt x="1419" y="617"/>
                  <a:pt x="1419" y="617"/>
                  <a:pt x="1419" y="616"/>
                </a:cubicBezTo>
                <a:cubicBezTo>
                  <a:pt x="1419" y="616"/>
                  <a:pt x="1419" y="616"/>
                  <a:pt x="1420" y="616"/>
                </a:cubicBezTo>
                <a:cubicBezTo>
                  <a:pt x="1420" y="616"/>
                  <a:pt x="1420" y="616"/>
                  <a:pt x="1420" y="615"/>
                </a:cubicBezTo>
                <a:cubicBezTo>
                  <a:pt x="1420" y="615"/>
                  <a:pt x="1420" y="615"/>
                  <a:pt x="1420" y="615"/>
                </a:cubicBezTo>
                <a:cubicBezTo>
                  <a:pt x="1420" y="614"/>
                  <a:pt x="1421" y="614"/>
                  <a:pt x="1421" y="614"/>
                </a:cubicBezTo>
                <a:cubicBezTo>
                  <a:pt x="1420" y="614"/>
                  <a:pt x="1419" y="614"/>
                  <a:pt x="1419" y="614"/>
                </a:cubicBezTo>
                <a:cubicBezTo>
                  <a:pt x="1419" y="615"/>
                  <a:pt x="1418" y="615"/>
                  <a:pt x="1418" y="615"/>
                </a:cubicBezTo>
                <a:cubicBezTo>
                  <a:pt x="1418" y="616"/>
                  <a:pt x="1417" y="616"/>
                  <a:pt x="1417" y="617"/>
                </a:cubicBezTo>
                <a:cubicBezTo>
                  <a:pt x="1417" y="617"/>
                  <a:pt x="1417" y="617"/>
                  <a:pt x="1417" y="618"/>
                </a:cubicBezTo>
                <a:cubicBezTo>
                  <a:pt x="1417" y="618"/>
                  <a:pt x="1416" y="618"/>
                  <a:pt x="1416" y="619"/>
                </a:cubicBezTo>
                <a:cubicBezTo>
                  <a:pt x="1416" y="619"/>
                  <a:pt x="1416" y="620"/>
                  <a:pt x="1416" y="620"/>
                </a:cubicBezTo>
                <a:cubicBezTo>
                  <a:pt x="1415" y="621"/>
                  <a:pt x="1414" y="621"/>
                  <a:pt x="1413" y="621"/>
                </a:cubicBezTo>
                <a:cubicBezTo>
                  <a:pt x="1413" y="622"/>
                  <a:pt x="1412" y="623"/>
                  <a:pt x="1412" y="623"/>
                </a:cubicBezTo>
                <a:cubicBezTo>
                  <a:pt x="1412" y="624"/>
                  <a:pt x="1412" y="624"/>
                  <a:pt x="1412" y="625"/>
                </a:cubicBezTo>
                <a:cubicBezTo>
                  <a:pt x="1412" y="625"/>
                  <a:pt x="1411" y="626"/>
                  <a:pt x="1411" y="626"/>
                </a:cubicBezTo>
                <a:cubicBezTo>
                  <a:pt x="1411" y="627"/>
                  <a:pt x="1412" y="628"/>
                  <a:pt x="1412" y="629"/>
                </a:cubicBezTo>
                <a:cubicBezTo>
                  <a:pt x="1412" y="629"/>
                  <a:pt x="1412" y="629"/>
                  <a:pt x="1412" y="630"/>
                </a:cubicBezTo>
                <a:cubicBezTo>
                  <a:pt x="1412" y="630"/>
                  <a:pt x="1412" y="630"/>
                  <a:pt x="1412" y="631"/>
                </a:cubicBezTo>
                <a:cubicBezTo>
                  <a:pt x="1412" y="631"/>
                  <a:pt x="1412" y="631"/>
                  <a:pt x="1411" y="631"/>
                </a:cubicBezTo>
                <a:cubicBezTo>
                  <a:pt x="1411" y="632"/>
                  <a:pt x="1411" y="632"/>
                  <a:pt x="1411" y="632"/>
                </a:cubicBezTo>
                <a:cubicBezTo>
                  <a:pt x="1411" y="632"/>
                  <a:pt x="1411" y="632"/>
                  <a:pt x="1410" y="632"/>
                </a:cubicBezTo>
                <a:cubicBezTo>
                  <a:pt x="1410" y="632"/>
                  <a:pt x="1410" y="632"/>
                  <a:pt x="1410" y="632"/>
                </a:cubicBezTo>
                <a:cubicBezTo>
                  <a:pt x="1410" y="631"/>
                  <a:pt x="1410" y="631"/>
                  <a:pt x="1410" y="631"/>
                </a:cubicBezTo>
                <a:cubicBezTo>
                  <a:pt x="1410" y="631"/>
                  <a:pt x="1410" y="631"/>
                  <a:pt x="1410" y="631"/>
                </a:cubicBezTo>
                <a:cubicBezTo>
                  <a:pt x="1410" y="631"/>
                  <a:pt x="1410" y="631"/>
                  <a:pt x="1409" y="631"/>
                </a:cubicBezTo>
                <a:cubicBezTo>
                  <a:pt x="1410" y="630"/>
                  <a:pt x="1410" y="630"/>
                  <a:pt x="1410" y="630"/>
                </a:cubicBezTo>
                <a:cubicBezTo>
                  <a:pt x="1410" y="629"/>
                  <a:pt x="1410" y="628"/>
                  <a:pt x="1410" y="628"/>
                </a:cubicBezTo>
                <a:cubicBezTo>
                  <a:pt x="1409" y="628"/>
                  <a:pt x="1409" y="628"/>
                  <a:pt x="1409" y="628"/>
                </a:cubicBezTo>
                <a:cubicBezTo>
                  <a:pt x="1409" y="629"/>
                  <a:pt x="1409" y="629"/>
                  <a:pt x="1408" y="630"/>
                </a:cubicBezTo>
                <a:cubicBezTo>
                  <a:pt x="1409" y="630"/>
                  <a:pt x="1409" y="631"/>
                  <a:pt x="1409" y="631"/>
                </a:cubicBezTo>
                <a:cubicBezTo>
                  <a:pt x="1409" y="632"/>
                  <a:pt x="1410" y="632"/>
                  <a:pt x="1410" y="633"/>
                </a:cubicBezTo>
                <a:cubicBezTo>
                  <a:pt x="1409" y="633"/>
                  <a:pt x="1409" y="633"/>
                  <a:pt x="1408" y="633"/>
                </a:cubicBezTo>
                <a:cubicBezTo>
                  <a:pt x="1408" y="632"/>
                  <a:pt x="1408" y="632"/>
                  <a:pt x="1408" y="631"/>
                </a:cubicBezTo>
                <a:cubicBezTo>
                  <a:pt x="1408" y="631"/>
                  <a:pt x="1408" y="630"/>
                  <a:pt x="1408" y="630"/>
                </a:cubicBezTo>
                <a:cubicBezTo>
                  <a:pt x="1408" y="630"/>
                  <a:pt x="1408" y="630"/>
                  <a:pt x="1407" y="630"/>
                </a:cubicBezTo>
                <a:cubicBezTo>
                  <a:pt x="1407" y="630"/>
                  <a:pt x="1407" y="630"/>
                  <a:pt x="1407" y="630"/>
                </a:cubicBezTo>
                <a:cubicBezTo>
                  <a:pt x="1407" y="631"/>
                  <a:pt x="1407" y="631"/>
                  <a:pt x="1407" y="632"/>
                </a:cubicBezTo>
                <a:cubicBezTo>
                  <a:pt x="1407" y="632"/>
                  <a:pt x="1408" y="633"/>
                  <a:pt x="1408" y="634"/>
                </a:cubicBezTo>
                <a:cubicBezTo>
                  <a:pt x="1408" y="635"/>
                  <a:pt x="1408" y="635"/>
                  <a:pt x="1408" y="636"/>
                </a:cubicBezTo>
                <a:cubicBezTo>
                  <a:pt x="1408" y="637"/>
                  <a:pt x="1407" y="638"/>
                  <a:pt x="1407" y="640"/>
                </a:cubicBezTo>
                <a:cubicBezTo>
                  <a:pt x="1407" y="640"/>
                  <a:pt x="1407" y="640"/>
                  <a:pt x="1407" y="640"/>
                </a:cubicBezTo>
                <a:cubicBezTo>
                  <a:pt x="1407" y="641"/>
                  <a:pt x="1407" y="642"/>
                  <a:pt x="1407" y="643"/>
                </a:cubicBezTo>
                <a:cubicBezTo>
                  <a:pt x="1407" y="644"/>
                  <a:pt x="1407" y="645"/>
                  <a:pt x="1407" y="646"/>
                </a:cubicBezTo>
                <a:cubicBezTo>
                  <a:pt x="1407" y="646"/>
                  <a:pt x="1407" y="646"/>
                  <a:pt x="1407" y="646"/>
                </a:cubicBezTo>
                <a:cubicBezTo>
                  <a:pt x="1406" y="648"/>
                  <a:pt x="1406" y="649"/>
                  <a:pt x="1405" y="650"/>
                </a:cubicBezTo>
                <a:cubicBezTo>
                  <a:pt x="1405" y="651"/>
                  <a:pt x="1405" y="651"/>
                  <a:pt x="1405" y="651"/>
                </a:cubicBezTo>
                <a:cubicBezTo>
                  <a:pt x="1405" y="651"/>
                  <a:pt x="1405" y="652"/>
                  <a:pt x="1405" y="652"/>
                </a:cubicBezTo>
                <a:cubicBezTo>
                  <a:pt x="1405" y="652"/>
                  <a:pt x="1405" y="653"/>
                  <a:pt x="1405" y="653"/>
                </a:cubicBezTo>
                <a:cubicBezTo>
                  <a:pt x="1405" y="654"/>
                  <a:pt x="1405" y="655"/>
                  <a:pt x="1405" y="655"/>
                </a:cubicBezTo>
                <a:cubicBezTo>
                  <a:pt x="1405" y="656"/>
                  <a:pt x="1405" y="656"/>
                  <a:pt x="1405" y="656"/>
                </a:cubicBezTo>
                <a:cubicBezTo>
                  <a:pt x="1404" y="656"/>
                  <a:pt x="1404" y="656"/>
                  <a:pt x="1404" y="656"/>
                </a:cubicBezTo>
                <a:cubicBezTo>
                  <a:pt x="1404" y="657"/>
                  <a:pt x="1404" y="657"/>
                  <a:pt x="1404" y="657"/>
                </a:cubicBezTo>
                <a:cubicBezTo>
                  <a:pt x="1404" y="657"/>
                  <a:pt x="1404" y="657"/>
                  <a:pt x="1403" y="658"/>
                </a:cubicBezTo>
                <a:cubicBezTo>
                  <a:pt x="1403" y="658"/>
                  <a:pt x="1403" y="659"/>
                  <a:pt x="1403" y="659"/>
                </a:cubicBezTo>
                <a:cubicBezTo>
                  <a:pt x="1402" y="659"/>
                  <a:pt x="1402" y="659"/>
                  <a:pt x="1402" y="660"/>
                </a:cubicBezTo>
                <a:cubicBezTo>
                  <a:pt x="1402" y="660"/>
                  <a:pt x="1402" y="660"/>
                  <a:pt x="1402" y="660"/>
                </a:cubicBezTo>
                <a:cubicBezTo>
                  <a:pt x="1402" y="660"/>
                  <a:pt x="1402" y="661"/>
                  <a:pt x="1401" y="661"/>
                </a:cubicBezTo>
                <a:cubicBezTo>
                  <a:pt x="1401" y="661"/>
                  <a:pt x="1401" y="661"/>
                  <a:pt x="1400" y="661"/>
                </a:cubicBezTo>
                <a:cubicBezTo>
                  <a:pt x="1400" y="661"/>
                  <a:pt x="1400" y="662"/>
                  <a:pt x="1400" y="662"/>
                </a:cubicBezTo>
                <a:cubicBezTo>
                  <a:pt x="1400" y="662"/>
                  <a:pt x="1399" y="662"/>
                  <a:pt x="1399" y="663"/>
                </a:cubicBezTo>
                <a:cubicBezTo>
                  <a:pt x="1398" y="662"/>
                  <a:pt x="1398" y="662"/>
                  <a:pt x="1398" y="662"/>
                </a:cubicBezTo>
                <a:cubicBezTo>
                  <a:pt x="1398" y="662"/>
                  <a:pt x="1397" y="663"/>
                  <a:pt x="1397" y="663"/>
                </a:cubicBezTo>
                <a:cubicBezTo>
                  <a:pt x="1396" y="664"/>
                  <a:pt x="1396" y="664"/>
                  <a:pt x="1396" y="665"/>
                </a:cubicBezTo>
                <a:cubicBezTo>
                  <a:pt x="1396" y="665"/>
                  <a:pt x="1396" y="665"/>
                  <a:pt x="1396" y="666"/>
                </a:cubicBezTo>
                <a:cubicBezTo>
                  <a:pt x="1397" y="666"/>
                  <a:pt x="1397" y="666"/>
                  <a:pt x="1397" y="666"/>
                </a:cubicBezTo>
                <a:cubicBezTo>
                  <a:pt x="1397" y="667"/>
                  <a:pt x="1398" y="667"/>
                  <a:pt x="1398" y="668"/>
                </a:cubicBezTo>
                <a:cubicBezTo>
                  <a:pt x="1398" y="668"/>
                  <a:pt x="1398" y="668"/>
                  <a:pt x="1398" y="669"/>
                </a:cubicBezTo>
                <a:cubicBezTo>
                  <a:pt x="1398" y="669"/>
                  <a:pt x="1398" y="669"/>
                  <a:pt x="1398" y="669"/>
                </a:cubicBezTo>
                <a:cubicBezTo>
                  <a:pt x="1399" y="669"/>
                  <a:pt x="1399" y="669"/>
                  <a:pt x="1399" y="669"/>
                </a:cubicBezTo>
                <a:cubicBezTo>
                  <a:pt x="1399" y="670"/>
                  <a:pt x="1399" y="670"/>
                  <a:pt x="1399" y="670"/>
                </a:cubicBezTo>
                <a:cubicBezTo>
                  <a:pt x="1400" y="670"/>
                  <a:pt x="1400" y="670"/>
                  <a:pt x="1401" y="670"/>
                </a:cubicBezTo>
                <a:cubicBezTo>
                  <a:pt x="1401" y="671"/>
                  <a:pt x="1401" y="671"/>
                  <a:pt x="1401" y="671"/>
                </a:cubicBezTo>
                <a:cubicBezTo>
                  <a:pt x="1401" y="671"/>
                  <a:pt x="1401" y="671"/>
                  <a:pt x="1401" y="671"/>
                </a:cubicBezTo>
                <a:cubicBezTo>
                  <a:pt x="1402" y="671"/>
                  <a:pt x="1402" y="671"/>
                  <a:pt x="1402" y="671"/>
                </a:cubicBezTo>
                <a:cubicBezTo>
                  <a:pt x="1402" y="671"/>
                  <a:pt x="1403" y="671"/>
                  <a:pt x="1403" y="672"/>
                </a:cubicBezTo>
                <a:cubicBezTo>
                  <a:pt x="1403" y="672"/>
                  <a:pt x="1403" y="672"/>
                  <a:pt x="1403" y="672"/>
                </a:cubicBezTo>
                <a:cubicBezTo>
                  <a:pt x="1404" y="672"/>
                  <a:pt x="1404" y="672"/>
                  <a:pt x="1404" y="672"/>
                </a:cubicBezTo>
                <a:cubicBezTo>
                  <a:pt x="1404" y="672"/>
                  <a:pt x="1404" y="672"/>
                  <a:pt x="1404" y="672"/>
                </a:cubicBezTo>
                <a:cubicBezTo>
                  <a:pt x="1405" y="672"/>
                  <a:pt x="1405" y="672"/>
                  <a:pt x="1405" y="672"/>
                </a:cubicBezTo>
                <a:cubicBezTo>
                  <a:pt x="1406" y="672"/>
                  <a:pt x="1406" y="673"/>
                  <a:pt x="1406" y="673"/>
                </a:cubicBezTo>
                <a:cubicBezTo>
                  <a:pt x="1407" y="673"/>
                  <a:pt x="1407" y="672"/>
                  <a:pt x="1407" y="672"/>
                </a:cubicBezTo>
                <a:cubicBezTo>
                  <a:pt x="1407" y="672"/>
                  <a:pt x="1407" y="672"/>
                  <a:pt x="1407" y="672"/>
                </a:cubicBezTo>
                <a:cubicBezTo>
                  <a:pt x="1408" y="672"/>
                  <a:pt x="1408" y="672"/>
                  <a:pt x="1408" y="672"/>
                </a:cubicBezTo>
                <a:cubicBezTo>
                  <a:pt x="1409" y="672"/>
                  <a:pt x="1409" y="672"/>
                  <a:pt x="1410" y="672"/>
                </a:cubicBezTo>
                <a:cubicBezTo>
                  <a:pt x="1410" y="672"/>
                  <a:pt x="1410" y="672"/>
                  <a:pt x="1410" y="672"/>
                </a:cubicBezTo>
                <a:cubicBezTo>
                  <a:pt x="1410" y="672"/>
                  <a:pt x="1410" y="672"/>
                  <a:pt x="1411" y="672"/>
                </a:cubicBezTo>
                <a:cubicBezTo>
                  <a:pt x="1411" y="672"/>
                  <a:pt x="1411" y="672"/>
                  <a:pt x="1411" y="672"/>
                </a:cubicBezTo>
                <a:cubicBezTo>
                  <a:pt x="1412" y="672"/>
                  <a:pt x="1412" y="672"/>
                  <a:pt x="1412" y="673"/>
                </a:cubicBezTo>
                <a:cubicBezTo>
                  <a:pt x="1412" y="672"/>
                  <a:pt x="1412" y="672"/>
                  <a:pt x="1413" y="672"/>
                </a:cubicBezTo>
                <a:cubicBezTo>
                  <a:pt x="1413" y="672"/>
                  <a:pt x="1413" y="672"/>
                  <a:pt x="1413" y="672"/>
                </a:cubicBezTo>
                <a:cubicBezTo>
                  <a:pt x="1413" y="672"/>
                  <a:pt x="1413" y="672"/>
                  <a:pt x="1414" y="672"/>
                </a:cubicBezTo>
                <a:cubicBezTo>
                  <a:pt x="1414" y="672"/>
                  <a:pt x="1414" y="672"/>
                  <a:pt x="1414" y="671"/>
                </a:cubicBezTo>
                <a:cubicBezTo>
                  <a:pt x="1415" y="671"/>
                  <a:pt x="1416" y="671"/>
                  <a:pt x="1417" y="671"/>
                </a:cubicBezTo>
                <a:cubicBezTo>
                  <a:pt x="1417" y="671"/>
                  <a:pt x="1417" y="671"/>
                  <a:pt x="1418" y="671"/>
                </a:cubicBezTo>
                <a:cubicBezTo>
                  <a:pt x="1418" y="672"/>
                  <a:pt x="1418" y="672"/>
                  <a:pt x="1418" y="672"/>
                </a:cubicBezTo>
                <a:cubicBezTo>
                  <a:pt x="1418" y="672"/>
                  <a:pt x="1419" y="672"/>
                  <a:pt x="1419" y="672"/>
                </a:cubicBezTo>
                <a:cubicBezTo>
                  <a:pt x="1420" y="672"/>
                  <a:pt x="1421" y="672"/>
                  <a:pt x="1421" y="672"/>
                </a:cubicBezTo>
                <a:cubicBezTo>
                  <a:pt x="1421" y="672"/>
                  <a:pt x="1422" y="672"/>
                  <a:pt x="1422" y="673"/>
                </a:cubicBezTo>
                <a:cubicBezTo>
                  <a:pt x="1422" y="673"/>
                  <a:pt x="1423" y="673"/>
                  <a:pt x="1423" y="673"/>
                </a:cubicBezTo>
                <a:cubicBezTo>
                  <a:pt x="1423" y="673"/>
                  <a:pt x="1423" y="673"/>
                  <a:pt x="1423" y="673"/>
                </a:cubicBezTo>
                <a:cubicBezTo>
                  <a:pt x="1424" y="673"/>
                  <a:pt x="1424" y="673"/>
                  <a:pt x="1424" y="673"/>
                </a:cubicBezTo>
                <a:cubicBezTo>
                  <a:pt x="1424" y="673"/>
                  <a:pt x="1425" y="673"/>
                  <a:pt x="1425" y="673"/>
                </a:cubicBezTo>
                <a:cubicBezTo>
                  <a:pt x="1425" y="674"/>
                  <a:pt x="1425" y="674"/>
                  <a:pt x="1425" y="674"/>
                </a:cubicBezTo>
                <a:cubicBezTo>
                  <a:pt x="1425" y="674"/>
                  <a:pt x="1425" y="674"/>
                  <a:pt x="1426" y="675"/>
                </a:cubicBezTo>
                <a:cubicBezTo>
                  <a:pt x="1426" y="674"/>
                  <a:pt x="1426" y="674"/>
                  <a:pt x="1426" y="674"/>
                </a:cubicBezTo>
                <a:cubicBezTo>
                  <a:pt x="1426" y="675"/>
                  <a:pt x="1427" y="675"/>
                  <a:pt x="1427" y="675"/>
                </a:cubicBezTo>
                <a:cubicBezTo>
                  <a:pt x="1427" y="675"/>
                  <a:pt x="1427" y="675"/>
                  <a:pt x="1427" y="675"/>
                </a:cubicBezTo>
                <a:cubicBezTo>
                  <a:pt x="1428" y="675"/>
                  <a:pt x="1429" y="675"/>
                  <a:pt x="1429" y="675"/>
                </a:cubicBezTo>
                <a:cubicBezTo>
                  <a:pt x="1429" y="676"/>
                  <a:pt x="1429" y="676"/>
                  <a:pt x="1429" y="676"/>
                </a:cubicBezTo>
                <a:cubicBezTo>
                  <a:pt x="1429" y="676"/>
                  <a:pt x="1429" y="676"/>
                  <a:pt x="1429" y="676"/>
                </a:cubicBezTo>
                <a:cubicBezTo>
                  <a:pt x="1429" y="676"/>
                  <a:pt x="1430" y="676"/>
                  <a:pt x="1430" y="676"/>
                </a:cubicBezTo>
                <a:cubicBezTo>
                  <a:pt x="1430" y="676"/>
                  <a:pt x="1431" y="676"/>
                  <a:pt x="1431" y="676"/>
                </a:cubicBezTo>
                <a:cubicBezTo>
                  <a:pt x="1431" y="676"/>
                  <a:pt x="1432" y="676"/>
                  <a:pt x="1432" y="676"/>
                </a:cubicBezTo>
                <a:cubicBezTo>
                  <a:pt x="1433" y="676"/>
                  <a:pt x="1433" y="676"/>
                  <a:pt x="1433" y="675"/>
                </a:cubicBezTo>
                <a:cubicBezTo>
                  <a:pt x="1433" y="675"/>
                  <a:pt x="1433" y="675"/>
                  <a:pt x="1434" y="675"/>
                </a:cubicBezTo>
                <a:cubicBezTo>
                  <a:pt x="1434" y="675"/>
                  <a:pt x="1434" y="675"/>
                  <a:pt x="1435" y="675"/>
                </a:cubicBezTo>
                <a:cubicBezTo>
                  <a:pt x="1435" y="675"/>
                  <a:pt x="1435" y="674"/>
                  <a:pt x="1436" y="674"/>
                </a:cubicBezTo>
                <a:cubicBezTo>
                  <a:pt x="1436" y="674"/>
                  <a:pt x="1437" y="674"/>
                  <a:pt x="1437" y="674"/>
                </a:cubicBezTo>
                <a:cubicBezTo>
                  <a:pt x="1437" y="674"/>
                  <a:pt x="1438" y="674"/>
                  <a:pt x="1438" y="674"/>
                </a:cubicBezTo>
                <a:cubicBezTo>
                  <a:pt x="1438" y="674"/>
                  <a:pt x="1438" y="674"/>
                  <a:pt x="1439" y="674"/>
                </a:cubicBezTo>
                <a:cubicBezTo>
                  <a:pt x="1439" y="674"/>
                  <a:pt x="1440" y="674"/>
                  <a:pt x="1441" y="674"/>
                </a:cubicBezTo>
                <a:cubicBezTo>
                  <a:pt x="1441" y="674"/>
                  <a:pt x="1442" y="674"/>
                  <a:pt x="1443" y="674"/>
                </a:cubicBezTo>
                <a:cubicBezTo>
                  <a:pt x="1444" y="674"/>
                  <a:pt x="1444" y="673"/>
                  <a:pt x="1445" y="673"/>
                </a:cubicBezTo>
                <a:cubicBezTo>
                  <a:pt x="1445" y="673"/>
                  <a:pt x="1445" y="673"/>
                  <a:pt x="1446" y="673"/>
                </a:cubicBezTo>
                <a:cubicBezTo>
                  <a:pt x="1446" y="673"/>
                  <a:pt x="1446" y="673"/>
                  <a:pt x="1446" y="674"/>
                </a:cubicBezTo>
                <a:cubicBezTo>
                  <a:pt x="1447" y="674"/>
                  <a:pt x="1447" y="674"/>
                  <a:pt x="1447" y="674"/>
                </a:cubicBezTo>
                <a:cubicBezTo>
                  <a:pt x="1447" y="674"/>
                  <a:pt x="1448" y="674"/>
                  <a:pt x="1448" y="675"/>
                </a:cubicBezTo>
                <a:cubicBezTo>
                  <a:pt x="1448" y="675"/>
                  <a:pt x="1449" y="675"/>
                  <a:pt x="1449" y="675"/>
                </a:cubicBezTo>
                <a:cubicBezTo>
                  <a:pt x="1450" y="675"/>
                  <a:pt x="1450" y="675"/>
                  <a:pt x="1450" y="675"/>
                </a:cubicBezTo>
                <a:cubicBezTo>
                  <a:pt x="1451" y="675"/>
                  <a:pt x="1451" y="676"/>
                  <a:pt x="1452" y="676"/>
                </a:cubicBezTo>
                <a:cubicBezTo>
                  <a:pt x="1453" y="676"/>
                  <a:pt x="1453" y="676"/>
                  <a:pt x="1454" y="676"/>
                </a:cubicBezTo>
                <a:cubicBezTo>
                  <a:pt x="1455" y="676"/>
                  <a:pt x="1455" y="676"/>
                  <a:pt x="1456" y="676"/>
                </a:cubicBezTo>
                <a:cubicBezTo>
                  <a:pt x="1456" y="676"/>
                  <a:pt x="1457" y="676"/>
                  <a:pt x="1457" y="676"/>
                </a:cubicBezTo>
                <a:cubicBezTo>
                  <a:pt x="1457" y="676"/>
                  <a:pt x="1457" y="676"/>
                  <a:pt x="1458" y="676"/>
                </a:cubicBezTo>
                <a:cubicBezTo>
                  <a:pt x="1458" y="676"/>
                  <a:pt x="1459" y="676"/>
                  <a:pt x="1459" y="676"/>
                </a:cubicBezTo>
                <a:cubicBezTo>
                  <a:pt x="1460" y="676"/>
                  <a:pt x="1460" y="676"/>
                  <a:pt x="1461" y="677"/>
                </a:cubicBezTo>
                <a:cubicBezTo>
                  <a:pt x="1462" y="677"/>
                  <a:pt x="1464" y="677"/>
                  <a:pt x="1466" y="678"/>
                </a:cubicBezTo>
                <a:cubicBezTo>
                  <a:pt x="1466" y="678"/>
                  <a:pt x="1467" y="679"/>
                  <a:pt x="1467" y="679"/>
                </a:cubicBezTo>
                <a:cubicBezTo>
                  <a:pt x="1467" y="679"/>
                  <a:pt x="1468" y="679"/>
                  <a:pt x="1468" y="679"/>
                </a:cubicBezTo>
                <a:cubicBezTo>
                  <a:pt x="1468" y="679"/>
                  <a:pt x="1469" y="679"/>
                  <a:pt x="1469" y="679"/>
                </a:cubicBezTo>
                <a:cubicBezTo>
                  <a:pt x="1470" y="680"/>
                  <a:pt x="1470" y="680"/>
                  <a:pt x="1470" y="680"/>
                </a:cubicBezTo>
                <a:cubicBezTo>
                  <a:pt x="1471" y="680"/>
                  <a:pt x="1471" y="681"/>
                  <a:pt x="1471" y="681"/>
                </a:cubicBezTo>
                <a:cubicBezTo>
                  <a:pt x="1471" y="682"/>
                  <a:pt x="1472" y="682"/>
                  <a:pt x="1472" y="683"/>
                </a:cubicBezTo>
                <a:cubicBezTo>
                  <a:pt x="1472" y="683"/>
                  <a:pt x="1472" y="683"/>
                  <a:pt x="1472" y="684"/>
                </a:cubicBezTo>
                <a:cubicBezTo>
                  <a:pt x="1473" y="684"/>
                  <a:pt x="1473" y="683"/>
                  <a:pt x="1473" y="683"/>
                </a:cubicBezTo>
                <a:cubicBezTo>
                  <a:pt x="1473" y="683"/>
                  <a:pt x="1473" y="683"/>
                  <a:pt x="1474" y="683"/>
                </a:cubicBezTo>
                <a:cubicBezTo>
                  <a:pt x="1474" y="684"/>
                  <a:pt x="1474" y="684"/>
                  <a:pt x="1474" y="684"/>
                </a:cubicBezTo>
                <a:cubicBezTo>
                  <a:pt x="1474" y="684"/>
                  <a:pt x="1474" y="684"/>
                  <a:pt x="1474" y="684"/>
                </a:cubicBezTo>
                <a:cubicBezTo>
                  <a:pt x="1475" y="684"/>
                  <a:pt x="1475" y="684"/>
                  <a:pt x="1475" y="684"/>
                </a:cubicBezTo>
                <a:cubicBezTo>
                  <a:pt x="1475" y="685"/>
                  <a:pt x="1475" y="685"/>
                  <a:pt x="1476" y="686"/>
                </a:cubicBezTo>
                <a:cubicBezTo>
                  <a:pt x="1476" y="686"/>
                  <a:pt x="1476" y="686"/>
                  <a:pt x="1477" y="686"/>
                </a:cubicBezTo>
                <a:cubicBezTo>
                  <a:pt x="1477" y="686"/>
                  <a:pt x="1477" y="686"/>
                  <a:pt x="1477" y="686"/>
                </a:cubicBezTo>
                <a:cubicBezTo>
                  <a:pt x="1478" y="687"/>
                  <a:pt x="1478" y="687"/>
                  <a:pt x="1479" y="688"/>
                </a:cubicBezTo>
                <a:cubicBezTo>
                  <a:pt x="1478" y="688"/>
                  <a:pt x="1478" y="688"/>
                  <a:pt x="1478" y="688"/>
                </a:cubicBezTo>
                <a:cubicBezTo>
                  <a:pt x="1478" y="689"/>
                  <a:pt x="1478" y="689"/>
                  <a:pt x="1479" y="689"/>
                </a:cubicBezTo>
                <a:cubicBezTo>
                  <a:pt x="1479" y="689"/>
                  <a:pt x="1479" y="689"/>
                  <a:pt x="1479" y="689"/>
                </a:cubicBezTo>
                <a:cubicBezTo>
                  <a:pt x="1479" y="690"/>
                  <a:pt x="1479" y="690"/>
                  <a:pt x="1479" y="690"/>
                </a:cubicBezTo>
                <a:cubicBezTo>
                  <a:pt x="1478" y="690"/>
                  <a:pt x="1478" y="690"/>
                  <a:pt x="1478" y="690"/>
                </a:cubicBezTo>
                <a:cubicBezTo>
                  <a:pt x="1478" y="690"/>
                  <a:pt x="1478" y="690"/>
                  <a:pt x="1478" y="690"/>
                </a:cubicBezTo>
                <a:cubicBezTo>
                  <a:pt x="1478" y="691"/>
                  <a:pt x="1478" y="691"/>
                  <a:pt x="1478" y="692"/>
                </a:cubicBezTo>
                <a:cubicBezTo>
                  <a:pt x="1478" y="692"/>
                  <a:pt x="1478" y="692"/>
                  <a:pt x="1478" y="692"/>
                </a:cubicBezTo>
                <a:cubicBezTo>
                  <a:pt x="1479" y="692"/>
                  <a:pt x="1479" y="693"/>
                  <a:pt x="1479" y="693"/>
                </a:cubicBezTo>
                <a:cubicBezTo>
                  <a:pt x="1479" y="693"/>
                  <a:pt x="1479" y="694"/>
                  <a:pt x="1479" y="694"/>
                </a:cubicBezTo>
                <a:cubicBezTo>
                  <a:pt x="1479" y="694"/>
                  <a:pt x="1479" y="695"/>
                  <a:pt x="1478" y="695"/>
                </a:cubicBezTo>
                <a:cubicBezTo>
                  <a:pt x="1478" y="695"/>
                  <a:pt x="1479" y="696"/>
                  <a:pt x="1479" y="697"/>
                </a:cubicBezTo>
                <a:cubicBezTo>
                  <a:pt x="1478" y="697"/>
                  <a:pt x="1478" y="697"/>
                  <a:pt x="1478" y="697"/>
                </a:cubicBezTo>
                <a:cubicBezTo>
                  <a:pt x="1478" y="698"/>
                  <a:pt x="1478" y="698"/>
                  <a:pt x="1478" y="698"/>
                </a:cubicBezTo>
                <a:cubicBezTo>
                  <a:pt x="1478" y="698"/>
                  <a:pt x="1478" y="699"/>
                  <a:pt x="1478" y="699"/>
                </a:cubicBezTo>
                <a:cubicBezTo>
                  <a:pt x="1478" y="699"/>
                  <a:pt x="1477" y="699"/>
                  <a:pt x="1477" y="699"/>
                </a:cubicBezTo>
                <a:cubicBezTo>
                  <a:pt x="1477" y="699"/>
                  <a:pt x="1477" y="699"/>
                  <a:pt x="1477" y="699"/>
                </a:cubicBezTo>
                <a:cubicBezTo>
                  <a:pt x="1477" y="699"/>
                  <a:pt x="1477" y="699"/>
                  <a:pt x="1476" y="699"/>
                </a:cubicBezTo>
                <a:cubicBezTo>
                  <a:pt x="1477" y="699"/>
                  <a:pt x="1477" y="700"/>
                  <a:pt x="1477" y="700"/>
                </a:cubicBezTo>
                <a:cubicBezTo>
                  <a:pt x="1477" y="700"/>
                  <a:pt x="1477" y="700"/>
                  <a:pt x="1477" y="700"/>
                </a:cubicBezTo>
                <a:cubicBezTo>
                  <a:pt x="1477" y="701"/>
                  <a:pt x="1477" y="701"/>
                  <a:pt x="1477" y="701"/>
                </a:cubicBezTo>
                <a:cubicBezTo>
                  <a:pt x="1478" y="701"/>
                  <a:pt x="1478" y="701"/>
                  <a:pt x="1478" y="701"/>
                </a:cubicBezTo>
                <a:cubicBezTo>
                  <a:pt x="1478" y="701"/>
                  <a:pt x="1478" y="702"/>
                  <a:pt x="1479" y="702"/>
                </a:cubicBezTo>
                <a:cubicBezTo>
                  <a:pt x="1479" y="702"/>
                  <a:pt x="1479" y="702"/>
                  <a:pt x="1479" y="701"/>
                </a:cubicBezTo>
                <a:cubicBezTo>
                  <a:pt x="1479" y="701"/>
                  <a:pt x="1479" y="701"/>
                  <a:pt x="1479" y="701"/>
                </a:cubicBezTo>
                <a:cubicBezTo>
                  <a:pt x="1479" y="701"/>
                  <a:pt x="1479" y="701"/>
                  <a:pt x="1479" y="700"/>
                </a:cubicBezTo>
                <a:cubicBezTo>
                  <a:pt x="1480" y="700"/>
                  <a:pt x="1480" y="700"/>
                  <a:pt x="1480" y="700"/>
                </a:cubicBezTo>
                <a:cubicBezTo>
                  <a:pt x="1480" y="700"/>
                  <a:pt x="1480" y="700"/>
                  <a:pt x="1481" y="700"/>
                </a:cubicBezTo>
                <a:cubicBezTo>
                  <a:pt x="1481" y="700"/>
                  <a:pt x="1481" y="700"/>
                  <a:pt x="1481" y="700"/>
                </a:cubicBezTo>
                <a:cubicBezTo>
                  <a:pt x="1482" y="700"/>
                  <a:pt x="1482" y="700"/>
                  <a:pt x="1482" y="700"/>
                </a:cubicBezTo>
                <a:cubicBezTo>
                  <a:pt x="1482" y="700"/>
                  <a:pt x="1482" y="699"/>
                  <a:pt x="1483" y="699"/>
                </a:cubicBezTo>
                <a:cubicBezTo>
                  <a:pt x="1483" y="699"/>
                  <a:pt x="1483" y="699"/>
                  <a:pt x="1484" y="699"/>
                </a:cubicBezTo>
                <a:cubicBezTo>
                  <a:pt x="1484" y="699"/>
                  <a:pt x="1485" y="699"/>
                  <a:pt x="1486" y="699"/>
                </a:cubicBezTo>
                <a:cubicBezTo>
                  <a:pt x="1486" y="699"/>
                  <a:pt x="1486" y="698"/>
                  <a:pt x="1486" y="698"/>
                </a:cubicBezTo>
                <a:cubicBezTo>
                  <a:pt x="1486" y="698"/>
                  <a:pt x="1486" y="698"/>
                  <a:pt x="1486" y="698"/>
                </a:cubicBezTo>
                <a:cubicBezTo>
                  <a:pt x="1487" y="698"/>
                  <a:pt x="1488" y="698"/>
                  <a:pt x="1488" y="698"/>
                </a:cubicBezTo>
                <a:cubicBezTo>
                  <a:pt x="1488" y="698"/>
                  <a:pt x="1489" y="698"/>
                  <a:pt x="1489" y="698"/>
                </a:cubicBezTo>
                <a:cubicBezTo>
                  <a:pt x="1489" y="697"/>
                  <a:pt x="1490" y="697"/>
                  <a:pt x="1491" y="697"/>
                </a:cubicBezTo>
                <a:cubicBezTo>
                  <a:pt x="1491" y="697"/>
                  <a:pt x="1491" y="697"/>
                  <a:pt x="1492" y="697"/>
                </a:cubicBezTo>
                <a:cubicBezTo>
                  <a:pt x="1492" y="697"/>
                  <a:pt x="1492" y="697"/>
                  <a:pt x="1493" y="697"/>
                </a:cubicBezTo>
                <a:cubicBezTo>
                  <a:pt x="1493" y="696"/>
                  <a:pt x="1493" y="696"/>
                  <a:pt x="1493" y="696"/>
                </a:cubicBezTo>
                <a:cubicBezTo>
                  <a:pt x="1493" y="695"/>
                  <a:pt x="1493" y="695"/>
                  <a:pt x="1493" y="695"/>
                </a:cubicBezTo>
                <a:cubicBezTo>
                  <a:pt x="1493" y="695"/>
                  <a:pt x="1493" y="696"/>
                  <a:pt x="1493" y="696"/>
                </a:cubicBezTo>
                <a:cubicBezTo>
                  <a:pt x="1493" y="696"/>
                  <a:pt x="1493" y="697"/>
                  <a:pt x="1493" y="697"/>
                </a:cubicBezTo>
                <a:cubicBezTo>
                  <a:pt x="1493" y="697"/>
                  <a:pt x="1493" y="698"/>
                  <a:pt x="1492" y="698"/>
                </a:cubicBezTo>
                <a:cubicBezTo>
                  <a:pt x="1492" y="698"/>
                  <a:pt x="1492" y="698"/>
                  <a:pt x="1492" y="698"/>
                </a:cubicBezTo>
                <a:cubicBezTo>
                  <a:pt x="1491" y="699"/>
                  <a:pt x="1491" y="699"/>
                  <a:pt x="1491" y="700"/>
                </a:cubicBezTo>
                <a:cubicBezTo>
                  <a:pt x="1490" y="700"/>
                  <a:pt x="1489" y="700"/>
                  <a:pt x="1489" y="700"/>
                </a:cubicBezTo>
                <a:cubicBezTo>
                  <a:pt x="1488" y="700"/>
                  <a:pt x="1488" y="700"/>
                  <a:pt x="1488" y="701"/>
                </a:cubicBezTo>
                <a:cubicBezTo>
                  <a:pt x="1488" y="701"/>
                  <a:pt x="1488" y="701"/>
                  <a:pt x="1487" y="701"/>
                </a:cubicBezTo>
                <a:cubicBezTo>
                  <a:pt x="1487" y="701"/>
                  <a:pt x="1487" y="702"/>
                  <a:pt x="1487" y="702"/>
                </a:cubicBezTo>
                <a:cubicBezTo>
                  <a:pt x="1487" y="702"/>
                  <a:pt x="1486" y="702"/>
                  <a:pt x="1486" y="703"/>
                </a:cubicBezTo>
                <a:cubicBezTo>
                  <a:pt x="1486" y="703"/>
                  <a:pt x="1486" y="703"/>
                  <a:pt x="1486" y="703"/>
                </a:cubicBezTo>
                <a:cubicBezTo>
                  <a:pt x="1485" y="704"/>
                  <a:pt x="1485" y="704"/>
                  <a:pt x="1484" y="704"/>
                </a:cubicBezTo>
                <a:cubicBezTo>
                  <a:pt x="1484" y="704"/>
                  <a:pt x="1483" y="704"/>
                  <a:pt x="1482" y="703"/>
                </a:cubicBezTo>
                <a:cubicBezTo>
                  <a:pt x="1482" y="704"/>
                  <a:pt x="1482" y="704"/>
                  <a:pt x="1482" y="704"/>
                </a:cubicBezTo>
                <a:cubicBezTo>
                  <a:pt x="1481" y="704"/>
                  <a:pt x="1481" y="705"/>
                  <a:pt x="1481" y="705"/>
                </a:cubicBezTo>
                <a:cubicBezTo>
                  <a:pt x="1481" y="705"/>
                  <a:pt x="1481" y="705"/>
                  <a:pt x="1481" y="705"/>
                </a:cubicBezTo>
                <a:cubicBezTo>
                  <a:pt x="1481" y="705"/>
                  <a:pt x="1482" y="705"/>
                  <a:pt x="1482" y="705"/>
                </a:cubicBezTo>
                <a:cubicBezTo>
                  <a:pt x="1482" y="705"/>
                  <a:pt x="1483" y="705"/>
                  <a:pt x="1483" y="705"/>
                </a:cubicBezTo>
                <a:cubicBezTo>
                  <a:pt x="1484" y="706"/>
                  <a:pt x="1484" y="706"/>
                  <a:pt x="1485" y="706"/>
                </a:cubicBezTo>
                <a:cubicBezTo>
                  <a:pt x="1485" y="706"/>
                  <a:pt x="1486" y="705"/>
                  <a:pt x="1487" y="705"/>
                </a:cubicBezTo>
                <a:cubicBezTo>
                  <a:pt x="1487" y="704"/>
                  <a:pt x="1488" y="704"/>
                  <a:pt x="1488" y="703"/>
                </a:cubicBezTo>
                <a:cubicBezTo>
                  <a:pt x="1488" y="703"/>
                  <a:pt x="1489" y="703"/>
                  <a:pt x="1489" y="703"/>
                </a:cubicBezTo>
                <a:cubicBezTo>
                  <a:pt x="1490" y="703"/>
                  <a:pt x="1490" y="703"/>
                  <a:pt x="1490" y="703"/>
                </a:cubicBezTo>
                <a:cubicBezTo>
                  <a:pt x="1489" y="704"/>
                  <a:pt x="1489" y="704"/>
                  <a:pt x="1489" y="705"/>
                </a:cubicBezTo>
                <a:cubicBezTo>
                  <a:pt x="1489" y="705"/>
                  <a:pt x="1489" y="706"/>
                  <a:pt x="1489" y="706"/>
                </a:cubicBezTo>
                <a:cubicBezTo>
                  <a:pt x="1489" y="706"/>
                  <a:pt x="1489" y="706"/>
                  <a:pt x="1489" y="706"/>
                </a:cubicBezTo>
                <a:cubicBezTo>
                  <a:pt x="1488" y="706"/>
                  <a:pt x="1488" y="707"/>
                  <a:pt x="1488" y="708"/>
                </a:cubicBezTo>
                <a:cubicBezTo>
                  <a:pt x="1488" y="708"/>
                  <a:pt x="1487" y="708"/>
                  <a:pt x="1487" y="709"/>
                </a:cubicBezTo>
                <a:cubicBezTo>
                  <a:pt x="1486" y="709"/>
                  <a:pt x="1485" y="709"/>
                  <a:pt x="1485" y="708"/>
                </a:cubicBezTo>
                <a:cubicBezTo>
                  <a:pt x="1485" y="709"/>
                  <a:pt x="1485" y="709"/>
                  <a:pt x="1485" y="709"/>
                </a:cubicBezTo>
                <a:cubicBezTo>
                  <a:pt x="1485" y="709"/>
                  <a:pt x="1486" y="709"/>
                  <a:pt x="1486" y="709"/>
                </a:cubicBezTo>
                <a:cubicBezTo>
                  <a:pt x="1486" y="709"/>
                  <a:pt x="1487" y="710"/>
                  <a:pt x="1487" y="710"/>
                </a:cubicBezTo>
                <a:cubicBezTo>
                  <a:pt x="1487" y="710"/>
                  <a:pt x="1487" y="710"/>
                  <a:pt x="1488" y="710"/>
                </a:cubicBezTo>
                <a:cubicBezTo>
                  <a:pt x="1488" y="710"/>
                  <a:pt x="1488" y="710"/>
                  <a:pt x="1488" y="710"/>
                </a:cubicBezTo>
                <a:cubicBezTo>
                  <a:pt x="1489" y="710"/>
                  <a:pt x="1489" y="710"/>
                  <a:pt x="1489" y="709"/>
                </a:cubicBezTo>
                <a:cubicBezTo>
                  <a:pt x="1490" y="710"/>
                  <a:pt x="1490" y="710"/>
                  <a:pt x="1490" y="710"/>
                </a:cubicBezTo>
                <a:cubicBezTo>
                  <a:pt x="1490" y="710"/>
                  <a:pt x="1490" y="710"/>
                  <a:pt x="1491" y="710"/>
                </a:cubicBezTo>
                <a:cubicBezTo>
                  <a:pt x="1490" y="710"/>
                  <a:pt x="1490" y="710"/>
                  <a:pt x="1490" y="710"/>
                </a:cubicBezTo>
                <a:cubicBezTo>
                  <a:pt x="1490" y="711"/>
                  <a:pt x="1490" y="711"/>
                  <a:pt x="1489" y="711"/>
                </a:cubicBezTo>
                <a:cubicBezTo>
                  <a:pt x="1489" y="711"/>
                  <a:pt x="1489" y="711"/>
                  <a:pt x="1489" y="711"/>
                </a:cubicBezTo>
                <a:cubicBezTo>
                  <a:pt x="1488" y="711"/>
                  <a:pt x="1488" y="711"/>
                  <a:pt x="1488" y="711"/>
                </a:cubicBezTo>
                <a:cubicBezTo>
                  <a:pt x="1488" y="711"/>
                  <a:pt x="1488" y="712"/>
                  <a:pt x="1489" y="712"/>
                </a:cubicBezTo>
                <a:cubicBezTo>
                  <a:pt x="1489" y="712"/>
                  <a:pt x="1489" y="713"/>
                  <a:pt x="1489" y="713"/>
                </a:cubicBezTo>
                <a:cubicBezTo>
                  <a:pt x="1489" y="713"/>
                  <a:pt x="1489" y="714"/>
                  <a:pt x="1489" y="714"/>
                </a:cubicBezTo>
                <a:cubicBezTo>
                  <a:pt x="1488" y="715"/>
                  <a:pt x="1488" y="715"/>
                  <a:pt x="1488" y="715"/>
                </a:cubicBezTo>
                <a:cubicBezTo>
                  <a:pt x="1488" y="716"/>
                  <a:pt x="1488" y="716"/>
                  <a:pt x="1487" y="717"/>
                </a:cubicBezTo>
                <a:cubicBezTo>
                  <a:pt x="1487" y="717"/>
                  <a:pt x="1486" y="717"/>
                  <a:pt x="1486" y="717"/>
                </a:cubicBezTo>
                <a:cubicBezTo>
                  <a:pt x="1486" y="718"/>
                  <a:pt x="1486" y="718"/>
                  <a:pt x="1486" y="718"/>
                </a:cubicBezTo>
                <a:cubicBezTo>
                  <a:pt x="1486" y="718"/>
                  <a:pt x="1485" y="719"/>
                  <a:pt x="1485" y="719"/>
                </a:cubicBezTo>
                <a:cubicBezTo>
                  <a:pt x="1485" y="719"/>
                  <a:pt x="1486" y="720"/>
                  <a:pt x="1486" y="720"/>
                </a:cubicBezTo>
                <a:cubicBezTo>
                  <a:pt x="1486" y="720"/>
                  <a:pt x="1486" y="721"/>
                  <a:pt x="1486" y="721"/>
                </a:cubicBezTo>
                <a:cubicBezTo>
                  <a:pt x="1486" y="721"/>
                  <a:pt x="1486" y="722"/>
                  <a:pt x="1486" y="722"/>
                </a:cubicBezTo>
                <a:cubicBezTo>
                  <a:pt x="1486" y="723"/>
                  <a:pt x="1486" y="724"/>
                  <a:pt x="1486" y="724"/>
                </a:cubicBezTo>
                <a:cubicBezTo>
                  <a:pt x="1487" y="725"/>
                  <a:pt x="1487" y="725"/>
                  <a:pt x="1487" y="725"/>
                </a:cubicBezTo>
                <a:cubicBezTo>
                  <a:pt x="1488" y="725"/>
                  <a:pt x="1488" y="726"/>
                  <a:pt x="1488" y="726"/>
                </a:cubicBezTo>
                <a:cubicBezTo>
                  <a:pt x="1488" y="726"/>
                  <a:pt x="1488" y="727"/>
                  <a:pt x="1488" y="727"/>
                </a:cubicBezTo>
                <a:cubicBezTo>
                  <a:pt x="1488" y="727"/>
                  <a:pt x="1488" y="727"/>
                  <a:pt x="1489" y="727"/>
                </a:cubicBezTo>
                <a:cubicBezTo>
                  <a:pt x="1489" y="727"/>
                  <a:pt x="1489" y="727"/>
                  <a:pt x="1489" y="727"/>
                </a:cubicBezTo>
                <a:cubicBezTo>
                  <a:pt x="1489" y="727"/>
                  <a:pt x="1489" y="727"/>
                  <a:pt x="1490" y="727"/>
                </a:cubicBezTo>
                <a:cubicBezTo>
                  <a:pt x="1490" y="727"/>
                  <a:pt x="1490" y="728"/>
                  <a:pt x="1491" y="728"/>
                </a:cubicBezTo>
                <a:cubicBezTo>
                  <a:pt x="1491" y="728"/>
                  <a:pt x="1491" y="729"/>
                  <a:pt x="1491" y="729"/>
                </a:cubicBezTo>
                <a:cubicBezTo>
                  <a:pt x="1491" y="729"/>
                  <a:pt x="1492" y="729"/>
                  <a:pt x="1492" y="729"/>
                </a:cubicBezTo>
                <a:cubicBezTo>
                  <a:pt x="1492" y="730"/>
                  <a:pt x="1492" y="730"/>
                  <a:pt x="1493" y="731"/>
                </a:cubicBezTo>
                <a:cubicBezTo>
                  <a:pt x="1493" y="731"/>
                  <a:pt x="1492" y="731"/>
                  <a:pt x="1492" y="731"/>
                </a:cubicBezTo>
                <a:cubicBezTo>
                  <a:pt x="1493" y="732"/>
                  <a:pt x="1493" y="732"/>
                  <a:pt x="1493" y="732"/>
                </a:cubicBezTo>
                <a:cubicBezTo>
                  <a:pt x="1493" y="732"/>
                  <a:pt x="1493" y="733"/>
                  <a:pt x="1494" y="733"/>
                </a:cubicBezTo>
                <a:cubicBezTo>
                  <a:pt x="1494" y="733"/>
                  <a:pt x="1494" y="733"/>
                  <a:pt x="1494" y="733"/>
                </a:cubicBezTo>
                <a:cubicBezTo>
                  <a:pt x="1494" y="733"/>
                  <a:pt x="1494" y="733"/>
                  <a:pt x="1495" y="733"/>
                </a:cubicBezTo>
                <a:cubicBezTo>
                  <a:pt x="1495" y="733"/>
                  <a:pt x="1496" y="733"/>
                  <a:pt x="1496" y="733"/>
                </a:cubicBezTo>
                <a:cubicBezTo>
                  <a:pt x="1497" y="733"/>
                  <a:pt x="1497" y="733"/>
                  <a:pt x="1497" y="733"/>
                </a:cubicBezTo>
                <a:cubicBezTo>
                  <a:pt x="1498" y="733"/>
                  <a:pt x="1498" y="733"/>
                  <a:pt x="1498" y="733"/>
                </a:cubicBezTo>
                <a:cubicBezTo>
                  <a:pt x="1499" y="733"/>
                  <a:pt x="1499" y="733"/>
                  <a:pt x="1500" y="733"/>
                </a:cubicBezTo>
                <a:cubicBezTo>
                  <a:pt x="1500" y="733"/>
                  <a:pt x="1500" y="733"/>
                  <a:pt x="1500" y="733"/>
                </a:cubicBezTo>
                <a:cubicBezTo>
                  <a:pt x="1500" y="733"/>
                  <a:pt x="1501" y="733"/>
                  <a:pt x="1501" y="733"/>
                </a:cubicBezTo>
                <a:cubicBezTo>
                  <a:pt x="1501" y="733"/>
                  <a:pt x="1501" y="733"/>
                  <a:pt x="1501" y="732"/>
                </a:cubicBezTo>
                <a:cubicBezTo>
                  <a:pt x="1500" y="732"/>
                  <a:pt x="1500" y="732"/>
                  <a:pt x="1500" y="732"/>
                </a:cubicBezTo>
                <a:cubicBezTo>
                  <a:pt x="1500" y="732"/>
                  <a:pt x="1500" y="732"/>
                  <a:pt x="1500" y="732"/>
                </a:cubicBezTo>
                <a:cubicBezTo>
                  <a:pt x="1501" y="731"/>
                  <a:pt x="1502" y="731"/>
                  <a:pt x="1502" y="731"/>
                </a:cubicBezTo>
                <a:cubicBezTo>
                  <a:pt x="1503" y="732"/>
                  <a:pt x="1503" y="732"/>
                  <a:pt x="1503" y="733"/>
                </a:cubicBezTo>
                <a:cubicBezTo>
                  <a:pt x="1503" y="733"/>
                  <a:pt x="1503" y="733"/>
                  <a:pt x="1503" y="733"/>
                </a:cubicBezTo>
                <a:cubicBezTo>
                  <a:pt x="1502" y="733"/>
                  <a:pt x="1502" y="733"/>
                  <a:pt x="1501" y="733"/>
                </a:cubicBezTo>
                <a:cubicBezTo>
                  <a:pt x="1501" y="734"/>
                  <a:pt x="1501" y="734"/>
                  <a:pt x="1501" y="734"/>
                </a:cubicBezTo>
                <a:cubicBezTo>
                  <a:pt x="1501" y="734"/>
                  <a:pt x="1501" y="734"/>
                  <a:pt x="1502" y="735"/>
                </a:cubicBezTo>
                <a:cubicBezTo>
                  <a:pt x="1502" y="734"/>
                  <a:pt x="1502" y="734"/>
                  <a:pt x="1502" y="734"/>
                </a:cubicBezTo>
                <a:cubicBezTo>
                  <a:pt x="1503" y="734"/>
                  <a:pt x="1503" y="734"/>
                  <a:pt x="1503" y="734"/>
                </a:cubicBezTo>
                <a:cubicBezTo>
                  <a:pt x="1503" y="734"/>
                  <a:pt x="1504" y="735"/>
                  <a:pt x="1504" y="735"/>
                </a:cubicBezTo>
                <a:cubicBezTo>
                  <a:pt x="1504" y="735"/>
                  <a:pt x="1504" y="735"/>
                  <a:pt x="1504" y="735"/>
                </a:cubicBezTo>
                <a:cubicBezTo>
                  <a:pt x="1503" y="735"/>
                  <a:pt x="1503" y="735"/>
                  <a:pt x="1503" y="735"/>
                </a:cubicBezTo>
                <a:cubicBezTo>
                  <a:pt x="1503" y="735"/>
                  <a:pt x="1502" y="735"/>
                  <a:pt x="1502" y="736"/>
                </a:cubicBezTo>
                <a:cubicBezTo>
                  <a:pt x="1502" y="736"/>
                  <a:pt x="1503" y="737"/>
                  <a:pt x="1503" y="737"/>
                </a:cubicBezTo>
                <a:cubicBezTo>
                  <a:pt x="1503" y="737"/>
                  <a:pt x="1503" y="738"/>
                  <a:pt x="1502" y="738"/>
                </a:cubicBezTo>
                <a:cubicBezTo>
                  <a:pt x="1503" y="738"/>
                  <a:pt x="1503" y="738"/>
                  <a:pt x="1503" y="738"/>
                </a:cubicBezTo>
                <a:cubicBezTo>
                  <a:pt x="1503" y="738"/>
                  <a:pt x="1503" y="738"/>
                  <a:pt x="1503" y="738"/>
                </a:cubicBezTo>
                <a:cubicBezTo>
                  <a:pt x="1503" y="739"/>
                  <a:pt x="1503" y="739"/>
                  <a:pt x="1503" y="739"/>
                </a:cubicBezTo>
                <a:cubicBezTo>
                  <a:pt x="1503" y="740"/>
                  <a:pt x="1503" y="740"/>
                  <a:pt x="1503" y="740"/>
                </a:cubicBezTo>
                <a:cubicBezTo>
                  <a:pt x="1504" y="740"/>
                  <a:pt x="1504" y="740"/>
                  <a:pt x="1504" y="740"/>
                </a:cubicBezTo>
                <a:cubicBezTo>
                  <a:pt x="1505" y="739"/>
                  <a:pt x="1505" y="739"/>
                  <a:pt x="1505" y="739"/>
                </a:cubicBezTo>
                <a:cubicBezTo>
                  <a:pt x="1505" y="739"/>
                  <a:pt x="1504" y="739"/>
                  <a:pt x="1504" y="739"/>
                </a:cubicBezTo>
                <a:cubicBezTo>
                  <a:pt x="1504" y="739"/>
                  <a:pt x="1504" y="738"/>
                  <a:pt x="1504" y="738"/>
                </a:cubicBezTo>
                <a:cubicBezTo>
                  <a:pt x="1504" y="738"/>
                  <a:pt x="1504" y="738"/>
                  <a:pt x="1505" y="738"/>
                </a:cubicBezTo>
                <a:cubicBezTo>
                  <a:pt x="1505" y="738"/>
                  <a:pt x="1506" y="739"/>
                  <a:pt x="1507" y="739"/>
                </a:cubicBezTo>
                <a:cubicBezTo>
                  <a:pt x="1507" y="739"/>
                  <a:pt x="1507" y="739"/>
                  <a:pt x="1507" y="739"/>
                </a:cubicBezTo>
                <a:cubicBezTo>
                  <a:pt x="1507" y="739"/>
                  <a:pt x="1507" y="739"/>
                  <a:pt x="1507" y="739"/>
                </a:cubicBezTo>
                <a:cubicBezTo>
                  <a:pt x="1508" y="739"/>
                  <a:pt x="1508" y="739"/>
                  <a:pt x="1509" y="738"/>
                </a:cubicBezTo>
                <a:cubicBezTo>
                  <a:pt x="1510" y="738"/>
                  <a:pt x="1510" y="738"/>
                  <a:pt x="1511" y="738"/>
                </a:cubicBezTo>
                <a:cubicBezTo>
                  <a:pt x="1512" y="738"/>
                  <a:pt x="1512" y="738"/>
                  <a:pt x="1513" y="738"/>
                </a:cubicBezTo>
                <a:cubicBezTo>
                  <a:pt x="1513" y="738"/>
                  <a:pt x="1512" y="738"/>
                  <a:pt x="1512" y="738"/>
                </a:cubicBezTo>
                <a:cubicBezTo>
                  <a:pt x="1512" y="738"/>
                  <a:pt x="1512" y="738"/>
                  <a:pt x="1512" y="738"/>
                </a:cubicBezTo>
                <a:cubicBezTo>
                  <a:pt x="1512" y="738"/>
                  <a:pt x="1512" y="738"/>
                  <a:pt x="1512" y="737"/>
                </a:cubicBezTo>
                <a:cubicBezTo>
                  <a:pt x="1512" y="737"/>
                  <a:pt x="1511" y="737"/>
                  <a:pt x="1511" y="737"/>
                </a:cubicBezTo>
                <a:cubicBezTo>
                  <a:pt x="1512" y="737"/>
                  <a:pt x="1512" y="737"/>
                  <a:pt x="1512" y="737"/>
                </a:cubicBezTo>
                <a:cubicBezTo>
                  <a:pt x="1512" y="737"/>
                  <a:pt x="1513" y="738"/>
                  <a:pt x="1513" y="738"/>
                </a:cubicBezTo>
                <a:cubicBezTo>
                  <a:pt x="1514" y="738"/>
                  <a:pt x="1514" y="738"/>
                  <a:pt x="1515" y="738"/>
                </a:cubicBezTo>
                <a:cubicBezTo>
                  <a:pt x="1516" y="738"/>
                  <a:pt x="1517" y="738"/>
                  <a:pt x="1518" y="739"/>
                </a:cubicBezTo>
                <a:cubicBezTo>
                  <a:pt x="1519" y="739"/>
                  <a:pt x="1520" y="740"/>
                  <a:pt x="1520" y="740"/>
                </a:cubicBezTo>
                <a:cubicBezTo>
                  <a:pt x="1521" y="740"/>
                  <a:pt x="1521" y="740"/>
                  <a:pt x="1522" y="740"/>
                </a:cubicBezTo>
                <a:cubicBezTo>
                  <a:pt x="1522" y="740"/>
                  <a:pt x="1522" y="740"/>
                  <a:pt x="1522" y="740"/>
                </a:cubicBezTo>
                <a:cubicBezTo>
                  <a:pt x="1522" y="740"/>
                  <a:pt x="1522" y="740"/>
                  <a:pt x="1523" y="740"/>
                </a:cubicBezTo>
                <a:cubicBezTo>
                  <a:pt x="1523" y="740"/>
                  <a:pt x="1523" y="740"/>
                  <a:pt x="1524" y="740"/>
                </a:cubicBezTo>
                <a:cubicBezTo>
                  <a:pt x="1524" y="740"/>
                  <a:pt x="1524" y="739"/>
                  <a:pt x="1525" y="739"/>
                </a:cubicBezTo>
                <a:cubicBezTo>
                  <a:pt x="1525" y="738"/>
                  <a:pt x="1525" y="738"/>
                  <a:pt x="1525" y="737"/>
                </a:cubicBezTo>
                <a:cubicBezTo>
                  <a:pt x="1525" y="737"/>
                  <a:pt x="1525" y="737"/>
                  <a:pt x="1526" y="737"/>
                </a:cubicBezTo>
                <a:cubicBezTo>
                  <a:pt x="1526" y="737"/>
                  <a:pt x="1527" y="736"/>
                  <a:pt x="1527" y="736"/>
                </a:cubicBezTo>
                <a:cubicBezTo>
                  <a:pt x="1528" y="736"/>
                  <a:pt x="1528" y="735"/>
                  <a:pt x="1528" y="734"/>
                </a:cubicBezTo>
                <a:cubicBezTo>
                  <a:pt x="1529" y="734"/>
                  <a:pt x="1529" y="734"/>
                  <a:pt x="1529" y="734"/>
                </a:cubicBezTo>
                <a:cubicBezTo>
                  <a:pt x="1530" y="733"/>
                  <a:pt x="1530" y="733"/>
                  <a:pt x="1530" y="733"/>
                </a:cubicBezTo>
                <a:cubicBezTo>
                  <a:pt x="1531" y="733"/>
                  <a:pt x="1531" y="733"/>
                  <a:pt x="1531" y="733"/>
                </a:cubicBezTo>
                <a:cubicBezTo>
                  <a:pt x="1531" y="732"/>
                  <a:pt x="1531" y="732"/>
                  <a:pt x="1531" y="732"/>
                </a:cubicBezTo>
                <a:cubicBezTo>
                  <a:pt x="1533" y="731"/>
                  <a:pt x="1534" y="731"/>
                  <a:pt x="1535" y="730"/>
                </a:cubicBezTo>
                <a:cubicBezTo>
                  <a:pt x="1535" y="730"/>
                  <a:pt x="1536" y="731"/>
                  <a:pt x="1536" y="731"/>
                </a:cubicBezTo>
                <a:cubicBezTo>
                  <a:pt x="1536" y="730"/>
                  <a:pt x="1537" y="730"/>
                  <a:pt x="1537" y="729"/>
                </a:cubicBezTo>
                <a:cubicBezTo>
                  <a:pt x="1537" y="729"/>
                  <a:pt x="1538" y="729"/>
                  <a:pt x="1538" y="729"/>
                </a:cubicBezTo>
                <a:cubicBezTo>
                  <a:pt x="1539" y="728"/>
                  <a:pt x="1539" y="728"/>
                  <a:pt x="1540" y="728"/>
                </a:cubicBezTo>
                <a:cubicBezTo>
                  <a:pt x="1540" y="727"/>
                  <a:pt x="1541" y="727"/>
                  <a:pt x="1541" y="727"/>
                </a:cubicBezTo>
                <a:cubicBezTo>
                  <a:pt x="1541" y="727"/>
                  <a:pt x="1541" y="727"/>
                  <a:pt x="1541" y="726"/>
                </a:cubicBezTo>
                <a:close/>
                <a:moveTo>
                  <a:pt x="1503" y="735"/>
                </a:moveTo>
                <a:cubicBezTo>
                  <a:pt x="1503" y="735"/>
                  <a:pt x="1502" y="735"/>
                  <a:pt x="1502" y="735"/>
                </a:cubicBezTo>
                <a:cubicBezTo>
                  <a:pt x="1502" y="735"/>
                  <a:pt x="1502" y="735"/>
                  <a:pt x="1503" y="735"/>
                </a:cubicBezTo>
                <a:cubicBezTo>
                  <a:pt x="1503" y="735"/>
                  <a:pt x="1503" y="735"/>
                  <a:pt x="1503" y="735"/>
                </a:cubicBezTo>
                <a:cubicBezTo>
                  <a:pt x="1503" y="735"/>
                  <a:pt x="1503" y="735"/>
                  <a:pt x="1503" y="735"/>
                </a:cubicBezTo>
                <a:close/>
                <a:moveTo>
                  <a:pt x="1505" y="748"/>
                </a:moveTo>
                <a:cubicBezTo>
                  <a:pt x="1504" y="748"/>
                  <a:pt x="1504" y="748"/>
                  <a:pt x="1504" y="748"/>
                </a:cubicBezTo>
                <a:cubicBezTo>
                  <a:pt x="1504" y="749"/>
                  <a:pt x="1504" y="749"/>
                  <a:pt x="1504" y="749"/>
                </a:cubicBezTo>
                <a:cubicBezTo>
                  <a:pt x="1505" y="749"/>
                  <a:pt x="1505" y="749"/>
                  <a:pt x="1505" y="749"/>
                </a:cubicBezTo>
                <a:cubicBezTo>
                  <a:pt x="1505" y="750"/>
                  <a:pt x="1506" y="750"/>
                  <a:pt x="1506" y="750"/>
                </a:cubicBezTo>
                <a:cubicBezTo>
                  <a:pt x="1506" y="750"/>
                  <a:pt x="1506" y="750"/>
                  <a:pt x="1506" y="750"/>
                </a:cubicBezTo>
                <a:cubicBezTo>
                  <a:pt x="1506" y="749"/>
                  <a:pt x="1506" y="749"/>
                  <a:pt x="1506" y="749"/>
                </a:cubicBezTo>
                <a:cubicBezTo>
                  <a:pt x="1505" y="748"/>
                  <a:pt x="1505" y="748"/>
                  <a:pt x="1505" y="748"/>
                </a:cubicBezTo>
                <a:close/>
                <a:moveTo>
                  <a:pt x="1540" y="613"/>
                </a:moveTo>
                <a:cubicBezTo>
                  <a:pt x="1540" y="613"/>
                  <a:pt x="1540" y="613"/>
                  <a:pt x="1541" y="613"/>
                </a:cubicBezTo>
                <a:cubicBezTo>
                  <a:pt x="1541" y="613"/>
                  <a:pt x="1541" y="612"/>
                  <a:pt x="1541" y="612"/>
                </a:cubicBezTo>
                <a:cubicBezTo>
                  <a:pt x="1540" y="612"/>
                  <a:pt x="1540" y="612"/>
                  <a:pt x="1539" y="613"/>
                </a:cubicBezTo>
                <a:cubicBezTo>
                  <a:pt x="1539" y="613"/>
                  <a:pt x="1539" y="613"/>
                  <a:pt x="1539" y="613"/>
                </a:cubicBezTo>
                <a:cubicBezTo>
                  <a:pt x="1539" y="613"/>
                  <a:pt x="1539" y="613"/>
                  <a:pt x="1539" y="613"/>
                </a:cubicBezTo>
                <a:cubicBezTo>
                  <a:pt x="1539" y="613"/>
                  <a:pt x="1540" y="613"/>
                  <a:pt x="1540" y="613"/>
                </a:cubicBezTo>
                <a:close/>
                <a:moveTo>
                  <a:pt x="1540" y="640"/>
                </a:moveTo>
                <a:cubicBezTo>
                  <a:pt x="1541" y="640"/>
                  <a:pt x="1541" y="640"/>
                  <a:pt x="1541" y="640"/>
                </a:cubicBezTo>
                <a:cubicBezTo>
                  <a:pt x="1541" y="639"/>
                  <a:pt x="1541" y="639"/>
                  <a:pt x="1541" y="639"/>
                </a:cubicBezTo>
                <a:cubicBezTo>
                  <a:pt x="1541" y="639"/>
                  <a:pt x="1541" y="639"/>
                  <a:pt x="1540" y="639"/>
                </a:cubicBezTo>
                <a:cubicBezTo>
                  <a:pt x="1540" y="639"/>
                  <a:pt x="1540" y="639"/>
                  <a:pt x="1540" y="640"/>
                </a:cubicBezTo>
                <a:close/>
                <a:moveTo>
                  <a:pt x="1538" y="613"/>
                </a:moveTo>
                <a:cubicBezTo>
                  <a:pt x="1538" y="613"/>
                  <a:pt x="1538" y="613"/>
                  <a:pt x="1538" y="613"/>
                </a:cubicBezTo>
                <a:cubicBezTo>
                  <a:pt x="1538" y="613"/>
                  <a:pt x="1538" y="613"/>
                  <a:pt x="1538" y="614"/>
                </a:cubicBezTo>
                <a:cubicBezTo>
                  <a:pt x="1538" y="613"/>
                  <a:pt x="1538" y="613"/>
                  <a:pt x="1538" y="613"/>
                </a:cubicBezTo>
                <a:close/>
                <a:moveTo>
                  <a:pt x="1533" y="630"/>
                </a:moveTo>
                <a:cubicBezTo>
                  <a:pt x="1533" y="630"/>
                  <a:pt x="1533" y="630"/>
                  <a:pt x="1533" y="630"/>
                </a:cubicBezTo>
                <a:cubicBezTo>
                  <a:pt x="1533" y="630"/>
                  <a:pt x="1533" y="630"/>
                  <a:pt x="1533" y="629"/>
                </a:cubicBezTo>
                <a:cubicBezTo>
                  <a:pt x="1533" y="629"/>
                  <a:pt x="1533" y="630"/>
                  <a:pt x="1532" y="630"/>
                </a:cubicBezTo>
                <a:cubicBezTo>
                  <a:pt x="1532" y="630"/>
                  <a:pt x="1533" y="630"/>
                  <a:pt x="1533" y="630"/>
                </a:cubicBezTo>
                <a:close/>
                <a:moveTo>
                  <a:pt x="1543" y="638"/>
                </a:moveTo>
                <a:cubicBezTo>
                  <a:pt x="1543" y="638"/>
                  <a:pt x="1543" y="638"/>
                  <a:pt x="1543" y="638"/>
                </a:cubicBezTo>
                <a:cubicBezTo>
                  <a:pt x="1542" y="637"/>
                  <a:pt x="1542" y="637"/>
                  <a:pt x="1542" y="637"/>
                </a:cubicBezTo>
                <a:cubicBezTo>
                  <a:pt x="1541" y="637"/>
                  <a:pt x="1541" y="637"/>
                  <a:pt x="1540" y="637"/>
                </a:cubicBezTo>
                <a:cubicBezTo>
                  <a:pt x="1540" y="637"/>
                  <a:pt x="1540" y="637"/>
                  <a:pt x="1540" y="637"/>
                </a:cubicBezTo>
                <a:cubicBezTo>
                  <a:pt x="1540" y="637"/>
                  <a:pt x="1540" y="638"/>
                  <a:pt x="1540" y="638"/>
                </a:cubicBezTo>
                <a:cubicBezTo>
                  <a:pt x="1540" y="638"/>
                  <a:pt x="1541" y="638"/>
                  <a:pt x="1541" y="638"/>
                </a:cubicBezTo>
                <a:cubicBezTo>
                  <a:pt x="1541" y="638"/>
                  <a:pt x="1541" y="638"/>
                  <a:pt x="1542" y="637"/>
                </a:cubicBezTo>
                <a:cubicBezTo>
                  <a:pt x="1542" y="638"/>
                  <a:pt x="1542" y="638"/>
                  <a:pt x="1543" y="638"/>
                </a:cubicBezTo>
                <a:close/>
                <a:moveTo>
                  <a:pt x="1492" y="742"/>
                </a:moveTo>
                <a:cubicBezTo>
                  <a:pt x="1492" y="742"/>
                  <a:pt x="1492" y="742"/>
                  <a:pt x="1492" y="742"/>
                </a:cubicBezTo>
                <a:cubicBezTo>
                  <a:pt x="1491" y="742"/>
                  <a:pt x="1491" y="743"/>
                  <a:pt x="1491" y="743"/>
                </a:cubicBezTo>
                <a:cubicBezTo>
                  <a:pt x="1491" y="743"/>
                  <a:pt x="1491" y="743"/>
                  <a:pt x="1492" y="743"/>
                </a:cubicBezTo>
                <a:cubicBezTo>
                  <a:pt x="1492" y="743"/>
                  <a:pt x="1492" y="743"/>
                  <a:pt x="1492" y="743"/>
                </a:cubicBezTo>
                <a:cubicBezTo>
                  <a:pt x="1492" y="743"/>
                  <a:pt x="1492" y="742"/>
                  <a:pt x="1492" y="742"/>
                </a:cubicBezTo>
                <a:close/>
                <a:moveTo>
                  <a:pt x="1537" y="613"/>
                </a:moveTo>
                <a:cubicBezTo>
                  <a:pt x="1537" y="613"/>
                  <a:pt x="1537" y="613"/>
                  <a:pt x="1537" y="613"/>
                </a:cubicBezTo>
                <a:cubicBezTo>
                  <a:pt x="1537" y="613"/>
                  <a:pt x="1537" y="613"/>
                  <a:pt x="1537" y="613"/>
                </a:cubicBezTo>
                <a:cubicBezTo>
                  <a:pt x="1537" y="613"/>
                  <a:pt x="1537" y="613"/>
                  <a:pt x="1537" y="613"/>
                </a:cubicBezTo>
                <a:close/>
                <a:moveTo>
                  <a:pt x="1493" y="744"/>
                </a:moveTo>
                <a:cubicBezTo>
                  <a:pt x="1492" y="744"/>
                  <a:pt x="1492" y="744"/>
                  <a:pt x="1492" y="744"/>
                </a:cubicBezTo>
                <a:cubicBezTo>
                  <a:pt x="1492" y="744"/>
                  <a:pt x="1492" y="744"/>
                  <a:pt x="1492" y="744"/>
                </a:cubicBezTo>
                <a:cubicBezTo>
                  <a:pt x="1492" y="744"/>
                  <a:pt x="1492" y="744"/>
                  <a:pt x="1492" y="744"/>
                </a:cubicBezTo>
                <a:cubicBezTo>
                  <a:pt x="1492" y="744"/>
                  <a:pt x="1492" y="744"/>
                  <a:pt x="1492" y="745"/>
                </a:cubicBezTo>
                <a:cubicBezTo>
                  <a:pt x="1492" y="745"/>
                  <a:pt x="1492" y="744"/>
                  <a:pt x="1493" y="744"/>
                </a:cubicBezTo>
                <a:close/>
                <a:moveTo>
                  <a:pt x="1565" y="621"/>
                </a:moveTo>
                <a:cubicBezTo>
                  <a:pt x="1565" y="621"/>
                  <a:pt x="1565" y="621"/>
                  <a:pt x="1566" y="621"/>
                </a:cubicBezTo>
                <a:cubicBezTo>
                  <a:pt x="1566" y="622"/>
                  <a:pt x="1566" y="622"/>
                  <a:pt x="1566" y="622"/>
                </a:cubicBezTo>
                <a:cubicBezTo>
                  <a:pt x="1566" y="621"/>
                  <a:pt x="1566" y="621"/>
                  <a:pt x="1566" y="621"/>
                </a:cubicBezTo>
                <a:cubicBezTo>
                  <a:pt x="1566" y="621"/>
                  <a:pt x="1566" y="621"/>
                  <a:pt x="1565" y="621"/>
                </a:cubicBezTo>
                <a:cubicBezTo>
                  <a:pt x="1565" y="621"/>
                  <a:pt x="1565" y="621"/>
                  <a:pt x="1565" y="621"/>
                </a:cubicBezTo>
                <a:close/>
                <a:moveTo>
                  <a:pt x="1505" y="739"/>
                </a:moveTo>
                <a:cubicBezTo>
                  <a:pt x="1505" y="739"/>
                  <a:pt x="1505" y="739"/>
                  <a:pt x="1506" y="739"/>
                </a:cubicBezTo>
                <a:cubicBezTo>
                  <a:pt x="1506" y="739"/>
                  <a:pt x="1506" y="739"/>
                  <a:pt x="1506" y="739"/>
                </a:cubicBezTo>
                <a:cubicBezTo>
                  <a:pt x="1506" y="739"/>
                  <a:pt x="1505" y="739"/>
                  <a:pt x="1505" y="739"/>
                </a:cubicBezTo>
                <a:close/>
                <a:moveTo>
                  <a:pt x="1493" y="743"/>
                </a:moveTo>
                <a:cubicBezTo>
                  <a:pt x="1493" y="743"/>
                  <a:pt x="1493" y="743"/>
                  <a:pt x="1493" y="743"/>
                </a:cubicBezTo>
                <a:cubicBezTo>
                  <a:pt x="1492" y="743"/>
                  <a:pt x="1492" y="743"/>
                  <a:pt x="1492" y="743"/>
                </a:cubicBezTo>
                <a:cubicBezTo>
                  <a:pt x="1492" y="743"/>
                  <a:pt x="1493" y="743"/>
                  <a:pt x="1493" y="743"/>
                </a:cubicBezTo>
                <a:cubicBezTo>
                  <a:pt x="1493" y="743"/>
                  <a:pt x="1493" y="743"/>
                  <a:pt x="1493" y="743"/>
                </a:cubicBezTo>
                <a:close/>
                <a:moveTo>
                  <a:pt x="1502" y="750"/>
                </a:moveTo>
                <a:cubicBezTo>
                  <a:pt x="1502" y="750"/>
                  <a:pt x="1502" y="751"/>
                  <a:pt x="1502" y="751"/>
                </a:cubicBezTo>
                <a:cubicBezTo>
                  <a:pt x="1502" y="751"/>
                  <a:pt x="1502" y="751"/>
                  <a:pt x="1501" y="751"/>
                </a:cubicBezTo>
                <a:cubicBezTo>
                  <a:pt x="1501" y="750"/>
                  <a:pt x="1501" y="750"/>
                  <a:pt x="1501" y="750"/>
                </a:cubicBezTo>
                <a:cubicBezTo>
                  <a:pt x="1501" y="750"/>
                  <a:pt x="1501" y="750"/>
                  <a:pt x="1500" y="750"/>
                </a:cubicBezTo>
                <a:cubicBezTo>
                  <a:pt x="1500" y="750"/>
                  <a:pt x="1500" y="751"/>
                  <a:pt x="1500" y="751"/>
                </a:cubicBezTo>
                <a:cubicBezTo>
                  <a:pt x="1499" y="750"/>
                  <a:pt x="1498" y="750"/>
                  <a:pt x="1497" y="749"/>
                </a:cubicBezTo>
                <a:cubicBezTo>
                  <a:pt x="1497" y="749"/>
                  <a:pt x="1497" y="749"/>
                  <a:pt x="1497" y="749"/>
                </a:cubicBezTo>
                <a:cubicBezTo>
                  <a:pt x="1497" y="750"/>
                  <a:pt x="1497" y="750"/>
                  <a:pt x="1497" y="750"/>
                </a:cubicBezTo>
                <a:cubicBezTo>
                  <a:pt x="1496" y="750"/>
                  <a:pt x="1496" y="750"/>
                  <a:pt x="1496" y="749"/>
                </a:cubicBezTo>
                <a:cubicBezTo>
                  <a:pt x="1496" y="749"/>
                  <a:pt x="1496" y="749"/>
                  <a:pt x="1495" y="749"/>
                </a:cubicBezTo>
                <a:cubicBezTo>
                  <a:pt x="1495" y="749"/>
                  <a:pt x="1495" y="749"/>
                  <a:pt x="1495" y="749"/>
                </a:cubicBezTo>
                <a:cubicBezTo>
                  <a:pt x="1495" y="749"/>
                  <a:pt x="1494" y="749"/>
                  <a:pt x="1494" y="748"/>
                </a:cubicBezTo>
                <a:cubicBezTo>
                  <a:pt x="1494" y="748"/>
                  <a:pt x="1494" y="748"/>
                  <a:pt x="1494" y="747"/>
                </a:cubicBezTo>
                <a:cubicBezTo>
                  <a:pt x="1493" y="747"/>
                  <a:pt x="1493" y="746"/>
                  <a:pt x="1492" y="746"/>
                </a:cubicBezTo>
                <a:cubicBezTo>
                  <a:pt x="1493" y="746"/>
                  <a:pt x="1493" y="745"/>
                  <a:pt x="1493" y="745"/>
                </a:cubicBezTo>
                <a:cubicBezTo>
                  <a:pt x="1493" y="745"/>
                  <a:pt x="1493" y="745"/>
                  <a:pt x="1492" y="745"/>
                </a:cubicBezTo>
                <a:cubicBezTo>
                  <a:pt x="1492" y="745"/>
                  <a:pt x="1492" y="745"/>
                  <a:pt x="1492" y="745"/>
                </a:cubicBezTo>
                <a:cubicBezTo>
                  <a:pt x="1492" y="745"/>
                  <a:pt x="1492" y="745"/>
                  <a:pt x="1492" y="745"/>
                </a:cubicBezTo>
                <a:cubicBezTo>
                  <a:pt x="1492" y="745"/>
                  <a:pt x="1491" y="744"/>
                  <a:pt x="1491" y="744"/>
                </a:cubicBezTo>
                <a:cubicBezTo>
                  <a:pt x="1491" y="744"/>
                  <a:pt x="1491" y="744"/>
                  <a:pt x="1491" y="743"/>
                </a:cubicBezTo>
                <a:cubicBezTo>
                  <a:pt x="1490" y="743"/>
                  <a:pt x="1490" y="743"/>
                  <a:pt x="1490" y="744"/>
                </a:cubicBezTo>
                <a:cubicBezTo>
                  <a:pt x="1490" y="744"/>
                  <a:pt x="1490" y="744"/>
                  <a:pt x="1490" y="744"/>
                </a:cubicBezTo>
                <a:cubicBezTo>
                  <a:pt x="1490" y="744"/>
                  <a:pt x="1490" y="744"/>
                  <a:pt x="1489" y="744"/>
                </a:cubicBezTo>
                <a:cubicBezTo>
                  <a:pt x="1489" y="745"/>
                  <a:pt x="1489" y="745"/>
                  <a:pt x="1489" y="745"/>
                </a:cubicBezTo>
                <a:cubicBezTo>
                  <a:pt x="1489" y="746"/>
                  <a:pt x="1489" y="746"/>
                  <a:pt x="1489" y="746"/>
                </a:cubicBezTo>
                <a:cubicBezTo>
                  <a:pt x="1489" y="747"/>
                  <a:pt x="1488" y="747"/>
                  <a:pt x="1488" y="747"/>
                </a:cubicBezTo>
                <a:cubicBezTo>
                  <a:pt x="1488" y="748"/>
                  <a:pt x="1488" y="748"/>
                  <a:pt x="1488" y="749"/>
                </a:cubicBezTo>
                <a:cubicBezTo>
                  <a:pt x="1487" y="749"/>
                  <a:pt x="1487" y="750"/>
                  <a:pt x="1487" y="750"/>
                </a:cubicBezTo>
                <a:cubicBezTo>
                  <a:pt x="1487" y="750"/>
                  <a:pt x="1487" y="751"/>
                  <a:pt x="1487" y="751"/>
                </a:cubicBezTo>
                <a:cubicBezTo>
                  <a:pt x="1487" y="751"/>
                  <a:pt x="1487" y="751"/>
                  <a:pt x="1487" y="751"/>
                </a:cubicBezTo>
                <a:cubicBezTo>
                  <a:pt x="1487" y="751"/>
                  <a:pt x="1487" y="752"/>
                  <a:pt x="1487" y="752"/>
                </a:cubicBezTo>
                <a:cubicBezTo>
                  <a:pt x="1487" y="752"/>
                  <a:pt x="1487" y="752"/>
                  <a:pt x="1487" y="753"/>
                </a:cubicBezTo>
                <a:cubicBezTo>
                  <a:pt x="1487" y="753"/>
                  <a:pt x="1487" y="752"/>
                  <a:pt x="1486" y="752"/>
                </a:cubicBezTo>
                <a:cubicBezTo>
                  <a:pt x="1486" y="752"/>
                  <a:pt x="1486" y="752"/>
                  <a:pt x="1486" y="751"/>
                </a:cubicBezTo>
                <a:cubicBezTo>
                  <a:pt x="1486" y="752"/>
                  <a:pt x="1486" y="752"/>
                  <a:pt x="1485" y="752"/>
                </a:cubicBezTo>
                <a:cubicBezTo>
                  <a:pt x="1485" y="752"/>
                  <a:pt x="1485" y="753"/>
                  <a:pt x="1485" y="753"/>
                </a:cubicBezTo>
                <a:cubicBezTo>
                  <a:pt x="1485" y="753"/>
                  <a:pt x="1485" y="753"/>
                  <a:pt x="1485" y="754"/>
                </a:cubicBezTo>
                <a:cubicBezTo>
                  <a:pt x="1485" y="754"/>
                  <a:pt x="1485" y="754"/>
                  <a:pt x="1485" y="754"/>
                </a:cubicBezTo>
                <a:cubicBezTo>
                  <a:pt x="1485" y="755"/>
                  <a:pt x="1484" y="755"/>
                  <a:pt x="1484" y="756"/>
                </a:cubicBezTo>
                <a:cubicBezTo>
                  <a:pt x="1484" y="756"/>
                  <a:pt x="1484" y="756"/>
                  <a:pt x="1484" y="756"/>
                </a:cubicBezTo>
                <a:cubicBezTo>
                  <a:pt x="1484" y="756"/>
                  <a:pt x="1484" y="756"/>
                  <a:pt x="1484" y="757"/>
                </a:cubicBezTo>
                <a:cubicBezTo>
                  <a:pt x="1484" y="757"/>
                  <a:pt x="1484" y="757"/>
                  <a:pt x="1484" y="758"/>
                </a:cubicBezTo>
                <a:cubicBezTo>
                  <a:pt x="1484" y="758"/>
                  <a:pt x="1484" y="758"/>
                  <a:pt x="1484" y="758"/>
                </a:cubicBezTo>
                <a:cubicBezTo>
                  <a:pt x="1484" y="758"/>
                  <a:pt x="1484" y="758"/>
                  <a:pt x="1484" y="758"/>
                </a:cubicBezTo>
                <a:cubicBezTo>
                  <a:pt x="1484" y="759"/>
                  <a:pt x="1484" y="759"/>
                  <a:pt x="1484" y="759"/>
                </a:cubicBezTo>
                <a:cubicBezTo>
                  <a:pt x="1484" y="759"/>
                  <a:pt x="1484" y="759"/>
                  <a:pt x="1484" y="759"/>
                </a:cubicBezTo>
                <a:cubicBezTo>
                  <a:pt x="1484" y="759"/>
                  <a:pt x="1484" y="759"/>
                  <a:pt x="1485" y="759"/>
                </a:cubicBezTo>
                <a:cubicBezTo>
                  <a:pt x="1485" y="760"/>
                  <a:pt x="1485" y="760"/>
                  <a:pt x="1485" y="760"/>
                </a:cubicBezTo>
                <a:cubicBezTo>
                  <a:pt x="1485" y="760"/>
                  <a:pt x="1486" y="760"/>
                  <a:pt x="1486" y="760"/>
                </a:cubicBezTo>
                <a:cubicBezTo>
                  <a:pt x="1486" y="760"/>
                  <a:pt x="1486" y="760"/>
                  <a:pt x="1486" y="760"/>
                </a:cubicBezTo>
                <a:cubicBezTo>
                  <a:pt x="1486" y="760"/>
                  <a:pt x="1486" y="761"/>
                  <a:pt x="1486" y="761"/>
                </a:cubicBezTo>
                <a:cubicBezTo>
                  <a:pt x="1486" y="761"/>
                  <a:pt x="1486" y="761"/>
                  <a:pt x="1486" y="761"/>
                </a:cubicBezTo>
                <a:cubicBezTo>
                  <a:pt x="1487" y="761"/>
                  <a:pt x="1487" y="761"/>
                  <a:pt x="1488" y="761"/>
                </a:cubicBezTo>
                <a:cubicBezTo>
                  <a:pt x="1488" y="760"/>
                  <a:pt x="1488" y="760"/>
                  <a:pt x="1488" y="760"/>
                </a:cubicBezTo>
                <a:cubicBezTo>
                  <a:pt x="1488" y="760"/>
                  <a:pt x="1488" y="759"/>
                  <a:pt x="1489" y="759"/>
                </a:cubicBezTo>
                <a:cubicBezTo>
                  <a:pt x="1489" y="759"/>
                  <a:pt x="1489" y="760"/>
                  <a:pt x="1489" y="760"/>
                </a:cubicBezTo>
                <a:cubicBezTo>
                  <a:pt x="1489" y="760"/>
                  <a:pt x="1489" y="760"/>
                  <a:pt x="1489" y="759"/>
                </a:cubicBezTo>
                <a:cubicBezTo>
                  <a:pt x="1490" y="759"/>
                  <a:pt x="1490" y="759"/>
                  <a:pt x="1490" y="759"/>
                </a:cubicBezTo>
                <a:cubicBezTo>
                  <a:pt x="1491" y="759"/>
                  <a:pt x="1491" y="759"/>
                  <a:pt x="1491" y="759"/>
                </a:cubicBezTo>
                <a:cubicBezTo>
                  <a:pt x="1491" y="759"/>
                  <a:pt x="1491" y="759"/>
                  <a:pt x="1491" y="759"/>
                </a:cubicBezTo>
                <a:cubicBezTo>
                  <a:pt x="1491" y="760"/>
                  <a:pt x="1491" y="760"/>
                  <a:pt x="1491" y="760"/>
                </a:cubicBezTo>
                <a:cubicBezTo>
                  <a:pt x="1491" y="760"/>
                  <a:pt x="1492" y="759"/>
                  <a:pt x="1492" y="759"/>
                </a:cubicBezTo>
                <a:cubicBezTo>
                  <a:pt x="1492" y="759"/>
                  <a:pt x="1492" y="759"/>
                  <a:pt x="1493" y="760"/>
                </a:cubicBezTo>
                <a:cubicBezTo>
                  <a:pt x="1493" y="760"/>
                  <a:pt x="1493" y="760"/>
                  <a:pt x="1493" y="760"/>
                </a:cubicBezTo>
                <a:cubicBezTo>
                  <a:pt x="1493" y="760"/>
                  <a:pt x="1493" y="760"/>
                  <a:pt x="1492" y="761"/>
                </a:cubicBezTo>
                <a:cubicBezTo>
                  <a:pt x="1492" y="760"/>
                  <a:pt x="1492" y="760"/>
                  <a:pt x="1492" y="760"/>
                </a:cubicBezTo>
                <a:cubicBezTo>
                  <a:pt x="1492" y="760"/>
                  <a:pt x="1491" y="761"/>
                  <a:pt x="1491" y="761"/>
                </a:cubicBezTo>
                <a:cubicBezTo>
                  <a:pt x="1492" y="761"/>
                  <a:pt x="1492" y="761"/>
                  <a:pt x="1492" y="761"/>
                </a:cubicBezTo>
                <a:cubicBezTo>
                  <a:pt x="1492" y="761"/>
                  <a:pt x="1492" y="761"/>
                  <a:pt x="1492" y="761"/>
                </a:cubicBezTo>
                <a:cubicBezTo>
                  <a:pt x="1493" y="761"/>
                  <a:pt x="1493" y="761"/>
                  <a:pt x="1494" y="760"/>
                </a:cubicBezTo>
                <a:cubicBezTo>
                  <a:pt x="1494" y="760"/>
                  <a:pt x="1494" y="760"/>
                  <a:pt x="1494" y="760"/>
                </a:cubicBezTo>
                <a:cubicBezTo>
                  <a:pt x="1494" y="760"/>
                  <a:pt x="1494" y="760"/>
                  <a:pt x="1494" y="759"/>
                </a:cubicBezTo>
                <a:cubicBezTo>
                  <a:pt x="1494" y="759"/>
                  <a:pt x="1494" y="759"/>
                  <a:pt x="1494" y="759"/>
                </a:cubicBezTo>
                <a:cubicBezTo>
                  <a:pt x="1495" y="759"/>
                  <a:pt x="1495" y="759"/>
                  <a:pt x="1495" y="758"/>
                </a:cubicBezTo>
                <a:cubicBezTo>
                  <a:pt x="1495" y="758"/>
                  <a:pt x="1495" y="758"/>
                  <a:pt x="1495" y="759"/>
                </a:cubicBezTo>
                <a:cubicBezTo>
                  <a:pt x="1496" y="758"/>
                  <a:pt x="1496" y="758"/>
                  <a:pt x="1496" y="758"/>
                </a:cubicBezTo>
                <a:cubicBezTo>
                  <a:pt x="1496" y="758"/>
                  <a:pt x="1496" y="757"/>
                  <a:pt x="1497" y="757"/>
                </a:cubicBezTo>
                <a:cubicBezTo>
                  <a:pt x="1497" y="757"/>
                  <a:pt x="1497" y="757"/>
                  <a:pt x="1497" y="757"/>
                </a:cubicBezTo>
                <a:cubicBezTo>
                  <a:pt x="1497" y="757"/>
                  <a:pt x="1498" y="757"/>
                  <a:pt x="1498" y="756"/>
                </a:cubicBezTo>
                <a:cubicBezTo>
                  <a:pt x="1498" y="757"/>
                  <a:pt x="1498" y="757"/>
                  <a:pt x="1498" y="757"/>
                </a:cubicBezTo>
                <a:cubicBezTo>
                  <a:pt x="1498" y="758"/>
                  <a:pt x="1498" y="758"/>
                  <a:pt x="1498" y="758"/>
                </a:cubicBezTo>
                <a:cubicBezTo>
                  <a:pt x="1498" y="758"/>
                  <a:pt x="1498" y="758"/>
                  <a:pt x="1498" y="757"/>
                </a:cubicBezTo>
                <a:cubicBezTo>
                  <a:pt x="1498" y="757"/>
                  <a:pt x="1499" y="757"/>
                  <a:pt x="1499" y="757"/>
                </a:cubicBezTo>
                <a:cubicBezTo>
                  <a:pt x="1499" y="757"/>
                  <a:pt x="1499" y="757"/>
                  <a:pt x="1499" y="757"/>
                </a:cubicBezTo>
                <a:cubicBezTo>
                  <a:pt x="1499" y="756"/>
                  <a:pt x="1499" y="756"/>
                  <a:pt x="1499" y="756"/>
                </a:cubicBezTo>
                <a:cubicBezTo>
                  <a:pt x="1499" y="756"/>
                  <a:pt x="1500" y="755"/>
                  <a:pt x="1500" y="755"/>
                </a:cubicBezTo>
                <a:cubicBezTo>
                  <a:pt x="1500" y="755"/>
                  <a:pt x="1500" y="754"/>
                  <a:pt x="1501" y="754"/>
                </a:cubicBezTo>
                <a:cubicBezTo>
                  <a:pt x="1501" y="754"/>
                  <a:pt x="1501" y="754"/>
                  <a:pt x="1502" y="754"/>
                </a:cubicBezTo>
                <a:cubicBezTo>
                  <a:pt x="1502" y="753"/>
                  <a:pt x="1502" y="752"/>
                  <a:pt x="1503" y="752"/>
                </a:cubicBezTo>
                <a:cubicBezTo>
                  <a:pt x="1503" y="752"/>
                  <a:pt x="1503" y="752"/>
                  <a:pt x="1503" y="751"/>
                </a:cubicBezTo>
                <a:cubicBezTo>
                  <a:pt x="1503" y="751"/>
                  <a:pt x="1503" y="751"/>
                  <a:pt x="1503" y="751"/>
                </a:cubicBezTo>
                <a:cubicBezTo>
                  <a:pt x="1503" y="750"/>
                  <a:pt x="1502" y="750"/>
                  <a:pt x="1502" y="750"/>
                </a:cubicBezTo>
                <a:close/>
                <a:moveTo>
                  <a:pt x="1489" y="760"/>
                </a:moveTo>
                <a:cubicBezTo>
                  <a:pt x="1489" y="760"/>
                  <a:pt x="1489" y="760"/>
                  <a:pt x="1489" y="761"/>
                </a:cubicBezTo>
                <a:cubicBezTo>
                  <a:pt x="1489" y="761"/>
                  <a:pt x="1488" y="761"/>
                  <a:pt x="1488" y="761"/>
                </a:cubicBezTo>
                <a:cubicBezTo>
                  <a:pt x="1488" y="761"/>
                  <a:pt x="1488" y="761"/>
                  <a:pt x="1489" y="762"/>
                </a:cubicBezTo>
                <a:cubicBezTo>
                  <a:pt x="1489" y="761"/>
                  <a:pt x="1489" y="761"/>
                  <a:pt x="1489" y="761"/>
                </a:cubicBezTo>
                <a:cubicBezTo>
                  <a:pt x="1489" y="761"/>
                  <a:pt x="1490" y="760"/>
                  <a:pt x="1490" y="760"/>
                </a:cubicBezTo>
                <a:cubicBezTo>
                  <a:pt x="1490" y="760"/>
                  <a:pt x="1490" y="760"/>
                  <a:pt x="1490" y="760"/>
                </a:cubicBezTo>
                <a:cubicBezTo>
                  <a:pt x="1490" y="760"/>
                  <a:pt x="1489" y="760"/>
                  <a:pt x="1489" y="760"/>
                </a:cubicBezTo>
                <a:close/>
                <a:moveTo>
                  <a:pt x="1493" y="737"/>
                </a:moveTo>
                <a:cubicBezTo>
                  <a:pt x="1493" y="737"/>
                  <a:pt x="1492" y="737"/>
                  <a:pt x="1492" y="737"/>
                </a:cubicBezTo>
                <a:cubicBezTo>
                  <a:pt x="1492" y="737"/>
                  <a:pt x="1492" y="737"/>
                  <a:pt x="1491" y="738"/>
                </a:cubicBezTo>
                <a:cubicBezTo>
                  <a:pt x="1491" y="738"/>
                  <a:pt x="1491" y="738"/>
                  <a:pt x="1491" y="738"/>
                </a:cubicBezTo>
                <a:cubicBezTo>
                  <a:pt x="1491" y="738"/>
                  <a:pt x="1491" y="738"/>
                  <a:pt x="1490" y="738"/>
                </a:cubicBezTo>
                <a:cubicBezTo>
                  <a:pt x="1490" y="739"/>
                  <a:pt x="1490" y="739"/>
                  <a:pt x="1490" y="739"/>
                </a:cubicBezTo>
                <a:cubicBezTo>
                  <a:pt x="1490" y="739"/>
                  <a:pt x="1490" y="739"/>
                  <a:pt x="1490" y="740"/>
                </a:cubicBezTo>
                <a:cubicBezTo>
                  <a:pt x="1490" y="740"/>
                  <a:pt x="1490" y="740"/>
                  <a:pt x="1491" y="740"/>
                </a:cubicBezTo>
                <a:cubicBezTo>
                  <a:pt x="1491" y="740"/>
                  <a:pt x="1491" y="740"/>
                  <a:pt x="1491" y="740"/>
                </a:cubicBezTo>
                <a:cubicBezTo>
                  <a:pt x="1491" y="740"/>
                  <a:pt x="1492" y="740"/>
                  <a:pt x="1492" y="740"/>
                </a:cubicBezTo>
                <a:cubicBezTo>
                  <a:pt x="1492" y="739"/>
                  <a:pt x="1492" y="739"/>
                  <a:pt x="1493" y="739"/>
                </a:cubicBezTo>
                <a:cubicBezTo>
                  <a:pt x="1493" y="739"/>
                  <a:pt x="1492" y="739"/>
                  <a:pt x="1492" y="738"/>
                </a:cubicBezTo>
                <a:cubicBezTo>
                  <a:pt x="1493" y="738"/>
                  <a:pt x="1493" y="738"/>
                  <a:pt x="1493" y="738"/>
                </a:cubicBezTo>
                <a:cubicBezTo>
                  <a:pt x="1493" y="737"/>
                  <a:pt x="1493" y="737"/>
                  <a:pt x="1493" y="737"/>
                </a:cubicBezTo>
                <a:close/>
                <a:moveTo>
                  <a:pt x="1495" y="759"/>
                </a:moveTo>
                <a:cubicBezTo>
                  <a:pt x="1495" y="759"/>
                  <a:pt x="1495" y="759"/>
                  <a:pt x="1495" y="759"/>
                </a:cubicBezTo>
                <a:cubicBezTo>
                  <a:pt x="1495" y="759"/>
                  <a:pt x="1495" y="759"/>
                  <a:pt x="1495" y="759"/>
                </a:cubicBezTo>
                <a:cubicBezTo>
                  <a:pt x="1495" y="759"/>
                  <a:pt x="1495" y="759"/>
                  <a:pt x="1495" y="759"/>
                </a:cubicBezTo>
                <a:close/>
                <a:moveTo>
                  <a:pt x="1575" y="679"/>
                </a:moveTo>
                <a:cubicBezTo>
                  <a:pt x="1575" y="679"/>
                  <a:pt x="1575" y="679"/>
                  <a:pt x="1575" y="679"/>
                </a:cubicBezTo>
                <a:cubicBezTo>
                  <a:pt x="1575" y="679"/>
                  <a:pt x="1575" y="679"/>
                  <a:pt x="1575" y="679"/>
                </a:cubicBezTo>
                <a:cubicBezTo>
                  <a:pt x="1575" y="679"/>
                  <a:pt x="1575" y="679"/>
                  <a:pt x="1575" y="679"/>
                </a:cubicBezTo>
                <a:close/>
                <a:moveTo>
                  <a:pt x="1536" y="613"/>
                </a:moveTo>
                <a:cubicBezTo>
                  <a:pt x="1535" y="613"/>
                  <a:pt x="1535" y="613"/>
                  <a:pt x="1535" y="613"/>
                </a:cubicBezTo>
                <a:cubicBezTo>
                  <a:pt x="1535" y="613"/>
                  <a:pt x="1535" y="613"/>
                  <a:pt x="1536" y="613"/>
                </a:cubicBezTo>
                <a:cubicBezTo>
                  <a:pt x="1536" y="613"/>
                  <a:pt x="1536" y="613"/>
                  <a:pt x="1536" y="613"/>
                </a:cubicBezTo>
                <a:close/>
                <a:moveTo>
                  <a:pt x="1576" y="698"/>
                </a:moveTo>
                <a:cubicBezTo>
                  <a:pt x="1576" y="698"/>
                  <a:pt x="1576" y="698"/>
                  <a:pt x="1577" y="698"/>
                </a:cubicBezTo>
                <a:cubicBezTo>
                  <a:pt x="1577" y="698"/>
                  <a:pt x="1577" y="698"/>
                  <a:pt x="1577" y="697"/>
                </a:cubicBezTo>
                <a:cubicBezTo>
                  <a:pt x="1577" y="697"/>
                  <a:pt x="1577" y="697"/>
                  <a:pt x="1578" y="696"/>
                </a:cubicBezTo>
                <a:cubicBezTo>
                  <a:pt x="1578" y="696"/>
                  <a:pt x="1578" y="696"/>
                  <a:pt x="1579" y="696"/>
                </a:cubicBezTo>
                <a:cubicBezTo>
                  <a:pt x="1579" y="695"/>
                  <a:pt x="1579" y="695"/>
                  <a:pt x="1580" y="695"/>
                </a:cubicBezTo>
                <a:cubicBezTo>
                  <a:pt x="1580" y="694"/>
                  <a:pt x="1580" y="694"/>
                  <a:pt x="1580" y="694"/>
                </a:cubicBezTo>
                <a:cubicBezTo>
                  <a:pt x="1580" y="694"/>
                  <a:pt x="1580" y="694"/>
                  <a:pt x="1579" y="694"/>
                </a:cubicBezTo>
                <a:cubicBezTo>
                  <a:pt x="1579" y="694"/>
                  <a:pt x="1579" y="694"/>
                  <a:pt x="1579" y="694"/>
                </a:cubicBezTo>
                <a:cubicBezTo>
                  <a:pt x="1579" y="694"/>
                  <a:pt x="1579" y="694"/>
                  <a:pt x="1579" y="695"/>
                </a:cubicBezTo>
                <a:cubicBezTo>
                  <a:pt x="1579" y="695"/>
                  <a:pt x="1578" y="695"/>
                  <a:pt x="1578" y="695"/>
                </a:cubicBezTo>
                <a:cubicBezTo>
                  <a:pt x="1578" y="695"/>
                  <a:pt x="1577" y="695"/>
                  <a:pt x="1577" y="695"/>
                </a:cubicBezTo>
                <a:cubicBezTo>
                  <a:pt x="1577" y="696"/>
                  <a:pt x="1577" y="696"/>
                  <a:pt x="1577" y="696"/>
                </a:cubicBezTo>
                <a:cubicBezTo>
                  <a:pt x="1577" y="696"/>
                  <a:pt x="1576" y="696"/>
                  <a:pt x="1576" y="697"/>
                </a:cubicBezTo>
                <a:cubicBezTo>
                  <a:pt x="1576" y="697"/>
                  <a:pt x="1576" y="697"/>
                  <a:pt x="1576" y="698"/>
                </a:cubicBezTo>
                <a:close/>
                <a:moveTo>
                  <a:pt x="1506" y="746"/>
                </a:moveTo>
                <a:cubicBezTo>
                  <a:pt x="1506" y="746"/>
                  <a:pt x="1506" y="746"/>
                  <a:pt x="1506" y="746"/>
                </a:cubicBezTo>
                <a:cubicBezTo>
                  <a:pt x="1505" y="746"/>
                  <a:pt x="1505" y="747"/>
                  <a:pt x="1505" y="747"/>
                </a:cubicBezTo>
                <a:cubicBezTo>
                  <a:pt x="1505" y="747"/>
                  <a:pt x="1505" y="747"/>
                  <a:pt x="1505" y="747"/>
                </a:cubicBezTo>
                <a:cubicBezTo>
                  <a:pt x="1505" y="748"/>
                  <a:pt x="1505" y="748"/>
                  <a:pt x="1505" y="748"/>
                </a:cubicBezTo>
                <a:cubicBezTo>
                  <a:pt x="1506" y="748"/>
                  <a:pt x="1506" y="748"/>
                  <a:pt x="1507" y="748"/>
                </a:cubicBezTo>
                <a:cubicBezTo>
                  <a:pt x="1507" y="748"/>
                  <a:pt x="1507" y="748"/>
                  <a:pt x="1507" y="747"/>
                </a:cubicBezTo>
                <a:cubicBezTo>
                  <a:pt x="1507" y="747"/>
                  <a:pt x="1507" y="746"/>
                  <a:pt x="1506" y="746"/>
                </a:cubicBezTo>
                <a:cubicBezTo>
                  <a:pt x="1506" y="746"/>
                  <a:pt x="1506" y="746"/>
                  <a:pt x="1506" y="746"/>
                </a:cubicBezTo>
                <a:close/>
                <a:moveTo>
                  <a:pt x="1535" y="614"/>
                </a:moveTo>
                <a:cubicBezTo>
                  <a:pt x="1535" y="614"/>
                  <a:pt x="1535" y="614"/>
                  <a:pt x="1535" y="613"/>
                </a:cubicBezTo>
                <a:cubicBezTo>
                  <a:pt x="1535" y="613"/>
                  <a:pt x="1535" y="613"/>
                  <a:pt x="1535" y="613"/>
                </a:cubicBezTo>
                <a:cubicBezTo>
                  <a:pt x="1534" y="613"/>
                  <a:pt x="1534" y="613"/>
                  <a:pt x="1534" y="613"/>
                </a:cubicBezTo>
                <a:cubicBezTo>
                  <a:pt x="1534" y="613"/>
                  <a:pt x="1533" y="614"/>
                  <a:pt x="1533" y="614"/>
                </a:cubicBezTo>
                <a:cubicBezTo>
                  <a:pt x="1534" y="614"/>
                  <a:pt x="1534" y="614"/>
                  <a:pt x="1534" y="613"/>
                </a:cubicBezTo>
                <a:cubicBezTo>
                  <a:pt x="1534" y="614"/>
                  <a:pt x="1535" y="614"/>
                  <a:pt x="1535" y="614"/>
                </a:cubicBezTo>
                <a:close/>
                <a:moveTo>
                  <a:pt x="1532" y="614"/>
                </a:moveTo>
                <a:cubicBezTo>
                  <a:pt x="1533" y="614"/>
                  <a:pt x="1533" y="614"/>
                  <a:pt x="1533" y="614"/>
                </a:cubicBezTo>
                <a:cubicBezTo>
                  <a:pt x="1533" y="614"/>
                  <a:pt x="1533" y="614"/>
                  <a:pt x="1533" y="614"/>
                </a:cubicBezTo>
                <a:cubicBezTo>
                  <a:pt x="1533" y="613"/>
                  <a:pt x="1532" y="613"/>
                  <a:pt x="1532" y="613"/>
                </a:cubicBezTo>
                <a:cubicBezTo>
                  <a:pt x="1532" y="613"/>
                  <a:pt x="1532" y="614"/>
                  <a:pt x="1532" y="614"/>
                </a:cubicBezTo>
                <a:close/>
                <a:moveTo>
                  <a:pt x="1522" y="605"/>
                </a:moveTo>
                <a:cubicBezTo>
                  <a:pt x="1522" y="606"/>
                  <a:pt x="1522" y="606"/>
                  <a:pt x="1522" y="606"/>
                </a:cubicBezTo>
                <a:cubicBezTo>
                  <a:pt x="1522" y="606"/>
                  <a:pt x="1522" y="606"/>
                  <a:pt x="1522" y="606"/>
                </a:cubicBezTo>
                <a:cubicBezTo>
                  <a:pt x="1522" y="605"/>
                  <a:pt x="1523" y="605"/>
                  <a:pt x="1523" y="605"/>
                </a:cubicBezTo>
                <a:cubicBezTo>
                  <a:pt x="1523" y="605"/>
                  <a:pt x="1522" y="605"/>
                  <a:pt x="1522" y="605"/>
                </a:cubicBezTo>
                <a:cubicBezTo>
                  <a:pt x="1522" y="605"/>
                  <a:pt x="1522" y="605"/>
                  <a:pt x="1522" y="605"/>
                </a:cubicBezTo>
                <a:close/>
                <a:moveTo>
                  <a:pt x="1572" y="706"/>
                </a:moveTo>
                <a:cubicBezTo>
                  <a:pt x="1572" y="705"/>
                  <a:pt x="1572" y="705"/>
                  <a:pt x="1573" y="705"/>
                </a:cubicBezTo>
                <a:cubicBezTo>
                  <a:pt x="1572" y="705"/>
                  <a:pt x="1572" y="706"/>
                  <a:pt x="1572" y="706"/>
                </a:cubicBezTo>
                <a:cubicBezTo>
                  <a:pt x="1572" y="706"/>
                  <a:pt x="1572" y="706"/>
                  <a:pt x="1572" y="706"/>
                </a:cubicBezTo>
                <a:close/>
                <a:moveTo>
                  <a:pt x="1575" y="685"/>
                </a:moveTo>
                <a:cubicBezTo>
                  <a:pt x="1574" y="685"/>
                  <a:pt x="1574" y="685"/>
                  <a:pt x="1574" y="685"/>
                </a:cubicBezTo>
                <a:cubicBezTo>
                  <a:pt x="1574" y="685"/>
                  <a:pt x="1574" y="685"/>
                  <a:pt x="1574" y="685"/>
                </a:cubicBezTo>
                <a:cubicBezTo>
                  <a:pt x="1574" y="685"/>
                  <a:pt x="1574" y="685"/>
                  <a:pt x="1574" y="686"/>
                </a:cubicBezTo>
                <a:cubicBezTo>
                  <a:pt x="1574" y="686"/>
                  <a:pt x="1574" y="686"/>
                  <a:pt x="1574" y="687"/>
                </a:cubicBezTo>
                <a:cubicBezTo>
                  <a:pt x="1575" y="686"/>
                  <a:pt x="1575" y="686"/>
                  <a:pt x="1575" y="686"/>
                </a:cubicBezTo>
                <a:cubicBezTo>
                  <a:pt x="1575" y="686"/>
                  <a:pt x="1575" y="686"/>
                  <a:pt x="1575" y="686"/>
                </a:cubicBezTo>
                <a:cubicBezTo>
                  <a:pt x="1575" y="686"/>
                  <a:pt x="1575" y="685"/>
                  <a:pt x="1575" y="685"/>
                </a:cubicBezTo>
                <a:cubicBezTo>
                  <a:pt x="1575" y="685"/>
                  <a:pt x="1575" y="685"/>
                  <a:pt x="1575" y="685"/>
                </a:cubicBezTo>
                <a:close/>
                <a:moveTo>
                  <a:pt x="1483" y="605"/>
                </a:moveTo>
                <a:cubicBezTo>
                  <a:pt x="1483" y="605"/>
                  <a:pt x="1483" y="605"/>
                  <a:pt x="1482" y="605"/>
                </a:cubicBezTo>
                <a:cubicBezTo>
                  <a:pt x="1482" y="605"/>
                  <a:pt x="1482" y="605"/>
                  <a:pt x="1482" y="605"/>
                </a:cubicBezTo>
                <a:cubicBezTo>
                  <a:pt x="1482" y="605"/>
                  <a:pt x="1482" y="605"/>
                  <a:pt x="1483" y="605"/>
                </a:cubicBezTo>
                <a:cubicBezTo>
                  <a:pt x="1483" y="605"/>
                  <a:pt x="1483" y="605"/>
                  <a:pt x="1483" y="605"/>
                </a:cubicBezTo>
                <a:close/>
                <a:moveTo>
                  <a:pt x="1504" y="750"/>
                </a:moveTo>
                <a:cubicBezTo>
                  <a:pt x="1504" y="750"/>
                  <a:pt x="1504" y="750"/>
                  <a:pt x="1505" y="750"/>
                </a:cubicBezTo>
                <a:cubicBezTo>
                  <a:pt x="1504" y="750"/>
                  <a:pt x="1504" y="750"/>
                  <a:pt x="1504" y="750"/>
                </a:cubicBezTo>
                <a:cubicBezTo>
                  <a:pt x="1504" y="750"/>
                  <a:pt x="1504" y="750"/>
                  <a:pt x="1504" y="750"/>
                </a:cubicBezTo>
                <a:close/>
                <a:moveTo>
                  <a:pt x="1567" y="619"/>
                </a:moveTo>
                <a:cubicBezTo>
                  <a:pt x="1567" y="619"/>
                  <a:pt x="1567" y="619"/>
                  <a:pt x="1567" y="619"/>
                </a:cubicBezTo>
                <a:cubicBezTo>
                  <a:pt x="1567" y="619"/>
                  <a:pt x="1567" y="620"/>
                  <a:pt x="1567" y="620"/>
                </a:cubicBezTo>
                <a:cubicBezTo>
                  <a:pt x="1567" y="620"/>
                  <a:pt x="1567" y="620"/>
                  <a:pt x="1567" y="619"/>
                </a:cubicBezTo>
                <a:close/>
                <a:moveTo>
                  <a:pt x="1566" y="658"/>
                </a:moveTo>
                <a:cubicBezTo>
                  <a:pt x="1567" y="658"/>
                  <a:pt x="1567" y="658"/>
                  <a:pt x="1567" y="657"/>
                </a:cubicBezTo>
                <a:cubicBezTo>
                  <a:pt x="1567" y="657"/>
                  <a:pt x="1567" y="657"/>
                  <a:pt x="1567" y="656"/>
                </a:cubicBezTo>
                <a:cubicBezTo>
                  <a:pt x="1567" y="656"/>
                  <a:pt x="1567" y="656"/>
                  <a:pt x="1567" y="656"/>
                </a:cubicBezTo>
                <a:cubicBezTo>
                  <a:pt x="1567" y="656"/>
                  <a:pt x="1567" y="656"/>
                  <a:pt x="1566" y="656"/>
                </a:cubicBezTo>
                <a:cubicBezTo>
                  <a:pt x="1566" y="656"/>
                  <a:pt x="1567" y="657"/>
                  <a:pt x="1567" y="657"/>
                </a:cubicBezTo>
                <a:cubicBezTo>
                  <a:pt x="1567" y="657"/>
                  <a:pt x="1566" y="657"/>
                  <a:pt x="1566" y="657"/>
                </a:cubicBezTo>
                <a:cubicBezTo>
                  <a:pt x="1566" y="658"/>
                  <a:pt x="1566" y="658"/>
                  <a:pt x="1566" y="658"/>
                </a:cubicBezTo>
                <a:close/>
                <a:moveTo>
                  <a:pt x="1534" y="622"/>
                </a:moveTo>
                <a:cubicBezTo>
                  <a:pt x="1534" y="621"/>
                  <a:pt x="1533" y="621"/>
                  <a:pt x="1533" y="621"/>
                </a:cubicBezTo>
                <a:cubicBezTo>
                  <a:pt x="1533" y="621"/>
                  <a:pt x="1533" y="621"/>
                  <a:pt x="1533" y="621"/>
                </a:cubicBezTo>
                <a:cubicBezTo>
                  <a:pt x="1533" y="621"/>
                  <a:pt x="1533" y="621"/>
                  <a:pt x="1533" y="622"/>
                </a:cubicBezTo>
                <a:cubicBezTo>
                  <a:pt x="1533" y="622"/>
                  <a:pt x="1533" y="622"/>
                  <a:pt x="1533" y="622"/>
                </a:cubicBezTo>
                <a:cubicBezTo>
                  <a:pt x="1533" y="622"/>
                  <a:pt x="1533" y="622"/>
                  <a:pt x="1533" y="622"/>
                </a:cubicBezTo>
                <a:cubicBezTo>
                  <a:pt x="1533" y="622"/>
                  <a:pt x="1533" y="622"/>
                  <a:pt x="1534" y="622"/>
                </a:cubicBezTo>
                <a:close/>
                <a:moveTo>
                  <a:pt x="1407" y="629"/>
                </a:moveTo>
                <a:cubicBezTo>
                  <a:pt x="1407" y="629"/>
                  <a:pt x="1407" y="629"/>
                  <a:pt x="1407" y="628"/>
                </a:cubicBezTo>
                <a:cubicBezTo>
                  <a:pt x="1407" y="628"/>
                  <a:pt x="1407" y="628"/>
                  <a:pt x="1407" y="627"/>
                </a:cubicBezTo>
                <a:cubicBezTo>
                  <a:pt x="1407" y="627"/>
                  <a:pt x="1407" y="628"/>
                  <a:pt x="1407" y="628"/>
                </a:cubicBezTo>
                <a:cubicBezTo>
                  <a:pt x="1407" y="628"/>
                  <a:pt x="1407" y="629"/>
                  <a:pt x="1407" y="629"/>
                </a:cubicBezTo>
                <a:close/>
                <a:moveTo>
                  <a:pt x="1427" y="613"/>
                </a:moveTo>
                <a:cubicBezTo>
                  <a:pt x="1427" y="613"/>
                  <a:pt x="1427" y="613"/>
                  <a:pt x="1428" y="612"/>
                </a:cubicBezTo>
                <a:cubicBezTo>
                  <a:pt x="1428" y="612"/>
                  <a:pt x="1428" y="612"/>
                  <a:pt x="1428" y="612"/>
                </a:cubicBezTo>
                <a:cubicBezTo>
                  <a:pt x="1428" y="612"/>
                  <a:pt x="1427" y="612"/>
                  <a:pt x="1427" y="612"/>
                </a:cubicBezTo>
                <a:cubicBezTo>
                  <a:pt x="1427" y="612"/>
                  <a:pt x="1427" y="613"/>
                  <a:pt x="1427" y="613"/>
                </a:cubicBezTo>
                <a:close/>
                <a:moveTo>
                  <a:pt x="1513" y="605"/>
                </a:moveTo>
                <a:cubicBezTo>
                  <a:pt x="1513" y="605"/>
                  <a:pt x="1514" y="605"/>
                  <a:pt x="1514" y="605"/>
                </a:cubicBezTo>
                <a:cubicBezTo>
                  <a:pt x="1515" y="605"/>
                  <a:pt x="1515" y="605"/>
                  <a:pt x="1516" y="605"/>
                </a:cubicBezTo>
                <a:cubicBezTo>
                  <a:pt x="1516" y="605"/>
                  <a:pt x="1516" y="605"/>
                  <a:pt x="1516" y="605"/>
                </a:cubicBezTo>
                <a:cubicBezTo>
                  <a:pt x="1516" y="605"/>
                  <a:pt x="1516" y="605"/>
                  <a:pt x="1516" y="605"/>
                </a:cubicBezTo>
                <a:cubicBezTo>
                  <a:pt x="1517" y="605"/>
                  <a:pt x="1517" y="605"/>
                  <a:pt x="1517" y="605"/>
                </a:cubicBezTo>
                <a:cubicBezTo>
                  <a:pt x="1517" y="604"/>
                  <a:pt x="1517" y="604"/>
                  <a:pt x="1517" y="604"/>
                </a:cubicBezTo>
                <a:cubicBezTo>
                  <a:pt x="1517" y="604"/>
                  <a:pt x="1517" y="604"/>
                  <a:pt x="1517" y="604"/>
                </a:cubicBezTo>
                <a:cubicBezTo>
                  <a:pt x="1517" y="604"/>
                  <a:pt x="1516" y="604"/>
                  <a:pt x="1516" y="604"/>
                </a:cubicBezTo>
                <a:cubicBezTo>
                  <a:pt x="1516" y="604"/>
                  <a:pt x="1516" y="604"/>
                  <a:pt x="1516" y="604"/>
                </a:cubicBezTo>
                <a:cubicBezTo>
                  <a:pt x="1515" y="603"/>
                  <a:pt x="1515" y="603"/>
                  <a:pt x="1514" y="603"/>
                </a:cubicBezTo>
                <a:cubicBezTo>
                  <a:pt x="1514" y="603"/>
                  <a:pt x="1514" y="603"/>
                  <a:pt x="1514" y="603"/>
                </a:cubicBezTo>
                <a:cubicBezTo>
                  <a:pt x="1514" y="603"/>
                  <a:pt x="1513" y="603"/>
                  <a:pt x="1513" y="603"/>
                </a:cubicBezTo>
                <a:cubicBezTo>
                  <a:pt x="1513" y="603"/>
                  <a:pt x="1513" y="603"/>
                  <a:pt x="1513" y="603"/>
                </a:cubicBezTo>
                <a:cubicBezTo>
                  <a:pt x="1513" y="603"/>
                  <a:pt x="1513" y="603"/>
                  <a:pt x="1513" y="602"/>
                </a:cubicBezTo>
                <a:cubicBezTo>
                  <a:pt x="1513" y="602"/>
                  <a:pt x="1513" y="602"/>
                  <a:pt x="1512" y="602"/>
                </a:cubicBezTo>
                <a:cubicBezTo>
                  <a:pt x="1512" y="602"/>
                  <a:pt x="1512" y="602"/>
                  <a:pt x="1512" y="602"/>
                </a:cubicBezTo>
                <a:cubicBezTo>
                  <a:pt x="1512" y="602"/>
                  <a:pt x="1512" y="602"/>
                  <a:pt x="1512" y="602"/>
                </a:cubicBezTo>
                <a:cubicBezTo>
                  <a:pt x="1512" y="602"/>
                  <a:pt x="1512" y="603"/>
                  <a:pt x="1512" y="603"/>
                </a:cubicBezTo>
                <a:cubicBezTo>
                  <a:pt x="1512" y="603"/>
                  <a:pt x="1512" y="603"/>
                  <a:pt x="1512" y="604"/>
                </a:cubicBezTo>
                <a:cubicBezTo>
                  <a:pt x="1513" y="604"/>
                  <a:pt x="1513" y="604"/>
                  <a:pt x="1513" y="605"/>
                </a:cubicBezTo>
                <a:close/>
                <a:moveTo>
                  <a:pt x="1484" y="710"/>
                </a:moveTo>
                <a:cubicBezTo>
                  <a:pt x="1484" y="710"/>
                  <a:pt x="1484" y="709"/>
                  <a:pt x="1484" y="709"/>
                </a:cubicBezTo>
                <a:cubicBezTo>
                  <a:pt x="1484" y="709"/>
                  <a:pt x="1483" y="709"/>
                  <a:pt x="1483" y="709"/>
                </a:cubicBezTo>
                <a:cubicBezTo>
                  <a:pt x="1483" y="709"/>
                  <a:pt x="1483" y="709"/>
                  <a:pt x="1483" y="709"/>
                </a:cubicBezTo>
                <a:cubicBezTo>
                  <a:pt x="1483" y="709"/>
                  <a:pt x="1483" y="709"/>
                  <a:pt x="1483" y="709"/>
                </a:cubicBezTo>
                <a:cubicBezTo>
                  <a:pt x="1483" y="709"/>
                  <a:pt x="1483" y="709"/>
                  <a:pt x="1482" y="709"/>
                </a:cubicBezTo>
                <a:cubicBezTo>
                  <a:pt x="1482" y="708"/>
                  <a:pt x="1482" y="708"/>
                  <a:pt x="1482" y="708"/>
                </a:cubicBezTo>
                <a:cubicBezTo>
                  <a:pt x="1483" y="708"/>
                  <a:pt x="1483" y="708"/>
                  <a:pt x="1483" y="708"/>
                </a:cubicBezTo>
                <a:cubicBezTo>
                  <a:pt x="1483" y="708"/>
                  <a:pt x="1482" y="708"/>
                  <a:pt x="1482" y="708"/>
                </a:cubicBezTo>
                <a:cubicBezTo>
                  <a:pt x="1482" y="708"/>
                  <a:pt x="1482" y="707"/>
                  <a:pt x="1481" y="707"/>
                </a:cubicBezTo>
                <a:cubicBezTo>
                  <a:pt x="1481" y="707"/>
                  <a:pt x="1480" y="707"/>
                  <a:pt x="1479" y="707"/>
                </a:cubicBezTo>
                <a:cubicBezTo>
                  <a:pt x="1479" y="707"/>
                  <a:pt x="1478" y="707"/>
                  <a:pt x="1478" y="707"/>
                </a:cubicBezTo>
                <a:cubicBezTo>
                  <a:pt x="1478" y="707"/>
                  <a:pt x="1478" y="707"/>
                  <a:pt x="1478" y="707"/>
                </a:cubicBezTo>
                <a:cubicBezTo>
                  <a:pt x="1478" y="708"/>
                  <a:pt x="1478" y="708"/>
                  <a:pt x="1478" y="708"/>
                </a:cubicBezTo>
                <a:cubicBezTo>
                  <a:pt x="1478" y="708"/>
                  <a:pt x="1479" y="708"/>
                  <a:pt x="1479" y="708"/>
                </a:cubicBezTo>
                <a:cubicBezTo>
                  <a:pt x="1479" y="708"/>
                  <a:pt x="1479" y="708"/>
                  <a:pt x="1479" y="708"/>
                </a:cubicBezTo>
                <a:cubicBezTo>
                  <a:pt x="1480" y="708"/>
                  <a:pt x="1480" y="709"/>
                  <a:pt x="1480" y="709"/>
                </a:cubicBezTo>
                <a:cubicBezTo>
                  <a:pt x="1480" y="709"/>
                  <a:pt x="1480" y="709"/>
                  <a:pt x="1481" y="709"/>
                </a:cubicBezTo>
                <a:cubicBezTo>
                  <a:pt x="1481" y="709"/>
                  <a:pt x="1481" y="709"/>
                  <a:pt x="1481" y="709"/>
                </a:cubicBezTo>
                <a:cubicBezTo>
                  <a:pt x="1481" y="709"/>
                  <a:pt x="1481" y="709"/>
                  <a:pt x="1481" y="709"/>
                </a:cubicBezTo>
                <a:cubicBezTo>
                  <a:pt x="1481" y="709"/>
                  <a:pt x="1481" y="709"/>
                  <a:pt x="1481" y="709"/>
                </a:cubicBezTo>
                <a:cubicBezTo>
                  <a:pt x="1481" y="709"/>
                  <a:pt x="1482" y="709"/>
                  <a:pt x="1482" y="709"/>
                </a:cubicBezTo>
                <a:cubicBezTo>
                  <a:pt x="1482" y="709"/>
                  <a:pt x="1482" y="709"/>
                  <a:pt x="1482" y="709"/>
                </a:cubicBezTo>
                <a:cubicBezTo>
                  <a:pt x="1483" y="709"/>
                  <a:pt x="1483" y="710"/>
                  <a:pt x="1484" y="710"/>
                </a:cubicBezTo>
                <a:cubicBezTo>
                  <a:pt x="1484" y="710"/>
                  <a:pt x="1484" y="710"/>
                  <a:pt x="1484" y="710"/>
                </a:cubicBezTo>
                <a:close/>
                <a:moveTo>
                  <a:pt x="1408" y="626"/>
                </a:moveTo>
                <a:cubicBezTo>
                  <a:pt x="1408" y="626"/>
                  <a:pt x="1408" y="626"/>
                  <a:pt x="1408" y="625"/>
                </a:cubicBezTo>
                <a:cubicBezTo>
                  <a:pt x="1408" y="626"/>
                  <a:pt x="1408" y="626"/>
                  <a:pt x="1408" y="627"/>
                </a:cubicBezTo>
                <a:cubicBezTo>
                  <a:pt x="1408" y="627"/>
                  <a:pt x="1408" y="626"/>
                  <a:pt x="1408" y="626"/>
                </a:cubicBezTo>
                <a:close/>
                <a:moveTo>
                  <a:pt x="1479" y="607"/>
                </a:moveTo>
                <a:cubicBezTo>
                  <a:pt x="1478" y="607"/>
                  <a:pt x="1478" y="606"/>
                  <a:pt x="1478" y="606"/>
                </a:cubicBezTo>
                <a:cubicBezTo>
                  <a:pt x="1478" y="606"/>
                  <a:pt x="1478" y="606"/>
                  <a:pt x="1478" y="606"/>
                </a:cubicBezTo>
                <a:cubicBezTo>
                  <a:pt x="1478" y="606"/>
                  <a:pt x="1478" y="607"/>
                  <a:pt x="1478" y="607"/>
                </a:cubicBezTo>
                <a:cubicBezTo>
                  <a:pt x="1478" y="607"/>
                  <a:pt x="1478" y="607"/>
                  <a:pt x="1479" y="607"/>
                </a:cubicBezTo>
                <a:close/>
                <a:moveTo>
                  <a:pt x="1477" y="608"/>
                </a:moveTo>
                <a:cubicBezTo>
                  <a:pt x="1477" y="609"/>
                  <a:pt x="1477" y="609"/>
                  <a:pt x="1477" y="609"/>
                </a:cubicBezTo>
                <a:cubicBezTo>
                  <a:pt x="1477" y="609"/>
                  <a:pt x="1477" y="608"/>
                  <a:pt x="1477" y="608"/>
                </a:cubicBezTo>
                <a:cubicBezTo>
                  <a:pt x="1477" y="608"/>
                  <a:pt x="1477" y="608"/>
                  <a:pt x="1477" y="607"/>
                </a:cubicBezTo>
                <a:cubicBezTo>
                  <a:pt x="1477" y="608"/>
                  <a:pt x="1477" y="608"/>
                  <a:pt x="1477" y="608"/>
                </a:cubicBezTo>
                <a:close/>
                <a:moveTo>
                  <a:pt x="1511" y="604"/>
                </a:moveTo>
                <a:cubicBezTo>
                  <a:pt x="1512" y="604"/>
                  <a:pt x="1512" y="604"/>
                  <a:pt x="1512" y="604"/>
                </a:cubicBezTo>
                <a:cubicBezTo>
                  <a:pt x="1512" y="604"/>
                  <a:pt x="1512" y="604"/>
                  <a:pt x="1512" y="604"/>
                </a:cubicBezTo>
                <a:cubicBezTo>
                  <a:pt x="1512" y="604"/>
                  <a:pt x="1512" y="604"/>
                  <a:pt x="1512" y="603"/>
                </a:cubicBezTo>
                <a:cubicBezTo>
                  <a:pt x="1512" y="603"/>
                  <a:pt x="1512" y="602"/>
                  <a:pt x="1512" y="602"/>
                </a:cubicBezTo>
                <a:cubicBezTo>
                  <a:pt x="1512" y="602"/>
                  <a:pt x="1511" y="602"/>
                  <a:pt x="1511" y="602"/>
                </a:cubicBezTo>
                <a:cubicBezTo>
                  <a:pt x="1511" y="602"/>
                  <a:pt x="1511" y="602"/>
                  <a:pt x="1511" y="602"/>
                </a:cubicBezTo>
                <a:cubicBezTo>
                  <a:pt x="1511" y="602"/>
                  <a:pt x="1511" y="602"/>
                  <a:pt x="1511" y="603"/>
                </a:cubicBezTo>
                <a:cubicBezTo>
                  <a:pt x="1511" y="603"/>
                  <a:pt x="1511" y="603"/>
                  <a:pt x="1511" y="603"/>
                </a:cubicBezTo>
                <a:cubicBezTo>
                  <a:pt x="1511" y="603"/>
                  <a:pt x="1511" y="603"/>
                  <a:pt x="1511" y="603"/>
                </a:cubicBezTo>
                <a:cubicBezTo>
                  <a:pt x="1511" y="603"/>
                  <a:pt x="1511" y="603"/>
                  <a:pt x="1511" y="603"/>
                </a:cubicBezTo>
                <a:cubicBezTo>
                  <a:pt x="1511" y="603"/>
                  <a:pt x="1511" y="603"/>
                  <a:pt x="1510" y="603"/>
                </a:cubicBezTo>
                <a:cubicBezTo>
                  <a:pt x="1510" y="603"/>
                  <a:pt x="1510" y="603"/>
                  <a:pt x="1510" y="603"/>
                </a:cubicBezTo>
                <a:cubicBezTo>
                  <a:pt x="1511" y="603"/>
                  <a:pt x="1511" y="603"/>
                  <a:pt x="1511" y="603"/>
                </a:cubicBezTo>
                <a:cubicBezTo>
                  <a:pt x="1511" y="603"/>
                  <a:pt x="1511" y="604"/>
                  <a:pt x="1511" y="604"/>
                </a:cubicBezTo>
                <a:close/>
                <a:moveTo>
                  <a:pt x="1619" y="792"/>
                </a:moveTo>
                <a:cubicBezTo>
                  <a:pt x="1619" y="792"/>
                  <a:pt x="1619" y="792"/>
                  <a:pt x="1620" y="792"/>
                </a:cubicBezTo>
                <a:cubicBezTo>
                  <a:pt x="1620" y="792"/>
                  <a:pt x="1620" y="792"/>
                  <a:pt x="1620" y="792"/>
                </a:cubicBezTo>
                <a:cubicBezTo>
                  <a:pt x="1620" y="792"/>
                  <a:pt x="1619" y="792"/>
                  <a:pt x="1619" y="791"/>
                </a:cubicBezTo>
                <a:cubicBezTo>
                  <a:pt x="1619" y="792"/>
                  <a:pt x="1619" y="792"/>
                  <a:pt x="1619" y="792"/>
                </a:cubicBezTo>
                <a:close/>
                <a:moveTo>
                  <a:pt x="1546" y="811"/>
                </a:moveTo>
                <a:cubicBezTo>
                  <a:pt x="1546" y="811"/>
                  <a:pt x="1546" y="811"/>
                  <a:pt x="1546" y="811"/>
                </a:cubicBezTo>
                <a:cubicBezTo>
                  <a:pt x="1546" y="811"/>
                  <a:pt x="1546" y="811"/>
                  <a:pt x="1546" y="811"/>
                </a:cubicBezTo>
                <a:cubicBezTo>
                  <a:pt x="1546" y="811"/>
                  <a:pt x="1546" y="811"/>
                  <a:pt x="1546" y="811"/>
                </a:cubicBezTo>
                <a:cubicBezTo>
                  <a:pt x="1546" y="811"/>
                  <a:pt x="1546" y="811"/>
                  <a:pt x="1547" y="811"/>
                </a:cubicBezTo>
                <a:cubicBezTo>
                  <a:pt x="1546" y="811"/>
                  <a:pt x="1546" y="811"/>
                  <a:pt x="1546" y="811"/>
                </a:cubicBezTo>
                <a:cubicBezTo>
                  <a:pt x="1546" y="811"/>
                  <a:pt x="1546" y="811"/>
                  <a:pt x="1546" y="811"/>
                </a:cubicBezTo>
                <a:close/>
                <a:moveTo>
                  <a:pt x="1596" y="807"/>
                </a:moveTo>
                <a:cubicBezTo>
                  <a:pt x="1596" y="807"/>
                  <a:pt x="1596" y="807"/>
                  <a:pt x="1596" y="807"/>
                </a:cubicBezTo>
                <a:cubicBezTo>
                  <a:pt x="1596" y="807"/>
                  <a:pt x="1596" y="807"/>
                  <a:pt x="1596" y="806"/>
                </a:cubicBezTo>
                <a:cubicBezTo>
                  <a:pt x="1596" y="806"/>
                  <a:pt x="1596" y="806"/>
                  <a:pt x="1596" y="806"/>
                </a:cubicBezTo>
                <a:cubicBezTo>
                  <a:pt x="1595" y="806"/>
                  <a:pt x="1595" y="806"/>
                  <a:pt x="1595" y="807"/>
                </a:cubicBezTo>
                <a:cubicBezTo>
                  <a:pt x="1595" y="807"/>
                  <a:pt x="1595" y="807"/>
                  <a:pt x="1595" y="807"/>
                </a:cubicBezTo>
                <a:cubicBezTo>
                  <a:pt x="1595" y="807"/>
                  <a:pt x="1595" y="807"/>
                  <a:pt x="1595" y="807"/>
                </a:cubicBezTo>
                <a:cubicBezTo>
                  <a:pt x="1595" y="807"/>
                  <a:pt x="1594" y="807"/>
                  <a:pt x="1594" y="807"/>
                </a:cubicBezTo>
                <a:cubicBezTo>
                  <a:pt x="1594" y="807"/>
                  <a:pt x="1594" y="807"/>
                  <a:pt x="1594" y="807"/>
                </a:cubicBezTo>
                <a:cubicBezTo>
                  <a:pt x="1594" y="806"/>
                  <a:pt x="1594" y="806"/>
                  <a:pt x="1594" y="806"/>
                </a:cubicBezTo>
                <a:cubicBezTo>
                  <a:pt x="1594" y="806"/>
                  <a:pt x="1594" y="806"/>
                  <a:pt x="1594" y="806"/>
                </a:cubicBezTo>
                <a:cubicBezTo>
                  <a:pt x="1594" y="806"/>
                  <a:pt x="1594" y="806"/>
                  <a:pt x="1594" y="806"/>
                </a:cubicBezTo>
                <a:cubicBezTo>
                  <a:pt x="1593" y="806"/>
                  <a:pt x="1593" y="806"/>
                  <a:pt x="1593" y="806"/>
                </a:cubicBezTo>
                <a:cubicBezTo>
                  <a:pt x="1593" y="806"/>
                  <a:pt x="1592" y="806"/>
                  <a:pt x="1592" y="806"/>
                </a:cubicBezTo>
                <a:cubicBezTo>
                  <a:pt x="1592" y="806"/>
                  <a:pt x="1592" y="806"/>
                  <a:pt x="1592" y="806"/>
                </a:cubicBezTo>
                <a:cubicBezTo>
                  <a:pt x="1592" y="805"/>
                  <a:pt x="1592" y="805"/>
                  <a:pt x="1592" y="804"/>
                </a:cubicBezTo>
                <a:cubicBezTo>
                  <a:pt x="1592" y="804"/>
                  <a:pt x="1592" y="804"/>
                  <a:pt x="1592" y="804"/>
                </a:cubicBezTo>
                <a:cubicBezTo>
                  <a:pt x="1592" y="804"/>
                  <a:pt x="1593" y="804"/>
                  <a:pt x="1593" y="804"/>
                </a:cubicBezTo>
                <a:cubicBezTo>
                  <a:pt x="1593" y="804"/>
                  <a:pt x="1593" y="804"/>
                  <a:pt x="1593" y="804"/>
                </a:cubicBezTo>
                <a:cubicBezTo>
                  <a:pt x="1593" y="804"/>
                  <a:pt x="1593" y="804"/>
                  <a:pt x="1593" y="804"/>
                </a:cubicBezTo>
                <a:cubicBezTo>
                  <a:pt x="1593" y="804"/>
                  <a:pt x="1593" y="804"/>
                  <a:pt x="1593" y="804"/>
                </a:cubicBezTo>
                <a:cubicBezTo>
                  <a:pt x="1593" y="803"/>
                  <a:pt x="1593" y="803"/>
                  <a:pt x="1593" y="803"/>
                </a:cubicBezTo>
                <a:cubicBezTo>
                  <a:pt x="1593" y="803"/>
                  <a:pt x="1593" y="803"/>
                  <a:pt x="1592" y="803"/>
                </a:cubicBezTo>
                <a:cubicBezTo>
                  <a:pt x="1592" y="803"/>
                  <a:pt x="1592" y="803"/>
                  <a:pt x="1592" y="803"/>
                </a:cubicBezTo>
                <a:cubicBezTo>
                  <a:pt x="1592" y="803"/>
                  <a:pt x="1592" y="803"/>
                  <a:pt x="1592" y="803"/>
                </a:cubicBezTo>
                <a:cubicBezTo>
                  <a:pt x="1592" y="802"/>
                  <a:pt x="1592" y="802"/>
                  <a:pt x="1592" y="802"/>
                </a:cubicBezTo>
                <a:cubicBezTo>
                  <a:pt x="1593" y="802"/>
                  <a:pt x="1593" y="802"/>
                  <a:pt x="1593" y="802"/>
                </a:cubicBezTo>
                <a:cubicBezTo>
                  <a:pt x="1593" y="802"/>
                  <a:pt x="1593" y="802"/>
                  <a:pt x="1593" y="801"/>
                </a:cubicBezTo>
                <a:cubicBezTo>
                  <a:pt x="1592" y="801"/>
                  <a:pt x="1592" y="802"/>
                  <a:pt x="1591" y="802"/>
                </a:cubicBezTo>
                <a:cubicBezTo>
                  <a:pt x="1591" y="801"/>
                  <a:pt x="1591" y="801"/>
                  <a:pt x="1591" y="801"/>
                </a:cubicBezTo>
                <a:cubicBezTo>
                  <a:pt x="1590" y="801"/>
                  <a:pt x="1590" y="802"/>
                  <a:pt x="1590" y="802"/>
                </a:cubicBezTo>
                <a:cubicBezTo>
                  <a:pt x="1590" y="802"/>
                  <a:pt x="1589" y="802"/>
                  <a:pt x="1589" y="802"/>
                </a:cubicBezTo>
                <a:cubicBezTo>
                  <a:pt x="1589" y="803"/>
                  <a:pt x="1588" y="803"/>
                  <a:pt x="1588" y="803"/>
                </a:cubicBezTo>
                <a:cubicBezTo>
                  <a:pt x="1587" y="804"/>
                  <a:pt x="1587" y="804"/>
                  <a:pt x="1587" y="804"/>
                </a:cubicBezTo>
                <a:cubicBezTo>
                  <a:pt x="1586" y="804"/>
                  <a:pt x="1586" y="804"/>
                  <a:pt x="1586" y="804"/>
                </a:cubicBezTo>
                <a:cubicBezTo>
                  <a:pt x="1586" y="804"/>
                  <a:pt x="1585" y="804"/>
                  <a:pt x="1585" y="804"/>
                </a:cubicBezTo>
                <a:cubicBezTo>
                  <a:pt x="1585" y="804"/>
                  <a:pt x="1584" y="805"/>
                  <a:pt x="1584" y="805"/>
                </a:cubicBezTo>
                <a:cubicBezTo>
                  <a:pt x="1584" y="805"/>
                  <a:pt x="1584" y="805"/>
                  <a:pt x="1583" y="805"/>
                </a:cubicBezTo>
                <a:cubicBezTo>
                  <a:pt x="1583" y="804"/>
                  <a:pt x="1583" y="804"/>
                  <a:pt x="1583" y="804"/>
                </a:cubicBezTo>
                <a:cubicBezTo>
                  <a:pt x="1582" y="804"/>
                  <a:pt x="1582" y="804"/>
                  <a:pt x="1582" y="804"/>
                </a:cubicBezTo>
                <a:cubicBezTo>
                  <a:pt x="1582" y="804"/>
                  <a:pt x="1582" y="804"/>
                  <a:pt x="1581" y="805"/>
                </a:cubicBezTo>
                <a:cubicBezTo>
                  <a:pt x="1581" y="805"/>
                  <a:pt x="1581" y="805"/>
                  <a:pt x="1581" y="805"/>
                </a:cubicBezTo>
                <a:cubicBezTo>
                  <a:pt x="1581" y="805"/>
                  <a:pt x="1581" y="805"/>
                  <a:pt x="1580" y="805"/>
                </a:cubicBezTo>
                <a:cubicBezTo>
                  <a:pt x="1580" y="805"/>
                  <a:pt x="1580" y="805"/>
                  <a:pt x="1580" y="806"/>
                </a:cubicBezTo>
                <a:cubicBezTo>
                  <a:pt x="1579" y="806"/>
                  <a:pt x="1579" y="806"/>
                  <a:pt x="1579" y="806"/>
                </a:cubicBezTo>
                <a:cubicBezTo>
                  <a:pt x="1579" y="806"/>
                  <a:pt x="1579" y="806"/>
                  <a:pt x="1579" y="806"/>
                </a:cubicBezTo>
                <a:cubicBezTo>
                  <a:pt x="1578" y="807"/>
                  <a:pt x="1578" y="807"/>
                  <a:pt x="1578" y="807"/>
                </a:cubicBezTo>
                <a:cubicBezTo>
                  <a:pt x="1577" y="807"/>
                  <a:pt x="1577" y="807"/>
                  <a:pt x="1576" y="808"/>
                </a:cubicBezTo>
                <a:cubicBezTo>
                  <a:pt x="1575" y="808"/>
                  <a:pt x="1575" y="808"/>
                  <a:pt x="1574" y="808"/>
                </a:cubicBezTo>
                <a:cubicBezTo>
                  <a:pt x="1574" y="808"/>
                  <a:pt x="1573" y="808"/>
                  <a:pt x="1573" y="807"/>
                </a:cubicBezTo>
                <a:cubicBezTo>
                  <a:pt x="1573" y="807"/>
                  <a:pt x="1572" y="807"/>
                  <a:pt x="1572" y="807"/>
                </a:cubicBezTo>
                <a:cubicBezTo>
                  <a:pt x="1572" y="808"/>
                  <a:pt x="1572" y="808"/>
                  <a:pt x="1572" y="808"/>
                </a:cubicBezTo>
                <a:cubicBezTo>
                  <a:pt x="1571" y="808"/>
                  <a:pt x="1571" y="808"/>
                  <a:pt x="1571" y="808"/>
                </a:cubicBezTo>
                <a:cubicBezTo>
                  <a:pt x="1570" y="807"/>
                  <a:pt x="1570" y="807"/>
                  <a:pt x="1569" y="807"/>
                </a:cubicBezTo>
                <a:cubicBezTo>
                  <a:pt x="1569" y="808"/>
                  <a:pt x="1568" y="808"/>
                  <a:pt x="1567" y="808"/>
                </a:cubicBezTo>
                <a:cubicBezTo>
                  <a:pt x="1567" y="808"/>
                  <a:pt x="1567" y="808"/>
                  <a:pt x="1567" y="808"/>
                </a:cubicBezTo>
                <a:cubicBezTo>
                  <a:pt x="1566" y="808"/>
                  <a:pt x="1566" y="808"/>
                  <a:pt x="1565" y="808"/>
                </a:cubicBezTo>
                <a:cubicBezTo>
                  <a:pt x="1565" y="808"/>
                  <a:pt x="1565" y="808"/>
                  <a:pt x="1565" y="808"/>
                </a:cubicBezTo>
                <a:cubicBezTo>
                  <a:pt x="1565" y="808"/>
                  <a:pt x="1565" y="808"/>
                  <a:pt x="1565" y="809"/>
                </a:cubicBezTo>
                <a:cubicBezTo>
                  <a:pt x="1565" y="809"/>
                  <a:pt x="1564" y="809"/>
                  <a:pt x="1564" y="809"/>
                </a:cubicBezTo>
                <a:cubicBezTo>
                  <a:pt x="1564" y="809"/>
                  <a:pt x="1564" y="809"/>
                  <a:pt x="1564" y="808"/>
                </a:cubicBezTo>
                <a:cubicBezTo>
                  <a:pt x="1564" y="808"/>
                  <a:pt x="1564" y="808"/>
                  <a:pt x="1564" y="808"/>
                </a:cubicBezTo>
                <a:cubicBezTo>
                  <a:pt x="1564" y="808"/>
                  <a:pt x="1563" y="808"/>
                  <a:pt x="1563" y="808"/>
                </a:cubicBezTo>
                <a:cubicBezTo>
                  <a:pt x="1563" y="808"/>
                  <a:pt x="1563" y="808"/>
                  <a:pt x="1562" y="808"/>
                </a:cubicBezTo>
                <a:cubicBezTo>
                  <a:pt x="1562" y="808"/>
                  <a:pt x="1562" y="808"/>
                  <a:pt x="1562" y="807"/>
                </a:cubicBezTo>
                <a:cubicBezTo>
                  <a:pt x="1562" y="807"/>
                  <a:pt x="1562" y="807"/>
                  <a:pt x="1561" y="807"/>
                </a:cubicBezTo>
                <a:cubicBezTo>
                  <a:pt x="1561" y="807"/>
                  <a:pt x="1560" y="807"/>
                  <a:pt x="1560" y="808"/>
                </a:cubicBezTo>
                <a:cubicBezTo>
                  <a:pt x="1560" y="808"/>
                  <a:pt x="1559" y="808"/>
                  <a:pt x="1559" y="808"/>
                </a:cubicBezTo>
                <a:cubicBezTo>
                  <a:pt x="1559" y="808"/>
                  <a:pt x="1558" y="808"/>
                  <a:pt x="1558" y="808"/>
                </a:cubicBezTo>
                <a:cubicBezTo>
                  <a:pt x="1558" y="808"/>
                  <a:pt x="1557" y="808"/>
                  <a:pt x="1557" y="808"/>
                </a:cubicBezTo>
                <a:cubicBezTo>
                  <a:pt x="1557" y="808"/>
                  <a:pt x="1556" y="808"/>
                  <a:pt x="1556" y="808"/>
                </a:cubicBezTo>
                <a:cubicBezTo>
                  <a:pt x="1556" y="809"/>
                  <a:pt x="1556" y="809"/>
                  <a:pt x="1556" y="809"/>
                </a:cubicBezTo>
                <a:cubicBezTo>
                  <a:pt x="1556" y="809"/>
                  <a:pt x="1556" y="809"/>
                  <a:pt x="1556" y="809"/>
                </a:cubicBezTo>
                <a:cubicBezTo>
                  <a:pt x="1556" y="808"/>
                  <a:pt x="1556" y="808"/>
                  <a:pt x="1555" y="808"/>
                </a:cubicBezTo>
                <a:cubicBezTo>
                  <a:pt x="1555" y="808"/>
                  <a:pt x="1555" y="808"/>
                  <a:pt x="1555" y="808"/>
                </a:cubicBezTo>
                <a:cubicBezTo>
                  <a:pt x="1555" y="808"/>
                  <a:pt x="1554" y="808"/>
                  <a:pt x="1554" y="808"/>
                </a:cubicBezTo>
                <a:cubicBezTo>
                  <a:pt x="1554" y="809"/>
                  <a:pt x="1554" y="809"/>
                  <a:pt x="1554" y="809"/>
                </a:cubicBezTo>
                <a:cubicBezTo>
                  <a:pt x="1554" y="809"/>
                  <a:pt x="1553" y="809"/>
                  <a:pt x="1553" y="809"/>
                </a:cubicBezTo>
                <a:cubicBezTo>
                  <a:pt x="1553" y="809"/>
                  <a:pt x="1553" y="809"/>
                  <a:pt x="1553" y="809"/>
                </a:cubicBezTo>
                <a:cubicBezTo>
                  <a:pt x="1553" y="809"/>
                  <a:pt x="1552" y="809"/>
                  <a:pt x="1551" y="809"/>
                </a:cubicBezTo>
                <a:cubicBezTo>
                  <a:pt x="1551" y="809"/>
                  <a:pt x="1551" y="809"/>
                  <a:pt x="1551" y="809"/>
                </a:cubicBezTo>
                <a:cubicBezTo>
                  <a:pt x="1551" y="809"/>
                  <a:pt x="1551" y="809"/>
                  <a:pt x="1551" y="810"/>
                </a:cubicBezTo>
                <a:cubicBezTo>
                  <a:pt x="1550" y="810"/>
                  <a:pt x="1550" y="810"/>
                  <a:pt x="1550" y="811"/>
                </a:cubicBezTo>
                <a:cubicBezTo>
                  <a:pt x="1550" y="811"/>
                  <a:pt x="1550" y="811"/>
                  <a:pt x="1549" y="811"/>
                </a:cubicBezTo>
                <a:cubicBezTo>
                  <a:pt x="1549" y="811"/>
                  <a:pt x="1549" y="810"/>
                  <a:pt x="1549" y="810"/>
                </a:cubicBezTo>
                <a:cubicBezTo>
                  <a:pt x="1549" y="810"/>
                  <a:pt x="1549" y="810"/>
                  <a:pt x="1549" y="810"/>
                </a:cubicBezTo>
                <a:cubicBezTo>
                  <a:pt x="1549" y="810"/>
                  <a:pt x="1549" y="810"/>
                  <a:pt x="1549" y="810"/>
                </a:cubicBezTo>
                <a:cubicBezTo>
                  <a:pt x="1549" y="810"/>
                  <a:pt x="1548" y="810"/>
                  <a:pt x="1548" y="810"/>
                </a:cubicBezTo>
                <a:cubicBezTo>
                  <a:pt x="1548" y="810"/>
                  <a:pt x="1548" y="811"/>
                  <a:pt x="1547" y="811"/>
                </a:cubicBezTo>
                <a:cubicBezTo>
                  <a:pt x="1547" y="811"/>
                  <a:pt x="1547" y="811"/>
                  <a:pt x="1547" y="811"/>
                </a:cubicBezTo>
                <a:cubicBezTo>
                  <a:pt x="1547" y="811"/>
                  <a:pt x="1547" y="812"/>
                  <a:pt x="1547" y="812"/>
                </a:cubicBezTo>
                <a:cubicBezTo>
                  <a:pt x="1547" y="812"/>
                  <a:pt x="1547" y="812"/>
                  <a:pt x="1547" y="812"/>
                </a:cubicBezTo>
                <a:cubicBezTo>
                  <a:pt x="1547" y="812"/>
                  <a:pt x="1547" y="812"/>
                  <a:pt x="1547" y="812"/>
                </a:cubicBezTo>
                <a:cubicBezTo>
                  <a:pt x="1547" y="812"/>
                  <a:pt x="1547" y="812"/>
                  <a:pt x="1546" y="812"/>
                </a:cubicBezTo>
                <a:cubicBezTo>
                  <a:pt x="1546" y="812"/>
                  <a:pt x="1546" y="812"/>
                  <a:pt x="1546" y="812"/>
                </a:cubicBezTo>
                <a:cubicBezTo>
                  <a:pt x="1545" y="812"/>
                  <a:pt x="1545" y="812"/>
                  <a:pt x="1544" y="812"/>
                </a:cubicBezTo>
                <a:cubicBezTo>
                  <a:pt x="1544" y="812"/>
                  <a:pt x="1545" y="812"/>
                  <a:pt x="1545" y="813"/>
                </a:cubicBezTo>
                <a:cubicBezTo>
                  <a:pt x="1545" y="813"/>
                  <a:pt x="1545" y="813"/>
                  <a:pt x="1545" y="813"/>
                </a:cubicBezTo>
                <a:cubicBezTo>
                  <a:pt x="1545" y="813"/>
                  <a:pt x="1545" y="813"/>
                  <a:pt x="1545" y="813"/>
                </a:cubicBezTo>
                <a:cubicBezTo>
                  <a:pt x="1544" y="813"/>
                  <a:pt x="1544" y="813"/>
                  <a:pt x="1544" y="813"/>
                </a:cubicBezTo>
                <a:cubicBezTo>
                  <a:pt x="1544" y="814"/>
                  <a:pt x="1544" y="814"/>
                  <a:pt x="1544" y="814"/>
                </a:cubicBezTo>
                <a:cubicBezTo>
                  <a:pt x="1544" y="814"/>
                  <a:pt x="1545" y="814"/>
                  <a:pt x="1545" y="814"/>
                </a:cubicBezTo>
                <a:cubicBezTo>
                  <a:pt x="1545" y="815"/>
                  <a:pt x="1545" y="815"/>
                  <a:pt x="1546" y="815"/>
                </a:cubicBezTo>
                <a:cubicBezTo>
                  <a:pt x="1546" y="815"/>
                  <a:pt x="1546" y="815"/>
                  <a:pt x="1546" y="815"/>
                </a:cubicBezTo>
                <a:cubicBezTo>
                  <a:pt x="1546" y="815"/>
                  <a:pt x="1546" y="815"/>
                  <a:pt x="1546" y="815"/>
                </a:cubicBezTo>
                <a:cubicBezTo>
                  <a:pt x="1546" y="815"/>
                  <a:pt x="1546" y="815"/>
                  <a:pt x="1546" y="815"/>
                </a:cubicBezTo>
                <a:cubicBezTo>
                  <a:pt x="1546" y="815"/>
                  <a:pt x="1546" y="815"/>
                  <a:pt x="1547" y="815"/>
                </a:cubicBezTo>
                <a:cubicBezTo>
                  <a:pt x="1547" y="815"/>
                  <a:pt x="1547" y="816"/>
                  <a:pt x="1547" y="816"/>
                </a:cubicBezTo>
                <a:cubicBezTo>
                  <a:pt x="1547" y="816"/>
                  <a:pt x="1547" y="816"/>
                  <a:pt x="1547" y="816"/>
                </a:cubicBezTo>
                <a:cubicBezTo>
                  <a:pt x="1547" y="816"/>
                  <a:pt x="1547" y="816"/>
                  <a:pt x="1547" y="816"/>
                </a:cubicBezTo>
                <a:cubicBezTo>
                  <a:pt x="1547" y="817"/>
                  <a:pt x="1547" y="817"/>
                  <a:pt x="1547" y="817"/>
                </a:cubicBezTo>
                <a:cubicBezTo>
                  <a:pt x="1547" y="817"/>
                  <a:pt x="1547" y="817"/>
                  <a:pt x="1547" y="817"/>
                </a:cubicBezTo>
                <a:cubicBezTo>
                  <a:pt x="1548" y="817"/>
                  <a:pt x="1548" y="818"/>
                  <a:pt x="1548" y="818"/>
                </a:cubicBezTo>
                <a:cubicBezTo>
                  <a:pt x="1548" y="818"/>
                  <a:pt x="1547" y="818"/>
                  <a:pt x="1547" y="818"/>
                </a:cubicBezTo>
                <a:cubicBezTo>
                  <a:pt x="1548" y="819"/>
                  <a:pt x="1548" y="819"/>
                  <a:pt x="1548" y="819"/>
                </a:cubicBezTo>
                <a:cubicBezTo>
                  <a:pt x="1548" y="819"/>
                  <a:pt x="1548" y="820"/>
                  <a:pt x="1548" y="820"/>
                </a:cubicBezTo>
                <a:cubicBezTo>
                  <a:pt x="1548" y="820"/>
                  <a:pt x="1548" y="820"/>
                  <a:pt x="1547" y="820"/>
                </a:cubicBezTo>
                <a:cubicBezTo>
                  <a:pt x="1547" y="820"/>
                  <a:pt x="1547" y="820"/>
                  <a:pt x="1548" y="820"/>
                </a:cubicBezTo>
                <a:cubicBezTo>
                  <a:pt x="1548" y="820"/>
                  <a:pt x="1548" y="820"/>
                  <a:pt x="1549" y="820"/>
                </a:cubicBezTo>
                <a:cubicBezTo>
                  <a:pt x="1549" y="820"/>
                  <a:pt x="1549" y="820"/>
                  <a:pt x="1549" y="820"/>
                </a:cubicBezTo>
                <a:cubicBezTo>
                  <a:pt x="1549" y="821"/>
                  <a:pt x="1549" y="821"/>
                  <a:pt x="1549" y="821"/>
                </a:cubicBezTo>
                <a:cubicBezTo>
                  <a:pt x="1549" y="821"/>
                  <a:pt x="1550" y="821"/>
                  <a:pt x="1550" y="821"/>
                </a:cubicBezTo>
                <a:cubicBezTo>
                  <a:pt x="1551" y="821"/>
                  <a:pt x="1551" y="821"/>
                  <a:pt x="1552" y="821"/>
                </a:cubicBezTo>
                <a:cubicBezTo>
                  <a:pt x="1552" y="821"/>
                  <a:pt x="1553" y="821"/>
                  <a:pt x="1553" y="821"/>
                </a:cubicBezTo>
                <a:cubicBezTo>
                  <a:pt x="1553" y="821"/>
                  <a:pt x="1554" y="821"/>
                  <a:pt x="1554" y="821"/>
                </a:cubicBezTo>
                <a:cubicBezTo>
                  <a:pt x="1554" y="821"/>
                  <a:pt x="1554" y="821"/>
                  <a:pt x="1554" y="821"/>
                </a:cubicBezTo>
                <a:cubicBezTo>
                  <a:pt x="1554" y="821"/>
                  <a:pt x="1554" y="821"/>
                  <a:pt x="1554" y="820"/>
                </a:cubicBezTo>
                <a:cubicBezTo>
                  <a:pt x="1554" y="820"/>
                  <a:pt x="1555" y="821"/>
                  <a:pt x="1555" y="821"/>
                </a:cubicBezTo>
                <a:cubicBezTo>
                  <a:pt x="1555" y="821"/>
                  <a:pt x="1554" y="821"/>
                  <a:pt x="1554" y="821"/>
                </a:cubicBezTo>
                <a:cubicBezTo>
                  <a:pt x="1555" y="821"/>
                  <a:pt x="1555" y="821"/>
                  <a:pt x="1555" y="821"/>
                </a:cubicBezTo>
                <a:cubicBezTo>
                  <a:pt x="1556" y="821"/>
                  <a:pt x="1556" y="821"/>
                  <a:pt x="1556" y="821"/>
                </a:cubicBezTo>
                <a:cubicBezTo>
                  <a:pt x="1556" y="821"/>
                  <a:pt x="1556" y="820"/>
                  <a:pt x="1557" y="820"/>
                </a:cubicBezTo>
                <a:cubicBezTo>
                  <a:pt x="1557" y="820"/>
                  <a:pt x="1558" y="820"/>
                  <a:pt x="1558" y="821"/>
                </a:cubicBezTo>
                <a:cubicBezTo>
                  <a:pt x="1558" y="821"/>
                  <a:pt x="1559" y="821"/>
                  <a:pt x="1559" y="821"/>
                </a:cubicBezTo>
                <a:cubicBezTo>
                  <a:pt x="1559" y="821"/>
                  <a:pt x="1559" y="821"/>
                  <a:pt x="1559" y="821"/>
                </a:cubicBezTo>
                <a:cubicBezTo>
                  <a:pt x="1560" y="821"/>
                  <a:pt x="1560" y="821"/>
                  <a:pt x="1560" y="821"/>
                </a:cubicBezTo>
                <a:cubicBezTo>
                  <a:pt x="1559" y="821"/>
                  <a:pt x="1559" y="821"/>
                  <a:pt x="1559" y="821"/>
                </a:cubicBezTo>
                <a:cubicBezTo>
                  <a:pt x="1559" y="821"/>
                  <a:pt x="1559" y="821"/>
                  <a:pt x="1559" y="821"/>
                </a:cubicBezTo>
                <a:cubicBezTo>
                  <a:pt x="1559" y="820"/>
                  <a:pt x="1559" y="820"/>
                  <a:pt x="1560" y="820"/>
                </a:cubicBezTo>
                <a:cubicBezTo>
                  <a:pt x="1560" y="820"/>
                  <a:pt x="1559" y="820"/>
                  <a:pt x="1559" y="820"/>
                </a:cubicBezTo>
                <a:cubicBezTo>
                  <a:pt x="1560" y="820"/>
                  <a:pt x="1560" y="820"/>
                  <a:pt x="1561" y="820"/>
                </a:cubicBezTo>
                <a:cubicBezTo>
                  <a:pt x="1561" y="820"/>
                  <a:pt x="1561" y="819"/>
                  <a:pt x="1562" y="819"/>
                </a:cubicBezTo>
                <a:cubicBezTo>
                  <a:pt x="1562" y="819"/>
                  <a:pt x="1562" y="819"/>
                  <a:pt x="1563" y="818"/>
                </a:cubicBezTo>
                <a:cubicBezTo>
                  <a:pt x="1563" y="818"/>
                  <a:pt x="1563" y="818"/>
                  <a:pt x="1563" y="818"/>
                </a:cubicBezTo>
                <a:cubicBezTo>
                  <a:pt x="1564" y="818"/>
                  <a:pt x="1565" y="818"/>
                  <a:pt x="1566" y="818"/>
                </a:cubicBezTo>
                <a:cubicBezTo>
                  <a:pt x="1566" y="818"/>
                  <a:pt x="1566" y="818"/>
                  <a:pt x="1566" y="817"/>
                </a:cubicBezTo>
                <a:cubicBezTo>
                  <a:pt x="1566" y="817"/>
                  <a:pt x="1567" y="817"/>
                  <a:pt x="1567" y="817"/>
                </a:cubicBezTo>
                <a:cubicBezTo>
                  <a:pt x="1567" y="817"/>
                  <a:pt x="1568" y="816"/>
                  <a:pt x="1568" y="816"/>
                </a:cubicBezTo>
                <a:cubicBezTo>
                  <a:pt x="1568" y="816"/>
                  <a:pt x="1569" y="816"/>
                  <a:pt x="1569" y="816"/>
                </a:cubicBezTo>
                <a:cubicBezTo>
                  <a:pt x="1569" y="816"/>
                  <a:pt x="1569" y="815"/>
                  <a:pt x="1569" y="815"/>
                </a:cubicBezTo>
                <a:cubicBezTo>
                  <a:pt x="1569" y="815"/>
                  <a:pt x="1570" y="815"/>
                  <a:pt x="1570" y="815"/>
                </a:cubicBezTo>
                <a:cubicBezTo>
                  <a:pt x="1570" y="815"/>
                  <a:pt x="1571" y="815"/>
                  <a:pt x="1571" y="815"/>
                </a:cubicBezTo>
                <a:cubicBezTo>
                  <a:pt x="1571" y="815"/>
                  <a:pt x="1571" y="815"/>
                  <a:pt x="1571" y="814"/>
                </a:cubicBezTo>
                <a:cubicBezTo>
                  <a:pt x="1571" y="815"/>
                  <a:pt x="1572" y="815"/>
                  <a:pt x="1572" y="815"/>
                </a:cubicBezTo>
                <a:cubicBezTo>
                  <a:pt x="1572" y="815"/>
                  <a:pt x="1572" y="815"/>
                  <a:pt x="1572" y="815"/>
                </a:cubicBezTo>
                <a:cubicBezTo>
                  <a:pt x="1572" y="815"/>
                  <a:pt x="1572" y="815"/>
                  <a:pt x="1573" y="815"/>
                </a:cubicBezTo>
                <a:cubicBezTo>
                  <a:pt x="1573" y="815"/>
                  <a:pt x="1573" y="815"/>
                  <a:pt x="1573" y="815"/>
                </a:cubicBezTo>
                <a:cubicBezTo>
                  <a:pt x="1573" y="815"/>
                  <a:pt x="1574" y="815"/>
                  <a:pt x="1574" y="815"/>
                </a:cubicBezTo>
                <a:cubicBezTo>
                  <a:pt x="1574" y="815"/>
                  <a:pt x="1574" y="815"/>
                  <a:pt x="1574" y="815"/>
                </a:cubicBezTo>
                <a:cubicBezTo>
                  <a:pt x="1575" y="815"/>
                  <a:pt x="1575" y="815"/>
                  <a:pt x="1575" y="814"/>
                </a:cubicBezTo>
                <a:cubicBezTo>
                  <a:pt x="1575" y="814"/>
                  <a:pt x="1574" y="814"/>
                  <a:pt x="1574" y="814"/>
                </a:cubicBezTo>
                <a:cubicBezTo>
                  <a:pt x="1575" y="814"/>
                  <a:pt x="1575" y="814"/>
                  <a:pt x="1575" y="814"/>
                </a:cubicBezTo>
                <a:cubicBezTo>
                  <a:pt x="1575" y="815"/>
                  <a:pt x="1575" y="815"/>
                  <a:pt x="1575" y="815"/>
                </a:cubicBezTo>
                <a:cubicBezTo>
                  <a:pt x="1575" y="815"/>
                  <a:pt x="1575" y="815"/>
                  <a:pt x="1575" y="815"/>
                </a:cubicBezTo>
                <a:cubicBezTo>
                  <a:pt x="1575" y="815"/>
                  <a:pt x="1575" y="815"/>
                  <a:pt x="1576" y="815"/>
                </a:cubicBezTo>
                <a:cubicBezTo>
                  <a:pt x="1576" y="815"/>
                  <a:pt x="1576" y="815"/>
                  <a:pt x="1576" y="815"/>
                </a:cubicBezTo>
                <a:cubicBezTo>
                  <a:pt x="1576" y="815"/>
                  <a:pt x="1576" y="815"/>
                  <a:pt x="1576" y="815"/>
                </a:cubicBezTo>
                <a:cubicBezTo>
                  <a:pt x="1577" y="815"/>
                  <a:pt x="1577" y="815"/>
                  <a:pt x="1577" y="816"/>
                </a:cubicBezTo>
                <a:cubicBezTo>
                  <a:pt x="1577" y="816"/>
                  <a:pt x="1577" y="816"/>
                  <a:pt x="1577" y="816"/>
                </a:cubicBezTo>
                <a:cubicBezTo>
                  <a:pt x="1576" y="816"/>
                  <a:pt x="1576" y="816"/>
                  <a:pt x="1576" y="816"/>
                </a:cubicBezTo>
                <a:cubicBezTo>
                  <a:pt x="1576" y="816"/>
                  <a:pt x="1576" y="816"/>
                  <a:pt x="1577" y="816"/>
                </a:cubicBezTo>
                <a:cubicBezTo>
                  <a:pt x="1577" y="816"/>
                  <a:pt x="1577" y="816"/>
                  <a:pt x="1577" y="817"/>
                </a:cubicBezTo>
                <a:cubicBezTo>
                  <a:pt x="1577" y="817"/>
                  <a:pt x="1577" y="816"/>
                  <a:pt x="1578" y="816"/>
                </a:cubicBezTo>
                <a:cubicBezTo>
                  <a:pt x="1578" y="816"/>
                  <a:pt x="1578" y="816"/>
                  <a:pt x="1578" y="816"/>
                </a:cubicBezTo>
                <a:cubicBezTo>
                  <a:pt x="1578" y="816"/>
                  <a:pt x="1578" y="816"/>
                  <a:pt x="1578" y="816"/>
                </a:cubicBezTo>
                <a:cubicBezTo>
                  <a:pt x="1578" y="816"/>
                  <a:pt x="1578" y="816"/>
                  <a:pt x="1578" y="816"/>
                </a:cubicBezTo>
                <a:cubicBezTo>
                  <a:pt x="1578" y="816"/>
                  <a:pt x="1578" y="816"/>
                  <a:pt x="1578" y="817"/>
                </a:cubicBezTo>
                <a:cubicBezTo>
                  <a:pt x="1578" y="817"/>
                  <a:pt x="1578" y="817"/>
                  <a:pt x="1578" y="817"/>
                </a:cubicBezTo>
                <a:cubicBezTo>
                  <a:pt x="1578" y="817"/>
                  <a:pt x="1578" y="817"/>
                  <a:pt x="1578" y="817"/>
                </a:cubicBezTo>
                <a:cubicBezTo>
                  <a:pt x="1579" y="817"/>
                  <a:pt x="1579" y="816"/>
                  <a:pt x="1579" y="816"/>
                </a:cubicBezTo>
                <a:cubicBezTo>
                  <a:pt x="1579" y="816"/>
                  <a:pt x="1579" y="816"/>
                  <a:pt x="1579" y="815"/>
                </a:cubicBezTo>
                <a:cubicBezTo>
                  <a:pt x="1579" y="815"/>
                  <a:pt x="1579" y="815"/>
                  <a:pt x="1578" y="815"/>
                </a:cubicBezTo>
                <a:cubicBezTo>
                  <a:pt x="1579" y="815"/>
                  <a:pt x="1579" y="815"/>
                  <a:pt x="1579" y="815"/>
                </a:cubicBezTo>
                <a:cubicBezTo>
                  <a:pt x="1579" y="815"/>
                  <a:pt x="1579" y="814"/>
                  <a:pt x="1579" y="814"/>
                </a:cubicBezTo>
                <a:cubicBezTo>
                  <a:pt x="1579" y="814"/>
                  <a:pt x="1580" y="814"/>
                  <a:pt x="1580" y="813"/>
                </a:cubicBezTo>
                <a:cubicBezTo>
                  <a:pt x="1580" y="813"/>
                  <a:pt x="1580" y="813"/>
                  <a:pt x="1581" y="813"/>
                </a:cubicBezTo>
                <a:cubicBezTo>
                  <a:pt x="1581" y="813"/>
                  <a:pt x="1581" y="813"/>
                  <a:pt x="1582" y="814"/>
                </a:cubicBezTo>
                <a:cubicBezTo>
                  <a:pt x="1582" y="814"/>
                  <a:pt x="1583" y="814"/>
                  <a:pt x="1583" y="814"/>
                </a:cubicBezTo>
                <a:cubicBezTo>
                  <a:pt x="1583" y="813"/>
                  <a:pt x="1584" y="813"/>
                  <a:pt x="1584" y="813"/>
                </a:cubicBezTo>
                <a:cubicBezTo>
                  <a:pt x="1584" y="813"/>
                  <a:pt x="1585" y="813"/>
                  <a:pt x="1585" y="813"/>
                </a:cubicBezTo>
                <a:cubicBezTo>
                  <a:pt x="1585" y="813"/>
                  <a:pt x="1585" y="812"/>
                  <a:pt x="1585" y="812"/>
                </a:cubicBezTo>
                <a:cubicBezTo>
                  <a:pt x="1586" y="812"/>
                  <a:pt x="1586" y="812"/>
                  <a:pt x="1587" y="812"/>
                </a:cubicBezTo>
                <a:cubicBezTo>
                  <a:pt x="1587" y="812"/>
                  <a:pt x="1587" y="812"/>
                  <a:pt x="1587" y="812"/>
                </a:cubicBezTo>
                <a:cubicBezTo>
                  <a:pt x="1587" y="812"/>
                  <a:pt x="1587" y="812"/>
                  <a:pt x="1587" y="812"/>
                </a:cubicBezTo>
                <a:cubicBezTo>
                  <a:pt x="1588" y="812"/>
                  <a:pt x="1589" y="812"/>
                  <a:pt x="1589" y="812"/>
                </a:cubicBezTo>
                <a:cubicBezTo>
                  <a:pt x="1589" y="811"/>
                  <a:pt x="1589" y="811"/>
                  <a:pt x="1590" y="811"/>
                </a:cubicBezTo>
                <a:cubicBezTo>
                  <a:pt x="1591" y="811"/>
                  <a:pt x="1591" y="811"/>
                  <a:pt x="1592" y="811"/>
                </a:cubicBezTo>
                <a:cubicBezTo>
                  <a:pt x="1593" y="811"/>
                  <a:pt x="1593" y="811"/>
                  <a:pt x="1593" y="811"/>
                </a:cubicBezTo>
                <a:cubicBezTo>
                  <a:pt x="1593" y="811"/>
                  <a:pt x="1593" y="811"/>
                  <a:pt x="1593" y="810"/>
                </a:cubicBezTo>
                <a:cubicBezTo>
                  <a:pt x="1593" y="810"/>
                  <a:pt x="1593" y="810"/>
                  <a:pt x="1593" y="810"/>
                </a:cubicBezTo>
                <a:cubicBezTo>
                  <a:pt x="1593" y="810"/>
                  <a:pt x="1593" y="809"/>
                  <a:pt x="1593" y="809"/>
                </a:cubicBezTo>
                <a:cubicBezTo>
                  <a:pt x="1593" y="809"/>
                  <a:pt x="1593" y="809"/>
                  <a:pt x="1594" y="808"/>
                </a:cubicBezTo>
                <a:cubicBezTo>
                  <a:pt x="1594" y="808"/>
                  <a:pt x="1594" y="808"/>
                  <a:pt x="1594" y="808"/>
                </a:cubicBezTo>
                <a:cubicBezTo>
                  <a:pt x="1594" y="808"/>
                  <a:pt x="1594" y="808"/>
                  <a:pt x="1594" y="808"/>
                </a:cubicBezTo>
                <a:cubicBezTo>
                  <a:pt x="1595" y="808"/>
                  <a:pt x="1595" y="808"/>
                  <a:pt x="1595" y="808"/>
                </a:cubicBezTo>
                <a:cubicBezTo>
                  <a:pt x="1595" y="808"/>
                  <a:pt x="1595" y="808"/>
                  <a:pt x="1595" y="808"/>
                </a:cubicBezTo>
                <a:cubicBezTo>
                  <a:pt x="1595" y="807"/>
                  <a:pt x="1594" y="807"/>
                  <a:pt x="1594" y="807"/>
                </a:cubicBezTo>
                <a:cubicBezTo>
                  <a:pt x="1595" y="807"/>
                  <a:pt x="1595" y="807"/>
                  <a:pt x="1595" y="807"/>
                </a:cubicBezTo>
                <a:cubicBezTo>
                  <a:pt x="1596" y="807"/>
                  <a:pt x="1596" y="807"/>
                  <a:pt x="1596" y="807"/>
                </a:cubicBezTo>
                <a:close/>
                <a:moveTo>
                  <a:pt x="1627" y="802"/>
                </a:moveTo>
                <a:cubicBezTo>
                  <a:pt x="1627" y="802"/>
                  <a:pt x="1627" y="802"/>
                  <a:pt x="1627" y="802"/>
                </a:cubicBezTo>
                <a:cubicBezTo>
                  <a:pt x="1627" y="802"/>
                  <a:pt x="1627" y="802"/>
                  <a:pt x="1628" y="802"/>
                </a:cubicBezTo>
                <a:cubicBezTo>
                  <a:pt x="1628" y="802"/>
                  <a:pt x="1628" y="802"/>
                  <a:pt x="1628" y="801"/>
                </a:cubicBezTo>
                <a:cubicBezTo>
                  <a:pt x="1627" y="801"/>
                  <a:pt x="1627" y="801"/>
                  <a:pt x="1627" y="801"/>
                </a:cubicBezTo>
                <a:cubicBezTo>
                  <a:pt x="1627" y="801"/>
                  <a:pt x="1626" y="801"/>
                  <a:pt x="1626" y="801"/>
                </a:cubicBezTo>
                <a:cubicBezTo>
                  <a:pt x="1625" y="801"/>
                  <a:pt x="1624" y="801"/>
                  <a:pt x="1624" y="801"/>
                </a:cubicBezTo>
                <a:cubicBezTo>
                  <a:pt x="1623" y="801"/>
                  <a:pt x="1623" y="801"/>
                  <a:pt x="1623" y="801"/>
                </a:cubicBezTo>
                <a:cubicBezTo>
                  <a:pt x="1623" y="801"/>
                  <a:pt x="1622" y="801"/>
                  <a:pt x="1622" y="801"/>
                </a:cubicBezTo>
                <a:cubicBezTo>
                  <a:pt x="1622" y="801"/>
                  <a:pt x="1622" y="800"/>
                  <a:pt x="1622" y="800"/>
                </a:cubicBezTo>
                <a:cubicBezTo>
                  <a:pt x="1621" y="800"/>
                  <a:pt x="1621" y="799"/>
                  <a:pt x="1621" y="798"/>
                </a:cubicBezTo>
                <a:cubicBezTo>
                  <a:pt x="1621" y="798"/>
                  <a:pt x="1620" y="798"/>
                  <a:pt x="1620" y="798"/>
                </a:cubicBezTo>
                <a:cubicBezTo>
                  <a:pt x="1620" y="798"/>
                  <a:pt x="1620" y="797"/>
                  <a:pt x="1620" y="797"/>
                </a:cubicBezTo>
                <a:cubicBezTo>
                  <a:pt x="1620" y="797"/>
                  <a:pt x="1620" y="796"/>
                  <a:pt x="1620" y="796"/>
                </a:cubicBezTo>
                <a:cubicBezTo>
                  <a:pt x="1620" y="796"/>
                  <a:pt x="1621" y="796"/>
                  <a:pt x="1621" y="796"/>
                </a:cubicBezTo>
                <a:cubicBezTo>
                  <a:pt x="1621" y="796"/>
                  <a:pt x="1621" y="796"/>
                  <a:pt x="1621" y="796"/>
                </a:cubicBezTo>
                <a:cubicBezTo>
                  <a:pt x="1621" y="795"/>
                  <a:pt x="1621" y="795"/>
                  <a:pt x="1621" y="794"/>
                </a:cubicBezTo>
                <a:cubicBezTo>
                  <a:pt x="1621" y="794"/>
                  <a:pt x="1621" y="794"/>
                  <a:pt x="1622" y="794"/>
                </a:cubicBezTo>
                <a:cubicBezTo>
                  <a:pt x="1622" y="794"/>
                  <a:pt x="1622" y="793"/>
                  <a:pt x="1622" y="793"/>
                </a:cubicBezTo>
                <a:cubicBezTo>
                  <a:pt x="1622" y="793"/>
                  <a:pt x="1622" y="793"/>
                  <a:pt x="1622" y="793"/>
                </a:cubicBezTo>
                <a:cubicBezTo>
                  <a:pt x="1622" y="793"/>
                  <a:pt x="1622" y="792"/>
                  <a:pt x="1622" y="792"/>
                </a:cubicBezTo>
                <a:cubicBezTo>
                  <a:pt x="1622" y="792"/>
                  <a:pt x="1622" y="792"/>
                  <a:pt x="1622" y="792"/>
                </a:cubicBezTo>
                <a:cubicBezTo>
                  <a:pt x="1622" y="792"/>
                  <a:pt x="1622" y="791"/>
                  <a:pt x="1622" y="791"/>
                </a:cubicBezTo>
                <a:cubicBezTo>
                  <a:pt x="1622" y="791"/>
                  <a:pt x="1622" y="791"/>
                  <a:pt x="1622" y="791"/>
                </a:cubicBezTo>
                <a:cubicBezTo>
                  <a:pt x="1622" y="791"/>
                  <a:pt x="1622" y="791"/>
                  <a:pt x="1622" y="791"/>
                </a:cubicBezTo>
                <a:cubicBezTo>
                  <a:pt x="1622" y="791"/>
                  <a:pt x="1622" y="790"/>
                  <a:pt x="1622" y="790"/>
                </a:cubicBezTo>
                <a:cubicBezTo>
                  <a:pt x="1621" y="790"/>
                  <a:pt x="1621" y="790"/>
                  <a:pt x="1621" y="790"/>
                </a:cubicBezTo>
                <a:cubicBezTo>
                  <a:pt x="1621" y="791"/>
                  <a:pt x="1621" y="791"/>
                  <a:pt x="1622" y="791"/>
                </a:cubicBezTo>
                <a:cubicBezTo>
                  <a:pt x="1621" y="791"/>
                  <a:pt x="1621" y="791"/>
                  <a:pt x="1621" y="792"/>
                </a:cubicBezTo>
                <a:cubicBezTo>
                  <a:pt x="1621" y="792"/>
                  <a:pt x="1621" y="792"/>
                  <a:pt x="1621" y="792"/>
                </a:cubicBezTo>
                <a:cubicBezTo>
                  <a:pt x="1621" y="792"/>
                  <a:pt x="1621" y="792"/>
                  <a:pt x="1620" y="792"/>
                </a:cubicBezTo>
                <a:cubicBezTo>
                  <a:pt x="1620" y="792"/>
                  <a:pt x="1620" y="792"/>
                  <a:pt x="1620" y="793"/>
                </a:cubicBezTo>
                <a:cubicBezTo>
                  <a:pt x="1620" y="793"/>
                  <a:pt x="1620" y="793"/>
                  <a:pt x="1620" y="793"/>
                </a:cubicBezTo>
                <a:cubicBezTo>
                  <a:pt x="1620" y="793"/>
                  <a:pt x="1620" y="794"/>
                  <a:pt x="1620" y="794"/>
                </a:cubicBezTo>
                <a:cubicBezTo>
                  <a:pt x="1620" y="794"/>
                  <a:pt x="1620" y="794"/>
                  <a:pt x="1619" y="794"/>
                </a:cubicBezTo>
                <a:cubicBezTo>
                  <a:pt x="1619" y="793"/>
                  <a:pt x="1619" y="793"/>
                  <a:pt x="1619" y="793"/>
                </a:cubicBezTo>
                <a:cubicBezTo>
                  <a:pt x="1619" y="793"/>
                  <a:pt x="1619" y="793"/>
                  <a:pt x="1619" y="792"/>
                </a:cubicBezTo>
                <a:cubicBezTo>
                  <a:pt x="1619" y="792"/>
                  <a:pt x="1619" y="792"/>
                  <a:pt x="1619" y="792"/>
                </a:cubicBezTo>
                <a:cubicBezTo>
                  <a:pt x="1619" y="792"/>
                  <a:pt x="1619" y="792"/>
                  <a:pt x="1619" y="792"/>
                </a:cubicBezTo>
                <a:cubicBezTo>
                  <a:pt x="1619" y="791"/>
                  <a:pt x="1618" y="791"/>
                  <a:pt x="1618" y="791"/>
                </a:cubicBezTo>
                <a:cubicBezTo>
                  <a:pt x="1618" y="791"/>
                  <a:pt x="1618" y="791"/>
                  <a:pt x="1618" y="791"/>
                </a:cubicBezTo>
                <a:cubicBezTo>
                  <a:pt x="1618" y="791"/>
                  <a:pt x="1618" y="791"/>
                  <a:pt x="1618" y="790"/>
                </a:cubicBezTo>
                <a:cubicBezTo>
                  <a:pt x="1618" y="790"/>
                  <a:pt x="1618" y="790"/>
                  <a:pt x="1619" y="790"/>
                </a:cubicBezTo>
                <a:cubicBezTo>
                  <a:pt x="1619" y="790"/>
                  <a:pt x="1619" y="790"/>
                  <a:pt x="1619" y="790"/>
                </a:cubicBezTo>
                <a:cubicBezTo>
                  <a:pt x="1619" y="790"/>
                  <a:pt x="1619" y="790"/>
                  <a:pt x="1619" y="789"/>
                </a:cubicBezTo>
                <a:cubicBezTo>
                  <a:pt x="1619" y="789"/>
                  <a:pt x="1619" y="789"/>
                  <a:pt x="1620" y="789"/>
                </a:cubicBezTo>
                <a:cubicBezTo>
                  <a:pt x="1620" y="789"/>
                  <a:pt x="1620" y="789"/>
                  <a:pt x="1620" y="789"/>
                </a:cubicBezTo>
                <a:cubicBezTo>
                  <a:pt x="1620" y="789"/>
                  <a:pt x="1621" y="789"/>
                  <a:pt x="1621" y="789"/>
                </a:cubicBezTo>
                <a:cubicBezTo>
                  <a:pt x="1621" y="788"/>
                  <a:pt x="1621" y="788"/>
                  <a:pt x="1621" y="788"/>
                </a:cubicBezTo>
                <a:cubicBezTo>
                  <a:pt x="1621" y="788"/>
                  <a:pt x="1621" y="788"/>
                  <a:pt x="1621" y="788"/>
                </a:cubicBezTo>
                <a:cubicBezTo>
                  <a:pt x="1621" y="787"/>
                  <a:pt x="1621" y="787"/>
                  <a:pt x="1621" y="787"/>
                </a:cubicBezTo>
                <a:cubicBezTo>
                  <a:pt x="1621" y="787"/>
                  <a:pt x="1622" y="786"/>
                  <a:pt x="1622" y="786"/>
                </a:cubicBezTo>
                <a:cubicBezTo>
                  <a:pt x="1622" y="786"/>
                  <a:pt x="1621" y="786"/>
                  <a:pt x="1621" y="785"/>
                </a:cubicBezTo>
                <a:cubicBezTo>
                  <a:pt x="1621" y="785"/>
                  <a:pt x="1621" y="785"/>
                  <a:pt x="1621" y="785"/>
                </a:cubicBezTo>
                <a:cubicBezTo>
                  <a:pt x="1622" y="785"/>
                  <a:pt x="1622" y="785"/>
                  <a:pt x="1622" y="786"/>
                </a:cubicBezTo>
                <a:cubicBezTo>
                  <a:pt x="1622" y="786"/>
                  <a:pt x="1622" y="786"/>
                  <a:pt x="1623" y="786"/>
                </a:cubicBezTo>
                <a:cubicBezTo>
                  <a:pt x="1623" y="786"/>
                  <a:pt x="1623" y="785"/>
                  <a:pt x="1623" y="785"/>
                </a:cubicBezTo>
                <a:cubicBezTo>
                  <a:pt x="1623" y="785"/>
                  <a:pt x="1623" y="785"/>
                  <a:pt x="1623" y="785"/>
                </a:cubicBezTo>
                <a:cubicBezTo>
                  <a:pt x="1624" y="785"/>
                  <a:pt x="1624" y="784"/>
                  <a:pt x="1624" y="784"/>
                </a:cubicBezTo>
                <a:cubicBezTo>
                  <a:pt x="1624" y="784"/>
                  <a:pt x="1624" y="783"/>
                  <a:pt x="1624" y="783"/>
                </a:cubicBezTo>
                <a:cubicBezTo>
                  <a:pt x="1624" y="783"/>
                  <a:pt x="1624" y="783"/>
                  <a:pt x="1625" y="783"/>
                </a:cubicBezTo>
                <a:cubicBezTo>
                  <a:pt x="1624" y="783"/>
                  <a:pt x="1624" y="783"/>
                  <a:pt x="1624" y="783"/>
                </a:cubicBezTo>
                <a:cubicBezTo>
                  <a:pt x="1624" y="783"/>
                  <a:pt x="1623" y="782"/>
                  <a:pt x="1623" y="782"/>
                </a:cubicBezTo>
                <a:cubicBezTo>
                  <a:pt x="1623" y="782"/>
                  <a:pt x="1623" y="782"/>
                  <a:pt x="1623" y="781"/>
                </a:cubicBezTo>
                <a:cubicBezTo>
                  <a:pt x="1623" y="781"/>
                  <a:pt x="1623" y="781"/>
                  <a:pt x="1623" y="781"/>
                </a:cubicBezTo>
                <a:cubicBezTo>
                  <a:pt x="1623" y="781"/>
                  <a:pt x="1623" y="781"/>
                  <a:pt x="1623" y="781"/>
                </a:cubicBezTo>
                <a:cubicBezTo>
                  <a:pt x="1623" y="781"/>
                  <a:pt x="1623" y="781"/>
                  <a:pt x="1623" y="781"/>
                </a:cubicBezTo>
                <a:cubicBezTo>
                  <a:pt x="1623" y="781"/>
                  <a:pt x="1623" y="780"/>
                  <a:pt x="1623" y="780"/>
                </a:cubicBezTo>
                <a:cubicBezTo>
                  <a:pt x="1624" y="780"/>
                  <a:pt x="1624" y="780"/>
                  <a:pt x="1624" y="781"/>
                </a:cubicBezTo>
                <a:cubicBezTo>
                  <a:pt x="1624" y="780"/>
                  <a:pt x="1624" y="780"/>
                  <a:pt x="1624" y="780"/>
                </a:cubicBezTo>
                <a:cubicBezTo>
                  <a:pt x="1624" y="780"/>
                  <a:pt x="1624" y="780"/>
                  <a:pt x="1623" y="780"/>
                </a:cubicBezTo>
                <a:cubicBezTo>
                  <a:pt x="1623" y="779"/>
                  <a:pt x="1623" y="779"/>
                  <a:pt x="1623" y="779"/>
                </a:cubicBezTo>
                <a:cubicBezTo>
                  <a:pt x="1623" y="779"/>
                  <a:pt x="1623" y="779"/>
                  <a:pt x="1623" y="779"/>
                </a:cubicBezTo>
                <a:cubicBezTo>
                  <a:pt x="1623" y="779"/>
                  <a:pt x="1623" y="778"/>
                  <a:pt x="1623" y="778"/>
                </a:cubicBezTo>
                <a:cubicBezTo>
                  <a:pt x="1623" y="778"/>
                  <a:pt x="1623" y="778"/>
                  <a:pt x="1623" y="778"/>
                </a:cubicBezTo>
                <a:cubicBezTo>
                  <a:pt x="1623" y="778"/>
                  <a:pt x="1623" y="778"/>
                  <a:pt x="1624" y="778"/>
                </a:cubicBezTo>
                <a:cubicBezTo>
                  <a:pt x="1623" y="778"/>
                  <a:pt x="1623" y="778"/>
                  <a:pt x="1623" y="778"/>
                </a:cubicBezTo>
                <a:cubicBezTo>
                  <a:pt x="1623" y="778"/>
                  <a:pt x="1623" y="778"/>
                  <a:pt x="1623" y="778"/>
                </a:cubicBezTo>
                <a:cubicBezTo>
                  <a:pt x="1623" y="778"/>
                  <a:pt x="1623" y="778"/>
                  <a:pt x="1623" y="778"/>
                </a:cubicBezTo>
                <a:cubicBezTo>
                  <a:pt x="1622" y="778"/>
                  <a:pt x="1622" y="778"/>
                  <a:pt x="1622" y="779"/>
                </a:cubicBezTo>
                <a:cubicBezTo>
                  <a:pt x="1622" y="778"/>
                  <a:pt x="1622" y="778"/>
                  <a:pt x="1622" y="778"/>
                </a:cubicBezTo>
                <a:cubicBezTo>
                  <a:pt x="1622" y="778"/>
                  <a:pt x="1622" y="778"/>
                  <a:pt x="1622" y="778"/>
                </a:cubicBezTo>
                <a:cubicBezTo>
                  <a:pt x="1622" y="778"/>
                  <a:pt x="1622" y="777"/>
                  <a:pt x="1622" y="777"/>
                </a:cubicBezTo>
                <a:cubicBezTo>
                  <a:pt x="1622" y="777"/>
                  <a:pt x="1622" y="776"/>
                  <a:pt x="1622" y="776"/>
                </a:cubicBezTo>
                <a:cubicBezTo>
                  <a:pt x="1622" y="776"/>
                  <a:pt x="1622" y="776"/>
                  <a:pt x="1623" y="776"/>
                </a:cubicBezTo>
                <a:cubicBezTo>
                  <a:pt x="1623" y="776"/>
                  <a:pt x="1623" y="775"/>
                  <a:pt x="1623" y="775"/>
                </a:cubicBezTo>
                <a:cubicBezTo>
                  <a:pt x="1623" y="775"/>
                  <a:pt x="1623" y="775"/>
                  <a:pt x="1623" y="775"/>
                </a:cubicBezTo>
                <a:cubicBezTo>
                  <a:pt x="1623" y="775"/>
                  <a:pt x="1623" y="775"/>
                  <a:pt x="1623" y="775"/>
                </a:cubicBezTo>
                <a:cubicBezTo>
                  <a:pt x="1623" y="775"/>
                  <a:pt x="1622" y="775"/>
                  <a:pt x="1622" y="775"/>
                </a:cubicBezTo>
                <a:cubicBezTo>
                  <a:pt x="1622" y="775"/>
                  <a:pt x="1622" y="775"/>
                  <a:pt x="1621" y="774"/>
                </a:cubicBezTo>
                <a:cubicBezTo>
                  <a:pt x="1621" y="774"/>
                  <a:pt x="1621" y="774"/>
                  <a:pt x="1621" y="775"/>
                </a:cubicBezTo>
                <a:cubicBezTo>
                  <a:pt x="1621" y="775"/>
                  <a:pt x="1621" y="775"/>
                  <a:pt x="1621" y="775"/>
                </a:cubicBezTo>
                <a:cubicBezTo>
                  <a:pt x="1621" y="776"/>
                  <a:pt x="1621" y="777"/>
                  <a:pt x="1621" y="777"/>
                </a:cubicBezTo>
                <a:cubicBezTo>
                  <a:pt x="1621" y="778"/>
                  <a:pt x="1621" y="778"/>
                  <a:pt x="1621" y="778"/>
                </a:cubicBezTo>
                <a:cubicBezTo>
                  <a:pt x="1621" y="778"/>
                  <a:pt x="1621" y="779"/>
                  <a:pt x="1620" y="779"/>
                </a:cubicBezTo>
                <a:cubicBezTo>
                  <a:pt x="1620" y="779"/>
                  <a:pt x="1620" y="779"/>
                  <a:pt x="1620" y="779"/>
                </a:cubicBezTo>
                <a:cubicBezTo>
                  <a:pt x="1620" y="779"/>
                  <a:pt x="1620" y="779"/>
                  <a:pt x="1620" y="779"/>
                </a:cubicBezTo>
                <a:cubicBezTo>
                  <a:pt x="1619" y="779"/>
                  <a:pt x="1619" y="779"/>
                  <a:pt x="1619" y="779"/>
                </a:cubicBezTo>
                <a:cubicBezTo>
                  <a:pt x="1619" y="780"/>
                  <a:pt x="1619" y="780"/>
                  <a:pt x="1619" y="781"/>
                </a:cubicBezTo>
                <a:cubicBezTo>
                  <a:pt x="1619" y="781"/>
                  <a:pt x="1619" y="781"/>
                  <a:pt x="1619" y="781"/>
                </a:cubicBezTo>
                <a:cubicBezTo>
                  <a:pt x="1619" y="781"/>
                  <a:pt x="1620" y="781"/>
                  <a:pt x="1620" y="781"/>
                </a:cubicBezTo>
                <a:cubicBezTo>
                  <a:pt x="1620" y="781"/>
                  <a:pt x="1620" y="781"/>
                  <a:pt x="1621" y="781"/>
                </a:cubicBezTo>
                <a:cubicBezTo>
                  <a:pt x="1621" y="781"/>
                  <a:pt x="1620" y="781"/>
                  <a:pt x="1620" y="781"/>
                </a:cubicBezTo>
                <a:cubicBezTo>
                  <a:pt x="1620" y="781"/>
                  <a:pt x="1620" y="781"/>
                  <a:pt x="1619" y="782"/>
                </a:cubicBezTo>
                <a:cubicBezTo>
                  <a:pt x="1619" y="782"/>
                  <a:pt x="1619" y="782"/>
                  <a:pt x="1619" y="782"/>
                </a:cubicBezTo>
                <a:cubicBezTo>
                  <a:pt x="1619" y="783"/>
                  <a:pt x="1619" y="783"/>
                  <a:pt x="1619" y="784"/>
                </a:cubicBezTo>
                <a:cubicBezTo>
                  <a:pt x="1619" y="784"/>
                  <a:pt x="1618" y="785"/>
                  <a:pt x="1618" y="785"/>
                </a:cubicBezTo>
                <a:cubicBezTo>
                  <a:pt x="1618" y="786"/>
                  <a:pt x="1618" y="786"/>
                  <a:pt x="1618" y="786"/>
                </a:cubicBezTo>
                <a:cubicBezTo>
                  <a:pt x="1617" y="786"/>
                  <a:pt x="1617" y="787"/>
                  <a:pt x="1617" y="787"/>
                </a:cubicBezTo>
                <a:cubicBezTo>
                  <a:pt x="1617" y="787"/>
                  <a:pt x="1618" y="787"/>
                  <a:pt x="1618" y="787"/>
                </a:cubicBezTo>
                <a:cubicBezTo>
                  <a:pt x="1618" y="787"/>
                  <a:pt x="1618" y="787"/>
                  <a:pt x="1618" y="787"/>
                </a:cubicBezTo>
                <a:cubicBezTo>
                  <a:pt x="1618" y="786"/>
                  <a:pt x="1618" y="786"/>
                  <a:pt x="1618" y="786"/>
                </a:cubicBezTo>
                <a:cubicBezTo>
                  <a:pt x="1618" y="786"/>
                  <a:pt x="1619" y="786"/>
                  <a:pt x="1619" y="786"/>
                </a:cubicBezTo>
                <a:cubicBezTo>
                  <a:pt x="1619" y="786"/>
                  <a:pt x="1619" y="786"/>
                  <a:pt x="1619" y="786"/>
                </a:cubicBezTo>
                <a:cubicBezTo>
                  <a:pt x="1619" y="787"/>
                  <a:pt x="1618" y="787"/>
                  <a:pt x="1618" y="787"/>
                </a:cubicBezTo>
                <a:cubicBezTo>
                  <a:pt x="1619" y="787"/>
                  <a:pt x="1619" y="787"/>
                  <a:pt x="1619" y="787"/>
                </a:cubicBezTo>
                <a:cubicBezTo>
                  <a:pt x="1619" y="787"/>
                  <a:pt x="1619" y="787"/>
                  <a:pt x="1619" y="787"/>
                </a:cubicBezTo>
                <a:cubicBezTo>
                  <a:pt x="1619" y="787"/>
                  <a:pt x="1619" y="787"/>
                  <a:pt x="1619" y="787"/>
                </a:cubicBezTo>
                <a:cubicBezTo>
                  <a:pt x="1619" y="787"/>
                  <a:pt x="1619" y="787"/>
                  <a:pt x="1619" y="787"/>
                </a:cubicBezTo>
                <a:cubicBezTo>
                  <a:pt x="1619" y="787"/>
                  <a:pt x="1619" y="787"/>
                  <a:pt x="1619" y="787"/>
                </a:cubicBezTo>
                <a:cubicBezTo>
                  <a:pt x="1619" y="787"/>
                  <a:pt x="1619" y="788"/>
                  <a:pt x="1618" y="788"/>
                </a:cubicBezTo>
                <a:cubicBezTo>
                  <a:pt x="1618" y="788"/>
                  <a:pt x="1618" y="788"/>
                  <a:pt x="1618" y="788"/>
                </a:cubicBezTo>
                <a:cubicBezTo>
                  <a:pt x="1618" y="788"/>
                  <a:pt x="1618" y="788"/>
                  <a:pt x="1618" y="788"/>
                </a:cubicBezTo>
                <a:cubicBezTo>
                  <a:pt x="1618" y="788"/>
                  <a:pt x="1617" y="788"/>
                  <a:pt x="1617" y="788"/>
                </a:cubicBezTo>
                <a:cubicBezTo>
                  <a:pt x="1617" y="788"/>
                  <a:pt x="1617" y="788"/>
                  <a:pt x="1617" y="788"/>
                </a:cubicBezTo>
                <a:cubicBezTo>
                  <a:pt x="1617" y="788"/>
                  <a:pt x="1617" y="788"/>
                  <a:pt x="1617" y="788"/>
                </a:cubicBezTo>
                <a:cubicBezTo>
                  <a:pt x="1617" y="788"/>
                  <a:pt x="1617" y="788"/>
                  <a:pt x="1617" y="789"/>
                </a:cubicBezTo>
                <a:cubicBezTo>
                  <a:pt x="1616" y="789"/>
                  <a:pt x="1616" y="790"/>
                  <a:pt x="1616" y="790"/>
                </a:cubicBezTo>
                <a:cubicBezTo>
                  <a:pt x="1616" y="790"/>
                  <a:pt x="1617" y="790"/>
                  <a:pt x="1617" y="790"/>
                </a:cubicBezTo>
                <a:cubicBezTo>
                  <a:pt x="1617" y="790"/>
                  <a:pt x="1617" y="790"/>
                  <a:pt x="1617" y="790"/>
                </a:cubicBezTo>
                <a:cubicBezTo>
                  <a:pt x="1617" y="791"/>
                  <a:pt x="1617" y="791"/>
                  <a:pt x="1617" y="791"/>
                </a:cubicBezTo>
                <a:cubicBezTo>
                  <a:pt x="1617" y="791"/>
                  <a:pt x="1617" y="791"/>
                  <a:pt x="1617" y="791"/>
                </a:cubicBezTo>
                <a:cubicBezTo>
                  <a:pt x="1617" y="792"/>
                  <a:pt x="1617" y="792"/>
                  <a:pt x="1617" y="792"/>
                </a:cubicBezTo>
                <a:cubicBezTo>
                  <a:pt x="1617" y="792"/>
                  <a:pt x="1616" y="792"/>
                  <a:pt x="1616" y="792"/>
                </a:cubicBezTo>
                <a:cubicBezTo>
                  <a:pt x="1616" y="792"/>
                  <a:pt x="1616" y="792"/>
                  <a:pt x="1616" y="792"/>
                </a:cubicBezTo>
                <a:cubicBezTo>
                  <a:pt x="1616" y="792"/>
                  <a:pt x="1616" y="792"/>
                  <a:pt x="1616" y="792"/>
                </a:cubicBezTo>
                <a:cubicBezTo>
                  <a:pt x="1616" y="793"/>
                  <a:pt x="1616" y="793"/>
                  <a:pt x="1616" y="793"/>
                </a:cubicBezTo>
                <a:cubicBezTo>
                  <a:pt x="1615" y="793"/>
                  <a:pt x="1615" y="793"/>
                  <a:pt x="1615" y="794"/>
                </a:cubicBezTo>
                <a:cubicBezTo>
                  <a:pt x="1614" y="794"/>
                  <a:pt x="1614" y="794"/>
                  <a:pt x="1614" y="794"/>
                </a:cubicBezTo>
                <a:cubicBezTo>
                  <a:pt x="1614" y="794"/>
                  <a:pt x="1614" y="794"/>
                  <a:pt x="1614" y="794"/>
                </a:cubicBezTo>
                <a:cubicBezTo>
                  <a:pt x="1614" y="794"/>
                  <a:pt x="1614" y="795"/>
                  <a:pt x="1614" y="795"/>
                </a:cubicBezTo>
                <a:cubicBezTo>
                  <a:pt x="1614" y="795"/>
                  <a:pt x="1614" y="795"/>
                  <a:pt x="1614" y="795"/>
                </a:cubicBezTo>
                <a:cubicBezTo>
                  <a:pt x="1614" y="795"/>
                  <a:pt x="1613" y="795"/>
                  <a:pt x="1613" y="795"/>
                </a:cubicBezTo>
                <a:cubicBezTo>
                  <a:pt x="1613" y="795"/>
                  <a:pt x="1613" y="795"/>
                  <a:pt x="1613" y="795"/>
                </a:cubicBezTo>
                <a:cubicBezTo>
                  <a:pt x="1613" y="795"/>
                  <a:pt x="1613" y="795"/>
                  <a:pt x="1612" y="795"/>
                </a:cubicBezTo>
                <a:cubicBezTo>
                  <a:pt x="1613" y="796"/>
                  <a:pt x="1613" y="796"/>
                  <a:pt x="1613" y="796"/>
                </a:cubicBezTo>
                <a:cubicBezTo>
                  <a:pt x="1612" y="796"/>
                  <a:pt x="1612" y="796"/>
                  <a:pt x="1612" y="796"/>
                </a:cubicBezTo>
                <a:cubicBezTo>
                  <a:pt x="1612" y="796"/>
                  <a:pt x="1612" y="796"/>
                  <a:pt x="1612" y="796"/>
                </a:cubicBezTo>
                <a:cubicBezTo>
                  <a:pt x="1611" y="796"/>
                  <a:pt x="1611" y="796"/>
                  <a:pt x="1611" y="796"/>
                </a:cubicBezTo>
                <a:cubicBezTo>
                  <a:pt x="1610" y="797"/>
                  <a:pt x="1610" y="798"/>
                  <a:pt x="1609" y="798"/>
                </a:cubicBezTo>
                <a:cubicBezTo>
                  <a:pt x="1609" y="798"/>
                  <a:pt x="1609" y="799"/>
                  <a:pt x="1609" y="799"/>
                </a:cubicBezTo>
                <a:cubicBezTo>
                  <a:pt x="1608" y="799"/>
                  <a:pt x="1608" y="799"/>
                  <a:pt x="1608" y="799"/>
                </a:cubicBezTo>
                <a:cubicBezTo>
                  <a:pt x="1608" y="799"/>
                  <a:pt x="1608" y="799"/>
                  <a:pt x="1607" y="799"/>
                </a:cubicBezTo>
                <a:cubicBezTo>
                  <a:pt x="1607" y="798"/>
                  <a:pt x="1607" y="798"/>
                  <a:pt x="1607" y="798"/>
                </a:cubicBezTo>
                <a:cubicBezTo>
                  <a:pt x="1607" y="798"/>
                  <a:pt x="1606" y="798"/>
                  <a:pt x="1606" y="798"/>
                </a:cubicBezTo>
                <a:cubicBezTo>
                  <a:pt x="1605" y="798"/>
                  <a:pt x="1605" y="798"/>
                  <a:pt x="1604" y="798"/>
                </a:cubicBezTo>
                <a:cubicBezTo>
                  <a:pt x="1604" y="798"/>
                  <a:pt x="1604" y="798"/>
                  <a:pt x="1603" y="798"/>
                </a:cubicBezTo>
                <a:cubicBezTo>
                  <a:pt x="1603" y="798"/>
                  <a:pt x="1603" y="798"/>
                  <a:pt x="1603" y="798"/>
                </a:cubicBezTo>
                <a:cubicBezTo>
                  <a:pt x="1602" y="799"/>
                  <a:pt x="1602" y="799"/>
                  <a:pt x="1602" y="800"/>
                </a:cubicBezTo>
                <a:cubicBezTo>
                  <a:pt x="1602" y="800"/>
                  <a:pt x="1602" y="800"/>
                  <a:pt x="1603" y="800"/>
                </a:cubicBezTo>
                <a:cubicBezTo>
                  <a:pt x="1603" y="801"/>
                  <a:pt x="1603" y="801"/>
                  <a:pt x="1603" y="802"/>
                </a:cubicBezTo>
                <a:cubicBezTo>
                  <a:pt x="1603" y="802"/>
                  <a:pt x="1603" y="802"/>
                  <a:pt x="1603" y="803"/>
                </a:cubicBezTo>
                <a:cubicBezTo>
                  <a:pt x="1604" y="803"/>
                  <a:pt x="1604" y="803"/>
                  <a:pt x="1604" y="803"/>
                </a:cubicBezTo>
                <a:cubicBezTo>
                  <a:pt x="1604" y="804"/>
                  <a:pt x="1604" y="804"/>
                  <a:pt x="1605" y="804"/>
                </a:cubicBezTo>
                <a:cubicBezTo>
                  <a:pt x="1604" y="805"/>
                  <a:pt x="1604" y="805"/>
                  <a:pt x="1604" y="806"/>
                </a:cubicBezTo>
                <a:cubicBezTo>
                  <a:pt x="1604" y="806"/>
                  <a:pt x="1604" y="806"/>
                  <a:pt x="1604" y="806"/>
                </a:cubicBezTo>
                <a:cubicBezTo>
                  <a:pt x="1604" y="806"/>
                  <a:pt x="1604" y="806"/>
                  <a:pt x="1604" y="806"/>
                </a:cubicBezTo>
                <a:cubicBezTo>
                  <a:pt x="1603" y="806"/>
                  <a:pt x="1603" y="806"/>
                  <a:pt x="1603" y="807"/>
                </a:cubicBezTo>
                <a:cubicBezTo>
                  <a:pt x="1603" y="807"/>
                  <a:pt x="1603" y="807"/>
                  <a:pt x="1603" y="807"/>
                </a:cubicBezTo>
                <a:cubicBezTo>
                  <a:pt x="1602" y="807"/>
                  <a:pt x="1601" y="808"/>
                  <a:pt x="1600" y="808"/>
                </a:cubicBezTo>
                <a:cubicBezTo>
                  <a:pt x="1600" y="808"/>
                  <a:pt x="1599" y="808"/>
                  <a:pt x="1598" y="808"/>
                </a:cubicBezTo>
                <a:cubicBezTo>
                  <a:pt x="1598" y="808"/>
                  <a:pt x="1597" y="808"/>
                  <a:pt x="1597" y="808"/>
                </a:cubicBezTo>
                <a:cubicBezTo>
                  <a:pt x="1597" y="809"/>
                  <a:pt x="1596" y="809"/>
                  <a:pt x="1596" y="809"/>
                </a:cubicBezTo>
                <a:cubicBezTo>
                  <a:pt x="1596" y="809"/>
                  <a:pt x="1596" y="809"/>
                  <a:pt x="1596" y="809"/>
                </a:cubicBezTo>
                <a:cubicBezTo>
                  <a:pt x="1596" y="809"/>
                  <a:pt x="1597" y="809"/>
                  <a:pt x="1597" y="810"/>
                </a:cubicBezTo>
                <a:cubicBezTo>
                  <a:pt x="1597" y="810"/>
                  <a:pt x="1597" y="809"/>
                  <a:pt x="1597" y="809"/>
                </a:cubicBezTo>
                <a:cubicBezTo>
                  <a:pt x="1597" y="809"/>
                  <a:pt x="1597" y="809"/>
                  <a:pt x="1598" y="810"/>
                </a:cubicBezTo>
                <a:cubicBezTo>
                  <a:pt x="1597" y="810"/>
                  <a:pt x="1597" y="810"/>
                  <a:pt x="1597" y="810"/>
                </a:cubicBezTo>
                <a:cubicBezTo>
                  <a:pt x="1597" y="810"/>
                  <a:pt x="1597" y="810"/>
                  <a:pt x="1597" y="810"/>
                </a:cubicBezTo>
                <a:cubicBezTo>
                  <a:pt x="1597" y="810"/>
                  <a:pt x="1597" y="810"/>
                  <a:pt x="1597" y="810"/>
                </a:cubicBezTo>
                <a:cubicBezTo>
                  <a:pt x="1597" y="811"/>
                  <a:pt x="1597" y="811"/>
                  <a:pt x="1598" y="811"/>
                </a:cubicBezTo>
                <a:cubicBezTo>
                  <a:pt x="1598" y="811"/>
                  <a:pt x="1598" y="811"/>
                  <a:pt x="1598" y="811"/>
                </a:cubicBezTo>
                <a:cubicBezTo>
                  <a:pt x="1598" y="811"/>
                  <a:pt x="1597" y="811"/>
                  <a:pt x="1597" y="811"/>
                </a:cubicBezTo>
                <a:cubicBezTo>
                  <a:pt x="1597" y="812"/>
                  <a:pt x="1597" y="812"/>
                  <a:pt x="1597" y="812"/>
                </a:cubicBezTo>
                <a:cubicBezTo>
                  <a:pt x="1598" y="812"/>
                  <a:pt x="1598" y="812"/>
                  <a:pt x="1598" y="812"/>
                </a:cubicBezTo>
                <a:cubicBezTo>
                  <a:pt x="1599" y="812"/>
                  <a:pt x="1599" y="812"/>
                  <a:pt x="1600" y="812"/>
                </a:cubicBezTo>
                <a:cubicBezTo>
                  <a:pt x="1600" y="812"/>
                  <a:pt x="1601" y="812"/>
                  <a:pt x="1602" y="812"/>
                </a:cubicBezTo>
                <a:cubicBezTo>
                  <a:pt x="1602" y="811"/>
                  <a:pt x="1603" y="811"/>
                  <a:pt x="1603" y="811"/>
                </a:cubicBezTo>
                <a:cubicBezTo>
                  <a:pt x="1604" y="811"/>
                  <a:pt x="1604" y="811"/>
                  <a:pt x="1605" y="811"/>
                </a:cubicBezTo>
                <a:cubicBezTo>
                  <a:pt x="1606" y="810"/>
                  <a:pt x="1606" y="810"/>
                  <a:pt x="1607" y="810"/>
                </a:cubicBezTo>
                <a:cubicBezTo>
                  <a:pt x="1607" y="810"/>
                  <a:pt x="1608" y="810"/>
                  <a:pt x="1608" y="810"/>
                </a:cubicBezTo>
                <a:cubicBezTo>
                  <a:pt x="1608" y="810"/>
                  <a:pt x="1608" y="810"/>
                  <a:pt x="1608" y="810"/>
                </a:cubicBezTo>
                <a:cubicBezTo>
                  <a:pt x="1609" y="810"/>
                  <a:pt x="1609" y="810"/>
                  <a:pt x="1609" y="810"/>
                </a:cubicBezTo>
                <a:cubicBezTo>
                  <a:pt x="1609" y="810"/>
                  <a:pt x="1609" y="810"/>
                  <a:pt x="1609" y="810"/>
                </a:cubicBezTo>
                <a:cubicBezTo>
                  <a:pt x="1609" y="809"/>
                  <a:pt x="1610" y="809"/>
                  <a:pt x="1610" y="809"/>
                </a:cubicBezTo>
                <a:cubicBezTo>
                  <a:pt x="1610" y="809"/>
                  <a:pt x="1610" y="809"/>
                  <a:pt x="1611" y="810"/>
                </a:cubicBezTo>
                <a:cubicBezTo>
                  <a:pt x="1611" y="809"/>
                  <a:pt x="1611" y="809"/>
                  <a:pt x="1612" y="809"/>
                </a:cubicBezTo>
                <a:cubicBezTo>
                  <a:pt x="1612" y="808"/>
                  <a:pt x="1613" y="808"/>
                  <a:pt x="1613" y="808"/>
                </a:cubicBezTo>
                <a:cubicBezTo>
                  <a:pt x="1613" y="808"/>
                  <a:pt x="1613" y="808"/>
                  <a:pt x="1613" y="808"/>
                </a:cubicBezTo>
                <a:cubicBezTo>
                  <a:pt x="1614" y="808"/>
                  <a:pt x="1614" y="808"/>
                  <a:pt x="1614" y="808"/>
                </a:cubicBezTo>
                <a:cubicBezTo>
                  <a:pt x="1614" y="807"/>
                  <a:pt x="1614" y="807"/>
                  <a:pt x="1614" y="807"/>
                </a:cubicBezTo>
                <a:cubicBezTo>
                  <a:pt x="1613" y="807"/>
                  <a:pt x="1613" y="807"/>
                  <a:pt x="1613" y="806"/>
                </a:cubicBezTo>
                <a:cubicBezTo>
                  <a:pt x="1613" y="806"/>
                  <a:pt x="1613" y="806"/>
                  <a:pt x="1612" y="806"/>
                </a:cubicBezTo>
                <a:cubicBezTo>
                  <a:pt x="1613" y="806"/>
                  <a:pt x="1613" y="806"/>
                  <a:pt x="1613" y="806"/>
                </a:cubicBezTo>
                <a:cubicBezTo>
                  <a:pt x="1613" y="806"/>
                  <a:pt x="1614" y="806"/>
                  <a:pt x="1614" y="806"/>
                </a:cubicBezTo>
                <a:cubicBezTo>
                  <a:pt x="1615" y="806"/>
                  <a:pt x="1615" y="806"/>
                  <a:pt x="1616" y="806"/>
                </a:cubicBezTo>
                <a:cubicBezTo>
                  <a:pt x="1617" y="806"/>
                  <a:pt x="1617" y="806"/>
                  <a:pt x="1617" y="806"/>
                </a:cubicBezTo>
                <a:cubicBezTo>
                  <a:pt x="1618" y="806"/>
                  <a:pt x="1618" y="806"/>
                  <a:pt x="1618" y="807"/>
                </a:cubicBezTo>
                <a:cubicBezTo>
                  <a:pt x="1619" y="807"/>
                  <a:pt x="1619" y="807"/>
                  <a:pt x="1619" y="807"/>
                </a:cubicBezTo>
                <a:cubicBezTo>
                  <a:pt x="1619" y="807"/>
                  <a:pt x="1619" y="807"/>
                  <a:pt x="1619" y="807"/>
                </a:cubicBezTo>
                <a:cubicBezTo>
                  <a:pt x="1619" y="807"/>
                  <a:pt x="1618" y="808"/>
                  <a:pt x="1618" y="808"/>
                </a:cubicBezTo>
                <a:cubicBezTo>
                  <a:pt x="1619" y="808"/>
                  <a:pt x="1619" y="808"/>
                  <a:pt x="1619" y="808"/>
                </a:cubicBezTo>
                <a:cubicBezTo>
                  <a:pt x="1620" y="808"/>
                  <a:pt x="1620" y="808"/>
                  <a:pt x="1620" y="808"/>
                </a:cubicBezTo>
                <a:cubicBezTo>
                  <a:pt x="1620" y="807"/>
                  <a:pt x="1619" y="807"/>
                  <a:pt x="1619" y="807"/>
                </a:cubicBezTo>
                <a:cubicBezTo>
                  <a:pt x="1619" y="807"/>
                  <a:pt x="1620" y="806"/>
                  <a:pt x="1620" y="806"/>
                </a:cubicBezTo>
                <a:cubicBezTo>
                  <a:pt x="1620" y="806"/>
                  <a:pt x="1620" y="806"/>
                  <a:pt x="1621" y="806"/>
                </a:cubicBezTo>
                <a:cubicBezTo>
                  <a:pt x="1621" y="805"/>
                  <a:pt x="1621" y="805"/>
                  <a:pt x="1621" y="805"/>
                </a:cubicBezTo>
                <a:cubicBezTo>
                  <a:pt x="1622" y="805"/>
                  <a:pt x="1622" y="806"/>
                  <a:pt x="1622" y="806"/>
                </a:cubicBezTo>
                <a:cubicBezTo>
                  <a:pt x="1622" y="806"/>
                  <a:pt x="1622" y="806"/>
                  <a:pt x="1622" y="806"/>
                </a:cubicBezTo>
                <a:cubicBezTo>
                  <a:pt x="1622" y="806"/>
                  <a:pt x="1622" y="806"/>
                  <a:pt x="1623" y="806"/>
                </a:cubicBezTo>
                <a:cubicBezTo>
                  <a:pt x="1623" y="806"/>
                  <a:pt x="1623" y="806"/>
                  <a:pt x="1623" y="806"/>
                </a:cubicBezTo>
                <a:cubicBezTo>
                  <a:pt x="1624" y="805"/>
                  <a:pt x="1624" y="805"/>
                  <a:pt x="1625" y="805"/>
                </a:cubicBezTo>
                <a:cubicBezTo>
                  <a:pt x="1625" y="805"/>
                  <a:pt x="1625" y="805"/>
                  <a:pt x="1625" y="804"/>
                </a:cubicBezTo>
                <a:cubicBezTo>
                  <a:pt x="1625" y="804"/>
                  <a:pt x="1625" y="804"/>
                  <a:pt x="1626" y="804"/>
                </a:cubicBezTo>
                <a:cubicBezTo>
                  <a:pt x="1626" y="804"/>
                  <a:pt x="1626" y="804"/>
                  <a:pt x="1626" y="803"/>
                </a:cubicBezTo>
                <a:cubicBezTo>
                  <a:pt x="1627" y="803"/>
                  <a:pt x="1627" y="803"/>
                  <a:pt x="1627" y="803"/>
                </a:cubicBezTo>
                <a:cubicBezTo>
                  <a:pt x="1628" y="803"/>
                  <a:pt x="1628" y="803"/>
                  <a:pt x="1628" y="803"/>
                </a:cubicBezTo>
                <a:cubicBezTo>
                  <a:pt x="1628" y="803"/>
                  <a:pt x="1628" y="803"/>
                  <a:pt x="1628" y="803"/>
                </a:cubicBezTo>
                <a:cubicBezTo>
                  <a:pt x="1628" y="803"/>
                  <a:pt x="1628" y="802"/>
                  <a:pt x="1627" y="802"/>
                </a:cubicBezTo>
                <a:close/>
                <a:moveTo>
                  <a:pt x="1547" y="821"/>
                </a:moveTo>
                <a:cubicBezTo>
                  <a:pt x="1547" y="821"/>
                  <a:pt x="1547" y="821"/>
                  <a:pt x="1547" y="820"/>
                </a:cubicBezTo>
                <a:cubicBezTo>
                  <a:pt x="1547" y="820"/>
                  <a:pt x="1546" y="820"/>
                  <a:pt x="1546" y="820"/>
                </a:cubicBezTo>
                <a:cubicBezTo>
                  <a:pt x="1546" y="821"/>
                  <a:pt x="1547" y="821"/>
                  <a:pt x="1547" y="821"/>
                </a:cubicBezTo>
                <a:close/>
                <a:moveTo>
                  <a:pt x="1545" y="818"/>
                </a:moveTo>
                <a:cubicBezTo>
                  <a:pt x="1545" y="818"/>
                  <a:pt x="1545" y="818"/>
                  <a:pt x="1544" y="818"/>
                </a:cubicBezTo>
                <a:cubicBezTo>
                  <a:pt x="1544" y="818"/>
                  <a:pt x="1544" y="818"/>
                  <a:pt x="1544" y="818"/>
                </a:cubicBezTo>
                <a:cubicBezTo>
                  <a:pt x="1544" y="818"/>
                  <a:pt x="1544" y="818"/>
                  <a:pt x="1544" y="819"/>
                </a:cubicBezTo>
                <a:cubicBezTo>
                  <a:pt x="1544" y="819"/>
                  <a:pt x="1543" y="819"/>
                  <a:pt x="1543" y="819"/>
                </a:cubicBezTo>
                <a:cubicBezTo>
                  <a:pt x="1543" y="819"/>
                  <a:pt x="1543" y="819"/>
                  <a:pt x="1543" y="819"/>
                </a:cubicBezTo>
                <a:cubicBezTo>
                  <a:pt x="1543" y="819"/>
                  <a:pt x="1542" y="819"/>
                  <a:pt x="1542" y="819"/>
                </a:cubicBezTo>
                <a:cubicBezTo>
                  <a:pt x="1542" y="819"/>
                  <a:pt x="1542" y="819"/>
                  <a:pt x="1542" y="819"/>
                </a:cubicBezTo>
                <a:cubicBezTo>
                  <a:pt x="1542" y="820"/>
                  <a:pt x="1541" y="820"/>
                  <a:pt x="1541" y="820"/>
                </a:cubicBezTo>
                <a:cubicBezTo>
                  <a:pt x="1541" y="820"/>
                  <a:pt x="1541" y="820"/>
                  <a:pt x="1541" y="820"/>
                </a:cubicBezTo>
                <a:cubicBezTo>
                  <a:pt x="1541" y="820"/>
                  <a:pt x="1541" y="820"/>
                  <a:pt x="1541" y="820"/>
                </a:cubicBezTo>
                <a:cubicBezTo>
                  <a:pt x="1541" y="820"/>
                  <a:pt x="1542" y="820"/>
                  <a:pt x="1542" y="820"/>
                </a:cubicBezTo>
                <a:cubicBezTo>
                  <a:pt x="1542" y="820"/>
                  <a:pt x="1542" y="820"/>
                  <a:pt x="1542" y="820"/>
                </a:cubicBezTo>
                <a:cubicBezTo>
                  <a:pt x="1542" y="820"/>
                  <a:pt x="1542" y="820"/>
                  <a:pt x="1542" y="820"/>
                </a:cubicBezTo>
                <a:cubicBezTo>
                  <a:pt x="1543" y="820"/>
                  <a:pt x="1543" y="820"/>
                  <a:pt x="1543" y="821"/>
                </a:cubicBezTo>
                <a:cubicBezTo>
                  <a:pt x="1543" y="821"/>
                  <a:pt x="1543" y="820"/>
                  <a:pt x="1543" y="820"/>
                </a:cubicBezTo>
                <a:cubicBezTo>
                  <a:pt x="1544" y="821"/>
                  <a:pt x="1544" y="821"/>
                  <a:pt x="1544" y="821"/>
                </a:cubicBezTo>
                <a:cubicBezTo>
                  <a:pt x="1544" y="821"/>
                  <a:pt x="1544" y="821"/>
                  <a:pt x="1545" y="821"/>
                </a:cubicBezTo>
                <a:cubicBezTo>
                  <a:pt x="1545" y="821"/>
                  <a:pt x="1545" y="821"/>
                  <a:pt x="1545" y="821"/>
                </a:cubicBezTo>
                <a:cubicBezTo>
                  <a:pt x="1545" y="821"/>
                  <a:pt x="1545" y="821"/>
                  <a:pt x="1545" y="820"/>
                </a:cubicBezTo>
                <a:cubicBezTo>
                  <a:pt x="1545" y="820"/>
                  <a:pt x="1545" y="820"/>
                  <a:pt x="1545" y="820"/>
                </a:cubicBezTo>
                <a:cubicBezTo>
                  <a:pt x="1545" y="820"/>
                  <a:pt x="1545" y="820"/>
                  <a:pt x="1545" y="820"/>
                </a:cubicBezTo>
                <a:cubicBezTo>
                  <a:pt x="1544" y="820"/>
                  <a:pt x="1544" y="820"/>
                  <a:pt x="1544" y="820"/>
                </a:cubicBezTo>
                <a:cubicBezTo>
                  <a:pt x="1544" y="820"/>
                  <a:pt x="1545" y="820"/>
                  <a:pt x="1545" y="820"/>
                </a:cubicBezTo>
                <a:cubicBezTo>
                  <a:pt x="1545" y="820"/>
                  <a:pt x="1545" y="820"/>
                  <a:pt x="1545" y="820"/>
                </a:cubicBezTo>
                <a:cubicBezTo>
                  <a:pt x="1545" y="820"/>
                  <a:pt x="1545" y="820"/>
                  <a:pt x="1545" y="820"/>
                </a:cubicBezTo>
                <a:cubicBezTo>
                  <a:pt x="1545" y="820"/>
                  <a:pt x="1545" y="820"/>
                  <a:pt x="1545" y="820"/>
                </a:cubicBezTo>
                <a:cubicBezTo>
                  <a:pt x="1545" y="820"/>
                  <a:pt x="1545" y="820"/>
                  <a:pt x="1545" y="820"/>
                </a:cubicBezTo>
                <a:cubicBezTo>
                  <a:pt x="1545" y="819"/>
                  <a:pt x="1545" y="819"/>
                  <a:pt x="1545" y="819"/>
                </a:cubicBezTo>
                <a:cubicBezTo>
                  <a:pt x="1545" y="818"/>
                  <a:pt x="1545" y="818"/>
                  <a:pt x="1545" y="818"/>
                </a:cubicBezTo>
                <a:close/>
                <a:moveTo>
                  <a:pt x="1514" y="833"/>
                </a:moveTo>
                <a:cubicBezTo>
                  <a:pt x="1515" y="833"/>
                  <a:pt x="1515" y="834"/>
                  <a:pt x="1515" y="834"/>
                </a:cubicBezTo>
                <a:cubicBezTo>
                  <a:pt x="1515" y="834"/>
                  <a:pt x="1515" y="834"/>
                  <a:pt x="1515" y="834"/>
                </a:cubicBezTo>
                <a:cubicBezTo>
                  <a:pt x="1516" y="834"/>
                  <a:pt x="1516" y="834"/>
                  <a:pt x="1516" y="834"/>
                </a:cubicBezTo>
                <a:cubicBezTo>
                  <a:pt x="1516" y="834"/>
                  <a:pt x="1516" y="834"/>
                  <a:pt x="1516" y="834"/>
                </a:cubicBezTo>
                <a:cubicBezTo>
                  <a:pt x="1516" y="834"/>
                  <a:pt x="1516" y="834"/>
                  <a:pt x="1516" y="833"/>
                </a:cubicBezTo>
                <a:cubicBezTo>
                  <a:pt x="1517" y="833"/>
                  <a:pt x="1517" y="833"/>
                  <a:pt x="1517" y="833"/>
                </a:cubicBezTo>
                <a:cubicBezTo>
                  <a:pt x="1517" y="833"/>
                  <a:pt x="1517" y="833"/>
                  <a:pt x="1517" y="833"/>
                </a:cubicBezTo>
                <a:cubicBezTo>
                  <a:pt x="1517" y="832"/>
                  <a:pt x="1517" y="832"/>
                  <a:pt x="1517" y="832"/>
                </a:cubicBezTo>
                <a:cubicBezTo>
                  <a:pt x="1516" y="833"/>
                  <a:pt x="1515" y="833"/>
                  <a:pt x="1514" y="833"/>
                </a:cubicBezTo>
                <a:close/>
                <a:moveTo>
                  <a:pt x="1596" y="805"/>
                </a:moveTo>
                <a:cubicBezTo>
                  <a:pt x="1596" y="805"/>
                  <a:pt x="1597" y="805"/>
                  <a:pt x="1597" y="805"/>
                </a:cubicBezTo>
                <a:cubicBezTo>
                  <a:pt x="1596" y="805"/>
                  <a:pt x="1596" y="805"/>
                  <a:pt x="1596" y="805"/>
                </a:cubicBezTo>
                <a:cubicBezTo>
                  <a:pt x="1596" y="805"/>
                  <a:pt x="1596" y="805"/>
                  <a:pt x="1595" y="805"/>
                </a:cubicBezTo>
                <a:cubicBezTo>
                  <a:pt x="1595" y="805"/>
                  <a:pt x="1595" y="805"/>
                  <a:pt x="1595" y="805"/>
                </a:cubicBezTo>
                <a:cubicBezTo>
                  <a:pt x="1595" y="805"/>
                  <a:pt x="1595" y="805"/>
                  <a:pt x="1595" y="805"/>
                </a:cubicBezTo>
                <a:cubicBezTo>
                  <a:pt x="1595" y="805"/>
                  <a:pt x="1595" y="805"/>
                  <a:pt x="1595" y="805"/>
                </a:cubicBezTo>
                <a:cubicBezTo>
                  <a:pt x="1595" y="805"/>
                  <a:pt x="1595" y="805"/>
                  <a:pt x="1596" y="805"/>
                </a:cubicBezTo>
                <a:cubicBezTo>
                  <a:pt x="1596" y="805"/>
                  <a:pt x="1596" y="805"/>
                  <a:pt x="1596" y="805"/>
                </a:cubicBezTo>
                <a:close/>
                <a:moveTo>
                  <a:pt x="1514" y="849"/>
                </a:moveTo>
                <a:cubicBezTo>
                  <a:pt x="1514" y="848"/>
                  <a:pt x="1514" y="848"/>
                  <a:pt x="1514" y="848"/>
                </a:cubicBezTo>
                <a:cubicBezTo>
                  <a:pt x="1513" y="848"/>
                  <a:pt x="1513" y="848"/>
                  <a:pt x="1513" y="848"/>
                </a:cubicBezTo>
                <a:cubicBezTo>
                  <a:pt x="1513" y="849"/>
                  <a:pt x="1513" y="849"/>
                  <a:pt x="1513" y="849"/>
                </a:cubicBezTo>
                <a:cubicBezTo>
                  <a:pt x="1514" y="849"/>
                  <a:pt x="1514" y="849"/>
                  <a:pt x="1514" y="849"/>
                </a:cubicBezTo>
                <a:cubicBezTo>
                  <a:pt x="1515" y="849"/>
                  <a:pt x="1515" y="849"/>
                  <a:pt x="1515" y="849"/>
                </a:cubicBezTo>
                <a:cubicBezTo>
                  <a:pt x="1515" y="848"/>
                  <a:pt x="1515" y="848"/>
                  <a:pt x="1515" y="848"/>
                </a:cubicBezTo>
                <a:cubicBezTo>
                  <a:pt x="1515" y="848"/>
                  <a:pt x="1514" y="848"/>
                  <a:pt x="1514" y="849"/>
                </a:cubicBezTo>
                <a:close/>
                <a:moveTo>
                  <a:pt x="1595" y="806"/>
                </a:moveTo>
                <a:cubicBezTo>
                  <a:pt x="1595" y="806"/>
                  <a:pt x="1595" y="806"/>
                  <a:pt x="1595" y="806"/>
                </a:cubicBezTo>
                <a:cubicBezTo>
                  <a:pt x="1595" y="806"/>
                  <a:pt x="1595" y="806"/>
                  <a:pt x="1594" y="806"/>
                </a:cubicBezTo>
                <a:cubicBezTo>
                  <a:pt x="1594" y="806"/>
                  <a:pt x="1595" y="806"/>
                  <a:pt x="1595" y="806"/>
                </a:cubicBezTo>
                <a:cubicBezTo>
                  <a:pt x="1595" y="806"/>
                  <a:pt x="1595" y="806"/>
                  <a:pt x="1595" y="806"/>
                </a:cubicBezTo>
                <a:close/>
                <a:moveTo>
                  <a:pt x="1594" y="806"/>
                </a:moveTo>
                <a:cubicBezTo>
                  <a:pt x="1594" y="806"/>
                  <a:pt x="1594" y="806"/>
                  <a:pt x="1594" y="806"/>
                </a:cubicBezTo>
                <a:cubicBezTo>
                  <a:pt x="1594" y="806"/>
                  <a:pt x="1595" y="806"/>
                  <a:pt x="1595" y="806"/>
                </a:cubicBezTo>
                <a:cubicBezTo>
                  <a:pt x="1595" y="806"/>
                  <a:pt x="1595" y="806"/>
                  <a:pt x="1595" y="806"/>
                </a:cubicBezTo>
                <a:cubicBezTo>
                  <a:pt x="1594" y="806"/>
                  <a:pt x="1594" y="806"/>
                  <a:pt x="1594" y="806"/>
                </a:cubicBezTo>
                <a:close/>
                <a:moveTo>
                  <a:pt x="1623" y="789"/>
                </a:moveTo>
                <a:cubicBezTo>
                  <a:pt x="1623" y="790"/>
                  <a:pt x="1623" y="790"/>
                  <a:pt x="1623" y="790"/>
                </a:cubicBezTo>
                <a:cubicBezTo>
                  <a:pt x="1623" y="790"/>
                  <a:pt x="1623" y="790"/>
                  <a:pt x="1623" y="790"/>
                </a:cubicBezTo>
                <a:cubicBezTo>
                  <a:pt x="1623" y="790"/>
                  <a:pt x="1623" y="790"/>
                  <a:pt x="1623" y="790"/>
                </a:cubicBezTo>
                <a:cubicBezTo>
                  <a:pt x="1623" y="790"/>
                  <a:pt x="1624" y="790"/>
                  <a:pt x="1624" y="790"/>
                </a:cubicBezTo>
                <a:cubicBezTo>
                  <a:pt x="1624" y="790"/>
                  <a:pt x="1624" y="790"/>
                  <a:pt x="1624" y="789"/>
                </a:cubicBezTo>
                <a:cubicBezTo>
                  <a:pt x="1624" y="789"/>
                  <a:pt x="1624" y="789"/>
                  <a:pt x="1624" y="789"/>
                </a:cubicBezTo>
                <a:cubicBezTo>
                  <a:pt x="1623" y="789"/>
                  <a:pt x="1623" y="789"/>
                  <a:pt x="1623" y="789"/>
                </a:cubicBezTo>
                <a:close/>
                <a:moveTo>
                  <a:pt x="1622" y="789"/>
                </a:moveTo>
                <a:cubicBezTo>
                  <a:pt x="1622" y="789"/>
                  <a:pt x="1622" y="789"/>
                  <a:pt x="1622" y="789"/>
                </a:cubicBezTo>
                <a:cubicBezTo>
                  <a:pt x="1622" y="789"/>
                  <a:pt x="1622" y="789"/>
                  <a:pt x="1622" y="789"/>
                </a:cubicBezTo>
                <a:cubicBezTo>
                  <a:pt x="1622" y="789"/>
                  <a:pt x="1622" y="789"/>
                  <a:pt x="1622" y="789"/>
                </a:cubicBezTo>
                <a:close/>
                <a:moveTo>
                  <a:pt x="819" y="177"/>
                </a:moveTo>
                <a:cubicBezTo>
                  <a:pt x="820" y="177"/>
                  <a:pt x="820" y="177"/>
                  <a:pt x="820" y="177"/>
                </a:cubicBezTo>
                <a:cubicBezTo>
                  <a:pt x="820" y="177"/>
                  <a:pt x="820" y="177"/>
                  <a:pt x="820" y="177"/>
                </a:cubicBezTo>
                <a:cubicBezTo>
                  <a:pt x="821" y="177"/>
                  <a:pt x="821" y="177"/>
                  <a:pt x="821" y="177"/>
                </a:cubicBezTo>
                <a:cubicBezTo>
                  <a:pt x="821" y="177"/>
                  <a:pt x="821" y="177"/>
                  <a:pt x="821" y="177"/>
                </a:cubicBezTo>
                <a:cubicBezTo>
                  <a:pt x="821" y="177"/>
                  <a:pt x="822" y="177"/>
                  <a:pt x="822" y="177"/>
                </a:cubicBezTo>
                <a:cubicBezTo>
                  <a:pt x="823" y="176"/>
                  <a:pt x="823" y="176"/>
                  <a:pt x="824" y="175"/>
                </a:cubicBezTo>
                <a:cubicBezTo>
                  <a:pt x="824" y="175"/>
                  <a:pt x="825" y="175"/>
                  <a:pt x="825" y="174"/>
                </a:cubicBezTo>
                <a:cubicBezTo>
                  <a:pt x="826" y="174"/>
                  <a:pt x="827" y="174"/>
                  <a:pt x="828" y="174"/>
                </a:cubicBezTo>
                <a:cubicBezTo>
                  <a:pt x="828" y="174"/>
                  <a:pt x="828" y="173"/>
                  <a:pt x="828" y="173"/>
                </a:cubicBezTo>
                <a:cubicBezTo>
                  <a:pt x="828" y="173"/>
                  <a:pt x="828" y="173"/>
                  <a:pt x="828" y="173"/>
                </a:cubicBezTo>
                <a:cubicBezTo>
                  <a:pt x="828" y="173"/>
                  <a:pt x="828" y="173"/>
                  <a:pt x="828" y="172"/>
                </a:cubicBezTo>
                <a:cubicBezTo>
                  <a:pt x="828" y="172"/>
                  <a:pt x="828" y="172"/>
                  <a:pt x="829" y="172"/>
                </a:cubicBezTo>
                <a:cubicBezTo>
                  <a:pt x="829" y="173"/>
                  <a:pt x="829" y="173"/>
                  <a:pt x="829" y="173"/>
                </a:cubicBezTo>
                <a:cubicBezTo>
                  <a:pt x="829" y="173"/>
                  <a:pt x="830" y="173"/>
                  <a:pt x="830" y="173"/>
                </a:cubicBezTo>
                <a:cubicBezTo>
                  <a:pt x="831" y="173"/>
                  <a:pt x="831" y="173"/>
                  <a:pt x="831" y="173"/>
                </a:cubicBezTo>
                <a:cubicBezTo>
                  <a:pt x="831" y="172"/>
                  <a:pt x="831" y="172"/>
                  <a:pt x="831" y="172"/>
                </a:cubicBezTo>
                <a:cubicBezTo>
                  <a:pt x="831" y="172"/>
                  <a:pt x="831" y="172"/>
                  <a:pt x="831" y="172"/>
                </a:cubicBezTo>
                <a:cubicBezTo>
                  <a:pt x="831" y="172"/>
                  <a:pt x="831" y="172"/>
                  <a:pt x="831" y="171"/>
                </a:cubicBezTo>
                <a:cubicBezTo>
                  <a:pt x="831" y="171"/>
                  <a:pt x="831" y="171"/>
                  <a:pt x="832" y="171"/>
                </a:cubicBezTo>
                <a:cubicBezTo>
                  <a:pt x="832" y="171"/>
                  <a:pt x="831" y="171"/>
                  <a:pt x="831" y="170"/>
                </a:cubicBezTo>
                <a:cubicBezTo>
                  <a:pt x="831" y="170"/>
                  <a:pt x="831" y="170"/>
                  <a:pt x="832" y="170"/>
                </a:cubicBezTo>
                <a:cubicBezTo>
                  <a:pt x="832" y="170"/>
                  <a:pt x="832" y="170"/>
                  <a:pt x="833" y="170"/>
                </a:cubicBezTo>
                <a:cubicBezTo>
                  <a:pt x="833" y="171"/>
                  <a:pt x="833" y="171"/>
                  <a:pt x="833" y="171"/>
                </a:cubicBezTo>
                <a:cubicBezTo>
                  <a:pt x="833" y="171"/>
                  <a:pt x="833" y="171"/>
                  <a:pt x="834" y="171"/>
                </a:cubicBezTo>
                <a:cubicBezTo>
                  <a:pt x="834" y="170"/>
                  <a:pt x="834" y="170"/>
                  <a:pt x="834" y="170"/>
                </a:cubicBezTo>
                <a:cubicBezTo>
                  <a:pt x="834" y="170"/>
                  <a:pt x="834" y="170"/>
                  <a:pt x="834" y="169"/>
                </a:cubicBezTo>
                <a:cubicBezTo>
                  <a:pt x="834" y="169"/>
                  <a:pt x="833" y="169"/>
                  <a:pt x="833" y="169"/>
                </a:cubicBezTo>
                <a:cubicBezTo>
                  <a:pt x="833" y="168"/>
                  <a:pt x="833" y="168"/>
                  <a:pt x="833" y="168"/>
                </a:cubicBezTo>
                <a:cubicBezTo>
                  <a:pt x="833" y="168"/>
                  <a:pt x="833" y="168"/>
                  <a:pt x="833" y="168"/>
                </a:cubicBezTo>
                <a:cubicBezTo>
                  <a:pt x="833" y="167"/>
                  <a:pt x="833" y="167"/>
                  <a:pt x="833" y="167"/>
                </a:cubicBezTo>
                <a:cubicBezTo>
                  <a:pt x="834" y="167"/>
                  <a:pt x="834" y="167"/>
                  <a:pt x="834" y="167"/>
                </a:cubicBezTo>
                <a:cubicBezTo>
                  <a:pt x="835" y="167"/>
                  <a:pt x="835" y="166"/>
                  <a:pt x="835" y="166"/>
                </a:cubicBezTo>
                <a:cubicBezTo>
                  <a:pt x="835" y="166"/>
                  <a:pt x="835" y="166"/>
                  <a:pt x="836" y="166"/>
                </a:cubicBezTo>
                <a:cubicBezTo>
                  <a:pt x="835" y="166"/>
                  <a:pt x="835" y="166"/>
                  <a:pt x="835" y="165"/>
                </a:cubicBezTo>
                <a:cubicBezTo>
                  <a:pt x="834" y="165"/>
                  <a:pt x="833" y="165"/>
                  <a:pt x="832" y="165"/>
                </a:cubicBezTo>
                <a:cubicBezTo>
                  <a:pt x="832" y="166"/>
                  <a:pt x="832" y="166"/>
                  <a:pt x="832" y="166"/>
                </a:cubicBezTo>
                <a:cubicBezTo>
                  <a:pt x="832" y="166"/>
                  <a:pt x="832" y="165"/>
                  <a:pt x="832" y="165"/>
                </a:cubicBezTo>
                <a:cubicBezTo>
                  <a:pt x="832" y="165"/>
                  <a:pt x="832" y="165"/>
                  <a:pt x="832" y="165"/>
                </a:cubicBezTo>
                <a:cubicBezTo>
                  <a:pt x="832" y="165"/>
                  <a:pt x="831" y="165"/>
                  <a:pt x="831" y="165"/>
                </a:cubicBezTo>
                <a:cubicBezTo>
                  <a:pt x="831" y="165"/>
                  <a:pt x="831" y="165"/>
                  <a:pt x="830" y="165"/>
                </a:cubicBezTo>
                <a:cubicBezTo>
                  <a:pt x="830" y="165"/>
                  <a:pt x="830" y="164"/>
                  <a:pt x="830" y="164"/>
                </a:cubicBezTo>
                <a:cubicBezTo>
                  <a:pt x="830" y="164"/>
                  <a:pt x="830" y="164"/>
                  <a:pt x="831" y="163"/>
                </a:cubicBezTo>
                <a:cubicBezTo>
                  <a:pt x="831" y="163"/>
                  <a:pt x="831" y="163"/>
                  <a:pt x="832" y="163"/>
                </a:cubicBezTo>
                <a:cubicBezTo>
                  <a:pt x="832" y="163"/>
                  <a:pt x="831" y="163"/>
                  <a:pt x="831" y="162"/>
                </a:cubicBezTo>
                <a:cubicBezTo>
                  <a:pt x="831" y="162"/>
                  <a:pt x="831" y="162"/>
                  <a:pt x="831" y="162"/>
                </a:cubicBezTo>
                <a:cubicBezTo>
                  <a:pt x="831" y="162"/>
                  <a:pt x="830" y="162"/>
                  <a:pt x="830" y="162"/>
                </a:cubicBezTo>
                <a:cubicBezTo>
                  <a:pt x="830" y="162"/>
                  <a:pt x="829" y="162"/>
                  <a:pt x="829" y="162"/>
                </a:cubicBezTo>
                <a:cubicBezTo>
                  <a:pt x="829" y="162"/>
                  <a:pt x="829" y="162"/>
                  <a:pt x="829" y="162"/>
                </a:cubicBezTo>
                <a:cubicBezTo>
                  <a:pt x="829" y="162"/>
                  <a:pt x="829" y="161"/>
                  <a:pt x="830" y="161"/>
                </a:cubicBezTo>
                <a:cubicBezTo>
                  <a:pt x="830" y="161"/>
                  <a:pt x="830" y="161"/>
                  <a:pt x="830" y="161"/>
                </a:cubicBezTo>
                <a:cubicBezTo>
                  <a:pt x="830" y="161"/>
                  <a:pt x="830" y="161"/>
                  <a:pt x="830" y="160"/>
                </a:cubicBezTo>
                <a:cubicBezTo>
                  <a:pt x="831" y="160"/>
                  <a:pt x="831" y="160"/>
                  <a:pt x="831" y="160"/>
                </a:cubicBezTo>
                <a:cubicBezTo>
                  <a:pt x="831" y="160"/>
                  <a:pt x="830" y="160"/>
                  <a:pt x="830" y="160"/>
                </a:cubicBezTo>
                <a:cubicBezTo>
                  <a:pt x="830" y="160"/>
                  <a:pt x="829" y="160"/>
                  <a:pt x="829" y="160"/>
                </a:cubicBezTo>
                <a:cubicBezTo>
                  <a:pt x="829" y="161"/>
                  <a:pt x="828" y="161"/>
                  <a:pt x="827" y="161"/>
                </a:cubicBezTo>
                <a:cubicBezTo>
                  <a:pt x="827" y="162"/>
                  <a:pt x="827" y="162"/>
                  <a:pt x="827" y="162"/>
                </a:cubicBezTo>
                <a:cubicBezTo>
                  <a:pt x="827" y="162"/>
                  <a:pt x="827" y="162"/>
                  <a:pt x="826" y="162"/>
                </a:cubicBezTo>
                <a:cubicBezTo>
                  <a:pt x="826" y="162"/>
                  <a:pt x="826" y="162"/>
                  <a:pt x="826" y="161"/>
                </a:cubicBezTo>
                <a:cubicBezTo>
                  <a:pt x="826" y="161"/>
                  <a:pt x="826" y="161"/>
                  <a:pt x="826" y="161"/>
                </a:cubicBezTo>
                <a:cubicBezTo>
                  <a:pt x="826" y="161"/>
                  <a:pt x="826" y="161"/>
                  <a:pt x="826" y="161"/>
                </a:cubicBezTo>
                <a:cubicBezTo>
                  <a:pt x="825" y="160"/>
                  <a:pt x="825" y="160"/>
                  <a:pt x="825" y="160"/>
                </a:cubicBezTo>
                <a:cubicBezTo>
                  <a:pt x="825" y="160"/>
                  <a:pt x="825" y="160"/>
                  <a:pt x="824" y="160"/>
                </a:cubicBezTo>
                <a:cubicBezTo>
                  <a:pt x="824" y="160"/>
                  <a:pt x="824" y="160"/>
                  <a:pt x="823" y="160"/>
                </a:cubicBezTo>
                <a:cubicBezTo>
                  <a:pt x="823" y="160"/>
                  <a:pt x="823" y="160"/>
                  <a:pt x="823" y="160"/>
                </a:cubicBezTo>
                <a:cubicBezTo>
                  <a:pt x="822" y="160"/>
                  <a:pt x="822" y="161"/>
                  <a:pt x="822" y="161"/>
                </a:cubicBezTo>
                <a:cubicBezTo>
                  <a:pt x="822" y="161"/>
                  <a:pt x="822" y="161"/>
                  <a:pt x="823" y="161"/>
                </a:cubicBezTo>
                <a:cubicBezTo>
                  <a:pt x="823" y="162"/>
                  <a:pt x="822" y="162"/>
                  <a:pt x="822" y="162"/>
                </a:cubicBezTo>
                <a:cubicBezTo>
                  <a:pt x="822" y="162"/>
                  <a:pt x="821" y="162"/>
                  <a:pt x="821" y="162"/>
                </a:cubicBezTo>
                <a:cubicBezTo>
                  <a:pt x="821" y="162"/>
                  <a:pt x="820" y="162"/>
                  <a:pt x="820" y="163"/>
                </a:cubicBezTo>
                <a:cubicBezTo>
                  <a:pt x="820" y="162"/>
                  <a:pt x="820" y="162"/>
                  <a:pt x="820" y="162"/>
                </a:cubicBezTo>
                <a:cubicBezTo>
                  <a:pt x="820" y="162"/>
                  <a:pt x="820" y="162"/>
                  <a:pt x="819" y="162"/>
                </a:cubicBezTo>
                <a:cubicBezTo>
                  <a:pt x="819" y="162"/>
                  <a:pt x="819" y="162"/>
                  <a:pt x="819" y="162"/>
                </a:cubicBezTo>
                <a:cubicBezTo>
                  <a:pt x="819" y="163"/>
                  <a:pt x="818" y="163"/>
                  <a:pt x="818" y="163"/>
                </a:cubicBezTo>
                <a:cubicBezTo>
                  <a:pt x="818" y="163"/>
                  <a:pt x="817" y="163"/>
                  <a:pt x="817" y="163"/>
                </a:cubicBezTo>
                <a:cubicBezTo>
                  <a:pt x="817" y="163"/>
                  <a:pt x="816" y="163"/>
                  <a:pt x="816" y="162"/>
                </a:cubicBezTo>
                <a:cubicBezTo>
                  <a:pt x="816" y="162"/>
                  <a:pt x="815" y="162"/>
                  <a:pt x="815" y="162"/>
                </a:cubicBezTo>
                <a:cubicBezTo>
                  <a:pt x="815" y="162"/>
                  <a:pt x="815" y="162"/>
                  <a:pt x="815" y="162"/>
                </a:cubicBezTo>
                <a:cubicBezTo>
                  <a:pt x="814" y="162"/>
                  <a:pt x="814" y="162"/>
                  <a:pt x="814" y="162"/>
                </a:cubicBezTo>
                <a:cubicBezTo>
                  <a:pt x="814" y="163"/>
                  <a:pt x="814" y="163"/>
                  <a:pt x="813" y="164"/>
                </a:cubicBezTo>
                <a:cubicBezTo>
                  <a:pt x="814" y="164"/>
                  <a:pt x="814" y="164"/>
                  <a:pt x="815" y="165"/>
                </a:cubicBezTo>
                <a:cubicBezTo>
                  <a:pt x="814" y="165"/>
                  <a:pt x="814" y="166"/>
                  <a:pt x="814" y="167"/>
                </a:cubicBezTo>
                <a:cubicBezTo>
                  <a:pt x="814" y="166"/>
                  <a:pt x="814" y="166"/>
                  <a:pt x="814" y="165"/>
                </a:cubicBezTo>
                <a:cubicBezTo>
                  <a:pt x="813" y="165"/>
                  <a:pt x="813" y="164"/>
                  <a:pt x="813" y="164"/>
                </a:cubicBezTo>
                <a:cubicBezTo>
                  <a:pt x="813" y="164"/>
                  <a:pt x="813" y="164"/>
                  <a:pt x="813" y="164"/>
                </a:cubicBezTo>
                <a:cubicBezTo>
                  <a:pt x="812" y="163"/>
                  <a:pt x="812" y="163"/>
                  <a:pt x="812" y="163"/>
                </a:cubicBezTo>
                <a:cubicBezTo>
                  <a:pt x="812" y="163"/>
                  <a:pt x="812" y="163"/>
                  <a:pt x="812" y="163"/>
                </a:cubicBezTo>
                <a:cubicBezTo>
                  <a:pt x="812" y="162"/>
                  <a:pt x="811" y="162"/>
                  <a:pt x="811" y="162"/>
                </a:cubicBezTo>
                <a:cubicBezTo>
                  <a:pt x="810" y="163"/>
                  <a:pt x="810" y="163"/>
                  <a:pt x="809" y="163"/>
                </a:cubicBezTo>
                <a:cubicBezTo>
                  <a:pt x="809" y="164"/>
                  <a:pt x="809" y="164"/>
                  <a:pt x="809" y="164"/>
                </a:cubicBezTo>
                <a:cubicBezTo>
                  <a:pt x="809" y="164"/>
                  <a:pt x="809" y="164"/>
                  <a:pt x="809" y="165"/>
                </a:cubicBezTo>
                <a:cubicBezTo>
                  <a:pt x="809" y="165"/>
                  <a:pt x="808" y="165"/>
                  <a:pt x="808" y="166"/>
                </a:cubicBezTo>
                <a:cubicBezTo>
                  <a:pt x="808" y="166"/>
                  <a:pt x="808" y="166"/>
                  <a:pt x="807" y="166"/>
                </a:cubicBezTo>
                <a:cubicBezTo>
                  <a:pt x="807" y="165"/>
                  <a:pt x="807" y="165"/>
                  <a:pt x="807" y="165"/>
                </a:cubicBezTo>
                <a:cubicBezTo>
                  <a:pt x="807" y="165"/>
                  <a:pt x="806" y="165"/>
                  <a:pt x="806" y="165"/>
                </a:cubicBezTo>
                <a:cubicBezTo>
                  <a:pt x="806" y="164"/>
                  <a:pt x="806" y="164"/>
                  <a:pt x="806" y="163"/>
                </a:cubicBezTo>
                <a:cubicBezTo>
                  <a:pt x="806" y="163"/>
                  <a:pt x="805" y="163"/>
                  <a:pt x="805" y="163"/>
                </a:cubicBezTo>
                <a:cubicBezTo>
                  <a:pt x="805" y="163"/>
                  <a:pt x="804" y="163"/>
                  <a:pt x="804" y="164"/>
                </a:cubicBezTo>
                <a:cubicBezTo>
                  <a:pt x="804" y="164"/>
                  <a:pt x="804" y="165"/>
                  <a:pt x="804" y="165"/>
                </a:cubicBezTo>
                <a:cubicBezTo>
                  <a:pt x="804" y="165"/>
                  <a:pt x="805" y="166"/>
                  <a:pt x="805" y="166"/>
                </a:cubicBezTo>
                <a:cubicBezTo>
                  <a:pt x="805" y="166"/>
                  <a:pt x="805" y="166"/>
                  <a:pt x="805" y="167"/>
                </a:cubicBezTo>
                <a:cubicBezTo>
                  <a:pt x="805" y="167"/>
                  <a:pt x="804" y="167"/>
                  <a:pt x="804" y="167"/>
                </a:cubicBezTo>
                <a:cubicBezTo>
                  <a:pt x="804" y="168"/>
                  <a:pt x="803" y="168"/>
                  <a:pt x="803" y="168"/>
                </a:cubicBezTo>
                <a:cubicBezTo>
                  <a:pt x="803" y="167"/>
                  <a:pt x="803" y="167"/>
                  <a:pt x="803" y="167"/>
                </a:cubicBezTo>
                <a:cubicBezTo>
                  <a:pt x="803" y="167"/>
                  <a:pt x="802" y="167"/>
                  <a:pt x="802" y="167"/>
                </a:cubicBezTo>
                <a:cubicBezTo>
                  <a:pt x="802" y="167"/>
                  <a:pt x="802" y="168"/>
                  <a:pt x="801" y="168"/>
                </a:cubicBezTo>
                <a:cubicBezTo>
                  <a:pt x="801" y="168"/>
                  <a:pt x="801" y="168"/>
                  <a:pt x="801" y="168"/>
                </a:cubicBezTo>
                <a:cubicBezTo>
                  <a:pt x="801" y="169"/>
                  <a:pt x="801" y="169"/>
                  <a:pt x="801" y="170"/>
                </a:cubicBezTo>
                <a:cubicBezTo>
                  <a:pt x="801" y="169"/>
                  <a:pt x="800" y="169"/>
                  <a:pt x="800" y="169"/>
                </a:cubicBezTo>
                <a:cubicBezTo>
                  <a:pt x="800" y="169"/>
                  <a:pt x="799" y="169"/>
                  <a:pt x="799" y="169"/>
                </a:cubicBezTo>
                <a:cubicBezTo>
                  <a:pt x="799" y="168"/>
                  <a:pt x="799" y="168"/>
                  <a:pt x="799" y="168"/>
                </a:cubicBezTo>
                <a:cubicBezTo>
                  <a:pt x="799" y="168"/>
                  <a:pt x="800" y="167"/>
                  <a:pt x="800" y="167"/>
                </a:cubicBezTo>
                <a:cubicBezTo>
                  <a:pt x="800" y="167"/>
                  <a:pt x="800" y="167"/>
                  <a:pt x="800" y="167"/>
                </a:cubicBezTo>
                <a:cubicBezTo>
                  <a:pt x="800" y="167"/>
                  <a:pt x="799" y="167"/>
                  <a:pt x="799" y="167"/>
                </a:cubicBezTo>
                <a:cubicBezTo>
                  <a:pt x="799" y="167"/>
                  <a:pt x="799" y="166"/>
                  <a:pt x="799" y="166"/>
                </a:cubicBezTo>
                <a:cubicBezTo>
                  <a:pt x="799" y="166"/>
                  <a:pt x="799" y="166"/>
                  <a:pt x="798" y="165"/>
                </a:cubicBezTo>
                <a:cubicBezTo>
                  <a:pt x="799" y="166"/>
                  <a:pt x="799" y="166"/>
                  <a:pt x="799" y="166"/>
                </a:cubicBezTo>
                <a:cubicBezTo>
                  <a:pt x="800" y="165"/>
                  <a:pt x="800" y="165"/>
                  <a:pt x="800" y="165"/>
                </a:cubicBezTo>
                <a:cubicBezTo>
                  <a:pt x="800" y="165"/>
                  <a:pt x="800" y="165"/>
                  <a:pt x="800" y="165"/>
                </a:cubicBezTo>
                <a:cubicBezTo>
                  <a:pt x="800" y="165"/>
                  <a:pt x="799" y="164"/>
                  <a:pt x="799" y="164"/>
                </a:cubicBezTo>
                <a:cubicBezTo>
                  <a:pt x="799" y="164"/>
                  <a:pt x="799" y="164"/>
                  <a:pt x="800" y="164"/>
                </a:cubicBezTo>
                <a:cubicBezTo>
                  <a:pt x="799" y="164"/>
                  <a:pt x="799" y="163"/>
                  <a:pt x="799" y="163"/>
                </a:cubicBezTo>
                <a:cubicBezTo>
                  <a:pt x="799" y="163"/>
                  <a:pt x="798" y="164"/>
                  <a:pt x="798" y="164"/>
                </a:cubicBezTo>
                <a:cubicBezTo>
                  <a:pt x="798" y="164"/>
                  <a:pt x="798" y="163"/>
                  <a:pt x="798" y="163"/>
                </a:cubicBezTo>
                <a:cubicBezTo>
                  <a:pt x="797" y="163"/>
                  <a:pt x="797" y="163"/>
                  <a:pt x="796" y="163"/>
                </a:cubicBezTo>
                <a:cubicBezTo>
                  <a:pt x="796" y="163"/>
                  <a:pt x="796" y="162"/>
                  <a:pt x="796" y="162"/>
                </a:cubicBezTo>
                <a:cubicBezTo>
                  <a:pt x="796" y="162"/>
                  <a:pt x="796" y="162"/>
                  <a:pt x="795" y="161"/>
                </a:cubicBezTo>
                <a:cubicBezTo>
                  <a:pt x="795" y="162"/>
                  <a:pt x="795" y="162"/>
                  <a:pt x="794" y="162"/>
                </a:cubicBezTo>
                <a:cubicBezTo>
                  <a:pt x="794" y="162"/>
                  <a:pt x="794" y="162"/>
                  <a:pt x="793" y="162"/>
                </a:cubicBezTo>
                <a:cubicBezTo>
                  <a:pt x="793" y="162"/>
                  <a:pt x="792" y="162"/>
                  <a:pt x="791" y="162"/>
                </a:cubicBezTo>
                <a:cubicBezTo>
                  <a:pt x="791" y="162"/>
                  <a:pt x="791" y="162"/>
                  <a:pt x="791" y="162"/>
                </a:cubicBezTo>
                <a:cubicBezTo>
                  <a:pt x="792" y="162"/>
                  <a:pt x="792" y="162"/>
                  <a:pt x="792" y="163"/>
                </a:cubicBezTo>
                <a:cubicBezTo>
                  <a:pt x="792" y="162"/>
                  <a:pt x="792" y="162"/>
                  <a:pt x="793" y="162"/>
                </a:cubicBezTo>
                <a:cubicBezTo>
                  <a:pt x="793" y="162"/>
                  <a:pt x="793" y="162"/>
                  <a:pt x="793" y="162"/>
                </a:cubicBezTo>
                <a:cubicBezTo>
                  <a:pt x="793" y="162"/>
                  <a:pt x="793" y="162"/>
                  <a:pt x="793" y="162"/>
                </a:cubicBezTo>
                <a:cubicBezTo>
                  <a:pt x="794" y="162"/>
                  <a:pt x="794" y="162"/>
                  <a:pt x="794" y="162"/>
                </a:cubicBezTo>
                <a:cubicBezTo>
                  <a:pt x="794" y="162"/>
                  <a:pt x="795" y="162"/>
                  <a:pt x="795" y="162"/>
                </a:cubicBezTo>
                <a:cubicBezTo>
                  <a:pt x="795" y="163"/>
                  <a:pt x="795" y="163"/>
                  <a:pt x="795" y="163"/>
                </a:cubicBezTo>
                <a:cubicBezTo>
                  <a:pt x="794" y="163"/>
                  <a:pt x="794" y="163"/>
                  <a:pt x="794" y="163"/>
                </a:cubicBezTo>
                <a:cubicBezTo>
                  <a:pt x="793" y="163"/>
                  <a:pt x="793" y="163"/>
                  <a:pt x="793" y="163"/>
                </a:cubicBezTo>
                <a:cubicBezTo>
                  <a:pt x="793" y="163"/>
                  <a:pt x="793" y="163"/>
                  <a:pt x="793" y="163"/>
                </a:cubicBezTo>
                <a:cubicBezTo>
                  <a:pt x="793" y="163"/>
                  <a:pt x="794" y="163"/>
                  <a:pt x="794" y="164"/>
                </a:cubicBezTo>
                <a:cubicBezTo>
                  <a:pt x="795" y="164"/>
                  <a:pt x="795" y="164"/>
                  <a:pt x="796" y="164"/>
                </a:cubicBezTo>
                <a:cubicBezTo>
                  <a:pt x="795" y="164"/>
                  <a:pt x="795" y="165"/>
                  <a:pt x="795" y="165"/>
                </a:cubicBezTo>
                <a:cubicBezTo>
                  <a:pt x="795" y="165"/>
                  <a:pt x="795" y="165"/>
                  <a:pt x="795" y="165"/>
                </a:cubicBezTo>
                <a:cubicBezTo>
                  <a:pt x="795" y="165"/>
                  <a:pt x="795" y="165"/>
                  <a:pt x="795" y="164"/>
                </a:cubicBezTo>
                <a:cubicBezTo>
                  <a:pt x="794" y="164"/>
                  <a:pt x="794" y="164"/>
                  <a:pt x="794" y="164"/>
                </a:cubicBezTo>
                <a:cubicBezTo>
                  <a:pt x="793" y="164"/>
                  <a:pt x="793" y="164"/>
                  <a:pt x="793" y="165"/>
                </a:cubicBezTo>
                <a:cubicBezTo>
                  <a:pt x="793" y="165"/>
                  <a:pt x="792" y="165"/>
                  <a:pt x="792" y="164"/>
                </a:cubicBezTo>
                <a:cubicBezTo>
                  <a:pt x="792" y="164"/>
                  <a:pt x="792" y="164"/>
                  <a:pt x="792" y="164"/>
                </a:cubicBezTo>
                <a:cubicBezTo>
                  <a:pt x="792" y="164"/>
                  <a:pt x="792" y="164"/>
                  <a:pt x="791" y="163"/>
                </a:cubicBezTo>
                <a:cubicBezTo>
                  <a:pt x="791" y="163"/>
                  <a:pt x="791" y="163"/>
                  <a:pt x="790" y="163"/>
                </a:cubicBezTo>
                <a:cubicBezTo>
                  <a:pt x="790" y="163"/>
                  <a:pt x="790" y="163"/>
                  <a:pt x="789" y="163"/>
                </a:cubicBezTo>
                <a:cubicBezTo>
                  <a:pt x="790" y="164"/>
                  <a:pt x="790" y="164"/>
                  <a:pt x="790" y="164"/>
                </a:cubicBezTo>
                <a:cubicBezTo>
                  <a:pt x="790" y="164"/>
                  <a:pt x="790" y="164"/>
                  <a:pt x="790" y="165"/>
                </a:cubicBezTo>
                <a:cubicBezTo>
                  <a:pt x="790" y="164"/>
                  <a:pt x="790" y="164"/>
                  <a:pt x="789" y="164"/>
                </a:cubicBezTo>
                <a:cubicBezTo>
                  <a:pt x="789" y="164"/>
                  <a:pt x="789" y="164"/>
                  <a:pt x="788" y="164"/>
                </a:cubicBezTo>
                <a:cubicBezTo>
                  <a:pt x="788" y="164"/>
                  <a:pt x="788" y="164"/>
                  <a:pt x="788" y="164"/>
                </a:cubicBezTo>
                <a:cubicBezTo>
                  <a:pt x="788" y="164"/>
                  <a:pt x="789" y="165"/>
                  <a:pt x="789" y="165"/>
                </a:cubicBezTo>
                <a:cubicBezTo>
                  <a:pt x="789" y="165"/>
                  <a:pt x="789" y="165"/>
                  <a:pt x="790" y="165"/>
                </a:cubicBezTo>
                <a:cubicBezTo>
                  <a:pt x="790" y="165"/>
                  <a:pt x="790" y="165"/>
                  <a:pt x="790" y="165"/>
                </a:cubicBezTo>
                <a:cubicBezTo>
                  <a:pt x="790" y="165"/>
                  <a:pt x="789" y="165"/>
                  <a:pt x="789" y="165"/>
                </a:cubicBezTo>
                <a:cubicBezTo>
                  <a:pt x="789" y="165"/>
                  <a:pt x="788" y="165"/>
                  <a:pt x="788" y="165"/>
                </a:cubicBezTo>
                <a:cubicBezTo>
                  <a:pt x="788" y="166"/>
                  <a:pt x="788" y="166"/>
                  <a:pt x="789" y="166"/>
                </a:cubicBezTo>
                <a:cubicBezTo>
                  <a:pt x="789" y="166"/>
                  <a:pt x="790" y="166"/>
                  <a:pt x="790" y="166"/>
                </a:cubicBezTo>
                <a:cubicBezTo>
                  <a:pt x="790" y="166"/>
                  <a:pt x="790" y="166"/>
                  <a:pt x="789" y="166"/>
                </a:cubicBezTo>
                <a:cubicBezTo>
                  <a:pt x="789" y="166"/>
                  <a:pt x="789" y="166"/>
                  <a:pt x="789" y="167"/>
                </a:cubicBezTo>
                <a:cubicBezTo>
                  <a:pt x="789" y="167"/>
                  <a:pt x="789" y="167"/>
                  <a:pt x="789" y="167"/>
                </a:cubicBezTo>
                <a:cubicBezTo>
                  <a:pt x="789" y="167"/>
                  <a:pt x="789" y="167"/>
                  <a:pt x="789" y="167"/>
                </a:cubicBezTo>
                <a:cubicBezTo>
                  <a:pt x="789" y="167"/>
                  <a:pt x="788" y="166"/>
                  <a:pt x="787" y="166"/>
                </a:cubicBezTo>
                <a:cubicBezTo>
                  <a:pt x="787" y="166"/>
                  <a:pt x="787" y="166"/>
                  <a:pt x="787" y="166"/>
                </a:cubicBezTo>
                <a:cubicBezTo>
                  <a:pt x="787" y="166"/>
                  <a:pt x="787" y="166"/>
                  <a:pt x="786" y="167"/>
                </a:cubicBezTo>
                <a:cubicBezTo>
                  <a:pt x="787" y="167"/>
                  <a:pt x="787" y="167"/>
                  <a:pt x="787" y="167"/>
                </a:cubicBezTo>
                <a:cubicBezTo>
                  <a:pt x="787" y="167"/>
                  <a:pt x="787" y="168"/>
                  <a:pt x="788" y="168"/>
                </a:cubicBezTo>
                <a:cubicBezTo>
                  <a:pt x="788" y="168"/>
                  <a:pt x="787" y="168"/>
                  <a:pt x="787" y="168"/>
                </a:cubicBezTo>
                <a:cubicBezTo>
                  <a:pt x="787" y="168"/>
                  <a:pt x="787" y="167"/>
                  <a:pt x="786" y="167"/>
                </a:cubicBezTo>
                <a:cubicBezTo>
                  <a:pt x="786" y="167"/>
                  <a:pt x="786" y="167"/>
                  <a:pt x="785" y="167"/>
                </a:cubicBezTo>
                <a:cubicBezTo>
                  <a:pt x="785" y="167"/>
                  <a:pt x="785" y="168"/>
                  <a:pt x="785" y="168"/>
                </a:cubicBezTo>
                <a:cubicBezTo>
                  <a:pt x="785" y="168"/>
                  <a:pt x="785" y="168"/>
                  <a:pt x="786" y="168"/>
                </a:cubicBezTo>
                <a:cubicBezTo>
                  <a:pt x="786" y="168"/>
                  <a:pt x="787" y="168"/>
                  <a:pt x="787" y="169"/>
                </a:cubicBezTo>
                <a:cubicBezTo>
                  <a:pt x="787" y="169"/>
                  <a:pt x="788" y="169"/>
                  <a:pt x="788" y="169"/>
                </a:cubicBezTo>
                <a:cubicBezTo>
                  <a:pt x="789" y="168"/>
                  <a:pt x="789" y="168"/>
                  <a:pt x="789" y="168"/>
                </a:cubicBezTo>
                <a:cubicBezTo>
                  <a:pt x="789" y="168"/>
                  <a:pt x="790" y="168"/>
                  <a:pt x="790" y="168"/>
                </a:cubicBezTo>
                <a:cubicBezTo>
                  <a:pt x="790" y="167"/>
                  <a:pt x="791" y="167"/>
                  <a:pt x="791" y="167"/>
                </a:cubicBezTo>
                <a:cubicBezTo>
                  <a:pt x="791" y="167"/>
                  <a:pt x="791" y="167"/>
                  <a:pt x="791" y="167"/>
                </a:cubicBezTo>
                <a:cubicBezTo>
                  <a:pt x="791" y="167"/>
                  <a:pt x="791" y="168"/>
                  <a:pt x="791" y="168"/>
                </a:cubicBezTo>
                <a:cubicBezTo>
                  <a:pt x="791" y="168"/>
                  <a:pt x="792" y="168"/>
                  <a:pt x="792" y="168"/>
                </a:cubicBezTo>
                <a:cubicBezTo>
                  <a:pt x="792" y="167"/>
                  <a:pt x="792" y="167"/>
                  <a:pt x="792" y="167"/>
                </a:cubicBezTo>
                <a:cubicBezTo>
                  <a:pt x="793" y="167"/>
                  <a:pt x="793" y="168"/>
                  <a:pt x="793" y="168"/>
                </a:cubicBezTo>
                <a:cubicBezTo>
                  <a:pt x="793" y="168"/>
                  <a:pt x="793" y="168"/>
                  <a:pt x="793" y="168"/>
                </a:cubicBezTo>
                <a:cubicBezTo>
                  <a:pt x="794" y="168"/>
                  <a:pt x="794" y="168"/>
                  <a:pt x="794" y="167"/>
                </a:cubicBezTo>
                <a:cubicBezTo>
                  <a:pt x="794" y="167"/>
                  <a:pt x="794" y="167"/>
                  <a:pt x="794" y="167"/>
                </a:cubicBezTo>
                <a:cubicBezTo>
                  <a:pt x="794" y="167"/>
                  <a:pt x="794" y="167"/>
                  <a:pt x="794" y="168"/>
                </a:cubicBezTo>
                <a:cubicBezTo>
                  <a:pt x="795" y="168"/>
                  <a:pt x="795" y="168"/>
                  <a:pt x="795" y="168"/>
                </a:cubicBezTo>
                <a:cubicBezTo>
                  <a:pt x="795" y="167"/>
                  <a:pt x="796" y="167"/>
                  <a:pt x="796" y="167"/>
                </a:cubicBezTo>
                <a:cubicBezTo>
                  <a:pt x="796" y="167"/>
                  <a:pt x="796" y="167"/>
                  <a:pt x="796" y="167"/>
                </a:cubicBezTo>
                <a:cubicBezTo>
                  <a:pt x="796" y="167"/>
                  <a:pt x="796" y="168"/>
                  <a:pt x="796" y="168"/>
                </a:cubicBezTo>
                <a:cubicBezTo>
                  <a:pt x="796" y="168"/>
                  <a:pt x="796" y="168"/>
                  <a:pt x="796" y="168"/>
                </a:cubicBezTo>
                <a:cubicBezTo>
                  <a:pt x="796" y="168"/>
                  <a:pt x="797" y="168"/>
                  <a:pt x="797" y="168"/>
                </a:cubicBezTo>
                <a:cubicBezTo>
                  <a:pt x="797" y="168"/>
                  <a:pt x="798" y="168"/>
                  <a:pt x="798" y="168"/>
                </a:cubicBezTo>
                <a:cubicBezTo>
                  <a:pt x="798" y="168"/>
                  <a:pt x="798" y="168"/>
                  <a:pt x="797" y="168"/>
                </a:cubicBezTo>
                <a:cubicBezTo>
                  <a:pt x="797" y="168"/>
                  <a:pt x="797" y="168"/>
                  <a:pt x="797" y="168"/>
                </a:cubicBezTo>
                <a:cubicBezTo>
                  <a:pt x="797" y="168"/>
                  <a:pt x="796" y="169"/>
                  <a:pt x="796" y="169"/>
                </a:cubicBezTo>
                <a:cubicBezTo>
                  <a:pt x="796" y="169"/>
                  <a:pt x="795" y="169"/>
                  <a:pt x="795" y="169"/>
                </a:cubicBezTo>
                <a:cubicBezTo>
                  <a:pt x="795" y="169"/>
                  <a:pt x="794" y="169"/>
                  <a:pt x="794" y="169"/>
                </a:cubicBezTo>
                <a:cubicBezTo>
                  <a:pt x="794" y="169"/>
                  <a:pt x="794" y="170"/>
                  <a:pt x="794" y="170"/>
                </a:cubicBezTo>
                <a:cubicBezTo>
                  <a:pt x="794" y="170"/>
                  <a:pt x="795" y="170"/>
                  <a:pt x="795" y="170"/>
                </a:cubicBezTo>
                <a:cubicBezTo>
                  <a:pt x="796" y="170"/>
                  <a:pt x="796" y="170"/>
                  <a:pt x="797" y="170"/>
                </a:cubicBezTo>
                <a:cubicBezTo>
                  <a:pt x="797" y="170"/>
                  <a:pt x="797" y="169"/>
                  <a:pt x="797" y="169"/>
                </a:cubicBezTo>
                <a:cubicBezTo>
                  <a:pt x="797" y="169"/>
                  <a:pt x="797" y="169"/>
                  <a:pt x="798" y="169"/>
                </a:cubicBezTo>
                <a:cubicBezTo>
                  <a:pt x="798" y="169"/>
                  <a:pt x="798" y="169"/>
                  <a:pt x="798" y="170"/>
                </a:cubicBezTo>
                <a:cubicBezTo>
                  <a:pt x="797" y="170"/>
                  <a:pt x="797" y="170"/>
                  <a:pt x="797" y="170"/>
                </a:cubicBezTo>
                <a:cubicBezTo>
                  <a:pt x="796" y="170"/>
                  <a:pt x="796" y="170"/>
                  <a:pt x="795" y="170"/>
                </a:cubicBezTo>
                <a:cubicBezTo>
                  <a:pt x="795" y="170"/>
                  <a:pt x="795" y="170"/>
                  <a:pt x="794" y="170"/>
                </a:cubicBezTo>
                <a:cubicBezTo>
                  <a:pt x="794" y="171"/>
                  <a:pt x="794" y="171"/>
                  <a:pt x="793" y="171"/>
                </a:cubicBezTo>
                <a:cubicBezTo>
                  <a:pt x="793" y="171"/>
                  <a:pt x="793" y="171"/>
                  <a:pt x="793" y="171"/>
                </a:cubicBezTo>
                <a:cubicBezTo>
                  <a:pt x="793" y="171"/>
                  <a:pt x="793" y="171"/>
                  <a:pt x="793" y="171"/>
                </a:cubicBezTo>
                <a:cubicBezTo>
                  <a:pt x="793" y="170"/>
                  <a:pt x="793" y="170"/>
                  <a:pt x="793" y="170"/>
                </a:cubicBezTo>
                <a:cubicBezTo>
                  <a:pt x="792" y="170"/>
                  <a:pt x="792" y="170"/>
                  <a:pt x="792" y="170"/>
                </a:cubicBezTo>
                <a:cubicBezTo>
                  <a:pt x="792" y="170"/>
                  <a:pt x="792" y="170"/>
                  <a:pt x="792" y="170"/>
                </a:cubicBezTo>
                <a:cubicBezTo>
                  <a:pt x="792" y="170"/>
                  <a:pt x="792" y="171"/>
                  <a:pt x="792" y="171"/>
                </a:cubicBezTo>
                <a:cubicBezTo>
                  <a:pt x="792" y="171"/>
                  <a:pt x="791" y="171"/>
                  <a:pt x="791" y="171"/>
                </a:cubicBezTo>
                <a:cubicBezTo>
                  <a:pt x="791" y="171"/>
                  <a:pt x="791" y="171"/>
                  <a:pt x="790" y="171"/>
                </a:cubicBezTo>
                <a:cubicBezTo>
                  <a:pt x="790" y="171"/>
                  <a:pt x="790" y="171"/>
                  <a:pt x="790" y="171"/>
                </a:cubicBezTo>
                <a:cubicBezTo>
                  <a:pt x="789" y="171"/>
                  <a:pt x="789" y="171"/>
                  <a:pt x="789" y="171"/>
                </a:cubicBezTo>
                <a:cubicBezTo>
                  <a:pt x="788" y="171"/>
                  <a:pt x="788" y="171"/>
                  <a:pt x="787" y="171"/>
                </a:cubicBezTo>
                <a:cubicBezTo>
                  <a:pt x="787" y="171"/>
                  <a:pt x="787" y="171"/>
                  <a:pt x="787" y="172"/>
                </a:cubicBezTo>
                <a:cubicBezTo>
                  <a:pt x="786" y="172"/>
                  <a:pt x="786" y="172"/>
                  <a:pt x="786" y="172"/>
                </a:cubicBezTo>
                <a:cubicBezTo>
                  <a:pt x="786" y="172"/>
                  <a:pt x="787" y="172"/>
                  <a:pt x="787" y="172"/>
                </a:cubicBezTo>
                <a:cubicBezTo>
                  <a:pt x="787" y="172"/>
                  <a:pt x="787" y="173"/>
                  <a:pt x="787" y="173"/>
                </a:cubicBezTo>
                <a:cubicBezTo>
                  <a:pt x="788" y="173"/>
                  <a:pt x="788" y="173"/>
                  <a:pt x="789" y="173"/>
                </a:cubicBezTo>
                <a:cubicBezTo>
                  <a:pt x="789" y="173"/>
                  <a:pt x="789" y="173"/>
                  <a:pt x="789" y="173"/>
                </a:cubicBezTo>
                <a:cubicBezTo>
                  <a:pt x="789" y="173"/>
                  <a:pt x="790" y="173"/>
                  <a:pt x="791" y="173"/>
                </a:cubicBezTo>
                <a:cubicBezTo>
                  <a:pt x="791" y="173"/>
                  <a:pt x="792" y="173"/>
                  <a:pt x="793" y="172"/>
                </a:cubicBezTo>
                <a:cubicBezTo>
                  <a:pt x="793" y="172"/>
                  <a:pt x="794" y="172"/>
                  <a:pt x="794" y="172"/>
                </a:cubicBezTo>
                <a:cubicBezTo>
                  <a:pt x="794" y="173"/>
                  <a:pt x="794" y="173"/>
                  <a:pt x="794" y="173"/>
                </a:cubicBezTo>
                <a:cubicBezTo>
                  <a:pt x="794" y="173"/>
                  <a:pt x="794" y="173"/>
                  <a:pt x="793" y="173"/>
                </a:cubicBezTo>
                <a:cubicBezTo>
                  <a:pt x="793" y="173"/>
                  <a:pt x="793" y="173"/>
                  <a:pt x="793" y="174"/>
                </a:cubicBezTo>
                <a:cubicBezTo>
                  <a:pt x="794" y="174"/>
                  <a:pt x="794" y="174"/>
                  <a:pt x="794" y="174"/>
                </a:cubicBezTo>
                <a:cubicBezTo>
                  <a:pt x="795" y="174"/>
                  <a:pt x="795" y="174"/>
                  <a:pt x="795" y="174"/>
                </a:cubicBezTo>
                <a:cubicBezTo>
                  <a:pt x="795" y="174"/>
                  <a:pt x="795" y="174"/>
                  <a:pt x="795" y="174"/>
                </a:cubicBezTo>
                <a:cubicBezTo>
                  <a:pt x="796" y="174"/>
                  <a:pt x="796" y="174"/>
                  <a:pt x="797" y="174"/>
                </a:cubicBezTo>
                <a:cubicBezTo>
                  <a:pt x="797" y="174"/>
                  <a:pt x="797" y="174"/>
                  <a:pt x="797" y="174"/>
                </a:cubicBezTo>
                <a:cubicBezTo>
                  <a:pt x="796" y="174"/>
                  <a:pt x="796" y="174"/>
                  <a:pt x="796" y="175"/>
                </a:cubicBezTo>
                <a:cubicBezTo>
                  <a:pt x="795" y="175"/>
                  <a:pt x="795" y="175"/>
                  <a:pt x="795" y="175"/>
                </a:cubicBezTo>
                <a:cubicBezTo>
                  <a:pt x="795" y="175"/>
                  <a:pt x="796" y="175"/>
                  <a:pt x="796" y="175"/>
                </a:cubicBezTo>
                <a:cubicBezTo>
                  <a:pt x="796" y="175"/>
                  <a:pt x="797" y="175"/>
                  <a:pt x="797" y="175"/>
                </a:cubicBezTo>
                <a:cubicBezTo>
                  <a:pt x="798" y="175"/>
                  <a:pt x="798" y="175"/>
                  <a:pt x="799" y="175"/>
                </a:cubicBezTo>
                <a:cubicBezTo>
                  <a:pt x="799" y="175"/>
                  <a:pt x="799" y="175"/>
                  <a:pt x="799" y="175"/>
                </a:cubicBezTo>
                <a:cubicBezTo>
                  <a:pt x="799" y="175"/>
                  <a:pt x="799" y="175"/>
                  <a:pt x="798" y="175"/>
                </a:cubicBezTo>
                <a:cubicBezTo>
                  <a:pt x="798" y="175"/>
                  <a:pt x="798" y="175"/>
                  <a:pt x="797" y="175"/>
                </a:cubicBezTo>
                <a:cubicBezTo>
                  <a:pt x="797" y="175"/>
                  <a:pt x="797" y="176"/>
                  <a:pt x="796" y="176"/>
                </a:cubicBezTo>
                <a:cubicBezTo>
                  <a:pt x="796" y="176"/>
                  <a:pt x="796" y="176"/>
                  <a:pt x="795" y="176"/>
                </a:cubicBezTo>
                <a:cubicBezTo>
                  <a:pt x="795" y="176"/>
                  <a:pt x="795" y="176"/>
                  <a:pt x="795" y="176"/>
                </a:cubicBezTo>
                <a:cubicBezTo>
                  <a:pt x="795" y="176"/>
                  <a:pt x="795" y="177"/>
                  <a:pt x="795" y="177"/>
                </a:cubicBezTo>
                <a:cubicBezTo>
                  <a:pt x="795" y="177"/>
                  <a:pt x="794" y="177"/>
                  <a:pt x="794" y="177"/>
                </a:cubicBezTo>
                <a:cubicBezTo>
                  <a:pt x="794" y="177"/>
                  <a:pt x="794" y="177"/>
                  <a:pt x="793" y="177"/>
                </a:cubicBezTo>
                <a:cubicBezTo>
                  <a:pt x="793" y="177"/>
                  <a:pt x="793" y="177"/>
                  <a:pt x="793" y="177"/>
                </a:cubicBezTo>
                <a:cubicBezTo>
                  <a:pt x="793" y="177"/>
                  <a:pt x="792" y="176"/>
                  <a:pt x="792" y="176"/>
                </a:cubicBezTo>
                <a:cubicBezTo>
                  <a:pt x="792" y="176"/>
                  <a:pt x="792" y="177"/>
                  <a:pt x="792" y="177"/>
                </a:cubicBezTo>
                <a:cubicBezTo>
                  <a:pt x="792" y="177"/>
                  <a:pt x="792" y="177"/>
                  <a:pt x="792" y="177"/>
                </a:cubicBezTo>
                <a:cubicBezTo>
                  <a:pt x="792" y="177"/>
                  <a:pt x="792" y="177"/>
                  <a:pt x="792" y="178"/>
                </a:cubicBezTo>
                <a:cubicBezTo>
                  <a:pt x="792" y="178"/>
                  <a:pt x="792" y="178"/>
                  <a:pt x="793" y="178"/>
                </a:cubicBezTo>
                <a:cubicBezTo>
                  <a:pt x="792" y="178"/>
                  <a:pt x="792" y="178"/>
                  <a:pt x="792" y="178"/>
                </a:cubicBezTo>
                <a:cubicBezTo>
                  <a:pt x="792" y="178"/>
                  <a:pt x="792" y="179"/>
                  <a:pt x="792" y="179"/>
                </a:cubicBezTo>
                <a:cubicBezTo>
                  <a:pt x="793" y="179"/>
                  <a:pt x="793" y="179"/>
                  <a:pt x="793" y="179"/>
                </a:cubicBezTo>
                <a:cubicBezTo>
                  <a:pt x="794" y="179"/>
                  <a:pt x="794" y="179"/>
                  <a:pt x="794" y="179"/>
                </a:cubicBezTo>
                <a:cubicBezTo>
                  <a:pt x="794" y="179"/>
                  <a:pt x="794" y="179"/>
                  <a:pt x="795" y="179"/>
                </a:cubicBezTo>
                <a:cubicBezTo>
                  <a:pt x="795" y="179"/>
                  <a:pt x="796" y="179"/>
                  <a:pt x="797" y="179"/>
                </a:cubicBezTo>
                <a:cubicBezTo>
                  <a:pt x="797" y="179"/>
                  <a:pt x="797" y="178"/>
                  <a:pt x="798" y="178"/>
                </a:cubicBezTo>
                <a:cubicBezTo>
                  <a:pt x="798" y="178"/>
                  <a:pt x="799" y="178"/>
                  <a:pt x="799" y="178"/>
                </a:cubicBezTo>
                <a:cubicBezTo>
                  <a:pt x="799" y="178"/>
                  <a:pt x="800" y="178"/>
                  <a:pt x="800" y="178"/>
                </a:cubicBezTo>
                <a:cubicBezTo>
                  <a:pt x="800" y="178"/>
                  <a:pt x="800" y="178"/>
                  <a:pt x="800" y="178"/>
                </a:cubicBezTo>
                <a:cubicBezTo>
                  <a:pt x="800" y="178"/>
                  <a:pt x="801" y="178"/>
                  <a:pt x="801" y="179"/>
                </a:cubicBezTo>
                <a:cubicBezTo>
                  <a:pt x="801" y="178"/>
                  <a:pt x="802" y="178"/>
                  <a:pt x="802" y="178"/>
                </a:cubicBezTo>
                <a:cubicBezTo>
                  <a:pt x="802" y="178"/>
                  <a:pt x="802" y="179"/>
                  <a:pt x="802" y="179"/>
                </a:cubicBezTo>
                <a:cubicBezTo>
                  <a:pt x="802" y="179"/>
                  <a:pt x="803" y="179"/>
                  <a:pt x="803" y="180"/>
                </a:cubicBezTo>
                <a:cubicBezTo>
                  <a:pt x="804" y="180"/>
                  <a:pt x="804" y="180"/>
                  <a:pt x="804" y="180"/>
                </a:cubicBezTo>
                <a:cubicBezTo>
                  <a:pt x="804" y="180"/>
                  <a:pt x="805" y="180"/>
                  <a:pt x="805" y="179"/>
                </a:cubicBezTo>
                <a:cubicBezTo>
                  <a:pt x="805" y="179"/>
                  <a:pt x="806" y="179"/>
                  <a:pt x="806" y="179"/>
                </a:cubicBezTo>
                <a:cubicBezTo>
                  <a:pt x="807" y="180"/>
                  <a:pt x="807" y="180"/>
                  <a:pt x="808" y="180"/>
                </a:cubicBezTo>
                <a:cubicBezTo>
                  <a:pt x="809" y="180"/>
                  <a:pt x="810" y="180"/>
                  <a:pt x="810" y="180"/>
                </a:cubicBezTo>
                <a:cubicBezTo>
                  <a:pt x="811" y="180"/>
                  <a:pt x="811" y="180"/>
                  <a:pt x="811" y="180"/>
                </a:cubicBezTo>
                <a:cubicBezTo>
                  <a:pt x="812" y="180"/>
                  <a:pt x="812" y="180"/>
                  <a:pt x="813" y="180"/>
                </a:cubicBezTo>
                <a:cubicBezTo>
                  <a:pt x="813" y="180"/>
                  <a:pt x="813" y="179"/>
                  <a:pt x="813" y="179"/>
                </a:cubicBezTo>
                <a:cubicBezTo>
                  <a:pt x="813" y="179"/>
                  <a:pt x="813" y="179"/>
                  <a:pt x="813" y="179"/>
                </a:cubicBezTo>
                <a:cubicBezTo>
                  <a:pt x="813" y="179"/>
                  <a:pt x="813" y="179"/>
                  <a:pt x="813" y="179"/>
                </a:cubicBezTo>
                <a:cubicBezTo>
                  <a:pt x="814" y="179"/>
                  <a:pt x="814" y="179"/>
                  <a:pt x="815" y="179"/>
                </a:cubicBezTo>
                <a:cubicBezTo>
                  <a:pt x="815" y="179"/>
                  <a:pt x="815" y="179"/>
                  <a:pt x="816" y="178"/>
                </a:cubicBezTo>
                <a:cubicBezTo>
                  <a:pt x="816" y="178"/>
                  <a:pt x="816" y="178"/>
                  <a:pt x="816" y="178"/>
                </a:cubicBezTo>
                <a:cubicBezTo>
                  <a:pt x="816" y="177"/>
                  <a:pt x="817" y="177"/>
                  <a:pt x="817" y="177"/>
                </a:cubicBezTo>
                <a:cubicBezTo>
                  <a:pt x="817" y="177"/>
                  <a:pt x="817" y="178"/>
                  <a:pt x="817" y="178"/>
                </a:cubicBezTo>
                <a:cubicBezTo>
                  <a:pt x="817" y="178"/>
                  <a:pt x="817" y="178"/>
                  <a:pt x="817" y="178"/>
                </a:cubicBezTo>
                <a:cubicBezTo>
                  <a:pt x="817" y="178"/>
                  <a:pt x="817" y="178"/>
                  <a:pt x="818" y="178"/>
                </a:cubicBezTo>
                <a:cubicBezTo>
                  <a:pt x="818" y="178"/>
                  <a:pt x="818" y="178"/>
                  <a:pt x="818" y="178"/>
                </a:cubicBezTo>
                <a:cubicBezTo>
                  <a:pt x="819" y="177"/>
                  <a:pt x="819" y="177"/>
                  <a:pt x="819" y="177"/>
                </a:cubicBezTo>
                <a:close/>
                <a:moveTo>
                  <a:pt x="804" y="181"/>
                </a:moveTo>
                <a:cubicBezTo>
                  <a:pt x="804" y="181"/>
                  <a:pt x="803" y="181"/>
                  <a:pt x="803" y="181"/>
                </a:cubicBezTo>
                <a:cubicBezTo>
                  <a:pt x="803" y="181"/>
                  <a:pt x="804" y="181"/>
                  <a:pt x="804" y="182"/>
                </a:cubicBezTo>
                <a:cubicBezTo>
                  <a:pt x="804" y="181"/>
                  <a:pt x="804" y="181"/>
                  <a:pt x="804" y="181"/>
                </a:cubicBezTo>
                <a:cubicBezTo>
                  <a:pt x="804" y="181"/>
                  <a:pt x="804" y="181"/>
                  <a:pt x="804" y="180"/>
                </a:cubicBezTo>
                <a:cubicBezTo>
                  <a:pt x="804" y="180"/>
                  <a:pt x="804" y="180"/>
                  <a:pt x="804" y="181"/>
                </a:cubicBezTo>
                <a:close/>
                <a:moveTo>
                  <a:pt x="588" y="423"/>
                </a:moveTo>
                <a:cubicBezTo>
                  <a:pt x="587" y="422"/>
                  <a:pt x="587" y="422"/>
                  <a:pt x="587" y="422"/>
                </a:cubicBezTo>
                <a:cubicBezTo>
                  <a:pt x="587" y="423"/>
                  <a:pt x="586" y="423"/>
                  <a:pt x="586" y="423"/>
                </a:cubicBezTo>
                <a:cubicBezTo>
                  <a:pt x="587" y="423"/>
                  <a:pt x="587" y="423"/>
                  <a:pt x="588" y="423"/>
                </a:cubicBezTo>
                <a:close/>
                <a:moveTo>
                  <a:pt x="601" y="420"/>
                </a:moveTo>
                <a:cubicBezTo>
                  <a:pt x="601" y="420"/>
                  <a:pt x="601" y="420"/>
                  <a:pt x="601" y="419"/>
                </a:cubicBezTo>
                <a:cubicBezTo>
                  <a:pt x="600" y="420"/>
                  <a:pt x="600" y="420"/>
                  <a:pt x="600" y="420"/>
                </a:cubicBezTo>
                <a:cubicBezTo>
                  <a:pt x="600" y="420"/>
                  <a:pt x="601" y="421"/>
                  <a:pt x="601" y="421"/>
                </a:cubicBezTo>
                <a:cubicBezTo>
                  <a:pt x="601" y="420"/>
                  <a:pt x="601" y="420"/>
                  <a:pt x="601" y="420"/>
                </a:cubicBezTo>
                <a:close/>
                <a:moveTo>
                  <a:pt x="597" y="422"/>
                </a:moveTo>
                <a:cubicBezTo>
                  <a:pt x="597" y="422"/>
                  <a:pt x="596" y="422"/>
                  <a:pt x="596" y="422"/>
                </a:cubicBezTo>
                <a:cubicBezTo>
                  <a:pt x="596" y="422"/>
                  <a:pt x="596" y="422"/>
                  <a:pt x="595" y="422"/>
                </a:cubicBezTo>
                <a:cubicBezTo>
                  <a:pt x="596" y="422"/>
                  <a:pt x="596" y="422"/>
                  <a:pt x="596" y="423"/>
                </a:cubicBezTo>
                <a:cubicBezTo>
                  <a:pt x="596" y="423"/>
                  <a:pt x="597" y="423"/>
                  <a:pt x="597" y="422"/>
                </a:cubicBezTo>
                <a:close/>
                <a:moveTo>
                  <a:pt x="601" y="423"/>
                </a:moveTo>
                <a:cubicBezTo>
                  <a:pt x="601" y="422"/>
                  <a:pt x="602" y="422"/>
                  <a:pt x="602" y="422"/>
                </a:cubicBezTo>
                <a:cubicBezTo>
                  <a:pt x="602" y="422"/>
                  <a:pt x="601" y="422"/>
                  <a:pt x="600" y="422"/>
                </a:cubicBezTo>
                <a:cubicBezTo>
                  <a:pt x="600" y="422"/>
                  <a:pt x="600" y="422"/>
                  <a:pt x="600" y="422"/>
                </a:cubicBezTo>
                <a:cubicBezTo>
                  <a:pt x="601" y="422"/>
                  <a:pt x="601" y="423"/>
                  <a:pt x="601" y="423"/>
                </a:cubicBezTo>
                <a:close/>
                <a:moveTo>
                  <a:pt x="594" y="419"/>
                </a:moveTo>
                <a:cubicBezTo>
                  <a:pt x="594" y="419"/>
                  <a:pt x="593" y="420"/>
                  <a:pt x="593" y="420"/>
                </a:cubicBezTo>
                <a:cubicBezTo>
                  <a:pt x="593" y="420"/>
                  <a:pt x="593" y="420"/>
                  <a:pt x="593" y="420"/>
                </a:cubicBezTo>
                <a:cubicBezTo>
                  <a:pt x="594" y="420"/>
                  <a:pt x="594" y="420"/>
                  <a:pt x="595" y="420"/>
                </a:cubicBezTo>
                <a:cubicBezTo>
                  <a:pt x="595" y="420"/>
                  <a:pt x="595" y="420"/>
                  <a:pt x="595" y="420"/>
                </a:cubicBezTo>
                <a:cubicBezTo>
                  <a:pt x="595" y="419"/>
                  <a:pt x="595" y="419"/>
                  <a:pt x="595" y="419"/>
                </a:cubicBezTo>
                <a:cubicBezTo>
                  <a:pt x="595" y="419"/>
                  <a:pt x="594" y="419"/>
                  <a:pt x="594" y="419"/>
                </a:cubicBezTo>
                <a:close/>
                <a:moveTo>
                  <a:pt x="582" y="423"/>
                </a:moveTo>
                <a:cubicBezTo>
                  <a:pt x="583" y="423"/>
                  <a:pt x="584" y="423"/>
                  <a:pt x="584" y="422"/>
                </a:cubicBezTo>
                <a:cubicBezTo>
                  <a:pt x="584" y="422"/>
                  <a:pt x="585" y="422"/>
                  <a:pt x="585" y="422"/>
                </a:cubicBezTo>
                <a:cubicBezTo>
                  <a:pt x="584" y="422"/>
                  <a:pt x="584" y="422"/>
                  <a:pt x="583" y="422"/>
                </a:cubicBezTo>
                <a:cubicBezTo>
                  <a:pt x="583" y="422"/>
                  <a:pt x="583" y="423"/>
                  <a:pt x="582" y="423"/>
                </a:cubicBezTo>
                <a:close/>
                <a:moveTo>
                  <a:pt x="577" y="424"/>
                </a:moveTo>
                <a:cubicBezTo>
                  <a:pt x="577" y="424"/>
                  <a:pt x="577" y="424"/>
                  <a:pt x="577" y="424"/>
                </a:cubicBezTo>
                <a:cubicBezTo>
                  <a:pt x="578" y="424"/>
                  <a:pt x="579" y="424"/>
                  <a:pt x="579" y="424"/>
                </a:cubicBezTo>
                <a:cubicBezTo>
                  <a:pt x="579" y="424"/>
                  <a:pt x="580" y="424"/>
                  <a:pt x="580" y="424"/>
                </a:cubicBezTo>
                <a:cubicBezTo>
                  <a:pt x="580" y="424"/>
                  <a:pt x="581" y="423"/>
                  <a:pt x="581" y="423"/>
                </a:cubicBezTo>
                <a:cubicBezTo>
                  <a:pt x="582" y="423"/>
                  <a:pt x="582" y="422"/>
                  <a:pt x="582" y="422"/>
                </a:cubicBezTo>
                <a:cubicBezTo>
                  <a:pt x="582" y="422"/>
                  <a:pt x="582" y="422"/>
                  <a:pt x="581" y="422"/>
                </a:cubicBezTo>
                <a:cubicBezTo>
                  <a:pt x="581" y="422"/>
                  <a:pt x="581" y="421"/>
                  <a:pt x="581" y="421"/>
                </a:cubicBezTo>
                <a:cubicBezTo>
                  <a:pt x="581" y="421"/>
                  <a:pt x="581" y="421"/>
                  <a:pt x="580" y="421"/>
                </a:cubicBezTo>
                <a:cubicBezTo>
                  <a:pt x="580" y="421"/>
                  <a:pt x="579" y="422"/>
                  <a:pt x="578" y="422"/>
                </a:cubicBezTo>
                <a:cubicBezTo>
                  <a:pt x="577" y="422"/>
                  <a:pt x="576" y="422"/>
                  <a:pt x="575" y="422"/>
                </a:cubicBezTo>
                <a:cubicBezTo>
                  <a:pt x="575" y="423"/>
                  <a:pt x="575" y="423"/>
                  <a:pt x="574" y="423"/>
                </a:cubicBezTo>
                <a:cubicBezTo>
                  <a:pt x="574" y="423"/>
                  <a:pt x="574" y="423"/>
                  <a:pt x="574" y="424"/>
                </a:cubicBezTo>
                <a:cubicBezTo>
                  <a:pt x="574" y="424"/>
                  <a:pt x="574" y="424"/>
                  <a:pt x="574" y="424"/>
                </a:cubicBezTo>
                <a:cubicBezTo>
                  <a:pt x="574" y="424"/>
                  <a:pt x="574" y="424"/>
                  <a:pt x="574" y="424"/>
                </a:cubicBezTo>
                <a:cubicBezTo>
                  <a:pt x="574" y="425"/>
                  <a:pt x="574" y="425"/>
                  <a:pt x="574" y="425"/>
                </a:cubicBezTo>
                <a:cubicBezTo>
                  <a:pt x="575" y="425"/>
                  <a:pt x="576" y="425"/>
                  <a:pt x="577" y="424"/>
                </a:cubicBezTo>
                <a:close/>
                <a:moveTo>
                  <a:pt x="568" y="426"/>
                </a:moveTo>
                <a:cubicBezTo>
                  <a:pt x="568" y="426"/>
                  <a:pt x="569" y="425"/>
                  <a:pt x="569" y="425"/>
                </a:cubicBezTo>
                <a:cubicBezTo>
                  <a:pt x="568" y="425"/>
                  <a:pt x="568" y="425"/>
                  <a:pt x="568" y="425"/>
                </a:cubicBezTo>
                <a:cubicBezTo>
                  <a:pt x="568" y="425"/>
                  <a:pt x="567" y="425"/>
                  <a:pt x="567" y="425"/>
                </a:cubicBezTo>
                <a:cubicBezTo>
                  <a:pt x="567" y="425"/>
                  <a:pt x="567" y="425"/>
                  <a:pt x="567" y="425"/>
                </a:cubicBezTo>
                <a:cubicBezTo>
                  <a:pt x="567" y="425"/>
                  <a:pt x="567" y="426"/>
                  <a:pt x="567" y="426"/>
                </a:cubicBezTo>
                <a:cubicBezTo>
                  <a:pt x="568" y="426"/>
                  <a:pt x="568" y="426"/>
                  <a:pt x="568" y="426"/>
                </a:cubicBezTo>
                <a:close/>
                <a:moveTo>
                  <a:pt x="568" y="425"/>
                </a:moveTo>
                <a:cubicBezTo>
                  <a:pt x="568" y="425"/>
                  <a:pt x="568" y="424"/>
                  <a:pt x="568" y="424"/>
                </a:cubicBezTo>
                <a:cubicBezTo>
                  <a:pt x="568" y="424"/>
                  <a:pt x="568" y="424"/>
                  <a:pt x="569" y="424"/>
                </a:cubicBezTo>
                <a:cubicBezTo>
                  <a:pt x="569" y="424"/>
                  <a:pt x="569" y="424"/>
                  <a:pt x="569" y="423"/>
                </a:cubicBezTo>
                <a:cubicBezTo>
                  <a:pt x="569" y="423"/>
                  <a:pt x="569" y="423"/>
                  <a:pt x="568" y="423"/>
                </a:cubicBezTo>
                <a:cubicBezTo>
                  <a:pt x="568" y="423"/>
                  <a:pt x="567" y="423"/>
                  <a:pt x="566" y="423"/>
                </a:cubicBezTo>
                <a:cubicBezTo>
                  <a:pt x="566" y="423"/>
                  <a:pt x="566" y="423"/>
                  <a:pt x="565" y="423"/>
                </a:cubicBezTo>
                <a:cubicBezTo>
                  <a:pt x="565" y="423"/>
                  <a:pt x="565" y="423"/>
                  <a:pt x="564" y="423"/>
                </a:cubicBezTo>
                <a:cubicBezTo>
                  <a:pt x="564" y="423"/>
                  <a:pt x="564" y="423"/>
                  <a:pt x="563" y="423"/>
                </a:cubicBezTo>
                <a:cubicBezTo>
                  <a:pt x="563" y="423"/>
                  <a:pt x="562" y="423"/>
                  <a:pt x="562" y="423"/>
                </a:cubicBezTo>
                <a:cubicBezTo>
                  <a:pt x="561" y="423"/>
                  <a:pt x="561" y="423"/>
                  <a:pt x="560" y="422"/>
                </a:cubicBezTo>
                <a:cubicBezTo>
                  <a:pt x="560" y="423"/>
                  <a:pt x="560" y="423"/>
                  <a:pt x="559" y="423"/>
                </a:cubicBezTo>
                <a:cubicBezTo>
                  <a:pt x="560" y="423"/>
                  <a:pt x="560" y="422"/>
                  <a:pt x="560" y="422"/>
                </a:cubicBezTo>
                <a:cubicBezTo>
                  <a:pt x="561" y="422"/>
                  <a:pt x="561" y="422"/>
                  <a:pt x="562" y="422"/>
                </a:cubicBezTo>
                <a:cubicBezTo>
                  <a:pt x="562" y="422"/>
                  <a:pt x="563" y="422"/>
                  <a:pt x="564" y="422"/>
                </a:cubicBezTo>
                <a:cubicBezTo>
                  <a:pt x="564" y="422"/>
                  <a:pt x="564" y="422"/>
                  <a:pt x="565" y="422"/>
                </a:cubicBezTo>
                <a:cubicBezTo>
                  <a:pt x="564" y="421"/>
                  <a:pt x="564" y="421"/>
                  <a:pt x="564" y="421"/>
                </a:cubicBezTo>
                <a:cubicBezTo>
                  <a:pt x="564" y="421"/>
                  <a:pt x="563" y="421"/>
                  <a:pt x="563" y="422"/>
                </a:cubicBezTo>
                <a:cubicBezTo>
                  <a:pt x="563" y="422"/>
                  <a:pt x="562" y="422"/>
                  <a:pt x="562" y="422"/>
                </a:cubicBezTo>
                <a:cubicBezTo>
                  <a:pt x="561" y="421"/>
                  <a:pt x="561" y="421"/>
                  <a:pt x="560" y="421"/>
                </a:cubicBezTo>
                <a:cubicBezTo>
                  <a:pt x="560" y="421"/>
                  <a:pt x="560" y="421"/>
                  <a:pt x="560" y="421"/>
                </a:cubicBezTo>
                <a:cubicBezTo>
                  <a:pt x="559" y="421"/>
                  <a:pt x="559" y="421"/>
                  <a:pt x="559" y="421"/>
                </a:cubicBezTo>
                <a:cubicBezTo>
                  <a:pt x="559" y="421"/>
                  <a:pt x="559" y="421"/>
                  <a:pt x="558" y="421"/>
                </a:cubicBezTo>
                <a:cubicBezTo>
                  <a:pt x="557" y="421"/>
                  <a:pt x="556" y="421"/>
                  <a:pt x="554" y="421"/>
                </a:cubicBezTo>
                <a:cubicBezTo>
                  <a:pt x="554" y="421"/>
                  <a:pt x="554" y="421"/>
                  <a:pt x="554" y="422"/>
                </a:cubicBezTo>
                <a:cubicBezTo>
                  <a:pt x="553" y="422"/>
                  <a:pt x="553" y="422"/>
                  <a:pt x="553" y="422"/>
                </a:cubicBezTo>
                <a:cubicBezTo>
                  <a:pt x="552" y="422"/>
                  <a:pt x="552" y="422"/>
                  <a:pt x="551" y="422"/>
                </a:cubicBezTo>
                <a:cubicBezTo>
                  <a:pt x="551" y="423"/>
                  <a:pt x="551" y="423"/>
                  <a:pt x="551" y="423"/>
                </a:cubicBezTo>
                <a:cubicBezTo>
                  <a:pt x="551" y="423"/>
                  <a:pt x="551" y="423"/>
                  <a:pt x="551" y="423"/>
                </a:cubicBezTo>
                <a:cubicBezTo>
                  <a:pt x="551" y="423"/>
                  <a:pt x="550" y="423"/>
                  <a:pt x="550" y="423"/>
                </a:cubicBezTo>
                <a:cubicBezTo>
                  <a:pt x="550" y="423"/>
                  <a:pt x="549" y="423"/>
                  <a:pt x="549" y="423"/>
                </a:cubicBezTo>
                <a:cubicBezTo>
                  <a:pt x="549" y="423"/>
                  <a:pt x="548" y="423"/>
                  <a:pt x="548" y="423"/>
                </a:cubicBezTo>
                <a:cubicBezTo>
                  <a:pt x="547" y="423"/>
                  <a:pt x="547" y="423"/>
                  <a:pt x="546" y="423"/>
                </a:cubicBezTo>
                <a:cubicBezTo>
                  <a:pt x="546" y="423"/>
                  <a:pt x="546" y="424"/>
                  <a:pt x="545" y="424"/>
                </a:cubicBezTo>
                <a:cubicBezTo>
                  <a:pt x="545" y="424"/>
                  <a:pt x="545" y="424"/>
                  <a:pt x="544" y="424"/>
                </a:cubicBezTo>
                <a:cubicBezTo>
                  <a:pt x="544" y="424"/>
                  <a:pt x="543" y="424"/>
                  <a:pt x="543" y="424"/>
                </a:cubicBezTo>
                <a:cubicBezTo>
                  <a:pt x="543" y="424"/>
                  <a:pt x="542" y="425"/>
                  <a:pt x="542" y="425"/>
                </a:cubicBezTo>
                <a:cubicBezTo>
                  <a:pt x="542" y="425"/>
                  <a:pt x="543" y="425"/>
                  <a:pt x="543" y="425"/>
                </a:cubicBezTo>
                <a:cubicBezTo>
                  <a:pt x="544" y="425"/>
                  <a:pt x="545" y="425"/>
                  <a:pt x="546" y="425"/>
                </a:cubicBezTo>
                <a:cubicBezTo>
                  <a:pt x="546" y="425"/>
                  <a:pt x="546" y="425"/>
                  <a:pt x="546" y="425"/>
                </a:cubicBezTo>
                <a:cubicBezTo>
                  <a:pt x="546" y="425"/>
                  <a:pt x="546" y="426"/>
                  <a:pt x="547" y="426"/>
                </a:cubicBezTo>
                <a:cubicBezTo>
                  <a:pt x="547" y="426"/>
                  <a:pt x="547" y="426"/>
                  <a:pt x="546" y="427"/>
                </a:cubicBezTo>
                <a:cubicBezTo>
                  <a:pt x="547" y="427"/>
                  <a:pt x="547" y="427"/>
                  <a:pt x="547" y="427"/>
                </a:cubicBezTo>
                <a:cubicBezTo>
                  <a:pt x="547" y="427"/>
                  <a:pt x="548" y="427"/>
                  <a:pt x="548" y="427"/>
                </a:cubicBezTo>
                <a:cubicBezTo>
                  <a:pt x="548" y="427"/>
                  <a:pt x="549" y="428"/>
                  <a:pt x="549" y="428"/>
                </a:cubicBezTo>
                <a:cubicBezTo>
                  <a:pt x="549" y="428"/>
                  <a:pt x="549" y="428"/>
                  <a:pt x="549" y="428"/>
                </a:cubicBezTo>
                <a:cubicBezTo>
                  <a:pt x="549" y="428"/>
                  <a:pt x="548" y="428"/>
                  <a:pt x="547" y="429"/>
                </a:cubicBezTo>
                <a:cubicBezTo>
                  <a:pt x="547" y="429"/>
                  <a:pt x="547" y="429"/>
                  <a:pt x="547" y="429"/>
                </a:cubicBezTo>
                <a:cubicBezTo>
                  <a:pt x="547" y="429"/>
                  <a:pt x="546" y="429"/>
                  <a:pt x="546" y="429"/>
                </a:cubicBezTo>
                <a:cubicBezTo>
                  <a:pt x="546" y="429"/>
                  <a:pt x="545" y="429"/>
                  <a:pt x="545" y="429"/>
                </a:cubicBezTo>
                <a:cubicBezTo>
                  <a:pt x="544" y="429"/>
                  <a:pt x="544" y="429"/>
                  <a:pt x="544" y="429"/>
                </a:cubicBezTo>
                <a:cubicBezTo>
                  <a:pt x="543" y="429"/>
                  <a:pt x="543" y="430"/>
                  <a:pt x="543" y="430"/>
                </a:cubicBezTo>
                <a:cubicBezTo>
                  <a:pt x="542" y="430"/>
                  <a:pt x="542" y="430"/>
                  <a:pt x="542" y="430"/>
                </a:cubicBezTo>
                <a:cubicBezTo>
                  <a:pt x="542" y="430"/>
                  <a:pt x="542" y="430"/>
                  <a:pt x="542" y="430"/>
                </a:cubicBezTo>
                <a:cubicBezTo>
                  <a:pt x="541" y="430"/>
                  <a:pt x="541" y="430"/>
                  <a:pt x="540" y="430"/>
                </a:cubicBezTo>
                <a:cubicBezTo>
                  <a:pt x="540" y="430"/>
                  <a:pt x="540" y="430"/>
                  <a:pt x="539" y="430"/>
                </a:cubicBezTo>
                <a:cubicBezTo>
                  <a:pt x="539" y="430"/>
                  <a:pt x="539" y="430"/>
                  <a:pt x="539" y="430"/>
                </a:cubicBezTo>
                <a:cubicBezTo>
                  <a:pt x="538" y="431"/>
                  <a:pt x="538" y="431"/>
                  <a:pt x="538" y="431"/>
                </a:cubicBezTo>
                <a:cubicBezTo>
                  <a:pt x="538" y="431"/>
                  <a:pt x="539" y="431"/>
                  <a:pt x="539" y="431"/>
                </a:cubicBezTo>
                <a:cubicBezTo>
                  <a:pt x="539" y="431"/>
                  <a:pt x="540" y="431"/>
                  <a:pt x="540" y="431"/>
                </a:cubicBezTo>
                <a:cubicBezTo>
                  <a:pt x="540" y="432"/>
                  <a:pt x="541" y="432"/>
                  <a:pt x="541" y="432"/>
                </a:cubicBezTo>
                <a:cubicBezTo>
                  <a:pt x="542" y="432"/>
                  <a:pt x="542" y="432"/>
                  <a:pt x="542" y="432"/>
                </a:cubicBezTo>
                <a:cubicBezTo>
                  <a:pt x="542" y="432"/>
                  <a:pt x="542" y="432"/>
                  <a:pt x="542" y="431"/>
                </a:cubicBezTo>
                <a:cubicBezTo>
                  <a:pt x="542" y="431"/>
                  <a:pt x="542" y="431"/>
                  <a:pt x="542" y="431"/>
                </a:cubicBezTo>
                <a:cubicBezTo>
                  <a:pt x="543" y="431"/>
                  <a:pt x="544" y="431"/>
                  <a:pt x="545" y="430"/>
                </a:cubicBezTo>
                <a:cubicBezTo>
                  <a:pt x="545" y="430"/>
                  <a:pt x="545" y="430"/>
                  <a:pt x="546" y="431"/>
                </a:cubicBezTo>
                <a:cubicBezTo>
                  <a:pt x="547" y="430"/>
                  <a:pt x="547" y="430"/>
                  <a:pt x="548" y="430"/>
                </a:cubicBezTo>
                <a:cubicBezTo>
                  <a:pt x="548" y="430"/>
                  <a:pt x="549" y="430"/>
                  <a:pt x="549" y="430"/>
                </a:cubicBezTo>
                <a:cubicBezTo>
                  <a:pt x="549" y="430"/>
                  <a:pt x="549" y="430"/>
                  <a:pt x="550" y="430"/>
                </a:cubicBezTo>
                <a:cubicBezTo>
                  <a:pt x="550" y="430"/>
                  <a:pt x="550" y="430"/>
                  <a:pt x="550" y="430"/>
                </a:cubicBezTo>
                <a:cubicBezTo>
                  <a:pt x="551" y="430"/>
                  <a:pt x="551" y="429"/>
                  <a:pt x="551" y="429"/>
                </a:cubicBezTo>
                <a:cubicBezTo>
                  <a:pt x="551" y="430"/>
                  <a:pt x="551" y="430"/>
                  <a:pt x="552" y="430"/>
                </a:cubicBezTo>
                <a:cubicBezTo>
                  <a:pt x="552" y="430"/>
                  <a:pt x="552" y="431"/>
                  <a:pt x="552" y="431"/>
                </a:cubicBezTo>
                <a:cubicBezTo>
                  <a:pt x="552" y="431"/>
                  <a:pt x="552" y="431"/>
                  <a:pt x="552" y="431"/>
                </a:cubicBezTo>
                <a:cubicBezTo>
                  <a:pt x="553" y="431"/>
                  <a:pt x="553" y="431"/>
                  <a:pt x="553" y="431"/>
                </a:cubicBezTo>
                <a:cubicBezTo>
                  <a:pt x="553" y="431"/>
                  <a:pt x="553" y="431"/>
                  <a:pt x="554" y="431"/>
                </a:cubicBezTo>
                <a:cubicBezTo>
                  <a:pt x="554" y="431"/>
                  <a:pt x="554" y="430"/>
                  <a:pt x="554" y="430"/>
                </a:cubicBezTo>
                <a:cubicBezTo>
                  <a:pt x="554" y="430"/>
                  <a:pt x="554" y="429"/>
                  <a:pt x="555" y="429"/>
                </a:cubicBezTo>
                <a:cubicBezTo>
                  <a:pt x="555" y="428"/>
                  <a:pt x="555" y="428"/>
                  <a:pt x="555" y="428"/>
                </a:cubicBezTo>
                <a:cubicBezTo>
                  <a:pt x="555" y="428"/>
                  <a:pt x="555" y="428"/>
                  <a:pt x="555" y="428"/>
                </a:cubicBezTo>
                <a:cubicBezTo>
                  <a:pt x="555" y="428"/>
                  <a:pt x="555" y="428"/>
                  <a:pt x="556" y="428"/>
                </a:cubicBezTo>
                <a:cubicBezTo>
                  <a:pt x="556" y="428"/>
                  <a:pt x="556" y="428"/>
                  <a:pt x="556" y="428"/>
                </a:cubicBezTo>
                <a:cubicBezTo>
                  <a:pt x="556" y="427"/>
                  <a:pt x="556" y="427"/>
                  <a:pt x="557" y="427"/>
                </a:cubicBezTo>
                <a:cubicBezTo>
                  <a:pt x="557" y="427"/>
                  <a:pt x="557" y="427"/>
                  <a:pt x="557" y="427"/>
                </a:cubicBezTo>
                <a:cubicBezTo>
                  <a:pt x="557" y="427"/>
                  <a:pt x="558" y="427"/>
                  <a:pt x="558" y="428"/>
                </a:cubicBezTo>
                <a:cubicBezTo>
                  <a:pt x="558" y="428"/>
                  <a:pt x="558" y="428"/>
                  <a:pt x="558" y="428"/>
                </a:cubicBezTo>
                <a:cubicBezTo>
                  <a:pt x="559" y="428"/>
                  <a:pt x="559" y="427"/>
                  <a:pt x="560" y="427"/>
                </a:cubicBezTo>
                <a:cubicBezTo>
                  <a:pt x="560" y="427"/>
                  <a:pt x="560" y="426"/>
                  <a:pt x="561" y="426"/>
                </a:cubicBezTo>
                <a:cubicBezTo>
                  <a:pt x="561" y="426"/>
                  <a:pt x="562" y="426"/>
                  <a:pt x="562" y="425"/>
                </a:cubicBezTo>
                <a:cubicBezTo>
                  <a:pt x="563" y="425"/>
                  <a:pt x="563" y="425"/>
                  <a:pt x="564" y="425"/>
                </a:cubicBezTo>
                <a:cubicBezTo>
                  <a:pt x="564" y="425"/>
                  <a:pt x="564" y="425"/>
                  <a:pt x="564" y="425"/>
                </a:cubicBezTo>
                <a:cubicBezTo>
                  <a:pt x="565" y="425"/>
                  <a:pt x="565" y="425"/>
                  <a:pt x="565" y="425"/>
                </a:cubicBezTo>
                <a:cubicBezTo>
                  <a:pt x="566" y="425"/>
                  <a:pt x="566" y="425"/>
                  <a:pt x="566" y="425"/>
                </a:cubicBezTo>
                <a:cubicBezTo>
                  <a:pt x="567" y="425"/>
                  <a:pt x="567" y="425"/>
                  <a:pt x="568" y="425"/>
                </a:cubicBezTo>
                <a:close/>
                <a:moveTo>
                  <a:pt x="725" y="29"/>
                </a:moveTo>
                <a:cubicBezTo>
                  <a:pt x="725" y="29"/>
                  <a:pt x="726" y="29"/>
                  <a:pt x="726" y="29"/>
                </a:cubicBezTo>
                <a:cubicBezTo>
                  <a:pt x="726" y="28"/>
                  <a:pt x="726" y="28"/>
                  <a:pt x="725" y="27"/>
                </a:cubicBezTo>
                <a:cubicBezTo>
                  <a:pt x="725" y="27"/>
                  <a:pt x="725" y="27"/>
                  <a:pt x="725" y="27"/>
                </a:cubicBezTo>
                <a:cubicBezTo>
                  <a:pt x="724" y="27"/>
                  <a:pt x="724" y="27"/>
                  <a:pt x="724" y="27"/>
                </a:cubicBezTo>
                <a:cubicBezTo>
                  <a:pt x="724" y="27"/>
                  <a:pt x="723" y="27"/>
                  <a:pt x="723" y="27"/>
                </a:cubicBezTo>
                <a:cubicBezTo>
                  <a:pt x="723" y="27"/>
                  <a:pt x="723" y="27"/>
                  <a:pt x="723" y="27"/>
                </a:cubicBezTo>
                <a:cubicBezTo>
                  <a:pt x="723" y="28"/>
                  <a:pt x="723" y="28"/>
                  <a:pt x="723" y="28"/>
                </a:cubicBezTo>
                <a:cubicBezTo>
                  <a:pt x="723" y="28"/>
                  <a:pt x="723" y="28"/>
                  <a:pt x="723" y="29"/>
                </a:cubicBezTo>
                <a:cubicBezTo>
                  <a:pt x="724" y="29"/>
                  <a:pt x="725" y="29"/>
                  <a:pt x="725" y="29"/>
                </a:cubicBezTo>
                <a:close/>
                <a:moveTo>
                  <a:pt x="722" y="25"/>
                </a:moveTo>
                <a:cubicBezTo>
                  <a:pt x="722" y="25"/>
                  <a:pt x="722" y="26"/>
                  <a:pt x="723" y="26"/>
                </a:cubicBezTo>
                <a:cubicBezTo>
                  <a:pt x="723" y="26"/>
                  <a:pt x="723" y="26"/>
                  <a:pt x="723" y="26"/>
                </a:cubicBezTo>
                <a:cubicBezTo>
                  <a:pt x="724" y="26"/>
                  <a:pt x="724" y="26"/>
                  <a:pt x="725" y="26"/>
                </a:cubicBezTo>
                <a:cubicBezTo>
                  <a:pt x="725" y="26"/>
                  <a:pt x="725" y="25"/>
                  <a:pt x="725" y="25"/>
                </a:cubicBezTo>
                <a:cubicBezTo>
                  <a:pt x="725" y="25"/>
                  <a:pt x="725" y="25"/>
                  <a:pt x="725" y="25"/>
                </a:cubicBezTo>
                <a:cubicBezTo>
                  <a:pt x="725" y="25"/>
                  <a:pt x="724" y="24"/>
                  <a:pt x="724" y="24"/>
                </a:cubicBezTo>
                <a:cubicBezTo>
                  <a:pt x="724" y="24"/>
                  <a:pt x="724" y="24"/>
                  <a:pt x="724" y="24"/>
                </a:cubicBezTo>
                <a:cubicBezTo>
                  <a:pt x="724" y="24"/>
                  <a:pt x="723" y="24"/>
                  <a:pt x="723" y="24"/>
                </a:cubicBezTo>
                <a:cubicBezTo>
                  <a:pt x="723" y="24"/>
                  <a:pt x="723" y="24"/>
                  <a:pt x="722" y="24"/>
                </a:cubicBezTo>
                <a:cubicBezTo>
                  <a:pt x="722" y="24"/>
                  <a:pt x="722" y="24"/>
                  <a:pt x="722" y="25"/>
                </a:cubicBezTo>
                <a:cubicBezTo>
                  <a:pt x="722" y="25"/>
                  <a:pt x="722" y="25"/>
                  <a:pt x="722" y="25"/>
                </a:cubicBezTo>
                <a:close/>
                <a:moveTo>
                  <a:pt x="725" y="12"/>
                </a:moveTo>
                <a:cubicBezTo>
                  <a:pt x="725" y="12"/>
                  <a:pt x="726" y="12"/>
                  <a:pt x="726" y="13"/>
                </a:cubicBezTo>
                <a:cubicBezTo>
                  <a:pt x="726" y="12"/>
                  <a:pt x="726" y="12"/>
                  <a:pt x="727" y="12"/>
                </a:cubicBezTo>
                <a:cubicBezTo>
                  <a:pt x="727" y="12"/>
                  <a:pt x="727" y="12"/>
                  <a:pt x="727" y="12"/>
                </a:cubicBezTo>
                <a:cubicBezTo>
                  <a:pt x="726" y="12"/>
                  <a:pt x="726" y="12"/>
                  <a:pt x="726" y="12"/>
                </a:cubicBezTo>
                <a:cubicBezTo>
                  <a:pt x="726" y="12"/>
                  <a:pt x="725" y="12"/>
                  <a:pt x="725" y="12"/>
                </a:cubicBezTo>
                <a:cubicBezTo>
                  <a:pt x="725" y="12"/>
                  <a:pt x="725" y="11"/>
                  <a:pt x="725" y="11"/>
                </a:cubicBezTo>
                <a:cubicBezTo>
                  <a:pt x="725" y="11"/>
                  <a:pt x="725" y="11"/>
                  <a:pt x="724" y="11"/>
                </a:cubicBezTo>
                <a:cubicBezTo>
                  <a:pt x="724" y="11"/>
                  <a:pt x="724" y="11"/>
                  <a:pt x="723" y="11"/>
                </a:cubicBezTo>
                <a:cubicBezTo>
                  <a:pt x="723" y="12"/>
                  <a:pt x="723" y="12"/>
                  <a:pt x="723" y="12"/>
                </a:cubicBezTo>
                <a:cubicBezTo>
                  <a:pt x="724" y="12"/>
                  <a:pt x="724" y="12"/>
                  <a:pt x="724" y="12"/>
                </a:cubicBezTo>
                <a:cubicBezTo>
                  <a:pt x="724" y="12"/>
                  <a:pt x="725" y="12"/>
                  <a:pt x="725" y="12"/>
                </a:cubicBezTo>
                <a:close/>
                <a:moveTo>
                  <a:pt x="831" y="25"/>
                </a:moveTo>
                <a:cubicBezTo>
                  <a:pt x="831" y="25"/>
                  <a:pt x="831" y="25"/>
                  <a:pt x="831" y="25"/>
                </a:cubicBezTo>
                <a:cubicBezTo>
                  <a:pt x="831" y="24"/>
                  <a:pt x="831" y="24"/>
                  <a:pt x="831" y="24"/>
                </a:cubicBezTo>
                <a:cubicBezTo>
                  <a:pt x="831" y="23"/>
                  <a:pt x="831" y="23"/>
                  <a:pt x="831" y="23"/>
                </a:cubicBezTo>
                <a:cubicBezTo>
                  <a:pt x="831" y="22"/>
                  <a:pt x="831" y="22"/>
                  <a:pt x="831" y="22"/>
                </a:cubicBezTo>
                <a:cubicBezTo>
                  <a:pt x="831" y="22"/>
                  <a:pt x="831" y="22"/>
                  <a:pt x="831" y="21"/>
                </a:cubicBezTo>
                <a:cubicBezTo>
                  <a:pt x="831" y="22"/>
                  <a:pt x="830" y="22"/>
                  <a:pt x="830" y="22"/>
                </a:cubicBezTo>
                <a:cubicBezTo>
                  <a:pt x="830" y="22"/>
                  <a:pt x="830" y="22"/>
                  <a:pt x="830" y="22"/>
                </a:cubicBezTo>
                <a:cubicBezTo>
                  <a:pt x="830" y="22"/>
                  <a:pt x="830" y="22"/>
                  <a:pt x="830" y="22"/>
                </a:cubicBezTo>
                <a:cubicBezTo>
                  <a:pt x="830" y="23"/>
                  <a:pt x="830" y="23"/>
                  <a:pt x="830" y="23"/>
                </a:cubicBezTo>
                <a:cubicBezTo>
                  <a:pt x="830" y="23"/>
                  <a:pt x="830" y="24"/>
                  <a:pt x="830" y="24"/>
                </a:cubicBezTo>
                <a:cubicBezTo>
                  <a:pt x="830" y="24"/>
                  <a:pt x="830" y="24"/>
                  <a:pt x="831" y="25"/>
                </a:cubicBezTo>
                <a:close/>
                <a:moveTo>
                  <a:pt x="700" y="23"/>
                </a:moveTo>
                <a:cubicBezTo>
                  <a:pt x="700" y="23"/>
                  <a:pt x="701" y="24"/>
                  <a:pt x="701" y="24"/>
                </a:cubicBezTo>
                <a:cubicBezTo>
                  <a:pt x="701" y="25"/>
                  <a:pt x="702" y="25"/>
                  <a:pt x="702" y="25"/>
                </a:cubicBezTo>
                <a:cubicBezTo>
                  <a:pt x="702" y="26"/>
                  <a:pt x="703" y="26"/>
                  <a:pt x="703" y="26"/>
                </a:cubicBezTo>
                <a:cubicBezTo>
                  <a:pt x="703" y="27"/>
                  <a:pt x="703" y="27"/>
                  <a:pt x="704" y="27"/>
                </a:cubicBezTo>
                <a:cubicBezTo>
                  <a:pt x="704" y="26"/>
                  <a:pt x="704" y="26"/>
                  <a:pt x="704" y="26"/>
                </a:cubicBezTo>
                <a:cubicBezTo>
                  <a:pt x="704" y="26"/>
                  <a:pt x="704" y="25"/>
                  <a:pt x="704" y="25"/>
                </a:cubicBezTo>
                <a:cubicBezTo>
                  <a:pt x="703" y="25"/>
                  <a:pt x="703" y="24"/>
                  <a:pt x="702" y="24"/>
                </a:cubicBezTo>
                <a:cubicBezTo>
                  <a:pt x="702" y="24"/>
                  <a:pt x="702" y="23"/>
                  <a:pt x="702" y="23"/>
                </a:cubicBezTo>
                <a:cubicBezTo>
                  <a:pt x="702" y="23"/>
                  <a:pt x="702" y="22"/>
                  <a:pt x="702" y="22"/>
                </a:cubicBezTo>
                <a:cubicBezTo>
                  <a:pt x="702" y="22"/>
                  <a:pt x="702" y="21"/>
                  <a:pt x="702" y="21"/>
                </a:cubicBezTo>
                <a:cubicBezTo>
                  <a:pt x="702" y="21"/>
                  <a:pt x="702" y="20"/>
                  <a:pt x="702" y="20"/>
                </a:cubicBezTo>
                <a:cubicBezTo>
                  <a:pt x="702" y="20"/>
                  <a:pt x="702" y="19"/>
                  <a:pt x="702" y="19"/>
                </a:cubicBezTo>
                <a:cubicBezTo>
                  <a:pt x="701" y="19"/>
                  <a:pt x="701" y="19"/>
                  <a:pt x="701" y="19"/>
                </a:cubicBezTo>
                <a:cubicBezTo>
                  <a:pt x="701" y="19"/>
                  <a:pt x="700" y="19"/>
                  <a:pt x="700" y="19"/>
                </a:cubicBezTo>
                <a:cubicBezTo>
                  <a:pt x="700" y="20"/>
                  <a:pt x="700" y="21"/>
                  <a:pt x="700" y="21"/>
                </a:cubicBezTo>
                <a:cubicBezTo>
                  <a:pt x="700" y="22"/>
                  <a:pt x="700" y="22"/>
                  <a:pt x="700" y="22"/>
                </a:cubicBezTo>
                <a:cubicBezTo>
                  <a:pt x="700" y="22"/>
                  <a:pt x="700" y="23"/>
                  <a:pt x="700" y="23"/>
                </a:cubicBezTo>
                <a:close/>
                <a:moveTo>
                  <a:pt x="638" y="41"/>
                </a:moveTo>
                <a:cubicBezTo>
                  <a:pt x="638" y="42"/>
                  <a:pt x="638" y="42"/>
                  <a:pt x="638" y="42"/>
                </a:cubicBezTo>
                <a:cubicBezTo>
                  <a:pt x="638" y="42"/>
                  <a:pt x="639" y="42"/>
                  <a:pt x="639" y="42"/>
                </a:cubicBezTo>
                <a:cubicBezTo>
                  <a:pt x="639" y="42"/>
                  <a:pt x="639" y="42"/>
                  <a:pt x="639" y="41"/>
                </a:cubicBezTo>
                <a:cubicBezTo>
                  <a:pt x="639" y="41"/>
                  <a:pt x="638" y="41"/>
                  <a:pt x="638" y="41"/>
                </a:cubicBezTo>
                <a:cubicBezTo>
                  <a:pt x="638" y="41"/>
                  <a:pt x="637" y="41"/>
                  <a:pt x="637" y="41"/>
                </a:cubicBezTo>
                <a:cubicBezTo>
                  <a:pt x="637" y="41"/>
                  <a:pt x="638" y="41"/>
                  <a:pt x="638" y="41"/>
                </a:cubicBezTo>
                <a:close/>
                <a:moveTo>
                  <a:pt x="731" y="12"/>
                </a:moveTo>
                <a:cubicBezTo>
                  <a:pt x="731" y="12"/>
                  <a:pt x="731" y="12"/>
                  <a:pt x="731" y="11"/>
                </a:cubicBezTo>
                <a:cubicBezTo>
                  <a:pt x="731" y="11"/>
                  <a:pt x="730" y="11"/>
                  <a:pt x="730" y="11"/>
                </a:cubicBezTo>
                <a:cubicBezTo>
                  <a:pt x="730" y="11"/>
                  <a:pt x="730" y="11"/>
                  <a:pt x="730" y="11"/>
                </a:cubicBezTo>
                <a:cubicBezTo>
                  <a:pt x="730" y="12"/>
                  <a:pt x="730" y="12"/>
                  <a:pt x="730" y="12"/>
                </a:cubicBezTo>
                <a:cubicBezTo>
                  <a:pt x="731" y="12"/>
                  <a:pt x="731" y="12"/>
                  <a:pt x="731" y="12"/>
                </a:cubicBezTo>
                <a:close/>
                <a:moveTo>
                  <a:pt x="732" y="11"/>
                </a:moveTo>
                <a:cubicBezTo>
                  <a:pt x="733" y="12"/>
                  <a:pt x="733" y="12"/>
                  <a:pt x="734" y="12"/>
                </a:cubicBezTo>
                <a:cubicBezTo>
                  <a:pt x="734" y="12"/>
                  <a:pt x="734" y="12"/>
                  <a:pt x="735" y="12"/>
                </a:cubicBezTo>
                <a:cubicBezTo>
                  <a:pt x="735" y="12"/>
                  <a:pt x="735" y="12"/>
                  <a:pt x="735" y="11"/>
                </a:cubicBezTo>
                <a:cubicBezTo>
                  <a:pt x="735" y="11"/>
                  <a:pt x="735" y="11"/>
                  <a:pt x="735" y="11"/>
                </a:cubicBezTo>
                <a:cubicBezTo>
                  <a:pt x="735" y="11"/>
                  <a:pt x="735" y="10"/>
                  <a:pt x="735" y="10"/>
                </a:cubicBezTo>
                <a:cubicBezTo>
                  <a:pt x="735" y="10"/>
                  <a:pt x="735" y="10"/>
                  <a:pt x="735" y="10"/>
                </a:cubicBezTo>
                <a:cubicBezTo>
                  <a:pt x="735" y="10"/>
                  <a:pt x="735" y="10"/>
                  <a:pt x="734" y="10"/>
                </a:cubicBezTo>
                <a:cubicBezTo>
                  <a:pt x="734" y="10"/>
                  <a:pt x="734" y="9"/>
                  <a:pt x="733" y="9"/>
                </a:cubicBezTo>
                <a:cubicBezTo>
                  <a:pt x="733" y="9"/>
                  <a:pt x="733" y="9"/>
                  <a:pt x="732" y="9"/>
                </a:cubicBezTo>
                <a:cubicBezTo>
                  <a:pt x="732" y="9"/>
                  <a:pt x="732" y="9"/>
                  <a:pt x="732" y="9"/>
                </a:cubicBezTo>
                <a:cubicBezTo>
                  <a:pt x="732" y="10"/>
                  <a:pt x="732" y="10"/>
                  <a:pt x="732" y="10"/>
                </a:cubicBezTo>
                <a:cubicBezTo>
                  <a:pt x="732" y="10"/>
                  <a:pt x="732" y="10"/>
                  <a:pt x="733" y="10"/>
                </a:cubicBezTo>
                <a:cubicBezTo>
                  <a:pt x="732" y="11"/>
                  <a:pt x="732" y="11"/>
                  <a:pt x="732" y="11"/>
                </a:cubicBezTo>
                <a:cubicBezTo>
                  <a:pt x="732" y="11"/>
                  <a:pt x="732" y="11"/>
                  <a:pt x="731" y="10"/>
                </a:cubicBezTo>
                <a:cubicBezTo>
                  <a:pt x="731" y="11"/>
                  <a:pt x="731" y="11"/>
                  <a:pt x="731" y="11"/>
                </a:cubicBezTo>
                <a:cubicBezTo>
                  <a:pt x="731" y="11"/>
                  <a:pt x="731" y="11"/>
                  <a:pt x="731" y="11"/>
                </a:cubicBezTo>
                <a:cubicBezTo>
                  <a:pt x="731" y="11"/>
                  <a:pt x="732" y="11"/>
                  <a:pt x="732" y="11"/>
                </a:cubicBezTo>
                <a:close/>
                <a:moveTo>
                  <a:pt x="750" y="6"/>
                </a:moveTo>
                <a:cubicBezTo>
                  <a:pt x="750" y="6"/>
                  <a:pt x="750" y="6"/>
                  <a:pt x="750" y="6"/>
                </a:cubicBezTo>
                <a:cubicBezTo>
                  <a:pt x="750" y="6"/>
                  <a:pt x="750" y="6"/>
                  <a:pt x="750" y="6"/>
                </a:cubicBezTo>
                <a:cubicBezTo>
                  <a:pt x="750" y="6"/>
                  <a:pt x="750" y="6"/>
                  <a:pt x="749" y="6"/>
                </a:cubicBezTo>
                <a:cubicBezTo>
                  <a:pt x="749" y="6"/>
                  <a:pt x="749" y="6"/>
                  <a:pt x="749" y="6"/>
                </a:cubicBezTo>
                <a:cubicBezTo>
                  <a:pt x="749" y="6"/>
                  <a:pt x="749" y="6"/>
                  <a:pt x="749" y="6"/>
                </a:cubicBezTo>
                <a:cubicBezTo>
                  <a:pt x="749" y="6"/>
                  <a:pt x="750" y="6"/>
                  <a:pt x="750" y="6"/>
                </a:cubicBezTo>
                <a:close/>
                <a:moveTo>
                  <a:pt x="758" y="3"/>
                </a:moveTo>
                <a:cubicBezTo>
                  <a:pt x="758" y="3"/>
                  <a:pt x="758" y="3"/>
                  <a:pt x="758" y="3"/>
                </a:cubicBezTo>
                <a:cubicBezTo>
                  <a:pt x="758" y="3"/>
                  <a:pt x="758" y="2"/>
                  <a:pt x="758" y="2"/>
                </a:cubicBezTo>
                <a:cubicBezTo>
                  <a:pt x="758" y="2"/>
                  <a:pt x="758" y="2"/>
                  <a:pt x="758" y="2"/>
                </a:cubicBezTo>
                <a:cubicBezTo>
                  <a:pt x="757" y="2"/>
                  <a:pt x="757" y="2"/>
                  <a:pt x="757" y="2"/>
                </a:cubicBezTo>
                <a:cubicBezTo>
                  <a:pt x="757" y="2"/>
                  <a:pt x="757" y="2"/>
                  <a:pt x="757" y="2"/>
                </a:cubicBezTo>
                <a:cubicBezTo>
                  <a:pt x="757" y="3"/>
                  <a:pt x="757" y="3"/>
                  <a:pt x="757" y="3"/>
                </a:cubicBezTo>
                <a:cubicBezTo>
                  <a:pt x="757" y="3"/>
                  <a:pt x="757" y="3"/>
                  <a:pt x="758" y="3"/>
                </a:cubicBezTo>
                <a:close/>
                <a:moveTo>
                  <a:pt x="757" y="4"/>
                </a:moveTo>
                <a:cubicBezTo>
                  <a:pt x="758" y="4"/>
                  <a:pt x="758" y="4"/>
                  <a:pt x="758" y="5"/>
                </a:cubicBezTo>
                <a:cubicBezTo>
                  <a:pt x="758" y="5"/>
                  <a:pt x="758" y="4"/>
                  <a:pt x="759" y="4"/>
                </a:cubicBezTo>
                <a:cubicBezTo>
                  <a:pt x="759" y="4"/>
                  <a:pt x="759" y="4"/>
                  <a:pt x="759" y="4"/>
                </a:cubicBezTo>
                <a:cubicBezTo>
                  <a:pt x="759" y="4"/>
                  <a:pt x="759" y="4"/>
                  <a:pt x="759" y="3"/>
                </a:cubicBezTo>
                <a:cubicBezTo>
                  <a:pt x="759" y="3"/>
                  <a:pt x="759" y="3"/>
                  <a:pt x="758" y="3"/>
                </a:cubicBezTo>
                <a:cubicBezTo>
                  <a:pt x="758" y="4"/>
                  <a:pt x="758" y="4"/>
                  <a:pt x="757" y="4"/>
                </a:cubicBezTo>
                <a:cubicBezTo>
                  <a:pt x="757" y="4"/>
                  <a:pt x="757" y="4"/>
                  <a:pt x="757" y="4"/>
                </a:cubicBezTo>
                <a:close/>
                <a:moveTo>
                  <a:pt x="753" y="6"/>
                </a:moveTo>
                <a:cubicBezTo>
                  <a:pt x="753" y="6"/>
                  <a:pt x="753" y="6"/>
                  <a:pt x="753" y="6"/>
                </a:cubicBezTo>
                <a:cubicBezTo>
                  <a:pt x="754" y="6"/>
                  <a:pt x="754" y="6"/>
                  <a:pt x="754" y="6"/>
                </a:cubicBezTo>
                <a:cubicBezTo>
                  <a:pt x="755" y="6"/>
                  <a:pt x="755" y="6"/>
                  <a:pt x="755" y="5"/>
                </a:cubicBezTo>
                <a:cubicBezTo>
                  <a:pt x="755" y="5"/>
                  <a:pt x="755" y="5"/>
                  <a:pt x="756" y="5"/>
                </a:cubicBezTo>
                <a:cubicBezTo>
                  <a:pt x="755" y="5"/>
                  <a:pt x="754" y="5"/>
                  <a:pt x="754" y="4"/>
                </a:cubicBezTo>
                <a:cubicBezTo>
                  <a:pt x="754" y="4"/>
                  <a:pt x="754" y="4"/>
                  <a:pt x="753" y="4"/>
                </a:cubicBezTo>
                <a:cubicBezTo>
                  <a:pt x="753" y="4"/>
                  <a:pt x="753" y="4"/>
                  <a:pt x="753" y="3"/>
                </a:cubicBezTo>
                <a:cubicBezTo>
                  <a:pt x="753" y="4"/>
                  <a:pt x="753" y="4"/>
                  <a:pt x="752" y="4"/>
                </a:cubicBezTo>
                <a:cubicBezTo>
                  <a:pt x="752" y="4"/>
                  <a:pt x="752" y="4"/>
                  <a:pt x="752" y="4"/>
                </a:cubicBezTo>
                <a:cubicBezTo>
                  <a:pt x="752" y="4"/>
                  <a:pt x="752" y="4"/>
                  <a:pt x="752" y="5"/>
                </a:cubicBezTo>
                <a:cubicBezTo>
                  <a:pt x="752" y="5"/>
                  <a:pt x="752" y="5"/>
                  <a:pt x="752" y="5"/>
                </a:cubicBezTo>
                <a:cubicBezTo>
                  <a:pt x="753" y="5"/>
                  <a:pt x="753" y="5"/>
                  <a:pt x="753" y="6"/>
                </a:cubicBezTo>
                <a:close/>
                <a:moveTo>
                  <a:pt x="825" y="25"/>
                </a:moveTo>
                <a:cubicBezTo>
                  <a:pt x="825" y="25"/>
                  <a:pt x="825" y="26"/>
                  <a:pt x="825" y="26"/>
                </a:cubicBezTo>
                <a:cubicBezTo>
                  <a:pt x="826" y="25"/>
                  <a:pt x="826" y="25"/>
                  <a:pt x="826" y="25"/>
                </a:cubicBezTo>
                <a:cubicBezTo>
                  <a:pt x="826" y="25"/>
                  <a:pt x="826" y="25"/>
                  <a:pt x="826" y="24"/>
                </a:cubicBezTo>
                <a:cubicBezTo>
                  <a:pt x="826" y="24"/>
                  <a:pt x="826" y="24"/>
                  <a:pt x="827" y="24"/>
                </a:cubicBezTo>
                <a:cubicBezTo>
                  <a:pt x="827" y="24"/>
                  <a:pt x="827" y="24"/>
                  <a:pt x="827" y="23"/>
                </a:cubicBezTo>
                <a:cubicBezTo>
                  <a:pt x="826" y="23"/>
                  <a:pt x="826" y="23"/>
                  <a:pt x="826" y="23"/>
                </a:cubicBezTo>
                <a:cubicBezTo>
                  <a:pt x="826" y="23"/>
                  <a:pt x="825" y="23"/>
                  <a:pt x="825" y="23"/>
                </a:cubicBezTo>
                <a:cubicBezTo>
                  <a:pt x="825" y="23"/>
                  <a:pt x="825" y="24"/>
                  <a:pt x="824" y="24"/>
                </a:cubicBezTo>
                <a:cubicBezTo>
                  <a:pt x="825" y="24"/>
                  <a:pt x="825" y="24"/>
                  <a:pt x="825" y="25"/>
                </a:cubicBezTo>
                <a:cubicBezTo>
                  <a:pt x="825" y="25"/>
                  <a:pt x="825" y="25"/>
                  <a:pt x="825" y="25"/>
                </a:cubicBezTo>
                <a:close/>
                <a:moveTo>
                  <a:pt x="720" y="19"/>
                </a:moveTo>
                <a:cubicBezTo>
                  <a:pt x="720" y="19"/>
                  <a:pt x="720" y="19"/>
                  <a:pt x="721" y="19"/>
                </a:cubicBezTo>
                <a:cubicBezTo>
                  <a:pt x="721" y="19"/>
                  <a:pt x="721" y="19"/>
                  <a:pt x="721" y="19"/>
                </a:cubicBezTo>
                <a:cubicBezTo>
                  <a:pt x="721" y="19"/>
                  <a:pt x="722" y="19"/>
                  <a:pt x="722" y="19"/>
                </a:cubicBezTo>
                <a:cubicBezTo>
                  <a:pt x="722" y="19"/>
                  <a:pt x="722" y="19"/>
                  <a:pt x="722" y="18"/>
                </a:cubicBezTo>
                <a:cubicBezTo>
                  <a:pt x="722" y="18"/>
                  <a:pt x="722" y="18"/>
                  <a:pt x="721" y="18"/>
                </a:cubicBezTo>
                <a:cubicBezTo>
                  <a:pt x="721" y="18"/>
                  <a:pt x="721" y="17"/>
                  <a:pt x="721" y="17"/>
                </a:cubicBezTo>
                <a:cubicBezTo>
                  <a:pt x="720" y="17"/>
                  <a:pt x="720" y="17"/>
                  <a:pt x="720" y="17"/>
                </a:cubicBezTo>
                <a:cubicBezTo>
                  <a:pt x="720" y="17"/>
                  <a:pt x="719" y="17"/>
                  <a:pt x="719" y="17"/>
                </a:cubicBezTo>
                <a:cubicBezTo>
                  <a:pt x="719" y="17"/>
                  <a:pt x="719" y="17"/>
                  <a:pt x="719" y="17"/>
                </a:cubicBezTo>
                <a:cubicBezTo>
                  <a:pt x="719" y="17"/>
                  <a:pt x="720" y="18"/>
                  <a:pt x="720" y="18"/>
                </a:cubicBezTo>
                <a:cubicBezTo>
                  <a:pt x="720" y="18"/>
                  <a:pt x="720" y="18"/>
                  <a:pt x="720" y="19"/>
                </a:cubicBezTo>
                <a:close/>
                <a:moveTo>
                  <a:pt x="705" y="22"/>
                </a:moveTo>
                <a:cubicBezTo>
                  <a:pt x="705" y="22"/>
                  <a:pt x="705" y="21"/>
                  <a:pt x="705" y="21"/>
                </a:cubicBezTo>
                <a:cubicBezTo>
                  <a:pt x="705" y="21"/>
                  <a:pt x="705" y="21"/>
                  <a:pt x="705" y="21"/>
                </a:cubicBezTo>
                <a:cubicBezTo>
                  <a:pt x="705" y="21"/>
                  <a:pt x="705" y="21"/>
                  <a:pt x="705" y="21"/>
                </a:cubicBezTo>
                <a:cubicBezTo>
                  <a:pt x="705" y="20"/>
                  <a:pt x="705" y="20"/>
                  <a:pt x="705" y="20"/>
                </a:cubicBezTo>
                <a:cubicBezTo>
                  <a:pt x="704" y="20"/>
                  <a:pt x="704" y="20"/>
                  <a:pt x="704" y="21"/>
                </a:cubicBezTo>
                <a:cubicBezTo>
                  <a:pt x="704" y="21"/>
                  <a:pt x="704" y="21"/>
                  <a:pt x="704" y="21"/>
                </a:cubicBezTo>
                <a:cubicBezTo>
                  <a:pt x="704" y="21"/>
                  <a:pt x="705" y="21"/>
                  <a:pt x="705" y="22"/>
                </a:cubicBezTo>
                <a:close/>
                <a:moveTo>
                  <a:pt x="827" y="27"/>
                </a:moveTo>
                <a:cubicBezTo>
                  <a:pt x="827" y="27"/>
                  <a:pt x="828" y="27"/>
                  <a:pt x="828" y="27"/>
                </a:cubicBezTo>
                <a:cubicBezTo>
                  <a:pt x="828" y="27"/>
                  <a:pt x="828" y="27"/>
                  <a:pt x="828" y="27"/>
                </a:cubicBezTo>
                <a:cubicBezTo>
                  <a:pt x="828" y="27"/>
                  <a:pt x="828" y="26"/>
                  <a:pt x="828" y="26"/>
                </a:cubicBezTo>
                <a:cubicBezTo>
                  <a:pt x="828" y="26"/>
                  <a:pt x="828" y="26"/>
                  <a:pt x="827" y="25"/>
                </a:cubicBezTo>
                <a:cubicBezTo>
                  <a:pt x="827" y="26"/>
                  <a:pt x="827" y="26"/>
                  <a:pt x="827" y="26"/>
                </a:cubicBezTo>
                <a:cubicBezTo>
                  <a:pt x="827" y="26"/>
                  <a:pt x="826" y="26"/>
                  <a:pt x="826" y="27"/>
                </a:cubicBezTo>
                <a:cubicBezTo>
                  <a:pt x="827" y="27"/>
                  <a:pt x="827" y="27"/>
                  <a:pt x="827" y="27"/>
                </a:cubicBezTo>
                <a:close/>
                <a:moveTo>
                  <a:pt x="650" y="169"/>
                </a:moveTo>
                <a:cubicBezTo>
                  <a:pt x="651" y="169"/>
                  <a:pt x="651" y="169"/>
                  <a:pt x="651" y="169"/>
                </a:cubicBezTo>
                <a:cubicBezTo>
                  <a:pt x="651" y="169"/>
                  <a:pt x="650" y="169"/>
                  <a:pt x="650" y="169"/>
                </a:cubicBezTo>
                <a:cubicBezTo>
                  <a:pt x="650" y="169"/>
                  <a:pt x="649" y="169"/>
                  <a:pt x="649" y="169"/>
                </a:cubicBezTo>
                <a:cubicBezTo>
                  <a:pt x="649" y="169"/>
                  <a:pt x="649" y="169"/>
                  <a:pt x="649" y="169"/>
                </a:cubicBezTo>
                <a:cubicBezTo>
                  <a:pt x="649" y="169"/>
                  <a:pt x="649" y="169"/>
                  <a:pt x="649" y="169"/>
                </a:cubicBezTo>
                <a:cubicBezTo>
                  <a:pt x="650" y="169"/>
                  <a:pt x="650" y="169"/>
                  <a:pt x="650" y="169"/>
                </a:cubicBezTo>
                <a:close/>
                <a:moveTo>
                  <a:pt x="649" y="147"/>
                </a:moveTo>
                <a:cubicBezTo>
                  <a:pt x="649" y="148"/>
                  <a:pt x="649" y="148"/>
                  <a:pt x="648" y="148"/>
                </a:cubicBezTo>
                <a:cubicBezTo>
                  <a:pt x="648" y="148"/>
                  <a:pt x="648" y="148"/>
                  <a:pt x="648" y="148"/>
                </a:cubicBezTo>
                <a:cubicBezTo>
                  <a:pt x="648" y="148"/>
                  <a:pt x="649" y="148"/>
                  <a:pt x="649" y="149"/>
                </a:cubicBezTo>
                <a:cubicBezTo>
                  <a:pt x="650" y="149"/>
                  <a:pt x="651" y="149"/>
                  <a:pt x="652" y="149"/>
                </a:cubicBezTo>
                <a:cubicBezTo>
                  <a:pt x="652" y="149"/>
                  <a:pt x="652" y="149"/>
                  <a:pt x="652" y="149"/>
                </a:cubicBezTo>
                <a:cubicBezTo>
                  <a:pt x="652" y="149"/>
                  <a:pt x="653" y="149"/>
                  <a:pt x="653" y="149"/>
                </a:cubicBezTo>
                <a:cubicBezTo>
                  <a:pt x="653" y="149"/>
                  <a:pt x="654" y="148"/>
                  <a:pt x="655" y="148"/>
                </a:cubicBezTo>
                <a:cubicBezTo>
                  <a:pt x="654" y="148"/>
                  <a:pt x="654" y="149"/>
                  <a:pt x="653" y="149"/>
                </a:cubicBezTo>
                <a:cubicBezTo>
                  <a:pt x="653" y="149"/>
                  <a:pt x="653" y="149"/>
                  <a:pt x="652" y="149"/>
                </a:cubicBezTo>
                <a:cubicBezTo>
                  <a:pt x="652" y="149"/>
                  <a:pt x="651" y="149"/>
                  <a:pt x="651" y="149"/>
                </a:cubicBezTo>
                <a:cubicBezTo>
                  <a:pt x="651" y="149"/>
                  <a:pt x="650" y="149"/>
                  <a:pt x="650" y="149"/>
                </a:cubicBezTo>
                <a:cubicBezTo>
                  <a:pt x="650" y="150"/>
                  <a:pt x="650" y="150"/>
                  <a:pt x="650" y="150"/>
                </a:cubicBezTo>
                <a:cubicBezTo>
                  <a:pt x="650" y="150"/>
                  <a:pt x="651" y="150"/>
                  <a:pt x="651" y="150"/>
                </a:cubicBezTo>
                <a:cubicBezTo>
                  <a:pt x="651" y="150"/>
                  <a:pt x="652" y="150"/>
                  <a:pt x="653" y="150"/>
                </a:cubicBezTo>
                <a:cubicBezTo>
                  <a:pt x="653" y="150"/>
                  <a:pt x="653" y="150"/>
                  <a:pt x="653" y="151"/>
                </a:cubicBezTo>
                <a:cubicBezTo>
                  <a:pt x="653" y="151"/>
                  <a:pt x="654" y="151"/>
                  <a:pt x="654" y="151"/>
                </a:cubicBezTo>
                <a:cubicBezTo>
                  <a:pt x="654" y="150"/>
                  <a:pt x="654" y="150"/>
                  <a:pt x="655" y="150"/>
                </a:cubicBezTo>
                <a:cubicBezTo>
                  <a:pt x="656" y="150"/>
                  <a:pt x="657" y="150"/>
                  <a:pt x="658" y="149"/>
                </a:cubicBezTo>
                <a:cubicBezTo>
                  <a:pt x="658" y="149"/>
                  <a:pt x="659" y="149"/>
                  <a:pt x="659" y="149"/>
                </a:cubicBezTo>
                <a:cubicBezTo>
                  <a:pt x="660" y="149"/>
                  <a:pt x="661" y="148"/>
                  <a:pt x="661" y="148"/>
                </a:cubicBezTo>
                <a:cubicBezTo>
                  <a:pt x="661" y="147"/>
                  <a:pt x="661" y="147"/>
                  <a:pt x="661" y="147"/>
                </a:cubicBezTo>
                <a:cubicBezTo>
                  <a:pt x="660" y="146"/>
                  <a:pt x="660" y="146"/>
                  <a:pt x="660" y="146"/>
                </a:cubicBezTo>
                <a:cubicBezTo>
                  <a:pt x="660" y="146"/>
                  <a:pt x="659" y="146"/>
                  <a:pt x="659" y="146"/>
                </a:cubicBezTo>
                <a:cubicBezTo>
                  <a:pt x="658" y="146"/>
                  <a:pt x="658" y="146"/>
                  <a:pt x="658" y="146"/>
                </a:cubicBezTo>
                <a:cubicBezTo>
                  <a:pt x="657" y="145"/>
                  <a:pt x="657" y="145"/>
                  <a:pt x="657" y="144"/>
                </a:cubicBezTo>
                <a:cubicBezTo>
                  <a:pt x="656" y="144"/>
                  <a:pt x="656" y="144"/>
                  <a:pt x="655" y="143"/>
                </a:cubicBezTo>
                <a:cubicBezTo>
                  <a:pt x="655" y="143"/>
                  <a:pt x="654" y="143"/>
                  <a:pt x="653" y="143"/>
                </a:cubicBezTo>
                <a:cubicBezTo>
                  <a:pt x="653" y="143"/>
                  <a:pt x="653" y="143"/>
                  <a:pt x="652" y="143"/>
                </a:cubicBezTo>
                <a:cubicBezTo>
                  <a:pt x="652" y="143"/>
                  <a:pt x="651" y="143"/>
                  <a:pt x="651" y="143"/>
                </a:cubicBezTo>
                <a:cubicBezTo>
                  <a:pt x="650" y="143"/>
                  <a:pt x="650" y="143"/>
                  <a:pt x="649" y="143"/>
                </a:cubicBezTo>
                <a:cubicBezTo>
                  <a:pt x="649" y="143"/>
                  <a:pt x="649" y="143"/>
                  <a:pt x="649" y="143"/>
                </a:cubicBezTo>
                <a:cubicBezTo>
                  <a:pt x="649" y="143"/>
                  <a:pt x="648" y="144"/>
                  <a:pt x="648" y="144"/>
                </a:cubicBezTo>
                <a:cubicBezTo>
                  <a:pt x="648" y="144"/>
                  <a:pt x="648" y="145"/>
                  <a:pt x="648" y="145"/>
                </a:cubicBezTo>
                <a:cubicBezTo>
                  <a:pt x="649" y="145"/>
                  <a:pt x="649" y="145"/>
                  <a:pt x="649" y="145"/>
                </a:cubicBezTo>
                <a:cubicBezTo>
                  <a:pt x="650" y="145"/>
                  <a:pt x="650" y="146"/>
                  <a:pt x="650" y="146"/>
                </a:cubicBezTo>
                <a:cubicBezTo>
                  <a:pt x="650" y="146"/>
                  <a:pt x="649" y="146"/>
                  <a:pt x="649" y="146"/>
                </a:cubicBezTo>
                <a:cubicBezTo>
                  <a:pt x="649" y="146"/>
                  <a:pt x="648" y="146"/>
                  <a:pt x="648" y="146"/>
                </a:cubicBezTo>
                <a:cubicBezTo>
                  <a:pt x="648" y="146"/>
                  <a:pt x="648" y="146"/>
                  <a:pt x="648" y="147"/>
                </a:cubicBezTo>
                <a:cubicBezTo>
                  <a:pt x="648" y="147"/>
                  <a:pt x="648" y="147"/>
                  <a:pt x="648" y="147"/>
                </a:cubicBezTo>
                <a:cubicBezTo>
                  <a:pt x="648" y="147"/>
                  <a:pt x="649" y="147"/>
                  <a:pt x="649" y="147"/>
                </a:cubicBezTo>
                <a:close/>
                <a:moveTo>
                  <a:pt x="649" y="163"/>
                </a:moveTo>
                <a:cubicBezTo>
                  <a:pt x="649" y="163"/>
                  <a:pt x="649" y="163"/>
                  <a:pt x="649" y="163"/>
                </a:cubicBezTo>
                <a:cubicBezTo>
                  <a:pt x="649" y="163"/>
                  <a:pt x="649" y="163"/>
                  <a:pt x="649" y="163"/>
                </a:cubicBezTo>
                <a:cubicBezTo>
                  <a:pt x="650" y="162"/>
                  <a:pt x="650" y="162"/>
                  <a:pt x="650" y="162"/>
                </a:cubicBezTo>
                <a:cubicBezTo>
                  <a:pt x="650" y="162"/>
                  <a:pt x="650" y="162"/>
                  <a:pt x="650" y="162"/>
                </a:cubicBezTo>
                <a:cubicBezTo>
                  <a:pt x="650" y="162"/>
                  <a:pt x="650" y="162"/>
                  <a:pt x="649" y="162"/>
                </a:cubicBezTo>
                <a:cubicBezTo>
                  <a:pt x="649" y="162"/>
                  <a:pt x="649" y="162"/>
                  <a:pt x="649" y="162"/>
                </a:cubicBezTo>
                <a:cubicBezTo>
                  <a:pt x="649" y="162"/>
                  <a:pt x="649" y="162"/>
                  <a:pt x="649" y="163"/>
                </a:cubicBezTo>
                <a:close/>
                <a:moveTo>
                  <a:pt x="650" y="141"/>
                </a:moveTo>
                <a:cubicBezTo>
                  <a:pt x="650" y="141"/>
                  <a:pt x="650" y="141"/>
                  <a:pt x="649" y="141"/>
                </a:cubicBezTo>
                <a:cubicBezTo>
                  <a:pt x="649" y="141"/>
                  <a:pt x="649" y="141"/>
                  <a:pt x="649" y="141"/>
                </a:cubicBezTo>
                <a:cubicBezTo>
                  <a:pt x="649" y="141"/>
                  <a:pt x="649" y="141"/>
                  <a:pt x="648" y="141"/>
                </a:cubicBezTo>
                <a:cubicBezTo>
                  <a:pt x="649" y="141"/>
                  <a:pt x="649" y="142"/>
                  <a:pt x="649" y="142"/>
                </a:cubicBezTo>
                <a:cubicBezTo>
                  <a:pt x="649" y="142"/>
                  <a:pt x="650" y="142"/>
                  <a:pt x="650" y="142"/>
                </a:cubicBezTo>
                <a:cubicBezTo>
                  <a:pt x="650" y="142"/>
                  <a:pt x="650" y="141"/>
                  <a:pt x="650" y="141"/>
                </a:cubicBezTo>
                <a:close/>
                <a:moveTo>
                  <a:pt x="656" y="185"/>
                </a:moveTo>
                <a:cubicBezTo>
                  <a:pt x="656" y="185"/>
                  <a:pt x="656" y="185"/>
                  <a:pt x="656" y="185"/>
                </a:cubicBezTo>
                <a:cubicBezTo>
                  <a:pt x="656" y="185"/>
                  <a:pt x="656" y="185"/>
                  <a:pt x="656" y="185"/>
                </a:cubicBezTo>
                <a:cubicBezTo>
                  <a:pt x="656" y="185"/>
                  <a:pt x="656" y="184"/>
                  <a:pt x="657" y="184"/>
                </a:cubicBezTo>
                <a:cubicBezTo>
                  <a:pt x="657" y="184"/>
                  <a:pt x="657" y="184"/>
                  <a:pt x="657" y="184"/>
                </a:cubicBezTo>
                <a:cubicBezTo>
                  <a:pt x="657" y="184"/>
                  <a:pt x="657" y="184"/>
                  <a:pt x="657" y="184"/>
                </a:cubicBezTo>
                <a:cubicBezTo>
                  <a:pt x="656" y="184"/>
                  <a:pt x="656" y="184"/>
                  <a:pt x="656" y="185"/>
                </a:cubicBezTo>
                <a:close/>
                <a:moveTo>
                  <a:pt x="654" y="155"/>
                </a:moveTo>
                <a:cubicBezTo>
                  <a:pt x="654" y="155"/>
                  <a:pt x="654" y="156"/>
                  <a:pt x="653" y="156"/>
                </a:cubicBezTo>
                <a:cubicBezTo>
                  <a:pt x="653" y="156"/>
                  <a:pt x="653" y="156"/>
                  <a:pt x="653" y="156"/>
                </a:cubicBezTo>
                <a:cubicBezTo>
                  <a:pt x="654" y="156"/>
                  <a:pt x="654" y="156"/>
                  <a:pt x="654" y="156"/>
                </a:cubicBezTo>
                <a:cubicBezTo>
                  <a:pt x="654" y="156"/>
                  <a:pt x="655" y="156"/>
                  <a:pt x="655" y="156"/>
                </a:cubicBezTo>
                <a:cubicBezTo>
                  <a:pt x="655" y="156"/>
                  <a:pt x="655" y="155"/>
                  <a:pt x="655" y="155"/>
                </a:cubicBezTo>
                <a:cubicBezTo>
                  <a:pt x="655" y="155"/>
                  <a:pt x="654" y="155"/>
                  <a:pt x="654" y="155"/>
                </a:cubicBezTo>
                <a:close/>
                <a:moveTo>
                  <a:pt x="659" y="155"/>
                </a:moveTo>
                <a:cubicBezTo>
                  <a:pt x="660" y="155"/>
                  <a:pt x="660" y="155"/>
                  <a:pt x="660" y="154"/>
                </a:cubicBezTo>
                <a:cubicBezTo>
                  <a:pt x="660" y="154"/>
                  <a:pt x="659" y="154"/>
                  <a:pt x="659" y="154"/>
                </a:cubicBezTo>
                <a:cubicBezTo>
                  <a:pt x="659" y="154"/>
                  <a:pt x="658" y="155"/>
                  <a:pt x="658" y="155"/>
                </a:cubicBezTo>
                <a:cubicBezTo>
                  <a:pt x="658" y="155"/>
                  <a:pt x="658" y="155"/>
                  <a:pt x="658" y="155"/>
                </a:cubicBezTo>
                <a:cubicBezTo>
                  <a:pt x="659" y="155"/>
                  <a:pt x="659" y="155"/>
                  <a:pt x="659" y="155"/>
                </a:cubicBezTo>
                <a:close/>
                <a:moveTo>
                  <a:pt x="648" y="169"/>
                </a:moveTo>
                <a:cubicBezTo>
                  <a:pt x="648" y="169"/>
                  <a:pt x="648" y="169"/>
                  <a:pt x="647" y="169"/>
                </a:cubicBezTo>
                <a:cubicBezTo>
                  <a:pt x="647" y="169"/>
                  <a:pt x="647" y="169"/>
                  <a:pt x="647" y="169"/>
                </a:cubicBezTo>
                <a:cubicBezTo>
                  <a:pt x="647" y="169"/>
                  <a:pt x="647" y="169"/>
                  <a:pt x="647" y="169"/>
                </a:cubicBezTo>
                <a:cubicBezTo>
                  <a:pt x="647" y="169"/>
                  <a:pt x="647" y="169"/>
                  <a:pt x="647" y="169"/>
                </a:cubicBezTo>
                <a:cubicBezTo>
                  <a:pt x="647" y="169"/>
                  <a:pt x="648" y="169"/>
                  <a:pt x="648" y="169"/>
                </a:cubicBezTo>
                <a:close/>
                <a:moveTo>
                  <a:pt x="699" y="195"/>
                </a:moveTo>
                <a:cubicBezTo>
                  <a:pt x="699" y="194"/>
                  <a:pt x="699" y="194"/>
                  <a:pt x="699" y="194"/>
                </a:cubicBezTo>
                <a:cubicBezTo>
                  <a:pt x="698" y="194"/>
                  <a:pt x="698" y="194"/>
                  <a:pt x="698" y="194"/>
                </a:cubicBezTo>
                <a:cubicBezTo>
                  <a:pt x="698" y="194"/>
                  <a:pt x="698" y="195"/>
                  <a:pt x="698" y="195"/>
                </a:cubicBezTo>
                <a:cubicBezTo>
                  <a:pt x="698" y="195"/>
                  <a:pt x="698" y="195"/>
                  <a:pt x="699" y="195"/>
                </a:cubicBezTo>
                <a:close/>
                <a:moveTo>
                  <a:pt x="656" y="185"/>
                </a:moveTo>
                <a:cubicBezTo>
                  <a:pt x="657" y="185"/>
                  <a:pt x="657" y="185"/>
                  <a:pt x="657" y="185"/>
                </a:cubicBezTo>
                <a:cubicBezTo>
                  <a:pt x="657" y="184"/>
                  <a:pt x="658" y="184"/>
                  <a:pt x="658" y="184"/>
                </a:cubicBezTo>
                <a:cubicBezTo>
                  <a:pt x="658" y="184"/>
                  <a:pt x="658" y="184"/>
                  <a:pt x="657" y="184"/>
                </a:cubicBezTo>
                <a:cubicBezTo>
                  <a:pt x="657" y="184"/>
                  <a:pt x="657" y="184"/>
                  <a:pt x="657" y="184"/>
                </a:cubicBezTo>
                <a:cubicBezTo>
                  <a:pt x="657" y="185"/>
                  <a:pt x="656" y="185"/>
                  <a:pt x="656" y="185"/>
                </a:cubicBezTo>
                <a:cubicBezTo>
                  <a:pt x="656" y="185"/>
                  <a:pt x="656" y="185"/>
                  <a:pt x="656" y="185"/>
                </a:cubicBezTo>
                <a:close/>
                <a:moveTo>
                  <a:pt x="650" y="170"/>
                </a:moveTo>
                <a:cubicBezTo>
                  <a:pt x="650" y="170"/>
                  <a:pt x="650" y="170"/>
                  <a:pt x="650" y="169"/>
                </a:cubicBezTo>
                <a:cubicBezTo>
                  <a:pt x="650" y="169"/>
                  <a:pt x="650" y="169"/>
                  <a:pt x="649" y="169"/>
                </a:cubicBezTo>
                <a:cubicBezTo>
                  <a:pt x="649" y="169"/>
                  <a:pt x="649" y="170"/>
                  <a:pt x="649" y="170"/>
                </a:cubicBezTo>
                <a:cubicBezTo>
                  <a:pt x="649" y="170"/>
                  <a:pt x="649" y="170"/>
                  <a:pt x="650" y="170"/>
                </a:cubicBezTo>
                <a:close/>
                <a:moveTo>
                  <a:pt x="651" y="123"/>
                </a:moveTo>
                <a:cubicBezTo>
                  <a:pt x="651" y="123"/>
                  <a:pt x="651" y="123"/>
                  <a:pt x="651" y="123"/>
                </a:cubicBezTo>
                <a:cubicBezTo>
                  <a:pt x="650" y="123"/>
                  <a:pt x="650" y="123"/>
                  <a:pt x="650" y="123"/>
                </a:cubicBezTo>
                <a:cubicBezTo>
                  <a:pt x="650" y="123"/>
                  <a:pt x="650" y="124"/>
                  <a:pt x="650" y="124"/>
                </a:cubicBezTo>
                <a:cubicBezTo>
                  <a:pt x="650" y="124"/>
                  <a:pt x="650" y="124"/>
                  <a:pt x="650" y="124"/>
                </a:cubicBezTo>
                <a:cubicBezTo>
                  <a:pt x="650" y="124"/>
                  <a:pt x="651" y="124"/>
                  <a:pt x="651" y="124"/>
                </a:cubicBezTo>
                <a:cubicBezTo>
                  <a:pt x="651" y="124"/>
                  <a:pt x="651" y="124"/>
                  <a:pt x="651" y="124"/>
                </a:cubicBezTo>
                <a:cubicBezTo>
                  <a:pt x="651" y="123"/>
                  <a:pt x="652" y="123"/>
                  <a:pt x="653" y="123"/>
                </a:cubicBezTo>
                <a:cubicBezTo>
                  <a:pt x="653" y="122"/>
                  <a:pt x="653" y="122"/>
                  <a:pt x="654" y="122"/>
                </a:cubicBezTo>
                <a:cubicBezTo>
                  <a:pt x="654" y="122"/>
                  <a:pt x="654" y="122"/>
                  <a:pt x="654" y="122"/>
                </a:cubicBezTo>
                <a:cubicBezTo>
                  <a:pt x="653" y="122"/>
                  <a:pt x="653" y="122"/>
                  <a:pt x="653" y="122"/>
                </a:cubicBezTo>
                <a:cubicBezTo>
                  <a:pt x="652" y="122"/>
                  <a:pt x="652" y="122"/>
                  <a:pt x="652" y="122"/>
                </a:cubicBezTo>
                <a:cubicBezTo>
                  <a:pt x="651" y="122"/>
                  <a:pt x="651" y="122"/>
                  <a:pt x="651" y="123"/>
                </a:cubicBezTo>
                <a:close/>
                <a:moveTo>
                  <a:pt x="660" y="158"/>
                </a:moveTo>
                <a:cubicBezTo>
                  <a:pt x="660" y="158"/>
                  <a:pt x="660" y="158"/>
                  <a:pt x="660" y="158"/>
                </a:cubicBezTo>
                <a:cubicBezTo>
                  <a:pt x="659" y="158"/>
                  <a:pt x="659" y="158"/>
                  <a:pt x="658" y="158"/>
                </a:cubicBezTo>
                <a:cubicBezTo>
                  <a:pt x="658" y="158"/>
                  <a:pt x="658" y="158"/>
                  <a:pt x="658" y="158"/>
                </a:cubicBezTo>
                <a:cubicBezTo>
                  <a:pt x="658" y="158"/>
                  <a:pt x="658" y="158"/>
                  <a:pt x="658" y="158"/>
                </a:cubicBezTo>
                <a:cubicBezTo>
                  <a:pt x="658" y="158"/>
                  <a:pt x="658" y="158"/>
                  <a:pt x="659" y="159"/>
                </a:cubicBezTo>
                <a:cubicBezTo>
                  <a:pt x="659" y="158"/>
                  <a:pt x="660" y="158"/>
                  <a:pt x="660" y="158"/>
                </a:cubicBezTo>
                <a:close/>
                <a:moveTo>
                  <a:pt x="662" y="137"/>
                </a:moveTo>
                <a:cubicBezTo>
                  <a:pt x="662" y="137"/>
                  <a:pt x="662" y="138"/>
                  <a:pt x="662" y="138"/>
                </a:cubicBezTo>
                <a:cubicBezTo>
                  <a:pt x="662" y="138"/>
                  <a:pt x="663" y="138"/>
                  <a:pt x="663" y="138"/>
                </a:cubicBezTo>
                <a:cubicBezTo>
                  <a:pt x="663" y="138"/>
                  <a:pt x="664" y="138"/>
                  <a:pt x="664" y="138"/>
                </a:cubicBezTo>
                <a:cubicBezTo>
                  <a:pt x="664" y="138"/>
                  <a:pt x="664" y="137"/>
                  <a:pt x="663" y="137"/>
                </a:cubicBezTo>
                <a:cubicBezTo>
                  <a:pt x="663" y="137"/>
                  <a:pt x="662" y="137"/>
                  <a:pt x="662" y="137"/>
                </a:cubicBezTo>
                <a:close/>
                <a:moveTo>
                  <a:pt x="651" y="107"/>
                </a:moveTo>
                <a:cubicBezTo>
                  <a:pt x="651" y="107"/>
                  <a:pt x="651" y="107"/>
                  <a:pt x="652" y="107"/>
                </a:cubicBezTo>
                <a:cubicBezTo>
                  <a:pt x="652" y="107"/>
                  <a:pt x="652" y="107"/>
                  <a:pt x="652" y="106"/>
                </a:cubicBezTo>
                <a:cubicBezTo>
                  <a:pt x="651" y="106"/>
                  <a:pt x="651" y="106"/>
                  <a:pt x="651" y="106"/>
                </a:cubicBezTo>
                <a:cubicBezTo>
                  <a:pt x="650" y="106"/>
                  <a:pt x="650" y="106"/>
                  <a:pt x="649" y="106"/>
                </a:cubicBezTo>
                <a:cubicBezTo>
                  <a:pt x="649" y="106"/>
                  <a:pt x="649" y="106"/>
                  <a:pt x="649" y="106"/>
                </a:cubicBezTo>
                <a:cubicBezTo>
                  <a:pt x="649" y="106"/>
                  <a:pt x="648" y="106"/>
                  <a:pt x="648" y="106"/>
                </a:cubicBezTo>
                <a:cubicBezTo>
                  <a:pt x="647" y="106"/>
                  <a:pt x="647" y="106"/>
                  <a:pt x="647" y="106"/>
                </a:cubicBezTo>
                <a:cubicBezTo>
                  <a:pt x="647" y="106"/>
                  <a:pt x="647" y="106"/>
                  <a:pt x="647" y="106"/>
                </a:cubicBezTo>
                <a:cubicBezTo>
                  <a:pt x="647" y="107"/>
                  <a:pt x="647" y="107"/>
                  <a:pt x="647" y="107"/>
                </a:cubicBezTo>
                <a:cubicBezTo>
                  <a:pt x="647" y="107"/>
                  <a:pt x="647" y="107"/>
                  <a:pt x="648" y="107"/>
                </a:cubicBezTo>
                <a:cubicBezTo>
                  <a:pt x="648" y="107"/>
                  <a:pt x="648" y="107"/>
                  <a:pt x="648" y="107"/>
                </a:cubicBezTo>
                <a:cubicBezTo>
                  <a:pt x="649" y="107"/>
                  <a:pt x="650" y="107"/>
                  <a:pt x="650" y="107"/>
                </a:cubicBezTo>
                <a:cubicBezTo>
                  <a:pt x="651" y="107"/>
                  <a:pt x="651" y="107"/>
                  <a:pt x="651" y="107"/>
                </a:cubicBezTo>
                <a:close/>
                <a:moveTo>
                  <a:pt x="649" y="108"/>
                </a:moveTo>
                <a:cubicBezTo>
                  <a:pt x="649" y="108"/>
                  <a:pt x="649" y="108"/>
                  <a:pt x="649" y="108"/>
                </a:cubicBezTo>
                <a:cubicBezTo>
                  <a:pt x="649" y="108"/>
                  <a:pt x="649" y="108"/>
                  <a:pt x="649" y="107"/>
                </a:cubicBezTo>
                <a:cubicBezTo>
                  <a:pt x="649" y="108"/>
                  <a:pt x="649" y="108"/>
                  <a:pt x="649" y="108"/>
                </a:cubicBezTo>
                <a:cubicBezTo>
                  <a:pt x="649" y="108"/>
                  <a:pt x="649" y="108"/>
                  <a:pt x="649" y="108"/>
                </a:cubicBezTo>
                <a:close/>
                <a:moveTo>
                  <a:pt x="599" y="80"/>
                </a:moveTo>
                <a:cubicBezTo>
                  <a:pt x="598" y="80"/>
                  <a:pt x="597" y="80"/>
                  <a:pt x="597" y="80"/>
                </a:cubicBezTo>
                <a:cubicBezTo>
                  <a:pt x="596" y="80"/>
                  <a:pt x="596" y="80"/>
                  <a:pt x="595" y="80"/>
                </a:cubicBezTo>
                <a:cubicBezTo>
                  <a:pt x="595" y="80"/>
                  <a:pt x="595" y="81"/>
                  <a:pt x="595" y="81"/>
                </a:cubicBezTo>
                <a:cubicBezTo>
                  <a:pt x="595" y="81"/>
                  <a:pt x="596" y="81"/>
                  <a:pt x="596" y="81"/>
                </a:cubicBezTo>
                <a:cubicBezTo>
                  <a:pt x="597" y="81"/>
                  <a:pt x="597" y="81"/>
                  <a:pt x="598" y="81"/>
                </a:cubicBezTo>
                <a:cubicBezTo>
                  <a:pt x="598" y="81"/>
                  <a:pt x="598" y="81"/>
                  <a:pt x="599" y="81"/>
                </a:cubicBezTo>
                <a:cubicBezTo>
                  <a:pt x="599" y="81"/>
                  <a:pt x="600" y="81"/>
                  <a:pt x="600" y="81"/>
                </a:cubicBezTo>
                <a:cubicBezTo>
                  <a:pt x="600" y="80"/>
                  <a:pt x="599" y="80"/>
                  <a:pt x="599" y="80"/>
                </a:cubicBezTo>
                <a:close/>
                <a:moveTo>
                  <a:pt x="665" y="147"/>
                </a:moveTo>
                <a:cubicBezTo>
                  <a:pt x="665" y="147"/>
                  <a:pt x="665" y="147"/>
                  <a:pt x="665" y="147"/>
                </a:cubicBezTo>
                <a:cubicBezTo>
                  <a:pt x="665" y="146"/>
                  <a:pt x="665" y="146"/>
                  <a:pt x="665" y="146"/>
                </a:cubicBezTo>
                <a:cubicBezTo>
                  <a:pt x="666" y="145"/>
                  <a:pt x="666" y="145"/>
                  <a:pt x="666" y="145"/>
                </a:cubicBezTo>
                <a:cubicBezTo>
                  <a:pt x="666" y="145"/>
                  <a:pt x="666" y="145"/>
                  <a:pt x="666" y="145"/>
                </a:cubicBezTo>
                <a:cubicBezTo>
                  <a:pt x="666" y="145"/>
                  <a:pt x="666" y="145"/>
                  <a:pt x="665" y="145"/>
                </a:cubicBezTo>
                <a:cubicBezTo>
                  <a:pt x="665" y="145"/>
                  <a:pt x="665" y="145"/>
                  <a:pt x="664" y="145"/>
                </a:cubicBezTo>
                <a:cubicBezTo>
                  <a:pt x="664" y="145"/>
                  <a:pt x="664" y="145"/>
                  <a:pt x="663" y="146"/>
                </a:cubicBezTo>
                <a:cubicBezTo>
                  <a:pt x="663" y="146"/>
                  <a:pt x="663" y="146"/>
                  <a:pt x="664" y="146"/>
                </a:cubicBezTo>
                <a:cubicBezTo>
                  <a:pt x="664" y="146"/>
                  <a:pt x="664" y="146"/>
                  <a:pt x="664" y="146"/>
                </a:cubicBezTo>
                <a:cubicBezTo>
                  <a:pt x="664" y="146"/>
                  <a:pt x="664" y="146"/>
                  <a:pt x="664" y="146"/>
                </a:cubicBezTo>
                <a:cubicBezTo>
                  <a:pt x="664" y="146"/>
                  <a:pt x="664" y="147"/>
                  <a:pt x="664" y="147"/>
                </a:cubicBezTo>
                <a:cubicBezTo>
                  <a:pt x="664" y="147"/>
                  <a:pt x="664" y="147"/>
                  <a:pt x="665" y="147"/>
                </a:cubicBezTo>
                <a:close/>
                <a:moveTo>
                  <a:pt x="655" y="135"/>
                </a:moveTo>
                <a:cubicBezTo>
                  <a:pt x="655" y="135"/>
                  <a:pt x="655" y="135"/>
                  <a:pt x="655" y="136"/>
                </a:cubicBezTo>
                <a:cubicBezTo>
                  <a:pt x="655" y="136"/>
                  <a:pt x="655" y="136"/>
                  <a:pt x="655" y="136"/>
                </a:cubicBezTo>
                <a:cubicBezTo>
                  <a:pt x="656" y="136"/>
                  <a:pt x="656" y="136"/>
                  <a:pt x="656" y="136"/>
                </a:cubicBezTo>
                <a:cubicBezTo>
                  <a:pt x="656" y="136"/>
                  <a:pt x="657" y="136"/>
                  <a:pt x="657" y="136"/>
                </a:cubicBezTo>
                <a:cubicBezTo>
                  <a:pt x="657" y="136"/>
                  <a:pt x="657" y="135"/>
                  <a:pt x="657" y="135"/>
                </a:cubicBezTo>
                <a:cubicBezTo>
                  <a:pt x="657" y="135"/>
                  <a:pt x="657" y="135"/>
                  <a:pt x="657" y="134"/>
                </a:cubicBezTo>
                <a:cubicBezTo>
                  <a:pt x="656" y="135"/>
                  <a:pt x="656" y="135"/>
                  <a:pt x="655" y="135"/>
                </a:cubicBezTo>
                <a:close/>
                <a:moveTo>
                  <a:pt x="659" y="136"/>
                </a:moveTo>
                <a:cubicBezTo>
                  <a:pt x="659" y="136"/>
                  <a:pt x="659" y="136"/>
                  <a:pt x="659" y="136"/>
                </a:cubicBezTo>
                <a:cubicBezTo>
                  <a:pt x="660" y="136"/>
                  <a:pt x="660" y="136"/>
                  <a:pt x="660" y="136"/>
                </a:cubicBezTo>
                <a:cubicBezTo>
                  <a:pt x="661" y="135"/>
                  <a:pt x="661" y="135"/>
                  <a:pt x="661" y="135"/>
                </a:cubicBezTo>
                <a:cubicBezTo>
                  <a:pt x="661" y="135"/>
                  <a:pt x="661" y="134"/>
                  <a:pt x="661" y="134"/>
                </a:cubicBezTo>
                <a:cubicBezTo>
                  <a:pt x="661" y="134"/>
                  <a:pt x="660" y="134"/>
                  <a:pt x="660" y="134"/>
                </a:cubicBezTo>
                <a:cubicBezTo>
                  <a:pt x="660" y="134"/>
                  <a:pt x="659" y="134"/>
                  <a:pt x="659" y="134"/>
                </a:cubicBezTo>
                <a:cubicBezTo>
                  <a:pt x="659" y="135"/>
                  <a:pt x="659" y="135"/>
                  <a:pt x="659" y="136"/>
                </a:cubicBezTo>
                <a:close/>
                <a:moveTo>
                  <a:pt x="661" y="131"/>
                </a:moveTo>
                <a:cubicBezTo>
                  <a:pt x="660" y="131"/>
                  <a:pt x="660" y="131"/>
                  <a:pt x="660" y="132"/>
                </a:cubicBezTo>
                <a:cubicBezTo>
                  <a:pt x="659" y="131"/>
                  <a:pt x="659" y="131"/>
                  <a:pt x="659" y="131"/>
                </a:cubicBezTo>
                <a:cubicBezTo>
                  <a:pt x="659" y="131"/>
                  <a:pt x="658" y="132"/>
                  <a:pt x="658" y="132"/>
                </a:cubicBezTo>
                <a:cubicBezTo>
                  <a:pt x="658" y="132"/>
                  <a:pt x="658" y="132"/>
                  <a:pt x="658" y="132"/>
                </a:cubicBezTo>
                <a:cubicBezTo>
                  <a:pt x="658" y="132"/>
                  <a:pt x="658" y="133"/>
                  <a:pt x="658" y="133"/>
                </a:cubicBezTo>
                <a:cubicBezTo>
                  <a:pt x="659" y="133"/>
                  <a:pt x="659" y="133"/>
                  <a:pt x="659" y="133"/>
                </a:cubicBezTo>
                <a:cubicBezTo>
                  <a:pt x="659" y="132"/>
                  <a:pt x="660" y="132"/>
                  <a:pt x="660" y="132"/>
                </a:cubicBezTo>
                <a:cubicBezTo>
                  <a:pt x="660" y="132"/>
                  <a:pt x="660" y="132"/>
                  <a:pt x="661" y="132"/>
                </a:cubicBezTo>
                <a:cubicBezTo>
                  <a:pt x="661" y="132"/>
                  <a:pt x="661" y="132"/>
                  <a:pt x="661" y="131"/>
                </a:cubicBezTo>
                <a:close/>
                <a:moveTo>
                  <a:pt x="657" y="155"/>
                </a:moveTo>
                <a:cubicBezTo>
                  <a:pt x="658" y="154"/>
                  <a:pt x="658" y="154"/>
                  <a:pt x="658" y="154"/>
                </a:cubicBezTo>
                <a:cubicBezTo>
                  <a:pt x="658" y="154"/>
                  <a:pt x="658" y="154"/>
                  <a:pt x="657" y="154"/>
                </a:cubicBezTo>
                <a:cubicBezTo>
                  <a:pt x="657" y="154"/>
                  <a:pt x="657" y="154"/>
                  <a:pt x="656" y="154"/>
                </a:cubicBezTo>
                <a:cubicBezTo>
                  <a:pt x="656" y="154"/>
                  <a:pt x="656" y="154"/>
                  <a:pt x="655" y="154"/>
                </a:cubicBezTo>
                <a:cubicBezTo>
                  <a:pt x="655" y="154"/>
                  <a:pt x="655" y="154"/>
                  <a:pt x="655" y="155"/>
                </a:cubicBezTo>
                <a:cubicBezTo>
                  <a:pt x="656" y="155"/>
                  <a:pt x="656" y="155"/>
                  <a:pt x="657" y="155"/>
                </a:cubicBezTo>
                <a:cubicBezTo>
                  <a:pt x="657" y="155"/>
                  <a:pt x="657" y="155"/>
                  <a:pt x="657" y="155"/>
                </a:cubicBezTo>
                <a:close/>
                <a:moveTo>
                  <a:pt x="723" y="171"/>
                </a:moveTo>
                <a:cubicBezTo>
                  <a:pt x="723" y="171"/>
                  <a:pt x="723" y="171"/>
                  <a:pt x="723" y="171"/>
                </a:cubicBezTo>
                <a:cubicBezTo>
                  <a:pt x="724" y="171"/>
                  <a:pt x="724" y="171"/>
                  <a:pt x="724" y="171"/>
                </a:cubicBezTo>
                <a:cubicBezTo>
                  <a:pt x="724" y="171"/>
                  <a:pt x="724" y="171"/>
                  <a:pt x="724" y="170"/>
                </a:cubicBezTo>
                <a:cubicBezTo>
                  <a:pt x="724" y="170"/>
                  <a:pt x="724" y="170"/>
                  <a:pt x="724" y="170"/>
                </a:cubicBezTo>
                <a:cubicBezTo>
                  <a:pt x="723" y="170"/>
                  <a:pt x="723" y="170"/>
                  <a:pt x="723" y="170"/>
                </a:cubicBezTo>
                <a:cubicBezTo>
                  <a:pt x="723" y="169"/>
                  <a:pt x="723" y="169"/>
                  <a:pt x="723" y="169"/>
                </a:cubicBezTo>
                <a:cubicBezTo>
                  <a:pt x="723" y="169"/>
                  <a:pt x="722" y="169"/>
                  <a:pt x="722" y="169"/>
                </a:cubicBezTo>
                <a:cubicBezTo>
                  <a:pt x="722" y="169"/>
                  <a:pt x="722" y="170"/>
                  <a:pt x="721" y="170"/>
                </a:cubicBezTo>
                <a:cubicBezTo>
                  <a:pt x="721" y="170"/>
                  <a:pt x="721" y="170"/>
                  <a:pt x="721" y="170"/>
                </a:cubicBezTo>
                <a:cubicBezTo>
                  <a:pt x="721" y="170"/>
                  <a:pt x="721" y="171"/>
                  <a:pt x="721" y="171"/>
                </a:cubicBezTo>
                <a:cubicBezTo>
                  <a:pt x="721" y="171"/>
                  <a:pt x="722" y="171"/>
                  <a:pt x="722" y="171"/>
                </a:cubicBezTo>
                <a:cubicBezTo>
                  <a:pt x="722" y="171"/>
                  <a:pt x="722" y="171"/>
                  <a:pt x="722" y="171"/>
                </a:cubicBezTo>
                <a:cubicBezTo>
                  <a:pt x="722" y="171"/>
                  <a:pt x="723" y="171"/>
                  <a:pt x="723" y="171"/>
                </a:cubicBezTo>
                <a:close/>
                <a:moveTo>
                  <a:pt x="726" y="170"/>
                </a:moveTo>
                <a:cubicBezTo>
                  <a:pt x="726" y="170"/>
                  <a:pt x="726" y="170"/>
                  <a:pt x="726" y="171"/>
                </a:cubicBezTo>
                <a:cubicBezTo>
                  <a:pt x="726" y="171"/>
                  <a:pt x="726" y="171"/>
                  <a:pt x="726" y="171"/>
                </a:cubicBezTo>
                <a:cubicBezTo>
                  <a:pt x="726" y="171"/>
                  <a:pt x="726" y="171"/>
                  <a:pt x="726" y="171"/>
                </a:cubicBezTo>
                <a:cubicBezTo>
                  <a:pt x="726" y="170"/>
                  <a:pt x="726" y="170"/>
                  <a:pt x="726" y="170"/>
                </a:cubicBezTo>
                <a:cubicBezTo>
                  <a:pt x="726" y="170"/>
                  <a:pt x="726" y="170"/>
                  <a:pt x="726" y="170"/>
                </a:cubicBezTo>
                <a:cubicBezTo>
                  <a:pt x="726" y="170"/>
                  <a:pt x="726" y="170"/>
                  <a:pt x="726" y="170"/>
                </a:cubicBezTo>
                <a:close/>
                <a:moveTo>
                  <a:pt x="714" y="173"/>
                </a:moveTo>
                <a:cubicBezTo>
                  <a:pt x="714" y="173"/>
                  <a:pt x="714" y="173"/>
                  <a:pt x="714" y="173"/>
                </a:cubicBezTo>
                <a:cubicBezTo>
                  <a:pt x="714" y="173"/>
                  <a:pt x="714" y="173"/>
                  <a:pt x="714" y="173"/>
                </a:cubicBezTo>
                <a:cubicBezTo>
                  <a:pt x="714" y="173"/>
                  <a:pt x="714" y="173"/>
                  <a:pt x="714" y="173"/>
                </a:cubicBezTo>
                <a:cubicBezTo>
                  <a:pt x="714" y="173"/>
                  <a:pt x="714" y="173"/>
                  <a:pt x="714" y="173"/>
                </a:cubicBezTo>
                <a:close/>
                <a:moveTo>
                  <a:pt x="784" y="143"/>
                </a:moveTo>
                <a:cubicBezTo>
                  <a:pt x="784" y="143"/>
                  <a:pt x="784" y="143"/>
                  <a:pt x="784" y="143"/>
                </a:cubicBezTo>
                <a:cubicBezTo>
                  <a:pt x="784" y="143"/>
                  <a:pt x="785" y="143"/>
                  <a:pt x="785" y="143"/>
                </a:cubicBezTo>
                <a:cubicBezTo>
                  <a:pt x="785" y="143"/>
                  <a:pt x="785" y="143"/>
                  <a:pt x="785" y="143"/>
                </a:cubicBezTo>
                <a:cubicBezTo>
                  <a:pt x="785" y="143"/>
                  <a:pt x="786" y="143"/>
                  <a:pt x="786" y="143"/>
                </a:cubicBezTo>
                <a:cubicBezTo>
                  <a:pt x="786" y="143"/>
                  <a:pt x="786" y="143"/>
                  <a:pt x="786" y="142"/>
                </a:cubicBezTo>
                <a:cubicBezTo>
                  <a:pt x="786" y="142"/>
                  <a:pt x="786" y="142"/>
                  <a:pt x="786" y="142"/>
                </a:cubicBezTo>
                <a:cubicBezTo>
                  <a:pt x="786" y="142"/>
                  <a:pt x="786" y="142"/>
                  <a:pt x="786" y="141"/>
                </a:cubicBezTo>
                <a:cubicBezTo>
                  <a:pt x="786" y="141"/>
                  <a:pt x="786" y="141"/>
                  <a:pt x="786" y="141"/>
                </a:cubicBezTo>
                <a:cubicBezTo>
                  <a:pt x="787" y="141"/>
                  <a:pt x="787" y="142"/>
                  <a:pt x="787" y="142"/>
                </a:cubicBezTo>
                <a:cubicBezTo>
                  <a:pt x="787" y="142"/>
                  <a:pt x="787" y="142"/>
                  <a:pt x="787" y="142"/>
                </a:cubicBezTo>
                <a:cubicBezTo>
                  <a:pt x="788" y="142"/>
                  <a:pt x="788" y="142"/>
                  <a:pt x="788" y="141"/>
                </a:cubicBezTo>
                <a:cubicBezTo>
                  <a:pt x="788" y="141"/>
                  <a:pt x="788" y="141"/>
                  <a:pt x="788" y="141"/>
                </a:cubicBezTo>
                <a:cubicBezTo>
                  <a:pt x="789" y="141"/>
                  <a:pt x="789" y="141"/>
                  <a:pt x="789" y="141"/>
                </a:cubicBezTo>
                <a:cubicBezTo>
                  <a:pt x="789" y="141"/>
                  <a:pt x="789" y="141"/>
                  <a:pt x="789" y="141"/>
                </a:cubicBezTo>
                <a:cubicBezTo>
                  <a:pt x="789" y="141"/>
                  <a:pt x="789" y="140"/>
                  <a:pt x="789" y="140"/>
                </a:cubicBezTo>
                <a:cubicBezTo>
                  <a:pt x="789" y="140"/>
                  <a:pt x="789" y="140"/>
                  <a:pt x="789" y="140"/>
                </a:cubicBezTo>
                <a:cubicBezTo>
                  <a:pt x="789" y="140"/>
                  <a:pt x="789" y="140"/>
                  <a:pt x="790" y="140"/>
                </a:cubicBezTo>
                <a:cubicBezTo>
                  <a:pt x="790" y="140"/>
                  <a:pt x="790" y="140"/>
                  <a:pt x="790" y="141"/>
                </a:cubicBezTo>
                <a:cubicBezTo>
                  <a:pt x="790" y="140"/>
                  <a:pt x="791" y="140"/>
                  <a:pt x="791" y="140"/>
                </a:cubicBezTo>
                <a:cubicBezTo>
                  <a:pt x="791" y="140"/>
                  <a:pt x="791" y="140"/>
                  <a:pt x="791" y="140"/>
                </a:cubicBezTo>
                <a:cubicBezTo>
                  <a:pt x="791" y="140"/>
                  <a:pt x="791" y="140"/>
                  <a:pt x="791" y="140"/>
                </a:cubicBezTo>
                <a:cubicBezTo>
                  <a:pt x="791" y="140"/>
                  <a:pt x="791" y="140"/>
                  <a:pt x="791" y="139"/>
                </a:cubicBezTo>
                <a:cubicBezTo>
                  <a:pt x="791" y="139"/>
                  <a:pt x="791" y="139"/>
                  <a:pt x="791" y="139"/>
                </a:cubicBezTo>
                <a:cubicBezTo>
                  <a:pt x="791" y="139"/>
                  <a:pt x="791" y="139"/>
                  <a:pt x="791" y="139"/>
                </a:cubicBezTo>
                <a:cubicBezTo>
                  <a:pt x="791" y="139"/>
                  <a:pt x="792" y="139"/>
                  <a:pt x="792" y="139"/>
                </a:cubicBezTo>
                <a:cubicBezTo>
                  <a:pt x="792" y="139"/>
                  <a:pt x="792" y="139"/>
                  <a:pt x="793" y="139"/>
                </a:cubicBezTo>
                <a:cubicBezTo>
                  <a:pt x="793" y="139"/>
                  <a:pt x="793" y="139"/>
                  <a:pt x="793" y="139"/>
                </a:cubicBezTo>
                <a:cubicBezTo>
                  <a:pt x="793" y="139"/>
                  <a:pt x="793" y="138"/>
                  <a:pt x="793" y="138"/>
                </a:cubicBezTo>
                <a:cubicBezTo>
                  <a:pt x="793" y="138"/>
                  <a:pt x="793" y="138"/>
                  <a:pt x="793" y="138"/>
                </a:cubicBezTo>
                <a:cubicBezTo>
                  <a:pt x="794" y="138"/>
                  <a:pt x="794" y="139"/>
                  <a:pt x="794" y="139"/>
                </a:cubicBezTo>
                <a:cubicBezTo>
                  <a:pt x="794" y="139"/>
                  <a:pt x="794" y="139"/>
                  <a:pt x="794" y="139"/>
                </a:cubicBezTo>
                <a:cubicBezTo>
                  <a:pt x="795" y="139"/>
                  <a:pt x="795" y="139"/>
                  <a:pt x="795" y="138"/>
                </a:cubicBezTo>
                <a:cubicBezTo>
                  <a:pt x="795" y="138"/>
                  <a:pt x="795" y="138"/>
                  <a:pt x="795" y="138"/>
                </a:cubicBezTo>
                <a:cubicBezTo>
                  <a:pt x="794" y="138"/>
                  <a:pt x="794" y="138"/>
                  <a:pt x="794" y="138"/>
                </a:cubicBezTo>
                <a:cubicBezTo>
                  <a:pt x="794" y="138"/>
                  <a:pt x="794" y="138"/>
                  <a:pt x="794" y="138"/>
                </a:cubicBezTo>
                <a:cubicBezTo>
                  <a:pt x="794" y="137"/>
                  <a:pt x="795" y="137"/>
                  <a:pt x="795" y="137"/>
                </a:cubicBezTo>
                <a:cubicBezTo>
                  <a:pt x="795" y="137"/>
                  <a:pt x="795" y="137"/>
                  <a:pt x="795" y="137"/>
                </a:cubicBezTo>
                <a:cubicBezTo>
                  <a:pt x="796" y="137"/>
                  <a:pt x="796" y="137"/>
                  <a:pt x="797" y="137"/>
                </a:cubicBezTo>
                <a:cubicBezTo>
                  <a:pt x="797" y="137"/>
                  <a:pt x="797" y="137"/>
                  <a:pt x="798" y="136"/>
                </a:cubicBezTo>
                <a:cubicBezTo>
                  <a:pt x="798" y="136"/>
                  <a:pt x="798" y="136"/>
                  <a:pt x="798" y="136"/>
                </a:cubicBezTo>
                <a:cubicBezTo>
                  <a:pt x="798" y="136"/>
                  <a:pt x="798" y="136"/>
                  <a:pt x="798" y="136"/>
                </a:cubicBezTo>
                <a:cubicBezTo>
                  <a:pt x="798" y="136"/>
                  <a:pt x="797" y="136"/>
                  <a:pt x="797" y="136"/>
                </a:cubicBezTo>
                <a:cubicBezTo>
                  <a:pt x="796" y="136"/>
                  <a:pt x="796" y="136"/>
                  <a:pt x="795" y="136"/>
                </a:cubicBezTo>
                <a:cubicBezTo>
                  <a:pt x="795" y="136"/>
                  <a:pt x="795" y="136"/>
                  <a:pt x="795" y="136"/>
                </a:cubicBezTo>
                <a:cubicBezTo>
                  <a:pt x="794" y="136"/>
                  <a:pt x="794" y="136"/>
                  <a:pt x="793" y="136"/>
                </a:cubicBezTo>
                <a:cubicBezTo>
                  <a:pt x="793" y="136"/>
                  <a:pt x="793" y="136"/>
                  <a:pt x="793" y="136"/>
                </a:cubicBezTo>
                <a:cubicBezTo>
                  <a:pt x="792" y="136"/>
                  <a:pt x="792" y="136"/>
                  <a:pt x="791" y="136"/>
                </a:cubicBezTo>
                <a:cubicBezTo>
                  <a:pt x="791" y="136"/>
                  <a:pt x="790" y="136"/>
                  <a:pt x="790" y="136"/>
                </a:cubicBezTo>
                <a:cubicBezTo>
                  <a:pt x="789" y="136"/>
                  <a:pt x="789" y="136"/>
                  <a:pt x="788" y="136"/>
                </a:cubicBezTo>
                <a:cubicBezTo>
                  <a:pt x="788" y="135"/>
                  <a:pt x="787" y="135"/>
                  <a:pt x="786" y="135"/>
                </a:cubicBezTo>
                <a:cubicBezTo>
                  <a:pt x="786" y="135"/>
                  <a:pt x="786" y="135"/>
                  <a:pt x="786" y="135"/>
                </a:cubicBezTo>
                <a:cubicBezTo>
                  <a:pt x="786" y="135"/>
                  <a:pt x="786" y="135"/>
                  <a:pt x="786" y="135"/>
                </a:cubicBezTo>
                <a:cubicBezTo>
                  <a:pt x="785" y="135"/>
                  <a:pt x="785" y="135"/>
                  <a:pt x="785" y="135"/>
                </a:cubicBezTo>
                <a:cubicBezTo>
                  <a:pt x="785" y="135"/>
                  <a:pt x="785" y="135"/>
                  <a:pt x="785" y="135"/>
                </a:cubicBezTo>
                <a:cubicBezTo>
                  <a:pt x="785" y="135"/>
                  <a:pt x="785" y="135"/>
                  <a:pt x="785" y="135"/>
                </a:cubicBezTo>
                <a:cubicBezTo>
                  <a:pt x="785" y="135"/>
                  <a:pt x="785" y="135"/>
                  <a:pt x="785" y="135"/>
                </a:cubicBezTo>
                <a:cubicBezTo>
                  <a:pt x="785" y="135"/>
                  <a:pt x="784" y="135"/>
                  <a:pt x="784" y="135"/>
                </a:cubicBezTo>
                <a:cubicBezTo>
                  <a:pt x="784" y="135"/>
                  <a:pt x="783" y="136"/>
                  <a:pt x="783" y="136"/>
                </a:cubicBezTo>
                <a:cubicBezTo>
                  <a:pt x="782" y="136"/>
                  <a:pt x="782" y="136"/>
                  <a:pt x="782" y="136"/>
                </a:cubicBezTo>
                <a:cubicBezTo>
                  <a:pt x="781" y="136"/>
                  <a:pt x="781" y="136"/>
                  <a:pt x="780" y="136"/>
                </a:cubicBezTo>
                <a:cubicBezTo>
                  <a:pt x="780" y="136"/>
                  <a:pt x="780" y="136"/>
                  <a:pt x="780" y="136"/>
                </a:cubicBezTo>
                <a:cubicBezTo>
                  <a:pt x="780" y="136"/>
                  <a:pt x="779" y="136"/>
                  <a:pt x="779" y="136"/>
                </a:cubicBezTo>
                <a:cubicBezTo>
                  <a:pt x="779" y="136"/>
                  <a:pt x="779" y="136"/>
                  <a:pt x="779" y="136"/>
                </a:cubicBezTo>
                <a:cubicBezTo>
                  <a:pt x="779" y="136"/>
                  <a:pt x="778" y="136"/>
                  <a:pt x="778" y="136"/>
                </a:cubicBezTo>
                <a:cubicBezTo>
                  <a:pt x="778" y="136"/>
                  <a:pt x="777" y="136"/>
                  <a:pt x="777" y="136"/>
                </a:cubicBezTo>
                <a:cubicBezTo>
                  <a:pt x="777" y="137"/>
                  <a:pt x="776" y="137"/>
                  <a:pt x="776" y="137"/>
                </a:cubicBezTo>
                <a:cubicBezTo>
                  <a:pt x="775" y="138"/>
                  <a:pt x="775" y="138"/>
                  <a:pt x="775" y="138"/>
                </a:cubicBezTo>
                <a:cubicBezTo>
                  <a:pt x="775" y="138"/>
                  <a:pt x="775" y="138"/>
                  <a:pt x="775" y="138"/>
                </a:cubicBezTo>
                <a:cubicBezTo>
                  <a:pt x="775" y="137"/>
                  <a:pt x="774" y="137"/>
                  <a:pt x="774" y="137"/>
                </a:cubicBezTo>
                <a:cubicBezTo>
                  <a:pt x="774" y="137"/>
                  <a:pt x="773" y="137"/>
                  <a:pt x="772" y="138"/>
                </a:cubicBezTo>
                <a:cubicBezTo>
                  <a:pt x="772" y="137"/>
                  <a:pt x="772" y="137"/>
                  <a:pt x="771" y="137"/>
                </a:cubicBezTo>
                <a:cubicBezTo>
                  <a:pt x="771" y="137"/>
                  <a:pt x="771" y="138"/>
                  <a:pt x="771" y="138"/>
                </a:cubicBezTo>
                <a:cubicBezTo>
                  <a:pt x="771" y="137"/>
                  <a:pt x="771" y="137"/>
                  <a:pt x="770" y="137"/>
                </a:cubicBezTo>
                <a:cubicBezTo>
                  <a:pt x="771" y="137"/>
                  <a:pt x="771" y="137"/>
                  <a:pt x="771" y="137"/>
                </a:cubicBezTo>
                <a:cubicBezTo>
                  <a:pt x="771" y="137"/>
                  <a:pt x="772" y="137"/>
                  <a:pt x="772" y="137"/>
                </a:cubicBezTo>
                <a:cubicBezTo>
                  <a:pt x="772" y="137"/>
                  <a:pt x="772" y="137"/>
                  <a:pt x="773" y="137"/>
                </a:cubicBezTo>
                <a:cubicBezTo>
                  <a:pt x="773" y="137"/>
                  <a:pt x="773" y="137"/>
                  <a:pt x="773" y="137"/>
                </a:cubicBezTo>
                <a:cubicBezTo>
                  <a:pt x="774" y="137"/>
                  <a:pt x="774" y="137"/>
                  <a:pt x="774" y="137"/>
                </a:cubicBezTo>
                <a:cubicBezTo>
                  <a:pt x="775" y="137"/>
                  <a:pt x="775" y="137"/>
                  <a:pt x="776" y="137"/>
                </a:cubicBezTo>
                <a:cubicBezTo>
                  <a:pt x="776" y="136"/>
                  <a:pt x="776" y="136"/>
                  <a:pt x="777" y="136"/>
                </a:cubicBezTo>
                <a:cubicBezTo>
                  <a:pt x="777" y="136"/>
                  <a:pt x="777" y="136"/>
                  <a:pt x="777" y="136"/>
                </a:cubicBezTo>
                <a:cubicBezTo>
                  <a:pt x="778" y="136"/>
                  <a:pt x="778" y="136"/>
                  <a:pt x="779" y="136"/>
                </a:cubicBezTo>
                <a:cubicBezTo>
                  <a:pt x="779" y="136"/>
                  <a:pt x="779" y="136"/>
                  <a:pt x="780" y="136"/>
                </a:cubicBezTo>
                <a:cubicBezTo>
                  <a:pt x="780" y="136"/>
                  <a:pt x="780" y="135"/>
                  <a:pt x="780" y="135"/>
                </a:cubicBezTo>
                <a:cubicBezTo>
                  <a:pt x="780" y="135"/>
                  <a:pt x="780" y="135"/>
                  <a:pt x="780" y="135"/>
                </a:cubicBezTo>
                <a:cubicBezTo>
                  <a:pt x="779" y="135"/>
                  <a:pt x="779" y="135"/>
                  <a:pt x="779" y="135"/>
                </a:cubicBezTo>
                <a:cubicBezTo>
                  <a:pt x="779" y="135"/>
                  <a:pt x="779" y="135"/>
                  <a:pt x="779" y="135"/>
                </a:cubicBezTo>
                <a:cubicBezTo>
                  <a:pt x="778" y="135"/>
                  <a:pt x="778" y="135"/>
                  <a:pt x="778" y="135"/>
                </a:cubicBezTo>
                <a:cubicBezTo>
                  <a:pt x="778" y="135"/>
                  <a:pt x="778" y="135"/>
                  <a:pt x="777" y="135"/>
                </a:cubicBezTo>
                <a:cubicBezTo>
                  <a:pt x="777" y="135"/>
                  <a:pt x="777" y="135"/>
                  <a:pt x="776" y="135"/>
                </a:cubicBezTo>
                <a:cubicBezTo>
                  <a:pt x="776" y="135"/>
                  <a:pt x="775" y="135"/>
                  <a:pt x="775" y="135"/>
                </a:cubicBezTo>
                <a:cubicBezTo>
                  <a:pt x="774" y="135"/>
                  <a:pt x="774" y="135"/>
                  <a:pt x="773" y="135"/>
                </a:cubicBezTo>
                <a:cubicBezTo>
                  <a:pt x="773" y="135"/>
                  <a:pt x="773" y="135"/>
                  <a:pt x="773" y="135"/>
                </a:cubicBezTo>
                <a:cubicBezTo>
                  <a:pt x="772" y="135"/>
                  <a:pt x="772" y="135"/>
                  <a:pt x="771" y="135"/>
                </a:cubicBezTo>
                <a:cubicBezTo>
                  <a:pt x="771" y="135"/>
                  <a:pt x="771" y="135"/>
                  <a:pt x="771" y="135"/>
                </a:cubicBezTo>
                <a:cubicBezTo>
                  <a:pt x="771" y="135"/>
                  <a:pt x="770" y="135"/>
                  <a:pt x="770" y="135"/>
                </a:cubicBezTo>
                <a:cubicBezTo>
                  <a:pt x="770" y="135"/>
                  <a:pt x="770" y="135"/>
                  <a:pt x="769" y="135"/>
                </a:cubicBezTo>
                <a:cubicBezTo>
                  <a:pt x="769" y="135"/>
                  <a:pt x="768" y="135"/>
                  <a:pt x="768" y="135"/>
                </a:cubicBezTo>
                <a:cubicBezTo>
                  <a:pt x="767" y="136"/>
                  <a:pt x="767" y="136"/>
                  <a:pt x="766" y="136"/>
                </a:cubicBezTo>
                <a:cubicBezTo>
                  <a:pt x="766" y="136"/>
                  <a:pt x="766" y="136"/>
                  <a:pt x="766" y="136"/>
                </a:cubicBezTo>
                <a:cubicBezTo>
                  <a:pt x="766" y="136"/>
                  <a:pt x="766" y="136"/>
                  <a:pt x="766" y="135"/>
                </a:cubicBezTo>
                <a:cubicBezTo>
                  <a:pt x="767" y="135"/>
                  <a:pt x="767" y="135"/>
                  <a:pt x="767" y="135"/>
                </a:cubicBezTo>
                <a:cubicBezTo>
                  <a:pt x="767" y="135"/>
                  <a:pt x="768" y="135"/>
                  <a:pt x="768" y="135"/>
                </a:cubicBezTo>
                <a:cubicBezTo>
                  <a:pt x="768" y="135"/>
                  <a:pt x="768" y="135"/>
                  <a:pt x="769" y="135"/>
                </a:cubicBezTo>
                <a:cubicBezTo>
                  <a:pt x="769" y="134"/>
                  <a:pt x="770" y="134"/>
                  <a:pt x="771" y="134"/>
                </a:cubicBezTo>
                <a:cubicBezTo>
                  <a:pt x="771" y="134"/>
                  <a:pt x="771" y="134"/>
                  <a:pt x="771" y="134"/>
                </a:cubicBezTo>
                <a:cubicBezTo>
                  <a:pt x="771" y="133"/>
                  <a:pt x="771" y="133"/>
                  <a:pt x="771" y="133"/>
                </a:cubicBezTo>
                <a:cubicBezTo>
                  <a:pt x="771" y="133"/>
                  <a:pt x="772" y="133"/>
                  <a:pt x="772" y="133"/>
                </a:cubicBezTo>
                <a:cubicBezTo>
                  <a:pt x="772" y="133"/>
                  <a:pt x="772" y="133"/>
                  <a:pt x="772" y="133"/>
                </a:cubicBezTo>
                <a:cubicBezTo>
                  <a:pt x="773" y="133"/>
                  <a:pt x="773" y="133"/>
                  <a:pt x="773" y="132"/>
                </a:cubicBezTo>
                <a:cubicBezTo>
                  <a:pt x="773" y="132"/>
                  <a:pt x="773" y="132"/>
                  <a:pt x="773" y="132"/>
                </a:cubicBezTo>
                <a:cubicBezTo>
                  <a:pt x="773" y="132"/>
                  <a:pt x="773" y="132"/>
                  <a:pt x="773" y="132"/>
                </a:cubicBezTo>
                <a:cubicBezTo>
                  <a:pt x="773" y="132"/>
                  <a:pt x="773" y="131"/>
                  <a:pt x="773" y="131"/>
                </a:cubicBezTo>
                <a:cubicBezTo>
                  <a:pt x="772" y="131"/>
                  <a:pt x="772" y="131"/>
                  <a:pt x="772" y="131"/>
                </a:cubicBezTo>
                <a:cubicBezTo>
                  <a:pt x="772" y="131"/>
                  <a:pt x="771" y="131"/>
                  <a:pt x="771" y="131"/>
                </a:cubicBezTo>
                <a:cubicBezTo>
                  <a:pt x="772" y="131"/>
                  <a:pt x="772" y="131"/>
                  <a:pt x="772" y="131"/>
                </a:cubicBezTo>
                <a:cubicBezTo>
                  <a:pt x="772" y="131"/>
                  <a:pt x="772" y="131"/>
                  <a:pt x="773" y="131"/>
                </a:cubicBezTo>
                <a:cubicBezTo>
                  <a:pt x="773" y="131"/>
                  <a:pt x="773" y="131"/>
                  <a:pt x="773" y="131"/>
                </a:cubicBezTo>
                <a:cubicBezTo>
                  <a:pt x="773" y="131"/>
                  <a:pt x="773" y="131"/>
                  <a:pt x="774" y="131"/>
                </a:cubicBezTo>
                <a:cubicBezTo>
                  <a:pt x="774" y="131"/>
                  <a:pt x="774" y="131"/>
                  <a:pt x="774" y="131"/>
                </a:cubicBezTo>
                <a:cubicBezTo>
                  <a:pt x="774" y="131"/>
                  <a:pt x="774" y="130"/>
                  <a:pt x="774" y="130"/>
                </a:cubicBezTo>
                <a:cubicBezTo>
                  <a:pt x="774" y="130"/>
                  <a:pt x="774" y="130"/>
                  <a:pt x="773" y="130"/>
                </a:cubicBezTo>
                <a:cubicBezTo>
                  <a:pt x="773" y="130"/>
                  <a:pt x="773" y="130"/>
                  <a:pt x="773" y="129"/>
                </a:cubicBezTo>
                <a:cubicBezTo>
                  <a:pt x="774" y="129"/>
                  <a:pt x="774" y="129"/>
                  <a:pt x="774" y="129"/>
                </a:cubicBezTo>
                <a:cubicBezTo>
                  <a:pt x="774" y="130"/>
                  <a:pt x="774" y="130"/>
                  <a:pt x="774" y="130"/>
                </a:cubicBezTo>
                <a:cubicBezTo>
                  <a:pt x="774" y="130"/>
                  <a:pt x="774" y="130"/>
                  <a:pt x="774" y="130"/>
                </a:cubicBezTo>
                <a:cubicBezTo>
                  <a:pt x="775" y="130"/>
                  <a:pt x="775" y="131"/>
                  <a:pt x="775" y="131"/>
                </a:cubicBezTo>
                <a:cubicBezTo>
                  <a:pt x="775" y="131"/>
                  <a:pt x="776" y="131"/>
                  <a:pt x="776" y="131"/>
                </a:cubicBezTo>
                <a:cubicBezTo>
                  <a:pt x="776" y="131"/>
                  <a:pt x="776" y="131"/>
                  <a:pt x="777" y="131"/>
                </a:cubicBezTo>
                <a:cubicBezTo>
                  <a:pt x="777" y="131"/>
                  <a:pt x="778" y="131"/>
                  <a:pt x="778" y="131"/>
                </a:cubicBezTo>
                <a:cubicBezTo>
                  <a:pt x="779" y="130"/>
                  <a:pt x="780" y="130"/>
                  <a:pt x="781" y="129"/>
                </a:cubicBezTo>
                <a:cubicBezTo>
                  <a:pt x="781" y="129"/>
                  <a:pt x="782" y="129"/>
                  <a:pt x="782" y="129"/>
                </a:cubicBezTo>
                <a:cubicBezTo>
                  <a:pt x="782" y="129"/>
                  <a:pt x="782" y="129"/>
                  <a:pt x="783" y="129"/>
                </a:cubicBezTo>
                <a:cubicBezTo>
                  <a:pt x="783" y="129"/>
                  <a:pt x="783" y="129"/>
                  <a:pt x="783" y="129"/>
                </a:cubicBezTo>
                <a:cubicBezTo>
                  <a:pt x="783" y="129"/>
                  <a:pt x="784" y="128"/>
                  <a:pt x="784" y="128"/>
                </a:cubicBezTo>
                <a:cubicBezTo>
                  <a:pt x="784" y="128"/>
                  <a:pt x="784" y="128"/>
                  <a:pt x="784" y="128"/>
                </a:cubicBezTo>
                <a:cubicBezTo>
                  <a:pt x="784" y="127"/>
                  <a:pt x="784" y="127"/>
                  <a:pt x="784" y="127"/>
                </a:cubicBezTo>
                <a:cubicBezTo>
                  <a:pt x="784" y="127"/>
                  <a:pt x="783" y="127"/>
                  <a:pt x="783" y="127"/>
                </a:cubicBezTo>
                <a:cubicBezTo>
                  <a:pt x="783" y="127"/>
                  <a:pt x="783" y="127"/>
                  <a:pt x="783" y="127"/>
                </a:cubicBezTo>
                <a:cubicBezTo>
                  <a:pt x="782" y="127"/>
                  <a:pt x="782" y="126"/>
                  <a:pt x="782" y="126"/>
                </a:cubicBezTo>
                <a:cubicBezTo>
                  <a:pt x="781" y="126"/>
                  <a:pt x="780" y="126"/>
                  <a:pt x="779" y="126"/>
                </a:cubicBezTo>
                <a:cubicBezTo>
                  <a:pt x="779" y="126"/>
                  <a:pt x="779" y="126"/>
                  <a:pt x="779" y="126"/>
                </a:cubicBezTo>
                <a:cubicBezTo>
                  <a:pt x="778" y="126"/>
                  <a:pt x="778" y="126"/>
                  <a:pt x="777" y="127"/>
                </a:cubicBezTo>
                <a:cubicBezTo>
                  <a:pt x="777" y="126"/>
                  <a:pt x="777" y="126"/>
                  <a:pt x="777" y="126"/>
                </a:cubicBezTo>
                <a:cubicBezTo>
                  <a:pt x="777" y="126"/>
                  <a:pt x="777" y="126"/>
                  <a:pt x="777" y="126"/>
                </a:cubicBezTo>
                <a:cubicBezTo>
                  <a:pt x="777" y="126"/>
                  <a:pt x="777" y="126"/>
                  <a:pt x="777" y="126"/>
                </a:cubicBezTo>
                <a:cubicBezTo>
                  <a:pt x="776" y="126"/>
                  <a:pt x="776" y="126"/>
                  <a:pt x="775" y="126"/>
                </a:cubicBezTo>
                <a:cubicBezTo>
                  <a:pt x="775" y="126"/>
                  <a:pt x="775" y="126"/>
                  <a:pt x="775" y="126"/>
                </a:cubicBezTo>
                <a:cubicBezTo>
                  <a:pt x="774" y="126"/>
                  <a:pt x="774" y="126"/>
                  <a:pt x="774" y="127"/>
                </a:cubicBezTo>
                <a:cubicBezTo>
                  <a:pt x="774" y="127"/>
                  <a:pt x="773" y="127"/>
                  <a:pt x="773" y="127"/>
                </a:cubicBezTo>
                <a:cubicBezTo>
                  <a:pt x="773" y="127"/>
                  <a:pt x="773" y="127"/>
                  <a:pt x="772" y="127"/>
                </a:cubicBezTo>
                <a:cubicBezTo>
                  <a:pt x="772" y="126"/>
                  <a:pt x="772" y="126"/>
                  <a:pt x="772" y="126"/>
                </a:cubicBezTo>
                <a:cubicBezTo>
                  <a:pt x="772" y="126"/>
                  <a:pt x="773" y="126"/>
                  <a:pt x="773" y="126"/>
                </a:cubicBezTo>
                <a:cubicBezTo>
                  <a:pt x="773" y="126"/>
                  <a:pt x="773" y="126"/>
                  <a:pt x="774" y="126"/>
                </a:cubicBezTo>
                <a:cubicBezTo>
                  <a:pt x="774" y="126"/>
                  <a:pt x="774" y="126"/>
                  <a:pt x="774" y="126"/>
                </a:cubicBezTo>
                <a:cubicBezTo>
                  <a:pt x="775" y="126"/>
                  <a:pt x="775" y="126"/>
                  <a:pt x="775" y="126"/>
                </a:cubicBezTo>
                <a:cubicBezTo>
                  <a:pt x="775" y="126"/>
                  <a:pt x="776" y="125"/>
                  <a:pt x="776" y="125"/>
                </a:cubicBezTo>
                <a:cubicBezTo>
                  <a:pt x="775" y="125"/>
                  <a:pt x="775" y="125"/>
                  <a:pt x="775" y="125"/>
                </a:cubicBezTo>
                <a:cubicBezTo>
                  <a:pt x="775" y="125"/>
                  <a:pt x="774" y="124"/>
                  <a:pt x="774" y="124"/>
                </a:cubicBezTo>
                <a:cubicBezTo>
                  <a:pt x="774" y="124"/>
                  <a:pt x="774" y="124"/>
                  <a:pt x="774" y="124"/>
                </a:cubicBezTo>
                <a:cubicBezTo>
                  <a:pt x="773" y="124"/>
                  <a:pt x="773" y="124"/>
                  <a:pt x="773" y="124"/>
                </a:cubicBezTo>
                <a:cubicBezTo>
                  <a:pt x="773" y="124"/>
                  <a:pt x="773" y="124"/>
                  <a:pt x="773" y="124"/>
                </a:cubicBezTo>
                <a:cubicBezTo>
                  <a:pt x="773" y="124"/>
                  <a:pt x="774" y="124"/>
                  <a:pt x="774" y="123"/>
                </a:cubicBezTo>
                <a:cubicBezTo>
                  <a:pt x="774" y="123"/>
                  <a:pt x="774" y="123"/>
                  <a:pt x="774" y="123"/>
                </a:cubicBezTo>
                <a:cubicBezTo>
                  <a:pt x="774" y="123"/>
                  <a:pt x="774" y="123"/>
                  <a:pt x="774" y="122"/>
                </a:cubicBezTo>
                <a:cubicBezTo>
                  <a:pt x="774" y="122"/>
                  <a:pt x="774" y="122"/>
                  <a:pt x="774" y="122"/>
                </a:cubicBezTo>
                <a:cubicBezTo>
                  <a:pt x="774" y="122"/>
                  <a:pt x="775" y="122"/>
                  <a:pt x="775" y="123"/>
                </a:cubicBezTo>
                <a:cubicBezTo>
                  <a:pt x="775" y="123"/>
                  <a:pt x="775" y="123"/>
                  <a:pt x="775" y="123"/>
                </a:cubicBezTo>
                <a:cubicBezTo>
                  <a:pt x="775" y="123"/>
                  <a:pt x="776" y="123"/>
                  <a:pt x="776" y="124"/>
                </a:cubicBezTo>
                <a:cubicBezTo>
                  <a:pt x="776" y="124"/>
                  <a:pt x="776" y="124"/>
                  <a:pt x="776" y="124"/>
                </a:cubicBezTo>
                <a:cubicBezTo>
                  <a:pt x="776" y="124"/>
                  <a:pt x="777" y="124"/>
                  <a:pt x="777" y="125"/>
                </a:cubicBezTo>
                <a:cubicBezTo>
                  <a:pt x="777" y="125"/>
                  <a:pt x="777" y="125"/>
                  <a:pt x="777" y="125"/>
                </a:cubicBezTo>
                <a:cubicBezTo>
                  <a:pt x="778" y="125"/>
                  <a:pt x="778" y="125"/>
                  <a:pt x="778" y="125"/>
                </a:cubicBezTo>
                <a:cubicBezTo>
                  <a:pt x="778" y="126"/>
                  <a:pt x="778" y="126"/>
                  <a:pt x="779" y="126"/>
                </a:cubicBezTo>
                <a:cubicBezTo>
                  <a:pt x="779" y="126"/>
                  <a:pt x="779" y="125"/>
                  <a:pt x="779" y="125"/>
                </a:cubicBezTo>
                <a:cubicBezTo>
                  <a:pt x="779" y="125"/>
                  <a:pt x="780" y="125"/>
                  <a:pt x="780" y="125"/>
                </a:cubicBezTo>
                <a:cubicBezTo>
                  <a:pt x="780" y="125"/>
                  <a:pt x="780" y="125"/>
                  <a:pt x="781" y="125"/>
                </a:cubicBezTo>
                <a:cubicBezTo>
                  <a:pt x="781" y="125"/>
                  <a:pt x="781" y="125"/>
                  <a:pt x="782" y="125"/>
                </a:cubicBezTo>
                <a:cubicBezTo>
                  <a:pt x="782" y="125"/>
                  <a:pt x="782" y="125"/>
                  <a:pt x="782" y="125"/>
                </a:cubicBezTo>
                <a:cubicBezTo>
                  <a:pt x="783" y="125"/>
                  <a:pt x="783" y="125"/>
                  <a:pt x="783" y="125"/>
                </a:cubicBezTo>
                <a:cubicBezTo>
                  <a:pt x="783" y="125"/>
                  <a:pt x="783" y="125"/>
                  <a:pt x="783" y="126"/>
                </a:cubicBezTo>
                <a:cubicBezTo>
                  <a:pt x="784" y="126"/>
                  <a:pt x="784" y="127"/>
                  <a:pt x="785" y="127"/>
                </a:cubicBezTo>
                <a:cubicBezTo>
                  <a:pt x="785" y="127"/>
                  <a:pt x="786" y="127"/>
                  <a:pt x="786" y="127"/>
                </a:cubicBezTo>
                <a:cubicBezTo>
                  <a:pt x="786" y="127"/>
                  <a:pt x="786" y="127"/>
                  <a:pt x="786" y="127"/>
                </a:cubicBezTo>
                <a:cubicBezTo>
                  <a:pt x="787" y="127"/>
                  <a:pt x="787" y="127"/>
                  <a:pt x="787" y="127"/>
                </a:cubicBezTo>
                <a:cubicBezTo>
                  <a:pt x="787" y="127"/>
                  <a:pt x="788" y="127"/>
                  <a:pt x="788" y="127"/>
                </a:cubicBezTo>
                <a:cubicBezTo>
                  <a:pt x="788" y="127"/>
                  <a:pt x="788" y="127"/>
                  <a:pt x="788" y="127"/>
                </a:cubicBezTo>
                <a:cubicBezTo>
                  <a:pt x="788" y="127"/>
                  <a:pt x="788" y="127"/>
                  <a:pt x="788" y="128"/>
                </a:cubicBezTo>
                <a:cubicBezTo>
                  <a:pt x="788" y="128"/>
                  <a:pt x="788" y="128"/>
                  <a:pt x="788" y="128"/>
                </a:cubicBezTo>
                <a:cubicBezTo>
                  <a:pt x="788" y="129"/>
                  <a:pt x="788" y="129"/>
                  <a:pt x="788" y="129"/>
                </a:cubicBezTo>
                <a:cubicBezTo>
                  <a:pt x="788" y="129"/>
                  <a:pt x="788" y="129"/>
                  <a:pt x="788" y="130"/>
                </a:cubicBezTo>
                <a:cubicBezTo>
                  <a:pt x="789" y="130"/>
                  <a:pt x="789" y="130"/>
                  <a:pt x="789" y="130"/>
                </a:cubicBezTo>
                <a:cubicBezTo>
                  <a:pt x="789" y="130"/>
                  <a:pt x="789" y="131"/>
                  <a:pt x="789" y="131"/>
                </a:cubicBezTo>
                <a:cubicBezTo>
                  <a:pt x="790" y="131"/>
                  <a:pt x="790" y="132"/>
                  <a:pt x="790" y="132"/>
                </a:cubicBezTo>
                <a:cubicBezTo>
                  <a:pt x="790" y="132"/>
                  <a:pt x="791" y="132"/>
                  <a:pt x="791" y="132"/>
                </a:cubicBezTo>
                <a:cubicBezTo>
                  <a:pt x="791" y="132"/>
                  <a:pt x="792" y="133"/>
                  <a:pt x="792" y="133"/>
                </a:cubicBezTo>
                <a:cubicBezTo>
                  <a:pt x="792" y="133"/>
                  <a:pt x="793" y="134"/>
                  <a:pt x="793" y="134"/>
                </a:cubicBezTo>
                <a:cubicBezTo>
                  <a:pt x="794" y="134"/>
                  <a:pt x="794" y="134"/>
                  <a:pt x="794" y="134"/>
                </a:cubicBezTo>
                <a:cubicBezTo>
                  <a:pt x="794" y="134"/>
                  <a:pt x="794" y="134"/>
                  <a:pt x="795" y="134"/>
                </a:cubicBezTo>
                <a:cubicBezTo>
                  <a:pt x="795" y="134"/>
                  <a:pt x="795" y="134"/>
                  <a:pt x="795" y="134"/>
                </a:cubicBezTo>
                <a:cubicBezTo>
                  <a:pt x="796" y="134"/>
                  <a:pt x="796" y="134"/>
                  <a:pt x="796" y="134"/>
                </a:cubicBezTo>
                <a:cubicBezTo>
                  <a:pt x="796" y="134"/>
                  <a:pt x="796" y="134"/>
                  <a:pt x="796" y="133"/>
                </a:cubicBezTo>
                <a:cubicBezTo>
                  <a:pt x="796" y="133"/>
                  <a:pt x="796" y="133"/>
                  <a:pt x="796" y="133"/>
                </a:cubicBezTo>
                <a:cubicBezTo>
                  <a:pt x="796" y="133"/>
                  <a:pt x="796" y="132"/>
                  <a:pt x="796" y="132"/>
                </a:cubicBezTo>
                <a:cubicBezTo>
                  <a:pt x="796" y="132"/>
                  <a:pt x="796" y="132"/>
                  <a:pt x="796" y="131"/>
                </a:cubicBezTo>
                <a:cubicBezTo>
                  <a:pt x="796" y="131"/>
                  <a:pt x="796" y="131"/>
                  <a:pt x="796" y="131"/>
                </a:cubicBezTo>
                <a:cubicBezTo>
                  <a:pt x="797" y="130"/>
                  <a:pt x="797" y="130"/>
                  <a:pt x="797" y="130"/>
                </a:cubicBezTo>
                <a:cubicBezTo>
                  <a:pt x="797" y="130"/>
                  <a:pt x="797" y="130"/>
                  <a:pt x="797" y="130"/>
                </a:cubicBezTo>
                <a:cubicBezTo>
                  <a:pt x="797" y="130"/>
                  <a:pt x="797" y="130"/>
                  <a:pt x="797" y="130"/>
                </a:cubicBezTo>
                <a:cubicBezTo>
                  <a:pt x="797" y="131"/>
                  <a:pt x="797" y="131"/>
                  <a:pt x="797" y="131"/>
                </a:cubicBezTo>
                <a:cubicBezTo>
                  <a:pt x="797" y="131"/>
                  <a:pt x="797" y="131"/>
                  <a:pt x="797" y="131"/>
                </a:cubicBezTo>
                <a:cubicBezTo>
                  <a:pt x="797" y="132"/>
                  <a:pt x="798" y="132"/>
                  <a:pt x="798" y="132"/>
                </a:cubicBezTo>
                <a:cubicBezTo>
                  <a:pt x="798" y="132"/>
                  <a:pt x="797" y="133"/>
                  <a:pt x="797" y="133"/>
                </a:cubicBezTo>
                <a:cubicBezTo>
                  <a:pt x="797" y="133"/>
                  <a:pt x="797" y="133"/>
                  <a:pt x="797" y="133"/>
                </a:cubicBezTo>
                <a:cubicBezTo>
                  <a:pt x="797" y="133"/>
                  <a:pt x="798" y="133"/>
                  <a:pt x="798" y="133"/>
                </a:cubicBezTo>
                <a:cubicBezTo>
                  <a:pt x="798" y="133"/>
                  <a:pt x="798" y="133"/>
                  <a:pt x="798" y="133"/>
                </a:cubicBezTo>
                <a:cubicBezTo>
                  <a:pt x="798" y="133"/>
                  <a:pt x="799" y="133"/>
                  <a:pt x="799" y="133"/>
                </a:cubicBezTo>
                <a:cubicBezTo>
                  <a:pt x="799" y="133"/>
                  <a:pt x="799" y="133"/>
                  <a:pt x="799" y="133"/>
                </a:cubicBezTo>
                <a:cubicBezTo>
                  <a:pt x="799" y="133"/>
                  <a:pt x="800" y="133"/>
                  <a:pt x="800" y="133"/>
                </a:cubicBezTo>
                <a:cubicBezTo>
                  <a:pt x="800" y="133"/>
                  <a:pt x="800" y="134"/>
                  <a:pt x="799" y="134"/>
                </a:cubicBezTo>
                <a:cubicBezTo>
                  <a:pt x="800" y="134"/>
                  <a:pt x="800" y="134"/>
                  <a:pt x="800" y="134"/>
                </a:cubicBezTo>
                <a:cubicBezTo>
                  <a:pt x="800" y="134"/>
                  <a:pt x="800" y="134"/>
                  <a:pt x="800" y="134"/>
                </a:cubicBezTo>
                <a:cubicBezTo>
                  <a:pt x="800" y="134"/>
                  <a:pt x="801" y="134"/>
                  <a:pt x="801" y="134"/>
                </a:cubicBezTo>
                <a:cubicBezTo>
                  <a:pt x="801" y="134"/>
                  <a:pt x="801" y="134"/>
                  <a:pt x="801" y="133"/>
                </a:cubicBezTo>
                <a:cubicBezTo>
                  <a:pt x="801" y="133"/>
                  <a:pt x="801" y="133"/>
                  <a:pt x="801" y="133"/>
                </a:cubicBezTo>
                <a:cubicBezTo>
                  <a:pt x="801" y="133"/>
                  <a:pt x="801" y="133"/>
                  <a:pt x="801" y="132"/>
                </a:cubicBezTo>
                <a:cubicBezTo>
                  <a:pt x="801" y="132"/>
                  <a:pt x="801" y="132"/>
                  <a:pt x="801" y="131"/>
                </a:cubicBezTo>
                <a:cubicBezTo>
                  <a:pt x="801" y="131"/>
                  <a:pt x="801" y="131"/>
                  <a:pt x="801" y="131"/>
                </a:cubicBezTo>
                <a:cubicBezTo>
                  <a:pt x="801" y="131"/>
                  <a:pt x="801" y="130"/>
                  <a:pt x="801" y="130"/>
                </a:cubicBezTo>
                <a:cubicBezTo>
                  <a:pt x="801" y="130"/>
                  <a:pt x="801" y="130"/>
                  <a:pt x="801" y="130"/>
                </a:cubicBezTo>
                <a:cubicBezTo>
                  <a:pt x="801" y="130"/>
                  <a:pt x="801" y="130"/>
                  <a:pt x="801" y="130"/>
                </a:cubicBezTo>
                <a:cubicBezTo>
                  <a:pt x="801" y="130"/>
                  <a:pt x="801" y="130"/>
                  <a:pt x="801" y="130"/>
                </a:cubicBezTo>
                <a:cubicBezTo>
                  <a:pt x="801" y="129"/>
                  <a:pt x="801" y="129"/>
                  <a:pt x="801" y="129"/>
                </a:cubicBezTo>
                <a:cubicBezTo>
                  <a:pt x="801" y="129"/>
                  <a:pt x="801" y="129"/>
                  <a:pt x="801" y="129"/>
                </a:cubicBezTo>
                <a:cubicBezTo>
                  <a:pt x="801" y="129"/>
                  <a:pt x="801" y="129"/>
                  <a:pt x="801" y="129"/>
                </a:cubicBezTo>
                <a:cubicBezTo>
                  <a:pt x="800" y="129"/>
                  <a:pt x="800" y="129"/>
                  <a:pt x="800" y="129"/>
                </a:cubicBezTo>
                <a:cubicBezTo>
                  <a:pt x="800" y="129"/>
                  <a:pt x="800" y="129"/>
                  <a:pt x="800" y="129"/>
                </a:cubicBezTo>
                <a:cubicBezTo>
                  <a:pt x="800" y="128"/>
                  <a:pt x="800" y="128"/>
                  <a:pt x="800" y="128"/>
                </a:cubicBezTo>
                <a:cubicBezTo>
                  <a:pt x="800" y="128"/>
                  <a:pt x="800" y="128"/>
                  <a:pt x="801" y="128"/>
                </a:cubicBezTo>
                <a:cubicBezTo>
                  <a:pt x="801" y="128"/>
                  <a:pt x="801" y="128"/>
                  <a:pt x="801" y="128"/>
                </a:cubicBezTo>
                <a:cubicBezTo>
                  <a:pt x="801" y="128"/>
                  <a:pt x="801" y="127"/>
                  <a:pt x="801" y="127"/>
                </a:cubicBezTo>
                <a:cubicBezTo>
                  <a:pt x="801" y="127"/>
                  <a:pt x="801" y="127"/>
                  <a:pt x="801" y="127"/>
                </a:cubicBezTo>
                <a:cubicBezTo>
                  <a:pt x="801" y="127"/>
                  <a:pt x="801" y="127"/>
                  <a:pt x="800" y="127"/>
                </a:cubicBezTo>
                <a:cubicBezTo>
                  <a:pt x="800" y="127"/>
                  <a:pt x="800" y="127"/>
                  <a:pt x="800" y="127"/>
                </a:cubicBezTo>
                <a:cubicBezTo>
                  <a:pt x="800" y="127"/>
                  <a:pt x="800" y="126"/>
                  <a:pt x="801" y="126"/>
                </a:cubicBezTo>
                <a:cubicBezTo>
                  <a:pt x="801" y="126"/>
                  <a:pt x="801" y="126"/>
                  <a:pt x="801" y="125"/>
                </a:cubicBezTo>
                <a:cubicBezTo>
                  <a:pt x="801" y="125"/>
                  <a:pt x="801" y="125"/>
                  <a:pt x="801" y="125"/>
                </a:cubicBezTo>
                <a:cubicBezTo>
                  <a:pt x="801" y="125"/>
                  <a:pt x="801" y="125"/>
                  <a:pt x="801" y="125"/>
                </a:cubicBezTo>
                <a:cubicBezTo>
                  <a:pt x="800" y="125"/>
                  <a:pt x="800" y="125"/>
                  <a:pt x="800" y="126"/>
                </a:cubicBezTo>
                <a:cubicBezTo>
                  <a:pt x="800" y="126"/>
                  <a:pt x="799" y="126"/>
                  <a:pt x="799" y="126"/>
                </a:cubicBezTo>
                <a:cubicBezTo>
                  <a:pt x="799" y="127"/>
                  <a:pt x="799" y="127"/>
                  <a:pt x="799" y="127"/>
                </a:cubicBezTo>
                <a:cubicBezTo>
                  <a:pt x="799" y="127"/>
                  <a:pt x="799" y="127"/>
                  <a:pt x="798" y="127"/>
                </a:cubicBezTo>
                <a:cubicBezTo>
                  <a:pt x="798" y="127"/>
                  <a:pt x="798" y="127"/>
                  <a:pt x="798" y="127"/>
                </a:cubicBezTo>
                <a:cubicBezTo>
                  <a:pt x="798" y="127"/>
                  <a:pt x="798" y="127"/>
                  <a:pt x="799" y="126"/>
                </a:cubicBezTo>
                <a:cubicBezTo>
                  <a:pt x="799" y="126"/>
                  <a:pt x="799" y="126"/>
                  <a:pt x="799" y="126"/>
                </a:cubicBezTo>
                <a:cubicBezTo>
                  <a:pt x="798" y="126"/>
                  <a:pt x="798" y="126"/>
                  <a:pt x="798" y="126"/>
                </a:cubicBezTo>
                <a:cubicBezTo>
                  <a:pt x="798" y="126"/>
                  <a:pt x="798" y="126"/>
                  <a:pt x="798" y="125"/>
                </a:cubicBezTo>
                <a:cubicBezTo>
                  <a:pt x="798" y="125"/>
                  <a:pt x="798" y="125"/>
                  <a:pt x="798" y="125"/>
                </a:cubicBezTo>
                <a:cubicBezTo>
                  <a:pt x="799" y="125"/>
                  <a:pt x="799" y="125"/>
                  <a:pt x="799" y="124"/>
                </a:cubicBezTo>
                <a:cubicBezTo>
                  <a:pt x="799" y="124"/>
                  <a:pt x="800" y="124"/>
                  <a:pt x="800" y="124"/>
                </a:cubicBezTo>
                <a:cubicBezTo>
                  <a:pt x="800" y="124"/>
                  <a:pt x="800" y="124"/>
                  <a:pt x="800" y="123"/>
                </a:cubicBezTo>
                <a:cubicBezTo>
                  <a:pt x="800" y="123"/>
                  <a:pt x="800" y="123"/>
                  <a:pt x="800" y="123"/>
                </a:cubicBezTo>
                <a:cubicBezTo>
                  <a:pt x="800" y="123"/>
                  <a:pt x="799" y="123"/>
                  <a:pt x="799" y="123"/>
                </a:cubicBezTo>
                <a:cubicBezTo>
                  <a:pt x="799" y="123"/>
                  <a:pt x="799" y="123"/>
                  <a:pt x="799" y="123"/>
                </a:cubicBezTo>
                <a:cubicBezTo>
                  <a:pt x="799" y="124"/>
                  <a:pt x="799" y="124"/>
                  <a:pt x="798" y="124"/>
                </a:cubicBezTo>
                <a:cubicBezTo>
                  <a:pt x="798" y="124"/>
                  <a:pt x="798" y="124"/>
                  <a:pt x="798" y="124"/>
                </a:cubicBezTo>
                <a:cubicBezTo>
                  <a:pt x="798" y="124"/>
                  <a:pt x="798" y="124"/>
                  <a:pt x="798" y="123"/>
                </a:cubicBezTo>
                <a:cubicBezTo>
                  <a:pt x="798" y="123"/>
                  <a:pt x="799" y="123"/>
                  <a:pt x="799" y="123"/>
                </a:cubicBezTo>
                <a:cubicBezTo>
                  <a:pt x="799" y="123"/>
                  <a:pt x="798" y="123"/>
                  <a:pt x="798" y="123"/>
                </a:cubicBezTo>
                <a:cubicBezTo>
                  <a:pt x="798" y="123"/>
                  <a:pt x="798" y="123"/>
                  <a:pt x="798" y="123"/>
                </a:cubicBezTo>
                <a:cubicBezTo>
                  <a:pt x="797" y="123"/>
                  <a:pt x="797" y="124"/>
                  <a:pt x="797" y="124"/>
                </a:cubicBezTo>
                <a:cubicBezTo>
                  <a:pt x="797" y="124"/>
                  <a:pt x="796" y="124"/>
                  <a:pt x="796" y="124"/>
                </a:cubicBezTo>
                <a:cubicBezTo>
                  <a:pt x="796" y="124"/>
                  <a:pt x="796" y="124"/>
                  <a:pt x="796" y="124"/>
                </a:cubicBezTo>
                <a:cubicBezTo>
                  <a:pt x="796" y="124"/>
                  <a:pt x="796" y="124"/>
                  <a:pt x="796" y="124"/>
                </a:cubicBezTo>
                <a:cubicBezTo>
                  <a:pt x="796" y="124"/>
                  <a:pt x="797" y="123"/>
                  <a:pt x="797" y="123"/>
                </a:cubicBezTo>
                <a:cubicBezTo>
                  <a:pt x="797" y="123"/>
                  <a:pt x="797" y="123"/>
                  <a:pt x="797" y="123"/>
                </a:cubicBezTo>
                <a:cubicBezTo>
                  <a:pt x="797" y="123"/>
                  <a:pt x="798" y="122"/>
                  <a:pt x="798" y="122"/>
                </a:cubicBezTo>
                <a:cubicBezTo>
                  <a:pt x="798" y="122"/>
                  <a:pt x="798" y="122"/>
                  <a:pt x="798" y="122"/>
                </a:cubicBezTo>
                <a:cubicBezTo>
                  <a:pt x="798" y="122"/>
                  <a:pt x="797" y="122"/>
                  <a:pt x="797" y="122"/>
                </a:cubicBezTo>
                <a:cubicBezTo>
                  <a:pt x="797" y="122"/>
                  <a:pt x="797" y="121"/>
                  <a:pt x="797" y="121"/>
                </a:cubicBezTo>
                <a:cubicBezTo>
                  <a:pt x="797" y="121"/>
                  <a:pt x="797" y="121"/>
                  <a:pt x="796" y="121"/>
                </a:cubicBezTo>
                <a:cubicBezTo>
                  <a:pt x="796" y="121"/>
                  <a:pt x="796" y="121"/>
                  <a:pt x="796" y="121"/>
                </a:cubicBezTo>
                <a:cubicBezTo>
                  <a:pt x="796" y="121"/>
                  <a:pt x="796" y="121"/>
                  <a:pt x="796" y="121"/>
                </a:cubicBezTo>
                <a:cubicBezTo>
                  <a:pt x="795" y="121"/>
                  <a:pt x="795" y="121"/>
                  <a:pt x="795" y="120"/>
                </a:cubicBezTo>
                <a:cubicBezTo>
                  <a:pt x="795" y="120"/>
                  <a:pt x="794" y="120"/>
                  <a:pt x="794" y="120"/>
                </a:cubicBezTo>
                <a:cubicBezTo>
                  <a:pt x="794" y="120"/>
                  <a:pt x="794" y="120"/>
                  <a:pt x="794" y="120"/>
                </a:cubicBezTo>
                <a:cubicBezTo>
                  <a:pt x="794" y="120"/>
                  <a:pt x="794" y="120"/>
                  <a:pt x="793" y="120"/>
                </a:cubicBezTo>
                <a:cubicBezTo>
                  <a:pt x="793" y="120"/>
                  <a:pt x="793" y="120"/>
                  <a:pt x="793" y="120"/>
                </a:cubicBezTo>
                <a:cubicBezTo>
                  <a:pt x="793" y="120"/>
                  <a:pt x="793" y="120"/>
                  <a:pt x="793" y="120"/>
                </a:cubicBezTo>
                <a:cubicBezTo>
                  <a:pt x="792" y="120"/>
                  <a:pt x="792" y="119"/>
                  <a:pt x="792" y="119"/>
                </a:cubicBezTo>
                <a:cubicBezTo>
                  <a:pt x="792" y="119"/>
                  <a:pt x="791" y="119"/>
                  <a:pt x="790" y="119"/>
                </a:cubicBezTo>
                <a:cubicBezTo>
                  <a:pt x="790" y="119"/>
                  <a:pt x="790" y="119"/>
                  <a:pt x="790" y="118"/>
                </a:cubicBezTo>
                <a:cubicBezTo>
                  <a:pt x="790" y="118"/>
                  <a:pt x="789" y="118"/>
                  <a:pt x="789" y="118"/>
                </a:cubicBezTo>
                <a:cubicBezTo>
                  <a:pt x="789" y="118"/>
                  <a:pt x="788" y="118"/>
                  <a:pt x="788" y="118"/>
                </a:cubicBezTo>
                <a:cubicBezTo>
                  <a:pt x="788" y="118"/>
                  <a:pt x="787" y="118"/>
                  <a:pt x="787" y="118"/>
                </a:cubicBezTo>
                <a:cubicBezTo>
                  <a:pt x="787" y="119"/>
                  <a:pt x="786" y="119"/>
                  <a:pt x="786" y="119"/>
                </a:cubicBezTo>
                <a:cubicBezTo>
                  <a:pt x="786" y="119"/>
                  <a:pt x="786" y="119"/>
                  <a:pt x="786" y="119"/>
                </a:cubicBezTo>
                <a:cubicBezTo>
                  <a:pt x="786" y="119"/>
                  <a:pt x="786" y="119"/>
                  <a:pt x="786" y="118"/>
                </a:cubicBezTo>
                <a:cubicBezTo>
                  <a:pt x="785" y="118"/>
                  <a:pt x="785" y="118"/>
                  <a:pt x="784" y="118"/>
                </a:cubicBezTo>
                <a:cubicBezTo>
                  <a:pt x="784" y="118"/>
                  <a:pt x="784" y="118"/>
                  <a:pt x="783" y="118"/>
                </a:cubicBezTo>
                <a:cubicBezTo>
                  <a:pt x="783" y="118"/>
                  <a:pt x="782" y="118"/>
                  <a:pt x="782" y="119"/>
                </a:cubicBezTo>
                <a:cubicBezTo>
                  <a:pt x="782" y="118"/>
                  <a:pt x="782" y="118"/>
                  <a:pt x="782" y="118"/>
                </a:cubicBezTo>
                <a:cubicBezTo>
                  <a:pt x="782" y="118"/>
                  <a:pt x="782" y="118"/>
                  <a:pt x="782" y="118"/>
                </a:cubicBezTo>
                <a:cubicBezTo>
                  <a:pt x="783" y="118"/>
                  <a:pt x="783" y="118"/>
                  <a:pt x="783" y="118"/>
                </a:cubicBezTo>
                <a:cubicBezTo>
                  <a:pt x="784" y="118"/>
                  <a:pt x="784" y="118"/>
                  <a:pt x="785" y="118"/>
                </a:cubicBezTo>
                <a:cubicBezTo>
                  <a:pt x="785" y="118"/>
                  <a:pt x="785" y="118"/>
                  <a:pt x="786" y="118"/>
                </a:cubicBezTo>
                <a:cubicBezTo>
                  <a:pt x="786" y="118"/>
                  <a:pt x="786" y="118"/>
                  <a:pt x="787" y="118"/>
                </a:cubicBezTo>
                <a:cubicBezTo>
                  <a:pt x="787" y="118"/>
                  <a:pt x="787" y="118"/>
                  <a:pt x="788" y="118"/>
                </a:cubicBezTo>
                <a:cubicBezTo>
                  <a:pt x="788" y="118"/>
                  <a:pt x="788" y="117"/>
                  <a:pt x="788" y="117"/>
                </a:cubicBezTo>
                <a:cubicBezTo>
                  <a:pt x="788" y="117"/>
                  <a:pt x="788" y="116"/>
                  <a:pt x="789" y="116"/>
                </a:cubicBezTo>
                <a:cubicBezTo>
                  <a:pt x="788" y="116"/>
                  <a:pt x="788" y="116"/>
                  <a:pt x="788" y="116"/>
                </a:cubicBezTo>
                <a:cubicBezTo>
                  <a:pt x="788" y="116"/>
                  <a:pt x="788" y="116"/>
                  <a:pt x="788" y="116"/>
                </a:cubicBezTo>
                <a:cubicBezTo>
                  <a:pt x="788" y="116"/>
                  <a:pt x="788" y="116"/>
                  <a:pt x="787" y="116"/>
                </a:cubicBezTo>
                <a:cubicBezTo>
                  <a:pt x="787" y="115"/>
                  <a:pt x="786" y="115"/>
                  <a:pt x="786" y="115"/>
                </a:cubicBezTo>
                <a:cubicBezTo>
                  <a:pt x="786" y="115"/>
                  <a:pt x="786" y="115"/>
                  <a:pt x="785" y="115"/>
                </a:cubicBezTo>
                <a:cubicBezTo>
                  <a:pt x="785" y="115"/>
                  <a:pt x="785" y="115"/>
                  <a:pt x="785" y="115"/>
                </a:cubicBezTo>
                <a:cubicBezTo>
                  <a:pt x="785" y="115"/>
                  <a:pt x="784" y="115"/>
                  <a:pt x="784" y="116"/>
                </a:cubicBezTo>
                <a:cubicBezTo>
                  <a:pt x="784" y="116"/>
                  <a:pt x="784" y="116"/>
                  <a:pt x="784" y="116"/>
                </a:cubicBezTo>
                <a:cubicBezTo>
                  <a:pt x="783" y="116"/>
                  <a:pt x="783" y="116"/>
                  <a:pt x="783" y="116"/>
                </a:cubicBezTo>
                <a:cubicBezTo>
                  <a:pt x="783" y="116"/>
                  <a:pt x="782" y="116"/>
                  <a:pt x="782" y="116"/>
                </a:cubicBezTo>
                <a:cubicBezTo>
                  <a:pt x="782" y="116"/>
                  <a:pt x="782" y="116"/>
                  <a:pt x="782" y="116"/>
                </a:cubicBezTo>
                <a:cubicBezTo>
                  <a:pt x="782" y="116"/>
                  <a:pt x="782" y="116"/>
                  <a:pt x="782" y="116"/>
                </a:cubicBezTo>
                <a:cubicBezTo>
                  <a:pt x="782" y="116"/>
                  <a:pt x="782" y="116"/>
                  <a:pt x="782" y="116"/>
                </a:cubicBezTo>
                <a:cubicBezTo>
                  <a:pt x="781" y="116"/>
                  <a:pt x="781" y="116"/>
                  <a:pt x="781" y="116"/>
                </a:cubicBezTo>
                <a:cubicBezTo>
                  <a:pt x="781" y="116"/>
                  <a:pt x="780" y="116"/>
                  <a:pt x="780" y="116"/>
                </a:cubicBezTo>
                <a:cubicBezTo>
                  <a:pt x="780" y="116"/>
                  <a:pt x="779" y="116"/>
                  <a:pt x="779" y="116"/>
                </a:cubicBezTo>
                <a:cubicBezTo>
                  <a:pt x="779" y="116"/>
                  <a:pt x="779" y="116"/>
                  <a:pt x="779" y="116"/>
                </a:cubicBezTo>
                <a:cubicBezTo>
                  <a:pt x="779" y="116"/>
                  <a:pt x="779" y="116"/>
                  <a:pt x="779" y="116"/>
                </a:cubicBezTo>
                <a:cubicBezTo>
                  <a:pt x="779" y="116"/>
                  <a:pt x="780" y="116"/>
                  <a:pt x="780" y="116"/>
                </a:cubicBezTo>
                <a:cubicBezTo>
                  <a:pt x="780" y="116"/>
                  <a:pt x="781" y="115"/>
                  <a:pt x="781" y="115"/>
                </a:cubicBezTo>
                <a:cubicBezTo>
                  <a:pt x="781" y="115"/>
                  <a:pt x="781" y="115"/>
                  <a:pt x="781" y="115"/>
                </a:cubicBezTo>
                <a:cubicBezTo>
                  <a:pt x="781" y="115"/>
                  <a:pt x="781" y="115"/>
                  <a:pt x="781" y="115"/>
                </a:cubicBezTo>
                <a:cubicBezTo>
                  <a:pt x="781" y="115"/>
                  <a:pt x="781" y="115"/>
                  <a:pt x="780" y="115"/>
                </a:cubicBezTo>
                <a:cubicBezTo>
                  <a:pt x="780" y="115"/>
                  <a:pt x="780" y="115"/>
                  <a:pt x="780" y="115"/>
                </a:cubicBezTo>
                <a:cubicBezTo>
                  <a:pt x="779" y="115"/>
                  <a:pt x="779" y="115"/>
                  <a:pt x="779" y="115"/>
                </a:cubicBezTo>
                <a:cubicBezTo>
                  <a:pt x="779" y="115"/>
                  <a:pt x="778" y="115"/>
                  <a:pt x="778" y="115"/>
                </a:cubicBezTo>
                <a:cubicBezTo>
                  <a:pt x="778" y="115"/>
                  <a:pt x="778" y="115"/>
                  <a:pt x="778" y="115"/>
                </a:cubicBezTo>
                <a:cubicBezTo>
                  <a:pt x="778" y="115"/>
                  <a:pt x="778" y="115"/>
                  <a:pt x="779" y="115"/>
                </a:cubicBezTo>
                <a:cubicBezTo>
                  <a:pt x="779" y="115"/>
                  <a:pt x="779" y="115"/>
                  <a:pt x="779" y="115"/>
                </a:cubicBezTo>
                <a:cubicBezTo>
                  <a:pt x="779" y="115"/>
                  <a:pt x="779" y="115"/>
                  <a:pt x="780" y="115"/>
                </a:cubicBezTo>
                <a:cubicBezTo>
                  <a:pt x="780" y="115"/>
                  <a:pt x="780" y="114"/>
                  <a:pt x="780" y="114"/>
                </a:cubicBezTo>
                <a:cubicBezTo>
                  <a:pt x="780" y="114"/>
                  <a:pt x="780" y="114"/>
                  <a:pt x="781" y="114"/>
                </a:cubicBezTo>
                <a:cubicBezTo>
                  <a:pt x="781" y="114"/>
                  <a:pt x="781" y="114"/>
                  <a:pt x="781" y="114"/>
                </a:cubicBezTo>
                <a:cubicBezTo>
                  <a:pt x="782" y="115"/>
                  <a:pt x="782" y="115"/>
                  <a:pt x="782" y="115"/>
                </a:cubicBezTo>
                <a:cubicBezTo>
                  <a:pt x="783" y="115"/>
                  <a:pt x="783" y="115"/>
                  <a:pt x="783" y="115"/>
                </a:cubicBezTo>
                <a:cubicBezTo>
                  <a:pt x="784" y="115"/>
                  <a:pt x="784" y="115"/>
                  <a:pt x="784" y="115"/>
                </a:cubicBezTo>
                <a:cubicBezTo>
                  <a:pt x="784" y="115"/>
                  <a:pt x="785" y="114"/>
                  <a:pt x="785" y="114"/>
                </a:cubicBezTo>
                <a:cubicBezTo>
                  <a:pt x="785" y="114"/>
                  <a:pt x="786" y="114"/>
                  <a:pt x="786" y="114"/>
                </a:cubicBezTo>
                <a:cubicBezTo>
                  <a:pt x="786" y="114"/>
                  <a:pt x="786" y="114"/>
                  <a:pt x="787" y="114"/>
                </a:cubicBezTo>
                <a:cubicBezTo>
                  <a:pt x="787" y="114"/>
                  <a:pt x="787" y="114"/>
                  <a:pt x="787" y="113"/>
                </a:cubicBezTo>
                <a:cubicBezTo>
                  <a:pt x="787" y="113"/>
                  <a:pt x="788" y="113"/>
                  <a:pt x="788" y="113"/>
                </a:cubicBezTo>
                <a:cubicBezTo>
                  <a:pt x="788" y="113"/>
                  <a:pt x="788" y="113"/>
                  <a:pt x="788" y="113"/>
                </a:cubicBezTo>
                <a:cubicBezTo>
                  <a:pt x="788" y="113"/>
                  <a:pt x="788" y="113"/>
                  <a:pt x="788" y="113"/>
                </a:cubicBezTo>
                <a:cubicBezTo>
                  <a:pt x="787" y="112"/>
                  <a:pt x="787" y="112"/>
                  <a:pt x="787" y="112"/>
                </a:cubicBezTo>
                <a:cubicBezTo>
                  <a:pt x="786" y="112"/>
                  <a:pt x="786" y="112"/>
                  <a:pt x="786" y="112"/>
                </a:cubicBezTo>
                <a:cubicBezTo>
                  <a:pt x="785" y="112"/>
                  <a:pt x="785" y="112"/>
                  <a:pt x="785" y="112"/>
                </a:cubicBezTo>
                <a:cubicBezTo>
                  <a:pt x="785" y="112"/>
                  <a:pt x="785" y="112"/>
                  <a:pt x="784" y="112"/>
                </a:cubicBezTo>
                <a:cubicBezTo>
                  <a:pt x="784" y="112"/>
                  <a:pt x="784" y="112"/>
                  <a:pt x="783" y="112"/>
                </a:cubicBezTo>
                <a:cubicBezTo>
                  <a:pt x="783" y="112"/>
                  <a:pt x="783" y="112"/>
                  <a:pt x="782" y="112"/>
                </a:cubicBezTo>
                <a:cubicBezTo>
                  <a:pt x="782" y="112"/>
                  <a:pt x="782" y="112"/>
                  <a:pt x="782" y="112"/>
                </a:cubicBezTo>
                <a:cubicBezTo>
                  <a:pt x="782" y="112"/>
                  <a:pt x="781" y="112"/>
                  <a:pt x="781" y="112"/>
                </a:cubicBezTo>
                <a:cubicBezTo>
                  <a:pt x="781" y="113"/>
                  <a:pt x="781" y="113"/>
                  <a:pt x="781" y="113"/>
                </a:cubicBezTo>
                <a:cubicBezTo>
                  <a:pt x="781" y="113"/>
                  <a:pt x="780" y="113"/>
                  <a:pt x="780" y="113"/>
                </a:cubicBezTo>
                <a:cubicBezTo>
                  <a:pt x="780" y="113"/>
                  <a:pt x="779" y="113"/>
                  <a:pt x="779" y="113"/>
                </a:cubicBezTo>
                <a:cubicBezTo>
                  <a:pt x="779" y="113"/>
                  <a:pt x="778" y="113"/>
                  <a:pt x="778" y="113"/>
                </a:cubicBezTo>
                <a:cubicBezTo>
                  <a:pt x="778" y="113"/>
                  <a:pt x="778" y="113"/>
                  <a:pt x="778" y="113"/>
                </a:cubicBezTo>
                <a:cubicBezTo>
                  <a:pt x="778" y="113"/>
                  <a:pt x="778" y="113"/>
                  <a:pt x="778" y="113"/>
                </a:cubicBezTo>
                <a:cubicBezTo>
                  <a:pt x="777" y="113"/>
                  <a:pt x="777" y="113"/>
                  <a:pt x="777" y="113"/>
                </a:cubicBezTo>
                <a:cubicBezTo>
                  <a:pt x="777" y="113"/>
                  <a:pt x="777" y="113"/>
                  <a:pt x="777" y="113"/>
                </a:cubicBezTo>
                <a:cubicBezTo>
                  <a:pt x="777" y="113"/>
                  <a:pt x="776" y="113"/>
                  <a:pt x="776" y="113"/>
                </a:cubicBezTo>
                <a:cubicBezTo>
                  <a:pt x="776" y="113"/>
                  <a:pt x="776" y="113"/>
                  <a:pt x="776" y="113"/>
                </a:cubicBezTo>
                <a:cubicBezTo>
                  <a:pt x="776" y="113"/>
                  <a:pt x="776" y="112"/>
                  <a:pt x="777" y="112"/>
                </a:cubicBezTo>
                <a:cubicBezTo>
                  <a:pt x="777" y="112"/>
                  <a:pt x="777" y="112"/>
                  <a:pt x="778" y="112"/>
                </a:cubicBezTo>
                <a:cubicBezTo>
                  <a:pt x="778" y="112"/>
                  <a:pt x="778" y="112"/>
                  <a:pt x="779" y="112"/>
                </a:cubicBezTo>
                <a:cubicBezTo>
                  <a:pt x="779" y="112"/>
                  <a:pt x="780" y="112"/>
                  <a:pt x="781" y="112"/>
                </a:cubicBezTo>
                <a:cubicBezTo>
                  <a:pt x="781" y="112"/>
                  <a:pt x="781" y="112"/>
                  <a:pt x="781" y="112"/>
                </a:cubicBezTo>
                <a:cubicBezTo>
                  <a:pt x="781" y="112"/>
                  <a:pt x="781" y="111"/>
                  <a:pt x="781" y="111"/>
                </a:cubicBezTo>
                <a:cubicBezTo>
                  <a:pt x="781" y="111"/>
                  <a:pt x="781" y="111"/>
                  <a:pt x="780" y="111"/>
                </a:cubicBezTo>
                <a:cubicBezTo>
                  <a:pt x="780" y="111"/>
                  <a:pt x="780" y="110"/>
                  <a:pt x="779" y="110"/>
                </a:cubicBezTo>
                <a:cubicBezTo>
                  <a:pt x="779" y="110"/>
                  <a:pt x="779" y="110"/>
                  <a:pt x="778" y="110"/>
                </a:cubicBezTo>
                <a:cubicBezTo>
                  <a:pt x="778" y="110"/>
                  <a:pt x="778" y="110"/>
                  <a:pt x="778" y="110"/>
                </a:cubicBezTo>
                <a:cubicBezTo>
                  <a:pt x="778" y="109"/>
                  <a:pt x="778" y="109"/>
                  <a:pt x="778" y="109"/>
                </a:cubicBezTo>
                <a:cubicBezTo>
                  <a:pt x="778" y="109"/>
                  <a:pt x="778" y="109"/>
                  <a:pt x="778" y="109"/>
                </a:cubicBezTo>
                <a:cubicBezTo>
                  <a:pt x="778" y="109"/>
                  <a:pt x="778" y="109"/>
                  <a:pt x="779" y="109"/>
                </a:cubicBezTo>
                <a:cubicBezTo>
                  <a:pt x="779" y="109"/>
                  <a:pt x="779" y="109"/>
                  <a:pt x="779" y="109"/>
                </a:cubicBezTo>
                <a:cubicBezTo>
                  <a:pt x="779" y="109"/>
                  <a:pt x="779" y="110"/>
                  <a:pt x="779" y="110"/>
                </a:cubicBezTo>
                <a:cubicBezTo>
                  <a:pt x="779" y="110"/>
                  <a:pt x="779" y="110"/>
                  <a:pt x="780" y="110"/>
                </a:cubicBezTo>
                <a:cubicBezTo>
                  <a:pt x="780" y="110"/>
                  <a:pt x="780" y="110"/>
                  <a:pt x="781" y="110"/>
                </a:cubicBezTo>
                <a:cubicBezTo>
                  <a:pt x="781" y="111"/>
                  <a:pt x="781" y="111"/>
                  <a:pt x="781" y="111"/>
                </a:cubicBezTo>
                <a:cubicBezTo>
                  <a:pt x="781" y="111"/>
                  <a:pt x="782" y="111"/>
                  <a:pt x="782" y="111"/>
                </a:cubicBezTo>
                <a:cubicBezTo>
                  <a:pt x="782" y="111"/>
                  <a:pt x="782" y="111"/>
                  <a:pt x="782" y="111"/>
                </a:cubicBezTo>
                <a:cubicBezTo>
                  <a:pt x="783" y="111"/>
                  <a:pt x="783" y="111"/>
                  <a:pt x="783" y="111"/>
                </a:cubicBezTo>
                <a:cubicBezTo>
                  <a:pt x="783" y="111"/>
                  <a:pt x="784" y="111"/>
                  <a:pt x="784" y="111"/>
                </a:cubicBezTo>
                <a:cubicBezTo>
                  <a:pt x="784" y="111"/>
                  <a:pt x="785" y="111"/>
                  <a:pt x="785" y="111"/>
                </a:cubicBezTo>
                <a:cubicBezTo>
                  <a:pt x="785" y="111"/>
                  <a:pt x="785" y="111"/>
                  <a:pt x="786" y="111"/>
                </a:cubicBezTo>
                <a:cubicBezTo>
                  <a:pt x="786" y="111"/>
                  <a:pt x="786" y="110"/>
                  <a:pt x="786" y="110"/>
                </a:cubicBezTo>
                <a:cubicBezTo>
                  <a:pt x="787" y="110"/>
                  <a:pt x="787" y="110"/>
                  <a:pt x="787" y="110"/>
                </a:cubicBezTo>
                <a:cubicBezTo>
                  <a:pt x="787" y="110"/>
                  <a:pt x="787" y="110"/>
                  <a:pt x="788" y="110"/>
                </a:cubicBezTo>
                <a:cubicBezTo>
                  <a:pt x="788" y="109"/>
                  <a:pt x="788" y="109"/>
                  <a:pt x="788" y="109"/>
                </a:cubicBezTo>
                <a:cubicBezTo>
                  <a:pt x="789" y="109"/>
                  <a:pt x="789" y="109"/>
                  <a:pt x="789" y="109"/>
                </a:cubicBezTo>
                <a:cubicBezTo>
                  <a:pt x="789" y="109"/>
                  <a:pt x="789" y="109"/>
                  <a:pt x="789" y="109"/>
                </a:cubicBezTo>
                <a:cubicBezTo>
                  <a:pt x="789" y="109"/>
                  <a:pt x="789" y="109"/>
                  <a:pt x="789" y="108"/>
                </a:cubicBezTo>
                <a:cubicBezTo>
                  <a:pt x="789" y="108"/>
                  <a:pt x="788" y="108"/>
                  <a:pt x="788" y="108"/>
                </a:cubicBezTo>
                <a:cubicBezTo>
                  <a:pt x="788" y="108"/>
                  <a:pt x="788" y="108"/>
                  <a:pt x="788" y="108"/>
                </a:cubicBezTo>
                <a:cubicBezTo>
                  <a:pt x="787" y="107"/>
                  <a:pt x="787" y="107"/>
                  <a:pt x="787" y="106"/>
                </a:cubicBezTo>
                <a:cubicBezTo>
                  <a:pt x="786" y="106"/>
                  <a:pt x="786" y="106"/>
                  <a:pt x="786" y="106"/>
                </a:cubicBezTo>
                <a:cubicBezTo>
                  <a:pt x="786" y="106"/>
                  <a:pt x="786" y="106"/>
                  <a:pt x="785" y="106"/>
                </a:cubicBezTo>
                <a:cubicBezTo>
                  <a:pt x="786" y="106"/>
                  <a:pt x="786" y="106"/>
                  <a:pt x="786" y="106"/>
                </a:cubicBezTo>
                <a:cubicBezTo>
                  <a:pt x="786" y="106"/>
                  <a:pt x="786" y="106"/>
                  <a:pt x="786" y="106"/>
                </a:cubicBezTo>
                <a:cubicBezTo>
                  <a:pt x="786" y="106"/>
                  <a:pt x="786" y="106"/>
                  <a:pt x="786" y="106"/>
                </a:cubicBezTo>
                <a:cubicBezTo>
                  <a:pt x="787" y="106"/>
                  <a:pt x="787" y="106"/>
                  <a:pt x="787" y="106"/>
                </a:cubicBezTo>
                <a:cubicBezTo>
                  <a:pt x="787" y="106"/>
                  <a:pt x="787" y="106"/>
                  <a:pt x="787" y="107"/>
                </a:cubicBezTo>
                <a:cubicBezTo>
                  <a:pt x="788" y="107"/>
                  <a:pt x="788" y="107"/>
                  <a:pt x="788" y="108"/>
                </a:cubicBezTo>
                <a:cubicBezTo>
                  <a:pt x="789" y="108"/>
                  <a:pt x="790" y="109"/>
                  <a:pt x="790" y="109"/>
                </a:cubicBezTo>
                <a:cubicBezTo>
                  <a:pt x="791" y="109"/>
                  <a:pt x="791" y="109"/>
                  <a:pt x="791" y="109"/>
                </a:cubicBezTo>
                <a:cubicBezTo>
                  <a:pt x="791" y="109"/>
                  <a:pt x="791" y="109"/>
                  <a:pt x="791" y="109"/>
                </a:cubicBezTo>
                <a:cubicBezTo>
                  <a:pt x="791" y="109"/>
                  <a:pt x="791" y="108"/>
                  <a:pt x="791" y="108"/>
                </a:cubicBezTo>
                <a:cubicBezTo>
                  <a:pt x="791" y="108"/>
                  <a:pt x="791" y="108"/>
                  <a:pt x="791" y="107"/>
                </a:cubicBezTo>
                <a:cubicBezTo>
                  <a:pt x="791" y="107"/>
                  <a:pt x="791" y="107"/>
                  <a:pt x="791" y="107"/>
                </a:cubicBezTo>
                <a:cubicBezTo>
                  <a:pt x="791" y="106"/>
                  <a:pt x="791" y="106"/>
                  <a:pt x="791" y="106"/>
                </a:cubicBezTo>
                <a:cubicBezTo>
                  <a:pt x="792" y="106"/>
                  <a:pt x="792" y="106"/>
                  <a:pt x="792" y="106"/>
                </a:cubicBezTo>
                <a:cubicBezTo>
                  <a:pt x="792" y="106"/>
                  <a:pt x="792" y="106"/>
                  <a:pt x="792" y="106"/>
                </a:cubicBezTo>
                <a:cubicBezTo>
                  <a:pt x="792" y="106"/>
                  <a:pt x="792" y="106"/>
                  <a:pt x="792" y="107"/>
                </a:cubicBezTo>
                <a:cubicBezTo>
                  <a:pt x="793" y="107"/>
                  <a:pt x="793" y="107"/>
                  <a:pt x="793" y="107"/>
                </a:cubicBezTo>
                <a:cubicBezTo>
                  <a:pt x="793" y="107"/>
                  <a:pt x="793" y="107"/>
                  <a:pt x="793" y="107"/>
                </a:cubicBezTo>
                <a:cubicBezTo>
                  <a:pt x="794" y="107"/>
                  <a:pt x="795" y="107"/>
                  <a:pt x="795" y="107"/>
                </a:cubicBezTo>
                <a:cubicBezTo>
                  <a:pt x="796" y="107"/>
                  <a:pt x="797" y="108"/>
                  <a:pt x="797" y="108"/>
                </a:cubicBezTo>
                <a:cubicBezTo>
                  <a:pt x="797" y="108"/>
                  <a:pt x="798" y="108"/>
                  <a:pt x="798" y="108"/>
                </a:cubicBezTo>
                <a:cubicBezTo>
                  <a:pt x="798" y="108"/>
                  <a:pt x="798" y="108"/>
                  <a:pt x="799" y="108"/>
                </a:cubicBezTo>
                <a:cubicBezTo>
                  <a:pt x="799" y="108"/>
                  <a:pt x="799" y="108"/>
                  <a:pt x="799" y="108"/>
                </a:cubicBezTo>
                <a:cubicBezTo>
                  <a:pt x="799" y="108"/>
                  <a:pt x="799" y="108"/>
                  <a:pt x="800" y="108"/>
                </a:cubicBezTo>
                <a:cubicBezTo>
                  <a:pt x="800" y="108"/>
                  <a:pt x="800" y="108"/>
                  <a:pt x="799" y="108"/>
                </a:cubicBezTo>
                <a:cubicBezTo>
                  <a:pt x="799" y="108"/>
                  <a:pt x="798" y="108"/>
                  <a:pt x="798" y="108"/>
                </a:cubicBezTo>
                <a:cubicBezTo>
                  <a:pt x="798" y="109"/>
                  <a:pt x="798" y="109"/>
                  <a:pt x="798" y="109"/>
                </a:cubicBezTo>
                <a:cubicBezTo>
                  <a:pt x="797" y="108"/>
                  <a:pt x="797" y="108"/>
                  <a:pt x="796" y="108"/>
                </a:cubicBezTo>
                <a:cubicBezTo>
                  <a:pt x="796" y="108"/>
                  <a:pt x="795" y="108"/>
                  <a:pt x="794" y="108"/>
                </a:cubicBezTo>
                <a:cubicBezTo>
                  <a:pt x="794" y="108"/>
                  <a:pt x="794" y="107"/>
                  <a:pt x="794" y="107"/>
                </a:cubicBezTo>
                <a:cubicBezTo>
                  <a:pt x="794" y="107"/>
                  <a:pt x="794" y="107"/>
                  <a:pt x="793" y="107"/>
                </a:cubicBezTo>
                <a:cubicBezTo>
                  <a:pt x="793" y="107"/>
                  <a:pt x="793" y="107"/>
                  <a:pt x="793" y="107"/>
                </a:cubicBezTo>
                <a:cubicBezTo>
                  <a:pt x="793" y="107"/>
                  <a:pt x="793" y="108"/>
                  <a:pt x="792" y="108"/>
                </a:cubicBezTo>
                <a:cubicBezTo>
                  <a:pt x="792" y="108"/>
                  <a:pt x="793" y="108"/>
                  <a:pt x="793" y="108"/>
                </a:cubicBezTo>
                <a:cubicBezTo>
                  <a:pt x="793" y="108"/>
                  <a:pt x="793" y="108"/>
                  <a:pt x="793" y="109"/>
                </a:cubicBezTo>
                <a:cubicBezTo>
                  <a:pt x="794" y="109"/>
                  <a:pt x="795" y="109"/>
                  <a:pt x="795" y="110"/>
                </a:cubicBezTo>
                <a:cubicBezTo>
                  <a:pt x="796" y="110"/>
                  <a:pt x="796" y="110"/>
                  <a:pt x="797" y="110"/>
                </a:cubicBezTo>
                <a:cubicBezTo>
                  <a:pt x="797" y="110"/>
                  <a:pt x="798" y="111"/>
                  <a:pt x="798" y="111"/>
                </a:cubicBezTo>
                <a:cubicBezTo>
                  <a:pt x="798" y="111"/>
                  <a:pt x="799" y="111"/>
                  <a:pt x="799" y="111"/>
                </a:cubicBezTo>
                <a:cubicBezTo>
                  <a:pt x="799" y="111"/>
                  <a:pt x="800" y="111"/>
                  <a:pt x="800" y="111"/>
                </a:cubicBezTo>
                <a:cubicBezTo>
                  <a:pt x="800" y="111"/>
                  <a:pt x="800" y="111"/>
                  <a:pt x="801" y="111"/>
                </a:cubicBezTo>
                <a:cubicBezTo>
                  <a:pt x="801" y="111"/>
                  <a:pt x="801" y="111"/>
                  <a:pt x="801" y="111"/>
                </a:cubicBezTo>
                <a:cubicBezTo>
                  <a:pt x="801" y="111"/>
                  <a:pt x="801" y="110"/>
                  <a:pt x="801" y="110"/>
                </a:cubicBezTo>
                <a:cubicBezTo>
                  <a:pt x="801" y="110"/>
                  <a:pt x="801" y="110"/>
                  <a:pt x="802" y="110"/>
                </a:cubicBezTo>
                <a:cubicBezTo>
                  <a:pt x="802" y="110"/>
                  <a:pt x="802" y="110"/>
                  <a:pt x="802" y="110"/>
                </a:cubicBezTo>
                <a:cubicBezTo>
                  <a:pt x="802" y="110"/>
                  <a:pt x="803" y="110"/>
                  <a:pt x="803" y="110"/>
                </a:cubicBezTo>
                <a:cubicBezTo>
                  <a:pt x="803" y="110"/>
                  <a:pt x="803" y="109"/>
                  <a:pt x="803" y="109"/>
                </a:cubicBezTo>
                <a:cubicBezTo>
                  <a:pt x="803" y="109"/>
                  <a:pt x="803" y="109"/>
                  <a:pt x="803" y="109"/>
                </a:cubicBezTo>
                <a:cubicBezTo>
                  <a:pt x="804" y="109"/>
                  <a:pt x="804" y="109"/>
                  <a:pt x="804" y="109"/>
                </a:cubicBezTo>
                <a:cubicBezTo>
                  <a:pt x="804" y="109"/>
                  <a:pt x="805" y="109"/>
                  <a:pt x="805" y="109"/>
                </a:cubicBezTo>
                <a:cubicBezTo>
                  <a:pt x="805" y="109"/>
                  <a:pt x="805" y="109"/>
                  <a:pt x="806" y="109"/>
                </a:cubicBezTo>
                <a:cubicBezTo>
                  <a:pt x="806" y="109"/>
                  <a:pt x="806" y="109"/>
                  <a:pt x="807" y="109"/>
                </a:cubicBezTo>
                <a:cubicBezTo>
                  <a:pt x="807" y="109"/>
                  <a:pt x="807" y="109"/>
                  <a:pt x="808" y="109"/>
                </a:cubicBezTo>
                <a:cubicBezTo>
                  <a:pt x="808" y="109"/>
                  <a:pt x="808" y="109"/>
                  <a:pt x="808" y="109"/>
                </a:cubicBezTo>
                <a:cubicBezTo>
                  <a:pt x="808" y="108"/>
                  <a:pt x="808" y="108"/>
                  <a:pt x="808" y="108"/>
                </a:cubicBezTo>
                <a:cubicBezTo>
                  <a:pt x="808" y="107"/>
                  <a:pt x="808" y="107"/>
                  <a:pt x="808" y="107"/>
                </a:cubicBezTo>
                <a:cubicBezTo>
                  <a:pt x="808" y="107"/>
                  <a:pt x="808" y="107"/>
                  <a:pt x="809" y="106"/>
                </a:cubicBezTo>
                <a:cubicBezTo>
                  <a:pt x="809" y="106"/>
                  <a:pt x="809" y="106"/>
                  <a:pt x="809" y="106"/>
                </a:cubicBezTo>
                <a:cubicBezTo>
                  <a:pt x="809" y="105"/>
                  <a:pt x="809" y="105"/>
                  <a:pt x="809" y="105"/>
                </a:cubicBezTo>
                <a:cubicBezTo>
                  <a:pt x="809" y="105"/>
                  <a:pt x="809" y="105"/>
                  <a:pt x="809" y="105"/>
                </a:cubicBezTo>
                <a:cubicBezTo>
                  <a:pt x="809" y="105"/>
                  <a:pt x="808" y="105"/>
                  <a:pt x="808" y="105"/>
                </a:cubicBezTo>
                <a:cubicBezTo>
                  <a:pt x="808" y="105"/>
                  <a:pt x="808" y="105"/>
                  <a:pt x="807" y="105"/>
                </a:cubicBezTo>
                <a:cubicBezTo>
                  <a:pt x="807" y="105"/>
                  <a:pt x="807" y="105"/>
                  <a:pt x="807" y="105"/>
                </a:cubicBezTo>
                <a:cubicBezTo>
                  <a:pt x="807" y="105"/>
                  <a:pt x="807" y="105"/>
                  <a:pt x="807" y="105"/>
                </a:cubicBezTo>
                <a:cubicBezTo>
                  <a:pt x="806" y="105"/>
                  <a:pt x="806" y="105"/>
                  <a:pt x="806" y="105"/>
                </a:cubicBezTo>
                <a:cubicBezTo>
                  <a:pt x="806" y="105"/>
                  <a:pt x="806" y="105"/>
                  <a:pt x="806" y="105"/>
                </a:cubicBezTo>
                <a:cubicBezTo>
                  <a:pt x="805" y="105"/>
                  <a:pt x="805" y="105"/>
                  <a:pt x="805" y="105"/>
                </a:cubicBezTo>
                <a:cubicBezTo>
                  <a:pt x="805" y="105"/>
                  <a:pt x="805" y="105"/>
                  <a:pt x="804" y="105"/>
                </a:cubicBezTo>
                <a:cubicBezTo>
                  <a:pt x="804" y="104"/>
                  <a:pt x="804" y="104"/>
                  <a:pt x="804" y="104"/>
                </a:cubicBezTo>
                <a:cubicBezTo>
                  <a:pt x="804" y="104"/>
                  <a:pt x="804" y="104"/>
                  <a:pt x="803" y="104"/>
                </a:cubicBezTo>
                <a:cubicBezTo>
                  <a:pt x="803" y="104"/>
                  <a:pt x="803" y="104"/>
                  <a:pt x="803" y="104"/>
                </a:cubicBezTo>
                <a:cubicBezTo>
                  <a:pt x="803" y="104"/>
                  <a:pt x="803" y="104"/>
                  <a:pt x="803" y="104"/>
                </a:cubicBezTo>
                <a:cubicBezTo>
                  <a:pt x="803" y="105"/>
                  <a:pt x="803" y="105"/>
                  <a:pt x="803" y="105"/>
                </a:cubicBezTo>
                <a:cubicBezTo>
                  <a:pt x="803" y="105"/>
                  <a:pt x="803" y="105"/>
                  <a:pt x="803" y="105"/>
                </a:cubicBezTo>
                <a:cubicBezTo>
                  <a:pt x="803" y="105"/>
                  <a:pt x="803" y="106"/>
                  <a:pt x="803" y="106"/>
                </a:cubicBezTo>
                <a:cubicBezTo>
                  <a:pt x="803" y="106"/>
                  <a:pt x="803" y="106"/>
                  <a:pt x="803" y="106"/>
                </a:cubicBezTo>
                <a:cubicBezTo>
                  <a:pt x="803" y="106"/>
                  <a:pt x="803" y="107"/>
                  <a:pt x="803" y="107"/>
                </a:cubicBezTo>
                <a:cubicBezTo>
                  <a:pt x="803" y="107"/>
                  <a:pt x="802" y="107"/>
                  <a:pt x="802" y="107"/>
                </a:cubicBezTo>
                <a:cubicBezTo>
                  <a:pt x="802" y="106"/>
                  <a:pt x="803" y="106"/>
                  <a:pt x="803" y="106"/>
                </a:cubicBezTo>
                <a:cubicBezTo>
                  <a:pt x="803" y="106"/>
                  <a:pt x="802" y="105"/>
                  <a:pt x="802" y="105"/>
                </a:cubicBezTo>
                <a:cubicBezTo>
                  <a:pt x="802" y="105"/>
                  <a:pt x="802" y="105"/>
                  <a:pt x="802" y="105"/>
                </a:cubicBezTo>
                <a:cubicBezTo>
                  <a:pt x="802" y="105"/>
                  <a:pt x="801" y="104"/>
                  <a:pt x="801" y="104"/>
                </a:cubicBezTo>
                <a:cubicBezTo>
                  <a:pt x="801" y="104"/>
                  <a:pt x="801" y="104"/>
                  <a:pt x="801" y="104"/>
                </a:cubicBezTo>
                <a:cubicBezTo>
                  <a:pt x="801" y="104"/>
                  <a:pt x="800" y="104"/>
                  <a:pt x="800" y="104"/>
                </a:cubicBezTo>
                <a:cubicBezTo>
                  <a:pt x="800" y="104"/>
                  <a:pt x="800" y="104"/>
                  <a:pt x="800" y="103"/>
                </a:cubicBezTo>
                <a:cubicBezTo>
                  <a:pt x="801" y="103"/>
                  <a:pt x="801" y="103"/>
                  <a:pt x="801" y="103"/>
                </a:cubicBezTo>
                <a:cubicBezTo>
                  <a:pt x="801" y="103"/>
                  <a:pt x="802" y="103"/>
                  <a:pt x="802" y="102"/>
                </a:cubicBezTo>
                <a:cubicBezTo>
                  <a:pt x="802" y="102"/>
                  <a:pt x="802" y="102"/>
                  <a:pt x="802" y="102"/>
                </a:cubicBezTo>
                <a:cubicBezTo>
                  <a:pt x="802" y="102"/>
                  <a:pt x="802" y="102"/>
                  <a:pt x="801" y="102"/>
                </a:cubicBezTo>
                <a:cubicBezTo>
                  <a:pt x="801" y="102"/>
                  <a:pt x="801" y="102"/>
                  <a:pt x="801" y="102"/>
                </a:cubicBezTo>
                <a:cubicBezTo>
                  <a:pt x="801" y="102"/>
                  <a:pt x="801" y="101"/>
                  <a:pt x="801" y="101"/>
                </a:cubicBezTo>
                <a:cubicBezTo>
                  <a:pt x="802" y="101"/>
                  <a:pt x="802" y="101"/>
                  <a:pt x="802" y="101"/>
                </a:cubicBezTo>
                <a:cubicBezTo>
                  <a:pt x="802" y="101"/>
                  <a:pt x="803" y="101"/>
                  <a:pt x="803" y="101"/>
                </a:cubicBezTo>
                <a:cubicBezTo>
                  <a:pt x="803" y="101"/>
                  <a:pt x="803" y="101"/>
                  <a:pt x="803" y="101"/>
                </a:cubicBezTo>
                <a:cubicBezTo>
                  <a:pt x="803" y="100"/>
                  <a:pt x="803" y="100"/>
                  <a:pt x="803" y="100"/>
                </a:cubicBezTo>
                <a:cubicBezTo>
                  <a:pt x="803" y="100"/>
                  <a:pt x="803" y="99"/>
                  <a:pt x="803" y="99"/>
                </a:cubicBezTo>
                <a:cubicBezTo>
                  <a:pt x="803" y="99"/>
                  <a:pt x="803" y="99"/>
                  <a:pt x="803" y="99"/>
                </a:cubicBezTo>
                <a:cubicBezTo>
                  <a:pt x="803" y="99"/>
                  <a:pt x="803" y="99"/>
                  <a:pt x="803" y="99"/>
                </a:cubicBezTo>
                <a:cubicBezTo>
                  <a:pt x="803" y="99"/>
                  <a:pt x="803" y="99"/>
                  <a:pt x="804" y="99"/>
                </a:cubicBezTo>
                <a:cubicBezTo>
                  <a:pt x="804" y="100"/>
                  <a:pt x="804" y="100"/>
                  <a:pt x="804" y="100"/>
                </a:cubicBezTo>
                <a:cubicBezTo>
                  <a:pt x="804" y="100"/>
                  <a:pt x="804" y="100"/>
                  <a:pt x="804" y="100"/>
                </a:cubicBezTo>
                <a:cubicBezTo>
                  <a:pt x="805" y="100"/>
                  <a:pt x="805" y="100"/>
                  <a:pt x="805" y="100"/>
                </a:cubicBezTo>
                <a:cubicBezTo>
                  <a:pt x="806" y="100"/>
                  <a:pt x="806" y="100"/>
                  <a:pt x="806" y="100"/>
                </a:cubicBezTo>
                <a:cubicBezTo>
                  <a:pt x="806" y="100"/>
                  <a:pt x="807" y="100"/>
                  <a:pt x="807" y="100"/>
                </a:cubicBezTo>
                <a:cubicBezTo>
                  <a:pt x="807" y="100"/>
                  <a:pt x="807" y="100"/>
                  <a:pt x="808" y="100"/>
                </a:cubicBezTo>
                <a:cubicBezTo>
                  <a:pt x="808" y="100"/>
                  <a:pt x="808" y="100"/>
                  <a:pt x="809" y="100"/>
                </a:cubicBezTo>
                <a:cubicBezTo>
                  <a:pt x="809" y="100"/>
                  <a:pt x="810" y="100"/>
                  <a:pt x="810" y="101"/>
                </a:cubicBezTo>
                <a:cubicBezTo>
                  <a:pt x="810" y="101"/>
                  <a:pt x="810" y="101"/>
                  <a:pt x="810" y="101"/>
                </a:cubicBezTo>
                <a:cubicBezTo>
                  <a:pt x="810" y="101"/>
                  <a:pt x="810" y="101"/>
                  <a:pt x="811" y="102"/>
                </a:cubicBezTo>
                <a:cubicBezTo>
                  <a:pt x="811" y="102"/>
                  <a:pt x="811" y="102"/>
                  <a:pt x="811" y="102"/>
                </a:cubicBezTo>
                <a:cubicBezTo>
                  <a:pt x="811" y="102"/>
                  <a:pt x="811" y="102"/>
                  <a:pt x="811" y="102"/>
                </a:cubicBezTo>
                <a:cubicBezTo>
                  <a:pt x="812" y="102"/>
                  <a:pt x="812" y="102"/>
                  <a:pt x="812" y="102"/>
                </a:cubicBezTo>
                <a:cubicBezTo>
                  <a:pt x="812" y="102"/>
                  <a:pt x="813" y="102"/>
                  <a:pt x="813" y="102"/>
                </a:cubicBezTo>
                <a:cubicBezTo>
                  <a:pt x="814" y="102"/>
                  <a:pt x="814" y="101"/>
                  <a:pt x="814" y="101"/>
                </a:cubicBezTo>
                <a:cubicBezTo>
                  <a:pt x="814" y="101"/>
                  <a:pt x="815" y="100"/>
                  <a:pt x="815" y="100"/>
                </a:cubicBezTo>
                <a:cubicBezTo>
                  <a:pt x="814" y="100"/>
                  <a:pt x="814" y="100"/>
                  <a:pt x="814" y="100"/>
                </a:cubicBezTo>
                <a:cubicBezTo>
                  <a:pt x="814" y="100"/>
                  <a:pt x="814" y="99"/>
                  <a:pt x="814" y="99"/>
                </a:cubicBezTo>
                <a:cubicBezTo>
                  <a:pt x="814" y="99"/>
                  <a:pt x="814" y="99"/>
                  <a:pt x="814" y="99"/>
                </a:cubicBezTo>
                <a:cubicBezTo>
                  <a:pt x="814" y="99"/>
                  <a:pt x="814" y="99"/>
                  <a:pt x="814" y="98"/>
                </a:cubicBezTo>
                <a:cubicBezTo>
                  <a:pt x="814" y="98"/>
                  <a:pt x="813" y="98"/>
                  <a:pt x="813" y="98"/>
                </a:cubicBezTo>
                <a:cubicBezTo>
                  <a:pt x="813" y="99"/>
                  <a:pt x="813" y="99"/>
                  <a:pt x="812" y="99"/>
                </a:cubicBezTo>
                <a:cubicBezTo>
                  <a:pt x="812" y="99"/>
                  <a:pt x="812" y="99"/>
                  <a:pt x="812" y="99"/>
                </a:cubicBezTo>
                <a:cubicBezTo>
                  <a:pt x="812" y="99"/>
                  <a:pt x="811" y="99"/>
                  <a:pt x="811" y="99"/>
                </a:cubicBezTo>
                <a:cubicBezTo>
                  <a:pt x="810" y="99"/>
                  <a:pt x="810" y="98"/>
                  <a:pt x="810" y="98"/>
                </a:cubicBezTo>
                <a:cubicBezTo>
                  <a:pt x="809" y="98"/>
                  <a:pt x="809" y="98"/>
                  <a:pt x="808" y="98"/>
                </a:cubicBezTo>
                <a:cubicBezTo>
                  <a:pt x="808" y="98"/>
                  <a:pt x="808" y="98"/>
                  <a:pt x="808" y="98"/>
                </a:cubicBezTo>
                <a:cubicBezTo>
                  <a:pt x="808" y="98"/>
                  <a:pt x="808" y="98"/>
                  <a:pt x="807" y="98"/>
                </a:cubicBezTo>
                <a:cubicBezTo>
                  <a:pt x="807" y="98"/>
                  <a:pt x="807" y="98"/>
                  <a:pt x="807" y="98"/>
                </a:cubicBezTo>
                <a:cubicBezTo>
                  <a:pt x="807" y="98"/>
                  <a:pt x="808" y="98"/>
                  <a:pt x="808" y="98"/>
                </a:cubicBezTo>
                <a:cubicBezTo>
                  <a:pt x="808" y="98"/>
                  <a:pt x="808" y="97"/>
                  <a:pt x="808" y="97"/>
                </a:cubicBezTo>
                <a:cubicBezTo>
                  <a:pt x="808" y="97"/>
                  <a:pt x="808" y="96"/>
                  <a:pt x="808" y="96"/>
                </a:cubicBezTo>
                <a:cubicBezTo>
                  <a:pt x="808" y="96"/>
                  <a:pt x="809" y="96"/>
                  <a:pt x="809" y="96"/>
                </a:cubicBezTo>
                <a:cubicBezTo>
                  <a:pt x="809" y="96"/>
                  <a:pt x="809" y="95"/>
                  <a:pt x="809" y="95"/>
                </a:cubicBezTo>
                <a:cubicBezTo>
                  <a:pt x="808" y="95"/>
                  <a:pt x="808" y="95"/>
                  <a:pt x="807" y="95"/>
                </a:cubicBezTo>
                <a:cubicBezTo>
                  <a:pt x="807" y="95"/>
                  <a:pt x="807" y="95"/>
                  <a:pt x="807" y="95"/>
                </a:cubicBezTo>
                <a:cubicBezTo>
                  <a:pt x="806" y="95"/>
                  <a:pt x="806" y="96"/>
                  <a:pt x="806" y="96"/>
                </a:cubicBezTo>
                <a:cubicBezTo>
                  <a:pt x="805" y="96"/>
                  <a:pt x="805" y="96"/>
                  <a:pt x="805" y="96"/>
                </a:cubicBezTo>
                <a:cubicBezTo>
                  <a:pt x="804" y="96"/>
                  <a:pt x="804" y="96"/>
                  <a:pt x="803" y="96"/>
                </a:cubicBezTo>
                <a:cubicBezTo>
                  <a:pt x="803" y="96"/>
                  <a:pt x="803" y="96"/>
                  <a:pt x="803" y="96"/>
                </a:cubicBezTo>
                <a:cubicBezTo>
                  <a:pt x="803" y="95"/>
                  <a:pt x="803" y="95"/>
                  <a:pt x="803" y="95"/>
                </a:cubicBezTo>
                <a:cubicBezTo>
                  <a:pt x="803" y="95"/>
                  <a:pt x="803" y="95"/>
                  <a:pt x="802" y="95"/>
                </a:cubicBezTo>
                <a:cubicBezTo>
                  <a:pt x="802" y="94"/>
                  <a:pt x="802" y="94"/>
                  <a:pt x="802" y="94"/>
                </a:cubicBezTo>
                <a:cubicBezTo>
                  <a:pt x="803" y="94"/>
                  <a:pt x="803" y="94"/>
                  <a:pt x="803" y="94"/>
                </a:cubicBezTo>
                <a:cubicBezTo>
                  <a:pt x="803" y="95"/>
                  <a:pt x="803" y="95"/>
                  <a:pt x="803" y="95"/>
                </a:cubicBezTo>
                <a:cubicBezTo>
                  <a:pt x="803" y="95"/>
                  <a:pt x="803" y="95"/>
                  <a:pt x="803" y="95"/>
                </a:cubicBezTo>
                <a:cubicBezTo>
                  <a:pt x="803" y="95"/>
                  <a:pt x="803" y="95"/>
                  <a:pt x="804" y="95"/>
                </a:cubicBezTo>
                <a:cubicBezTo>
                  <a:pt x="804" y="96"/>
                  <a:pt x="804" y="96"/>
                  <a:pt x="804" y="96"/>
                </a:cubicBezTo>
                <a:cubicBezTo>
                  <a:pt x="805" y="96"/>
                  <a:pt x="805" y="96"/>
                  <a:pt x="805" y="96"/>
                </a:cubicBezTo>
                <a:cubicBezTo>
                  <a:pt x="806" y="95"/>
                  <a:pt x="806" y="95"/>
                  <a:pt x="806" y="95"/>
                </a:cubicBezTo>
                <a:cubicBezTo>
                  <a:pt x="806" y="95"/>
                  <a:pt x="807" y="95"/>
                  <a:pt x="807" y="95"/>
                </a:cubicBezTo>
                <a:cubicBezTo>
                  <a:pt x="807" y="95"/>
                  <a:pt x="808" y="94"/>
                  <a:pt x="808" y="94"/>
                </a:cubicBezTo>
                <a:cubicBezTo>
                  <a:pt x="808" y="95"/>
                  <a:pt x="808" y="95"/>
                  <a:pt x="809" y="95"/>
                </a:cubicBezTo>
                <a:cubicBezTo>
                  <a:pt x="809" y="95"/>
                  <a:pt x="809" y="95"/>
                  <a:pt x="809" y="95"/>
                </a:cubicBezTo>
                <a:cubicBezTo>
                  <a:pt x="809" y="95"/>
                  <a:pt x="809" y="94"/>
                  <a:pt x="809" y="94"/>
                </a:cubicBezTo>
                <a:cubicBezTo>
                  <a:pt x="809" y="94"/>
                  <a:pt x="809" y="94"/>
                  <a:pt x="809" y="94"/>
                </a:cubicBezTo>
                <a:cubicBezTo>
                  <a:pt x="808" y="94"/>
                  <a:pt x="808" y="93"/>
                  <a:pt x="807" y="93"/>
                </a:cubicBezTo>
                <a:cubicBezTo>
                  <a:pt x="806" y="93"/>
                  <a:pt x="806" y="92"/>
                  <a:pt x="805" y="92"/>
                </a:cubicBezTo>
                <a:cubicBezTo>
                  <a:pt x="805" y="92"/>
                  <a:pt x="804" y="92"/>
                  <a:pt x="804" y="92"/>
                </a:cubicBezTo>
                <a:cubicBezTo>
                  <a:pt x="803" y="92"/>
                  <a:pt x="803" y="92"/>
                  <a:pt x="802" y="92"/>
                </a:cubicBezTo>
                <a:cubicBezTo>
                  <a:pt x="802" y="92"/>
                  <a:pt x="801" y="91"/>
                  <a:pt x="801" y="91"/>
                </a:cubicBezTo>
                <a:cubicBezTo>
                  <a:pt x="801" y="91"/>
                  <a:pt x="801" y="91"/>
                  <a:pt x="801" y="91"/>
                </a:cubicBezTo>
                <a:cubicBezTo>
                  <a:pt x="801" y="91"/>
                  <a:pt x="801" y="90"/>
                  <a:pt x="801" y="90"/>
                </a:cubicBezTo>
                <a:cubicBezTo>
                  <a:pt x="801" y="90"/>
                  <a:pt x="801" y="91"/>
                  <a:pt x="801" y="91"/>
                </a:cubicBezTo>
                <a:cubicBezTo>
                  <a:pt x="802" y="91"/>
                  <a:pt x="802" y="91"/>
                  <a:pt x="802" y="91"/>
                </a:cubicBezTo>
                <a:cubicBezTo>
                  <a:pt x="802" y="91"/>
                  <a:pt x="803" y="92"/>
                  <a:pt x="803" y="92"/>
                </a:cubicBezTo>
                <a:cubicBezTo>
                  <a:pt x="803" y="92"/>
                  <a:pt x="804" y="92"/>
                  <a:pt x="804" y="92"/>
                </a:cubicBezTo>
                <a:cubicBezTo>
                  <a:pt x="804" y="91"/>
                  <a:pt x="804" y="91"/>
                  <a:pt x="804" y="91"/>
                </a:cubicBezTo>
                <a:cubicBezTo>
                  <a:pt x="804" y="91"/>
                  <a:pt x="804" y="91"/>
                  <a:pt x="804" y="91"/>
                </a:cubicBezTo>
                <a:cubicBezTo>
                  <a:pt x="804" y="91"/>
                  <a:pt x="804" y="90"/>
                  <a:pt x="803" y="90"/>
                </a:cubicBezTo>
                <a:cubicBezTo>
                  <a:pt x="803" y="90"/>
                  <a:pt x="803" y="90"/>
                  <a:pt x="803" y="90"/>
                </a:cubicBezTo>
                <a:cubicBezTo>
                  <a:pt x="803" y="90"/>
                  <a:pt x="803" y="90"/>
                  <a:pt x="803" y="90"/>
                </a:cubicBezTo>
                <a:cubicBezTo>
                  <a:pt x="803" y="90"/>
                  <a:pt x="803" y="90"/>
                  <a:pt x="803" y="90"/>
                </a:cubicBezTo>
                <a:cubicBezTo>
                  <a:pt x="804" y="90"/>
                  <a:pt x="804" y="90"/>
                  <a:pt x="804" y="90"/>
                </a:cubicBezTo>
                <a:cubicBezTo>
                  <a:pt x="804" y="90"/>
                  <a:pt x="805" y="91"/>
                  <a:pt x="805" y="91"/>
                </a:cubicBezTo>
                <a:cubicBezTo>
                  <a:pt x="805" y="91"/>
                  <a:pt x="806" y="91"/>
                  <a:pt x="806" y="91"/>
                </a:cubicBezTo>
                <a:cubicBezTo>
                  <a:pt x="806" y="91"/>
                  <a:pt x="806" y="92"/>
                  <a:pt x="806" y="92"/>
                </a:cubicBezTo>
                <a:cubicBezTo>
                  <a:pt x="806" y="92"/>
                  <a:pt x="807" y="92"/>
                  <a:pt x="807" y="92"/>
                </a:cubicBezTo>
                <a:cubicBezTo>
                  <a:pt x="807" y="92"/>
                  <a:pt x="808" y="93"/>
                  <a:pt x="808" y="93"/>
                </a:cubicBezTo>
                <a:cubicBezTo>
                  <a:pt x="809" y="93"/>
                  <a:pt x="809" y="93"/>
                  <a:pt x="809" y="94"/>
                </a:cubicBezTo>
                <a:cubicBezTo>
                  <a:pt x="810" y="94"/>
                  <a:pt x="810" y="94"/>
                  <a:pt x="810" y="94"/>
                </a:cubicBezTo>
                <a:cubicBezTo>
                  <a:pt x="810" y="94"/>
                  <a:pt x="810" y="93"/>
                  <a:pt x="811" y="93"/>
                </a:cubicBezTo>
                <a:cubicBezTo>
                  <a:pt x="811" y="93"/>
                  <a:pt x="811" y="93"/>
                  <a:pt x="811" y="93"/>
                </a:cubicBezTo>
                <a:cubicBezTo>
                  <a:pt x="811" y="94"/>
                  <a:pt x="811" y="94"/>
                  <a:pt x="812" y="94"/>
                </a:cubicBezTo>
                <a:cubicBezTo>
                  <a:pt x="811" y="94"/>
                  <a:pt x="811" y="94"/>
                  <a:pt x="811" y="94"/>
                </a:cubicBezTo>
                <a:cubicBezTo>
                  <a:pt x="811" y="94"/>
                  <a:pt x="811" y="95"/>
                  <a:pt x="811" y="95"/>
                </a:cubicBezTo>
                <a:cubicBezTo>
                  <a:pt x="812" y="95"/>
                  <a:pt x="812" y="95"/>
                  <a:pt x="812" y="95"/>
                </a:cubicBezTo>
                <a:cubicBezTo>
                  <a:pt x="812" y="95"/>
                  <a:pt x="812" y="95"/>
                  <a:pt x="813" y="95"/>
                </a:cubicBezTo>
                <a:cubicBezTo>
                  <a:pt x="813" y="95"/>
                  <a:pt x="813" y="95"/>
                  <a:pt x="813" y="94"/>
                </a:cubicBezTo>
                <a:cubicBezTo>
                  <a:pt x="813" y="94"/>
                  <a:pt x="814" y="94"/>
                  <a:pt x="814" y="93"/>
                </a:cubicBezTo>
                <a:cubicBezTo>
                  <a:pt x="814" y="93"/>
                  <a:pt x="814" y="93"/>
                  <a:pt x="814" y="93"/>
                </a:cubicBezTo>
                <a:cubicBezTo>
                  <a:pt x="814" y="93"/>
                  <a:pt x="814" y="93"/>
                  <a:pt x="814" y="92"/>
                </a:cubicBezTo>
                <a:cubicBezTo>
                  <a:pt x="814" y="92"/>
                  <a:pt x="814" y="92"/>
                  <a:pt x="814" y="92"/>
                </a:cubicBezTo>
                <a:cubicBezTo>
                  <a:pt x="814" y="92"/>
                  <a:pt x="814" y="92"/>
                  <a:pt x="814" y="91"/>
                </a:cubicBezTo>
                <a:cubicBezTo>
                  <a:pt x="814" y="91"/>
                  <a:pt x="814" y="91"/>
                  <a:pt x="814" y="91"/>
                </a:cubicBezTo>
                <a:cubicBezTo>
                  <a:pt x="814" y="90"/>
                  <a:pt x="814" y="90"/>
                  <a:pt x="813" y="90"/>
                </a:cubicBezTo>
                <a:cubicBezTo>
                  <a:pt x="813" y="90"/>
                  <a:pt x="813" y="90"/>
                  <a:pt x="813" y="90"/>
                </a:cubicBezTo>
                <a:cubicBezTo>
                  <a:pt x="814" y="90"/>
                  <a:pt x="814" y="90"/>
                  <a:pt x="814" y="89"/>
                </a:cubicBezTo>
                <a:cubicBezTo>
                  <a:pt x="814" y="90"/>
                  <a:pt x="814" y="90"/>
                  <a:pt x="814" y="90"/>
                </a:cubicBezTo>
                <a:cubicBezTo>
                  <a:pt x="814" y="90"/>
                  <a:pt x="815" y="90"/>
                  <a:pt x="815" y="90"/>
                </a:cubicBezTo>
                <a:cubicBezTo>
                  <a:pt x="815" y="90"/>
                  <a:pt x="815" y="90"/>
                  <a:pt x="815" y="90"/>
                </a:cubicBezTo>
                <a:cubicBezTo>
                  <a:pt x="815" y="90"/>
                  <a:pt x="815" y="89"/>
                  <a:pt x="815" y="89"/>
                </a:cubicBezTo>
                <a:cubicBezTo>
                  <a:pt x="814" y="89"/>
                  <a:pt x="814" y="89"/>
                  <a:pt x="814" y="89"/>
                </a:cubicBezTo>
                <a:cubicBezTo>
                  <a:pt x="814" y="89"/>
                  <a:pt x="813" y="88"/>
                  <a:pt x="813" y="88"/>
                </a:cubicBezTo>
                <a:cubicBezTo>
                  <a:pt x="813" y="88"/>
                  <a:pt x="813" y="88"/>
                  <a:pt x="813" y="88"/>
                </a:cubicBezTo>
                <a:cubicBezTo>
                  <a:pt x="812" y="88"/>
                  <a:pt x="812" y="88"/>
                  <a:pt x="812" y="88"/>
                </a:cubicBezTo>
                <a:cubicBezTo>
                  <a:pt x="811" y="88"/>
                  <a:pt x="811" y="88"/>
                  <a:pt x="811" y="88"/>
                </a:cubicBezTo>
                <a:cubicBezTo>
                  <a:pt x="811" y="88"/>
                  <a:pt x="811" y="88"/>
                  <a:pt x="810" y="87"/>
                </a:cubicBezTo>
                <a:cubicBezTo>
                  <a:pt x="810" y="87"/>
                  <a:pt x="810" y="87"/>
                  <a:pt x="810" y="87"/>
                </a:cubicBezTo>
                <a:cubicBezTo>
                  <a:pt x="809" y="87"/>
                  <a:pt x="808" y="87"/>
                  <a:pt x="808" y="87"/>
                </a:cubicBezTo>
                <a:cubicBezTo>
                  <a:pt x="807" y="87"/>
                  <a:pt x="807" y="87"/>
                  <a:pt x="807" y="88"/>
                </a:cubicBezTo>
                <a:cubicBezTo>
                  <a:pt x="807" y="88"/>
                  <a:pt x="806" y="88"/>
                  <a:pt x="806" y="88"/>
                </a:cubicBezTo>
                <a:cubicBezTo>
                  <a:pt x="806" y="87"/>
                  <a:pt x="806" y="87"/>
                  <a:pt x="806" y="87"/>
                </a:cubicBezTo>
                <a:cubicBezTo>
                  <a:pt x="806" y="87"/>
                  <a:pt x="806" y="87"/>
                  <a:pt x="806" y="87"/>
                </a:cubicBezTo>
                <a:cubicBezTo>
                  <a:pt x="806" y="87"/>
                  <a:pt x="806" y="87"/>
                  <a:pt x="806" y="87"/>
                </a:cubicBezTo>
                <a:cubicBezTo>
                  <a:pt x="806" y="87"/>
                  <a:pt x="806" y="87"/>
                  <a:pt x="806" y="87"/>
                </a:cubicBezTo>
                <a:cubicBezTo>
                  <a:pt x="806" y="87"/>
                  <a:pt x="806" y="87"/>
                  <a:pt x="807" y="87"/>
                </a:cubicBezTo>
                <a:cubicBezTo>
                  <a:pt x="807" y="87"/>
                  <a:pt x="807" y="87"/>
                  <a:pt x="808" y="87"/>
                </a:cubicBezTo>
                <a:cubicBezTo>
                  <a:pt x="808" y="87"/>
                  <a:pt x="809" y="87"/>
                  <a:pt x="809" y="87"/>
                </a:cubicBezTo>
                <a:cubicBezTo>
                  <a:pt x="810" y="87"/>
                  <a:pt x="810" y="87"/>
                  <a:pt x="810" y="87"/>
                </a:cubicBezTo>
                <a:cubicBezTo>
                  <a:pt x="810" y="87"/>
                  <a:pt x="810" y="87"/>
                  <a:pt x="811" y="87"/>
                </a:cubicBezTo>
                <a:cubicBezTo>
                  <a:pt x="811" y="87"/>
                  <a:pt x="811" y="87"/>
                  <a:pt x="811" y="86"/>
                </a:cubicBezTo>
                <a:cubicBezTo>
                  <a:pt x="812" y="86"/>
                  <a:pt x="812" y="86"/>
                  <a:pt x="812" y="87"/>
                </a:cubicBezTo>
                <a:cubicBezTo>
                  <a:pt x="812" y="87"/>
                  <a:pt x="813" y="87"/>
                  <a:pt x="813" y="87"/>
                </a:cubicBezTo>
                <a:cubicBezTo>
                  <a:pt x="813" y="87"/>
                  <a:pt x="813" y="87"/>
                  <a:pt x="813" y="86"/>
                </a:cubicBezTo>
                <a:cubicBezTo>
                  <a:pt x="813" y="86"/>
                  <a:pt x="813" y="86"/>
                  <a:pt x="814" y="86"/>
                </a:cubicBezTo>
                <a:cubicBezTo>
                  <a:pt x="814" y="86"/>
                  <a:pt x="813" y="86"/>
                  <a:pt x="813" y="86"/>
                </a:cubicBezTo>
                <a:cubicBezTo>
                  <a:pt x="813" y="86"/>
                  <a:pt x="813" y="85"/>
                  <a:pt x="813" y="85"/>
                </a:cubicBezTo>
                <a:cubicBezTo>
                  <a:pt x="813" y="85"/>
                  <a:pt x="813" y="85"/>
                  <a:pt x="813" y="85"/>
                </a:cubicBezTo>
                <a:cubicBezTo>
                  <a:pt x="813" y="85"/>
                  <a:pt x="813" y="85"/>
                  <a:pt x="813" y="85"/>
                </a:cubicBezTo>
                <a:cubicBezTo>
                  <a:pt x="813" y="85"/>
                  <a:pt x="813" y="85"/>
                  <a:pt x="812" y="85"/>
                </a:cubicBezTo>
                <a:cubicBezTo>
                  <a:pt x="812" y="85"/>
                  <a:pt x="812" y="85"/>
                  <a:pt x="812" y="85"/>
                </a:cubicBezTo>
                <a:cubicBezTo>
                  <a:pt x="811" y="85"/>
                  <a:pt x="811" y="85"/>
                  <a:pt x="811" y="85"/>
                </a:cubicBezTo>
                <a:cubicBezTo>
                  <a:pt x="810" y="85"/>
                  <a:pt x="810" y="85"/>
                  <a:pt x="809" y="85"/>
                </a:cubicBezTo>
                <a:cubicBezTo>
                  <a:pt x="809" y="85"/>
                  <a:pt x="809" y="85"/>
                  <a:pt x="809" y="85"/>
                </a:cubicBezTo>
                <a:cubicBezTo>
                  <a:pt x="809" y="85"/>
                  <a:pt x="808" y="85"/>
                  <a:pt x="808" y="85"/>
                </a:cubicBezTo>
                <a:cubicBezTo>
                  <a:pt x="808" y="85"/>
                  <a:pt x="807" y="85"/>
                  <a:pt x="807" y="85"/>
                </a:cubicBezTo>
                <a:cubicBezTo>
                  <a:pt x="807" y="85"/>
                  <a:pt x="807" y="85"/>
                  <a:pt x="806" y="85"/>
                </a:cubicBezTo>
                <a:cubicBezTo>
                  <a:pt x="806" y="85"/>
                  <a:pt x="806" y="85"/>
                  <a:pt x="806" y="85"/>
                </a:cubicBezTo>
                <a:cubicBezTo>
                  <a:pt x="806" y="85"/>
                  <a:pt x="806" y="85"/>
                  <a:pt x="806" y="85"/>
                </a:cubicBezTo>
                <a:cubicBezTo>
                  <a:pt x="806" y="84"/>
                  <a:pt x="806" y="84"/>
                  <a:pt x="806" y="84"/>
                </a:cubicBezTo>
                <a:cubicBezTo>
                  <a:pt x="806" y="84"/>
                  <a:pt x="806" y="84"/>
                  <a:pt x="806" y="84"/>
                </a:cubicBezTo>
                <a:cubicBezTo>
                  <a:pt x="805" y="84"/>
                  <a:pt x="805" y="84"/>
                  <a:pt x="804" y="84"/>
                </a:cubicBezTo>
                <a:cubicBezTo>
                  <a:pt x="804" y="84"/>
                  <a:pt x="804" y="84"/>
                  <a:pt x="804" y="84"/>
                </a:cubicBezTo>
                <a:cubicBezTo>
                  <a:pt x="803" y="84"/>
                  <a:pt x="803" y="84"/>
                  <a:pt x="803" y="84"/>
                </a:cubicBezTo>
                <a:cubicBezTo>
                  <a:pt x="803" y="84"/>
                  <a:pt x="803" y="84"/>
                  <a:pt x="803" y="83"/>
                </a:cubicBezTo>
                <a:cubicBezTo>
                  <a:pt x="803" y="83"/>
                  <a:pt x="804" y="83"/>
                  <a:pt x="804" y="83"/>
                </a:cubicBezTo>
                <a:cubicBezTo>
                  <a:pt x="804" y="83"/>
                  <a:pt x="805" y="83"/>
                  <a:pt x="805" y="83"/>
                </a:cubicBezTo>
                <a:cubicBezTo>
                  <a:pt x="805" y="83"/>
                  <a:pt x="805" y="83"/>
                  <a:pt x="805" y="83"/>
                </a:cubicBezTo>
                <a:cubicBezTo>
                  <a:pt x="805" y="83"/>
                  <a:pt x="805" y="83"/>
                  <a:pt x="805" y="83"/>
                </a:cubicBezTo>
                <a:cubicBezTo>
                  <a:pt x="805" y="83"/>
                  <a:pt x="805" y="83"/>
                  <a:pt x="805" y="83"/>
                </a:cubicBezTo>
                <a:cubicBezTo>
                  <a:pt x="805" y="83"/>
                  <a:pt x="805" y="82"/>
                  <a:pt x="805" y="82"/>
                </a:cubicBezTo>
                <a:cubicBezTo>
                  <a:pt x="805" y="82"/>
                  <a:pt x="805" y="82"/>
                  <a:pt x="805" y="82"/>
                </a:cubicBezTo>
                <a:cubicBezTo>
                  <a:pt x="805" y="82"/>
                  <a:pt x="805" y="82"/>
                  <a:pt x="805" y="82"/>
                </a:cubicBezTo>
                <a:cubicBezTo>
                  <a:pt x="805" y="82"/>
                  <a:pt x="805" y="81"/>
                  <a:pt x="805" y="81"/>
                </a:cubicBezTo>
                <a:cubicBezTo>
                  <a:pt x="805" y="81"/>
                  <a:pt x="805" y="81"/>
                  <a:pt x="805" y="81"/>
                </a:cubicBezTo>
                <a:cubicBezTo>
                  <a:pt x="805" y="81"/>
                  <a:pt x="805" y="81"/>
                  <a:pt x="805" y="80"/>
                </a:cubicBezTo>
                <a:cubicBezTo>
                  <a:pt x="805" y="80"/>
                  <a:pt x="805" y="80"/>
                  <a:pt x="805" y="80"/>
                </a:cubicBezTo>
                <a:cubicBezTo>
                  <a:pt x="806" y="80"/>
                  <a:pt x="806" y="80"/>
                  <a:pt x="806" y="80"/>
                </a:cubicBezTo>
                <a:cubicBezTo>
                  <a:pt x="806" y="80"/>
                  <a:pt x="806" y="81"/>
                  <a:pt x="806" y="81"/>
                </a:cubicBezTo>
                <a:cubicBezTo>
                  <a:pt x="806" y="81"/>
                  <a:pt x="806" y="81"/>
                  <a:pt x="806" y="81"/>
                </a:cubicBezTo>
                <a:cubicBezTo>
                  <a:pt x="806" y="81"/>
                  <a:pt x="807" y="81"/>
                  <a:pt x="807" y="81"/>
                </a:cubicBezTo>
                <a:cubicBezTo>
                  <a:pt x="807" y="81"/>
                  <a:pt x="807" y="81"/>
                  <a:pt x="808" y="81"/>
                </a:cubicBezTo>
                <a:cubicBezTo>
                  <a:pt x="808" y="80"/>
                  <a:pt x="809" y="80"/>
                  <a:pt x="809" y="80"/>
                </a:cubicBezTo>
                <a:cubicBezTo>
                  <a:pt x="809" y="80"/>
                  <a:pt x="810" y="80"/>
                  <a:pt x="810" y="80"/>
                </a:cubicBezTo>
                <a:cubicBezTo>
                  <a:pt x="810" y="80"/>
                  <a:pt x="810" y="79"/>
                  <a:pt x="810" y="79"/>
                </a:cubicBezTo>
                <a:cubicBezTo>
                  <a:pt x="810" y="79"/>
                  <a:pt x="810" y="79"/>
                  <a:pt x="810" y="79"/>
                </a:cubicBezTo>
                <a:cubicBezTo>
                  <a:pt x="809" y="79"/>
                  <a:pt x="809" y="79"/>
                  <a:pt x="809" y="79"/>
                </a:cubicBezTo>
                <a:cubicBezTo>
                  <a:pt x="808" y="79"/>
                  <a:pt x="808" y="79"/>
                  <a:pt x="808" y="79"/>
                </a:cubicBezTo>
                <a:cubicBezTo>
                  <a:pt x="808" y="79"/>
                  <a:pt x="808" y="79"/>
                  <a:pt x="807" y="79"/>
                </a:cubicBezTo>
                <a:cubicBezTo>
                  <a:pt x="808" y="79"/>
                  <a:pt x="808" y="79"/>
                  <a:pt x="808" y="79"/>
                </a:cubicBezTo>
                <a:cubicBezTo>
                  <a:pt x="809" y="79"/>
                  <a:pt x="809" y="79"/>
                  <a:pt x="809" y="79"/>
                </a:cubicBezTo>
                <a:cubicBezTo>
                  <a:pt x="810" y="79"/>
                  <a:pt x="810" y="79"/>
                  <a:pt x="810" y="79"/>
                </a:cubicBezTo>
                <a:cubicBezTo>
                  <a:pt x="810" y="79"/>
                  <a:pt x="810" y="79"/>
                  <a:pt x="810" y="79"/>
                </a:cubicBezTo>
                <a:cubicBezTo>
                  <a:pt x="810" y="79"/>
                  <a:pt x="810" y="79"/>
                  <a:pt x="810" y="78"/>
                </a:cubicBezTo>
                <a:cubicBezTo>
                  <a:pt x="810" y="78"/>
                  <a:pt x="810" y="78"/>
                  <a:pt x="810" y="78"/>
                </a:cubicBezTo>
                <a:cubicBezTo>
                  <a:pt x="810" y="78"/>
                  <a:pt x="811" y="78"/>
                  <a:pt x="811" y="78"/>
                </a:cubicBezTo>
                <a:cubicBezTo>
                  <a:pt x="811" y="78"/>
                  <a:pt x="812" y="78"/>
                  <a:pt x="812" y="78"/>
                </a:cubicBezTo>
                <a:cubicBezTo>
                  <a:pt x="812" y="78"/>
                  <a:pt x="812" y="78"/>
                  <a:pt x="813" y="78"/>
                </a:cubicBezTo>
                <a:cubicBezTo>
                  <a:pt x="813" y="78"/>
                  <a:pt x="813" y="79"/>
                  <a:pt x="813" y="79"/>
                </a:cubicBezTo>
                <a:cubicBezTo>
                  <a:pt x="813" y="78"/>
                  <a:pt x="814" y="78"/>
                  <a:pt x="814" y="78"/>
                </a:cubicBezTo>
                <a:cubicBezTo>
                  <a:pt x="814" y="78"/>
                  <a:pt x="814" y="78"/>
                  <a:pt x="814" y="78"/>
                </a:cubicBezTo>
                <a:cubicBezTo>
                  <a:pt x="814" y="79"/>
                  <a:pt x="815" y="79"/>
                  <a:pt x="815" y="79"/>
                </a:cubicBezTo>
                <a:cubicBezTo>
                  <a:pt x="815" y="79"/>
                  <a:pt x="815" y="79"/>
                  <a:pt x="815" y="79"/>
                </a:cubicBezTo>
                <a:cubicBezTo>
                  <a:pt x="815" y="79"/>
                  <a:pt x="815" y="80"/>
                  <a:pt x="815" y="80"/>
                </a:cubicBezTo>
                <a:cubicBezTo>
                  <a:pt x="815" y="80"/>
                  <a:pt x="816" y="80"/>
                  <a:pt x="816" y="80"/>
                </a:cubicBezTo>
                <a:cubicBezTo>
                  <a:pt x="816" y="80"/>
                  <a:pt x="816" y="80"/>
                  <a:pt x="816" y="80"/>
                </a:cubicBezTo>
                <a:cubicBezTo>
                  <a:pt x="817" y="80"/>
                  <a:pt x="817" y="80"/>
                  <a:pt x="817" y="80"/>
                </a:cubicBezTo>
                <a:cubicBezTo>
                  <a:pt x="817" y="80"/>
                  <a:pt x="817" y="80"/>
                  <a:pt x="817" y="80"/>
                </a:cubicBezTo>
                <a:cubicBezTo>
                  <a:pt x="818" y="80"/>
                  <a:pt x="818" y="80"/>
                  <a:pt x="819" y="80"/>
                </a:cubicBezTo>
                <a:cubicBezTo>
                  <a:pt x="819" y="80"/>
                  <a:pt x="819" y="81"/>
                  <a:pt x="819" y="81"/>
                </a:cubicBezTo>
                <a:cubicBezTo>
                  <a:pt x="819" y="81"/>
                  <a:pt x="820" y="81"/>
                  <a:pt x="820" y="81"/>
                </a:cubicBezTo>
                <a:cubicBezTo>
                  <a:pt x="820" y="81"/>
                  <a:pt x="820" y="81"/>
                  <a:pt x="820" y="81"/>
                </a:cubicBezTo>
                <a:cubicBezTo>
                  <a:pt x="820" y="80"/>
                  <a:pt x="820" y="80"/>
                  <a:pt x="820" y="80"/>
                </a:cubicBezTo>
                <a:cubicBezTo>
                  <a:pt x="820" y="80"/>
                  <a:pt x="820" y="80"/>
                  <a:pt x="821" y="79"/>
                </a:cubicBezTo>
                <a:cubicBezTo>
                  <a:pt x="821" y="79"/>
                  <a:pt x="821" y="79"/>
                  <a:pt x="821" y="78"/>
                </a:cubicBezTo>
                <a:cubicBezTo>
                  <a:pt x="821" y="78"/>
                  <a:pt x="821" y="78"/>
                  <a:pt x="821" y="78"/>
                </a:cubicBezTo>
                <a:cubicBezTo>
                  <a:pt x="821" y="78"/>
                  <a:pt x="821" y="78"/>
                  <a:pt x="821" y="77"/>
                </a:cubicBezTo>
                <a:cubicBezTo>
                  <a:pt x="821" y="77"/>
                  <a:pt x="821" y="77"/>
                  <a:pt x="821" y="76"/>
                </a:cubicBezTo>
                <a:cubicBezTo>
                  <a:pt x="821" y="76"/>
                  <a:pt x="821" y="76"/>
                  <a:pt x="822" y="76"/>
                </a:cubicBezTo>
                <a:cubicBezTo>
                  <a:pt x="822" y="76"/>
                  <a:pt x="822" y="76"/>
                  <a:pt x="822" y="75"/>
                </a:cubicBezTo>
                <a:cubicBezTo>
                  <a:pt x="821" y="75"/>
                  <a:pt x="821" y="75"/>
                  <a:pt x="821" y="75"/>
                </a:cubicBezTo>
                <a:cubicBezTo>
                  <a:pt x="821" y="75"/>
                  <a:pt x="821" y="75"/>
                  <a:pt x="820" y="75"/>
                </a:cubicBezTo>
                <a:cubicBezTo>
                  <a:pt x="820" y="75"/>
                  <a:pt x="820" y="74"/>
                  <a:pt x="820" y="74"/>
                </a:cubicBezTo>
                <a:cubicBezTo>
                  <a:pt x="819" y="74"/>
                  <a:pt x="819" y="74"/>
                  <a:pt x="819" y="74"/>
                </a:cubicBezTo>
                <a:cubicBezTo>
                  <a:pt x="819" y="74"/>
                  <a:pt x="819" y="74"/>
                  <a:pt x="819" y="74"/>
                </a:cubicBezTo>
                <a:cubicBezTo>
                  <a:pt x="819" y="74"/>
                  <a:pt x="819" y="74"/>
                  <a:pt x="819" y="74"/>
                </a:cubicBezTo>
                <a:cubicBezTo>
                  <a:pt x="819" y="74"/>
                  <a:pt x="818" y="74"/>
                  <a:pt x="818" y="74"/>
                </a:cubicBezTo>
                <a:cubicBezTo>
                  <a:pt x="818" y="74"/>
                  <a:pt x="818" y="74"/>
                  <a:pt x="818" y="74"/>
                </a:cubicBezTo>
                <a:cubicBezTo>
                  <a:pt x="817" y="75"/>
                  <a:pt x="817" y="75"/>
                  <a:pt x="817" y="75"/>
                </a:cubicBezTo>
                <a:cubicBezTo>
                  <a:pt x="817" y="75"/>
                  <a:pt x="816" y="75"/>
                  <a:pt x="816" y="75"/>
                </a:cubicBezTo>
                <a:cubicBezTo>
                  <a:pt x="816" y="75"/>
                  <a:pt x="816" y="75"/>
                  <a:pt x="816" y="75"/>
                </a:cubicBezTo>
                <a:cubicBezTo>
                  <a:pt x="816" y="75"/>
                  <a:pt x="816" y="75"/>
                  <a:pt x="816" y="75"/>
                </a:cubicBezTo>
                <a:cubicBezTo>
                  <a:pt x="816" y="75"/>
                  <a:pt x="816" y="75"/>
                  <a:pt x="816" y="74"/>
                </a:cubicBezTo>
                <a:cubicBezTo>
                  <a:pt x="816" y="74"/>
                  <a:pt x="815" y="74"/>
                  <a:pt x="815" y="74"/>
                </a:cubicBezTo>
                <a:cubicBezTo>
                  <a:pt x="815" y="74"/>
                  <a:pt x="815" y="74"/>
                  <a:pt x="814" y="74"/>
                </a:cubicBezTo>
                <a:cubicBezTo>
                  <a:pt x="814" y="74"/>
                  <a:pt x="814" y="74"/>
                  <a:pt x="813" y="74"/>
                </a:cubicBezTo>
                <a:cubicBezTo>
                  <a:pt x="813" y="74"/>
                  <a:pt x="813" y="74"/>
                  <a:pt x="813" y="74"/>
                </a:cubicBezTo>
                <a:cubicBezTo>
                  <a:pt x="813" y="74"/>
                  <a:pt x="813" y="74"/>
                  <a:pt x="814" y="74"/>
                </a:cubicBezTo>
                <a:cubicBezTo>
                  <a:pt x="814" y="74"/>
                  <a:pt x="814" y="74"/>
                  <a:pt x="814" y="73"/>
                </a:cubicBezTo>
                <a:cubicBezTo>
                  <a:pt x="813" y="73"/>
                  <a:pt x="813" y="73"/>
                  <a:pt x="813" y="73"/>
                </a:cubicBezTo>
                <a:cubicBezTo>
                  <a:pt x="813" y="73"/>
                  <a:pt x="813" y="73"/>
                  <a:pt x="812" y="73"/>
                </a:cubicBezTo>
                <a:cubicBezTo>
                  <a:pt x="812" y="73"/>
                  <a:pt x="813" y="73"/>
                  <a:pt x="813" y="73"/>
                </a:cubicBezTo>
                <a:cubicBezTo>
                  <a:pt x="813" y="73"/>
                  <a:pt x="813" y="73"/>
                  <a:pt x="813" y="73"/>
                </a:cubicBezTo>
                <a:cubicBezTo>
                  <a:pt x="813" y="73"/>
                  <a:pt x="814" y="73"/>
                  <a:pt x="814" y="73"/>
                </a:cubicBezTo>
                <a:cubicBezTo>
                  <a:pt x="814" y="73"/>
                  <a:pt x="814" y="73"/>
                  <a:pt x="814" y="72"/>
                </a:cubicBezTo>
                <a:cubicBezTo>
                  <a:pt x="814" y="72"/>
                  <a:pt x="813" y="72"/>
                  <a:pt x="813" y="72"/>
                </a:cubicBezTo>
                <a:cubicBezTo>
                  <a:pt x="813" y="72"/>
                  <a:pt x="813" y="72"/>
                  <a:pt x="813" y="72"/>
                </a:cubicBezTo>
                <a:cubicBezTo>
                  <a:pt x="813" y="71"/>
                  <a:pt x="813" y="71"/>
                  <a:pt x="813" y="71"/>
                </a:cubicBezTo>
                <a:cubicBezTo>
                  <a:pt x="813" y="71"/>
                  <a:pt x="813" y="71"/>
                  <a:pt x="814" y="71"/>
                </a:cubicBezTo>
                <a:cubicBezTo>
                  <a:pt x="814" y="71"/>
                  <a:pt x="814" y="71"/>
                  <a:pt x="814" y="71"/>
                </a:cubicBezTo>
                <a:cubicBezTo>
                  <a:pt x="814" y="71"/>
                  <a:pt x="814" y="71"/>
                  <a:pt x="815" y="71"/>
                </a:cubicBezTo>
                <a:cubicBezTo>
                  <a:pt x="815" y="71"/>
                  <a:pt x="815" y="72"/>
                  <a:pt x="815" y="72"/>
                </a:cubicBezTo>
                <a:cubicBezTo>
                  <a:pt x="815" y="72"/>
                  <a:pt x="816" y="72"/>
                  <a:pt x="816" y="72"/>
                </a:cubicBezTo>
                <a:cubicBezTo>
                  <a:pt x="816" y="73"/>
                  <a:pt x="817" y="73"/>
                  <a:pt x="817" y="73"/>
                </a:cubicBezTo>
                <a:cubicBezTo>
                  <a:pt x="817" y="73"/>
                  <a:pt x="817" y="73"/>
                  <a:pt x="818" y="73"/>
                </a:cubicBezTo>
                <a:cubicBezTo>
                  <a:pt x="818" y="72"/>
                  <a:pt x="818" y="72"/>
                  <a:pt x="818" y="72"/>
                </a:cubicBezTo>
                <a:cubicBezTo>
                  <a:pt x="818" y="72"/>
                  <a:pt x="818" y="72"/>
                  <a:pt x="817" y="71"/>
                </a:cubicBezTo>
                <a:cubicBezTo>
                  <a:pt x="817" y="71"/>
                  <a:pt x="817" y="71"/>
                  <a:pt x="816" y="71"/>
                </a:cubicBezTo>
                <a:cubicBezTo>
                  <a:pt x="816" y="71"/>
                  <a:pt x="816" y="71"/>
                  <a:pt x="815" y="70"/>
                </a:cubicBezTo>
                <a:cubicBezTo>
                  <a:pt x="815" y="70"/>
                  <a:pt x="815" y="70"/>
                  <a:pt x="814" y="70"/>
                </a:cubicBezTo>
                <a:cubicBezTo>
                  <a:pt x="814" y="70"/>
                  <a:pt x="814" y="70"/>
                  <a:pt x="814" y="69"/>
                </a:cubicBezTo>
                <a:cubicBezTo>
                  <a:pt x="814" y="69"/>
                  <a:pt x="813" y="69"/>
                  <a:pt x="813" y="69"/>
                </a:cubicBezTo>
                <a:cubicBezTo>
                  <a:pt x="813" y="69"/>
                  <a:pt x="813" y="69"/>
                  <a:pt x="812" y="69"/>
                </a:cubicBezTo>
                <a:cubicBezTo>
                  <a:pt x="812" y="69"/>
                  <a:pt x="812" y="68"/>
                  <a:pt x="812" y="68"/>
                </a:cubicBezTo>
                <a:cubicBezTo>
                  <a:pt x="811" y="68"/>
                  <a:pt x="811" y="68"/>
                  <a:pt x="811" y="68"/>
                </a:cubicBezTo>
                <a:cubicBezTo>
                  <a:pt x="811" y="68"/>
                  <a:pt x="811" y="68"/>
                  <a:pt x="811" y="68"/>
                </a:cubicBezTo>
                <a:cubicBezTo>
                  <a:pt x="811" y="68"/>
                  <a:pt x="811" y="67"/>
                  <a:pt x="811" y="67"/>
                </a:cubicBezTo>
                <a:cubicBezTo>
                  <a:pt x="811" y="67"/>
                  <a:pt x="811" y="67"/>
                  <a:pt x="811" y="67"/>
                </a:cubicBezTo>
                <a:cubicBezTo>
                  <a:pt x="811" y="67"/>
                  <a:pt x="811" y="67"/>
                  <a:pt x="811" y="67"/>
                </a:cubicBezTo>
                <a:cubicBezTo>
                  <a:pt x="811" y="67"/>
                  <a:pt x="811" y="67"/>
                  <a:pt x="811" y="67"/>
                </a:cubicBezTo>
                <a:cubicBezTo>
                  <a:pt x="811" y="66"/>
                  <a:pt x="811" y="66"/>
                  <a:pt x="811" y="66"/>
                </a:cubicBezTo>
                <a:cubicBezTo>
                  <a:pt x="812" y="66"/>
                  <a:pt x="812" y="66"/>
                  <a:pt x="812" y="66"/>
                </a:cubicBezTo>
                <a:cubicBezTo>
                  <a:pt x="812" y="66"/>
                  <a:pt x="812" y="66"/>
                  <a:pt x="813" y="66"/>
                </a:cubicBezTo>
                <a:cubicBezTo>
                  <a:pt x="813" y="66"/>
                  <a:pt x="813" y="66"/>
                  <a:pt x="813" y="66"/>
                </a:cubicBezTo>
                <a:cubicBezTo>
                  <a:pt x="813" y="66"/>
                  <a:pt x="814" y="66"/>
                  <a:pt x="814" y="66"/>
                </a:cubicBezTo>
                <a:cubicBezTo>
                  <a:pt x="814" y="66"/>
                  <a:pt x="813" y="67"/>
                  <a:pt x="813" y="67"/>
                </a:cubicBezTo>
                <a:cubicBezTo>
                  <a:pt x="813" y="67"/>
                  <a:pt x="813" y="67"/>
                  <a:pt x="813" y="67"/>
                </a:cubicBezTo>
                <a:cubicBezTo>
                  <a:pt x="814" y="67"/>
                  <a:pt x="814" y="67"/>
                  <a:pt x="814" y="67"/>
                </a:cubicBezTo>
                <a:cubicBezTo>
                  <a:pt x="814" y="67"/>
                  <a:pt x="814" y="67"/>
                  <a:pt x="814" y="67"/>
                </a:cubicBezTo>
                <a:cubicBezTo>
                  <a:pt x="814" y="68"/>
                  <a:pt x="814" y="68"/>
                  <a:pt x="814" y="68"/>
                </a:cubicBezTo>
                <a:cubicBezTo>
                  <a:pt x="815" y="68"/>
                  <a:pt x="815" y="68"/>
                  <a:pt x="815" y="68"/>
                </a:cubicBezTo>
                <a:cubicBezTo>
                  <a:pt x="816" y="68"/>
                  <a:pt x="816" y="68"/>
                  <a:pt x="816" y="67"/>
                </a:cubicBezTo>
                <a:cubicBezTo>
                  <a:pt x="816" y="67"/>
                  <a:pt x="817" y="67"/>
                  <a:pt x="817" y="66"/>
                </a:cubicBezTo>
                <a:cubicBezTo>
                  <a:pt x="817" y="66"/>
                  <a:pt x="817" y="66"/>
                  <a:pt x="817" y="66"/>
                </a:cubicBezTo>
                <a:cubicBezTo>
                  <a:pt x="817" y="65"/>
                  <a:pt x="817" y="65"/>
                  <a:pt x="817" y="65"/>
                </a:cubicBezTo>
                <a:cubicBezTo>
                  <a:pt x="817" y="65"/>
                  <a:pt x="817" y="65"/>
                  <a:pt x="818" y="65"/>
                </a:cubicBezTo>
                <a:cubicBezTo>
                  <a:pt x="817" y="64"/>
                  <a:pt x="817" y="64"/>
                  <a:pt x="817" y="64"/>
                </a:cubicBezTo>
                <a:cubicBezTo>
                  <a:pt x="817" y="64"/>
                  <a:pt x="818" y="63"/>
                  <a:pt x="818" y="63"/>
                </a:cubicBezTo>
                <a:cubicBezTo>
                  <a:pt x="818" y="63"/>
                  <a:pt x="818" y="63"/>
                  <a:pt x="819" y="63"/>
                </a:cubicBezTo>
                <a:cubicBezTo>
                  <a:pt x="819" y="63"/>
                  <a:pt x="819" y="62"/>
                  <a:pt x="819" y="62"/>
                </a:cubicBezTo>
                <a:cubicBezTo>
                  <a:pt x="819" y="62"/>
                  <a:pt x="819" y="61"/>
                  <a:pt x="819" y="61"/>
                </a:cubicBezTo>
                <a:cubicBezTo>
                  <a:pt x="819" y="61"/>
                  <a:pt x="818" y="61"/>
                  <a:pt x="818" y="61"/>
                </a:cubicBezTo>
                <a:cubicBezTo>
                  <a:pt x="818" y="60"/>
                  <a:pt x="819" y="60"/>
                  <a:pt x="819" y="59"/>
                </a:cubicBezTo>
                <a:cubicBezTo>
                  <a:pt x="819" y="59"/>
                  <a:pt x="819" y="59"/>
                  <a:pt x="819" y="58"/>
                </a:cubicBezTo>
                <a:cubicBezTo>
                  <a:pt x="819" y="58"/>
                  <a:pt x="819" y="58"/>
                  <a:pt x="819" y="57"/>
                </a:cubicBezTo>
                <a:cubicBezTo>
                  <a:pt x="819" y="57"/>
                  <a:pt x="820" y="57"/>
                  <a:pt x="820" y="57"/>
                </a:cubicBezTo>
                <a:cubicBezTo>
                  <a:pt x="820" y="57"/>
                  <a:pt x="820" y="56"/>
                  <a:pt x="820" y="56"/>
                </a:cubicBezTo>
                <a:cubicBezTo>
                  <a:pt x="820" y="56"/>
                  <a:pt x="820" y="56"/>
                  <a:pt x="820" y="55"/>
                </a:cubicBezTo>
                <a:cubicBezTo>
                  <a:pt x="820" y="55"/>
                  <a:pt x="820" y="55"/>
                  <a:pt x="820" y="55"/>
                </a:cubicBezTo>
                <a:cubicBezTo>
                  <a:pt x="820" y="54"/>
                  <a:pt x="821" y="54"/>
                  <a:pt x="821" y="54"/>
                </a:cubicBezTo>
                <a:cubicBezTo>
                  <a:pt x="821" y="54"/>
                  <a:pt x="821" y="53"/>
                  <a:pt x="822" y="53"/>
                </a:cubicBezTo>
                <a:cubicBezTo>
                  <a:pt x="822" y="53"/>
                  <a:pt x="823" y="52"/>
                  <a:pt x="824" y="51"/>
                </a:cubicBezTo>
                <a:cubicBezTo>
                  <a:pt x="824" y="51"/>
                  <a:pt x="824" y="51"/>
                  <a:pt x="824" y="50"/>
                </a:cubicBezTo>
                <a:cubicBezTo>
                  <a:pt x="825" y="50"/>
                  <a:pt x="826" y="50"/>
                  <a:pt x="826" y="49"/>
                </a:cubicBezTo>
                <a:cubicBezTo>
                  <a:pt x="826" y="49"/>
                  <a:pt x="826" y="49"/>
                  <a:pt x="826" y="49"/>
                </a:cubicBezTo>
                <a:cubicBezTo>
                  <a:pt x="827" y="49"/>
                  <a:pt x="827" y="48"/>
                  <a:pt x="827" y="48"/>
                </a:cubicBezTo>
                <a:cubicBezTo>
                  <a:pt x="828" y="48"/>
                  <a:pt x="828" y="48"/>
                  <a:pt x="828" y="47"/>
                </a:cubicBezTo>
                <a:cubicBezTo>
                  <a:pt x="828" y="47"/>
                  <a:pt x="829" y="47"/>
                  <a:pt x="829" y="47"/>
                </a:cubicBezTo>
                <a:cubicBezTo>
                  <a:pt x="829" y="46"/>
                  <a:pt x="829" y="46"/>
                  <a:pt x="830" y="46"/>
                </a:cubicBezTo>
                <a:cubicBezTo>
                  <a:pt x="830" y="46"/>
                  <a:pt x="829" y="46"/>
                  <a:pt x="829" y="46"/>
                </a:cubicBezTo>
                <a:cubicBezTo>
                  <a:pt x="829" y="46"/>
                  <a:pt x="829" y="46"/>
                  <a:pt x="829" y="46"/>
                </a:cubicBezTo>
                <a:cubicBezTo>
                  <a:pt x="828" y="46"/>
                  <a:pt x="828" y="46"/>
                  <a:pt x="827" y="46"/>
                </a:cubicBezTo>
                <a:cubicBezTo>
                  <a:pt x="827" y="45"/>
                  <a:pt x="827" y="45"/>
                  <a:pt x="827" y="45"/>
                </a:cubicBezTo>
                <a:cubicBezTo>
                  <a:pt x="827" y="45"/>
                  <a:pt x="827" y="45"/>
                  <a:pt x="826" y="45"/>
                </a:cubicBezTo>
                <a:cubicBezTo>
                  <a:pt x="826" y="45"/>
                  <a:pt x="826" y="45"/>
                  <a:pt x="826" y="45"/>
                </a:cubicBezTo>
                <a:cubicBezTo>
                  <a:pt x="825" y="45"/>
                  <a:pt x="824" y="45"/>
                  <a:pt x="824" y="46"/>
                </a:cubicBezTo>
                <a:cubicBezTo>
                  <a:pt x="823" y="46"/>
                  <a:pt x="823" y="46"/>
                  <a:pt x="822" y="46"/>
                </a:cubicBezTo>
                <a:cubicBezTo>
                  <a:pt x="822" y="46"/>
                  <a:pt x="821" y="46"/>
                  <a:pt x="821" y="46"/>
                </a:cubicBezTo>
                <a:cubicBezTo>
                  <a:pt x="821" y="47"/>
                  <a:pt x="820" y="47"/>
                  <a:pt x="820" y="47"/>
                </a:cubicBezTo>
                <a:cubicBezTo>
                  <a:pt x="820" y="47"/>
                  <a:pt x="819" y="47"/>
                  <a:pt x="819" y="48"/>
                </a:cubicBezTo>
                <a:cubicBezTo>
                  <a:pt x="819" y="48"/>
                  <a:pt x="819" y="48"/>
                  <a:pt x="819" y="48"/>
                </a:cubicBezTo>
                <a:cubicBezTo>
                  <a:pt x="818" y="48"/>
                  <a:pt x="818" y="48"/>
                  <a:pt x="818" y="48"/>
                </a:cubicBezTo>
                <a:cubicBezTo>
                  <a:pt x="818" y="48"/>
                  <a:pt x="817" y="48"/>
                  <a:pt x="817" y="48"/>
                </a:cubicBezTo>
                <a:cubicBezTo>
                  <a:pt x="817" y="48"/>
                  <a:pt x="817" y="48"/>
                  <a:pt x="816" y="48"/>
                </a:cubicBezTo>
                <a:cubicBezTo>
                  <a:pt x="816" y="47"/>
                  <a:pt x="816" y="47"/>
                  <a:pt x="816" y="47"/>
                </a:cubicBezTo>
                <a:cubicBezTo>
                  <a:pt x="817" y="47"/>
                  <a:pt x="817" y="47"/>
                  <a:pt x="817" y="47"/>
                </a:cubicBezTo>
                <a:cubicBezTo>
                  <a:pt x="817" y="47"/>
                  <a:pt x="817" y="47"/>
                  <a:pt x="818" y="47"/>
                </a:cubicBezTo>
                <a:cubicBezTo>
                  <a:pt x="818" y="47"/>
                  <a:pt x="817" y="47"/>
                  <a:pt x="817" y="46"/>
                </a:cubicBezTo>
                <a:cubicBezTo>
                  <a:pt x="817" y="46"/>
                  <a:pt x="817" y="46"/>
                  <a:pt x="817" y="46"/>
                </a:cubicBezTo>
                <a:cubicBezTo>
                  <a:pt x="817" y="46"/>
                  <a:pt x="817" y="46"/>
                  <a:pt x="816" y="46"/>
                </a:cubicBezTo>
                <a:cubicBezTo>
                  <a:pt x="816" y="46"/>
                  <a:pt x="816" y="46"/>
                  <a:pt x="816" y="46"/>
                </a:cubicBezTo>
                <a:cubicBezTo>
                  <a:pt x="816" y="46"/>
                  <a:pt x="816" y="46"/>
                  <a:pt x="817" y="46"/>
                </a:cubicBezTo>
                <a:cubicBezTo>
                  <a:pt x="817" y="46"/>
                  <a:pt x="817" y="45"/>
                  <a:pt x="817" y="45"/>
                </a:cubicBezTo>
                <a:cubicBezTo>
                  <a:pt x="817" y="45"/>
                  <a:pt x="818" y="45"/>
                  <a:pt x="818" y="45"/>
                </a:cubicBezTo>
                <a:cubicBezTo>
                  <a:pt x="818" y="44"/>
                  <a:pt x="819" y="44"/>
                  <a:pt x="819" y="44"/>
                </a:cubicBezTo>
                <a:cubicBezTo>
                  <a:pt x="819" y="44"/>
                  <a:pt x="820" y="43"/>
                  <a:pt x="820" y="43"/>
                </a:cubicBezTo>
                <a:cubicBezTo>
                  <a:pt x="820" y="43"/>
                  <a:pt x="821" y="43"/>
                  <a:pt x="821" y="43"/>
                </a:cubicBezTo>
                <a:cubicBezTo>
                  <a:pt x="821" y="43"/>
                  <a:pt x="822" y="43"/>
                  <a:pt x="822" y="43"/>
                </a:cubicBezTo>
                <a:cubicBezTo>
                  <a:pt x="823" y="44"/>
                  <a:pt x="824" y="44"/>
                  <a:pt x="825" y="44"/>
                </a:cubicBezTo>
                <a:cubicBezTo>
                  <a:pt x="825" y="44"/>
                  <a:pt x="825" y="44"/>
                  <a:pt x="826" y="45"/>
                </a:cubicBezTo>
                <a:cubicBezTo>
                  <a:pt x="826" y="45"/>
                  <a:pt x="827" y="45"/>
                  <a:pt x="828" y="44"/>
                </a:cubicBezTo>
                <a:cubicBezTo>
                  <a:pt x="828" y="44"/>
                  <a:pt x="828" y="44"/>
                  <a:pt x="829" y="44"/>
                </a:cubicBezTo>
                <a:cubicBezTo>
                  <a:pt x="829" y="44"/>
                  <a:pt x="830" y="44"/>
                  <a:pt x="830" y="44"/>
                </a:cubicBezTo>
                <a:cubicBezTo>
                  <a:pt x="831" y="44"/>
                  <a:pt x="831" y="44"/>
                  <a:pt x="832" y="44"/>
                </a:cubicBezTo>
                <a:cubicBezTo>
                  <a:pt x="832" y="44"/>
                  <a:pt x="833" y="44"/>
                  <a:pt x="833" y="43"/>
                </a:cubicBezTo>
                <a:cubicBezTo>
                  <a:pt x="833" y="43"/>
                  <a:pt x="833" y="43"/>
                  <a:pt x="833" y="43"/>
                </a:cubicBezTo>
                <a:cubicBezTo>
                  <a:pt x="833" y="43"/>
                  <a:pt x="833" y="43"/>
                  <a:pt x="833" y="43"/>
                </a:cubicBezTo>
                <a:cubicBezTo>
                  <a:pt x="833" y="43"/>
                  <a:pt x="833" y="43"/>
                  <a:pt x="833" y="43"/>
                </a:cubicBezTo>
                <a:cubicBezTo>
                  <a:pt x="834" y="42"/>
                  <a:pt x="834" y="42"/>
                  <a:pt x="834" y="42"/>
                </a:cubicBezTo>
                <a:cubicBezTo>
                  <a:pt x="835" y="42"/>
                  <a:pt x="835" y="42"/>
                  <a:pt x="835" y="42"/>
                </a:cubicBezTo>
                <a:cubicBezTo>
                  <a:pt x="835" y="42"/>
                  <a:pt x="835" y="41"/>
                  <a:pt x="835" y="41"/>
                </a:cubicBezTo>
                <a:cubicBezTo>
                  <a:pt x="835" y="41"/>
                  <a:pt x="835" y="41"/>
                  <a:pt x="835" y="41"/>
                </a:cubicBezTo>
                <a:cubicBezTo>
                  <a:pt x="834" y="41"/>
                  <a:pt x="834" y="41"/>
                  <a:pt x="833" y="41"/>
                </a:cubicBezTo>
                <a:cubicBezTo>
                  <a:pt x="833" y="41"/>
                  <a:pt x="833" y="40"/>
                  <a:pt x="833" y="40"/>
                </a:cubicBezTo>
                <a:cubicBezTo>
                  <a:pt x="833" y="40"/>
                  <a:pt x="832" y="40"/>
                  <a:pt x="832" y="40"/>
                </a:cubicBezTo>
                <a:cubicBezTo>
                  <a:pt x="832" y="40"/>
                  <a:pt x="832" y="40"/>
                  <a:pt x="831" y="40"/>
                </a:cubicBezTo>
                <a:cubicBezTo>
                  <a:pt x="831" y="40"/>
                  <a:pt x="831" y="41"/>
                  <a:pt x="831" y="41"/>
                </a:cubicBezTo>
                <a:cubicBezTo>
                  <a:pt x="830" y="41"/>
                  <a:pt x="830" y="41"/>
                  <a:pt x="830" y="41"/>
                </a:cubicBezTo>
                <a:cubicBezTo>
                  <a:pt x="830" y="41"/>
                  <a:pt x="830" y="41"/>
                  <a:pt x="829" y="40"/>
                </a:cubicBezTo>
                <a:cubicBezTo>
                  <a:pt x="828" y="40"/>
                  <a:pt x="828" y="41"/>
                  <a:pt x="827" y="41"/>
                </a:cubicBezTo>
                <a:cubicBezTo>
                  <a:pt x="826" y="41"/>
                  <a:pt x="826" y="41"/>
                  <a:pt x="825" y="40"/>
                </a:cubicBezTo>
                <a:cubicBezTo>
                  <a:pt x="825" y="40"/>
                  <a:pt x="825" y="40"/>
                  <a:pt x="824" y="40"/>
                </a:cubicBezTo>
                <a:cubicBezTo>
                  <a:pt x="824" y="40"/>
                  <a:pt x="824" y="40"/>
                  <a:pt x="823" y="40"/>
                </a:cubicBezTo>
                <a:cubicBezTo>
                  <a:pt x="823" y="40"/>
                  <a:pt x="823" y="40"/>
                  <a:pt x="823" y="41"/>
                </a:cubicBezTo>
                <a:cubicBezTo>
                  <a:pt x="822" y="41"/>
                  <a:pt x="821" y="41"/>
                  <a:pt x="820" y="41"/>
                </a:cubicBezTo>
                <a:cubicBezTo>
                  <a:pt x="820" y="41"/>
                  <a:pt x="820" y="41"/>
                  <a:pt x="819" y="41"/>
                </a:cubicBezTo>
                <a:cubicBezTo>
                  <a:pt x="819" y="41"/>
                  <a:pt x="819" y="41"/>
                  <a:pt x="818" y="41"/>
                </a:cubicBezTo>
                <a:cubicBezTo>
                  <a:pt x="819" y="41"/>
                  <a:pt x="819" y="40"/>
                  <a:pt x="819" y="40"/>
                </a:cubicBezTo>
                <a:cubicBezTo>
                  <a:pt x="820" y="40"/>
                  <a:pt x="820" y="40"/>
                  <a:pt x="820" y="41"/>
                </a:cubicBezTo>
                <a:cubicBezTo>
                  <a:pt x="821" y="40"/>
                  <a:pt x="821" y="40"/>
                  <a:pt x="821" y="40"/>
                </a:cubicBezTo>
                <a:cubicBezTo>
                  <a:pt x="822" y="40"/>
                  <a:pt x="822" y="40"/>
                  <a:pt x="823" y="40"/>
                </a:cubicBezTo>
                <a:cubicBezTo>
                  <a:pt x="823" y="40"/>
                  <a:pt x="823" y="40"/>
                  <a:pt x="824" y="40"/>
                </a:cubicBezTo>
                <a:cubicBezTo>
                  <a:pt x="824" y="40"/>
                  <a:pt x="824" y="40"/>
                  <a:pt x="825" y="40"/>
                </a:cubicBezTo>
                <a:cubicBezTo>
                  <a:pt x="825" y="40"/>
                  <a:pt x="825" y="40"/>
                  <a:pt x="825" y="40"/>
                </a:cubicBezTo>
                <a:cubicBezTo>
                  <a:pt x="826" y="40"/>
                  <a:pt x="826" y="40"/>
                  <a:pt x="826" y="40"/>
                </a:cubicBezTo>
                <a:cubicBezTo>
                  <a:pt x="826" y="40"/>
                  <a:pt x="826" y="40"/>
                  <a:pt x="827" y="40"/>
                </a:cubicBezTo>
                <a:cubicBezTo>
                  <a:pt x="827" y="40"/>
                  <a:pt x="827" y="40"/>
                  <a:pt x="827" y="40"/>
                </a:cubicBezTo>
                <a:cubicBezTo>
                  <a:pt x="827" y="39"/>
                  <a:pt x="828" y="39"/>
                  <a:pt x="828" y="39"/>
                </a:cubicBezTo>
                <a:cubicBezTo>
                  <a:pt x="828" y="39"/>
                  <a:pt x="828" y="39"/>
                  <a:pt x="828" y="39"/>
                </a:cubicBezTo>
                <a:cubicBezTo>
                  <a:pt x="828" y="39"/>
                  <a:pt x="829" y="39"/>
                  <a:pt x="829" y="39"/>
                </a:cubicBezTo>
                <a:cubicBezTo>
                  <a:pt x="829" y="39"/>
                  <a:pt x="829" y="39"/>
                  <a:pt x="829" y="39"/>
                </a:cubicBezTo>
                <a:cubicBezTo>
                  <a:pt x="829" y="39"/>
                  <a:pt x="830" y="39"/>
                  <a:pt x="830" y="39"/>
                </a:cubicBezTo>
                <a:cubicBezTo>
                  <a:pt x="830" y="39"/>
                  <a:pt x="830" y="39"/>
                  <a:pt x="830" y="39"/>
                </a:cubicBezTo>
                <a:cubicBezTo>
                  <a:pt x="830" y="39"/>
                  <a:pt x="830" y="39"/>
                  <a:pt x="831" y="39"/>
                </a:cubicBezTo>
                <a:cubicBezTo>
                  <a:pt x="831" y="39"/>
                  <a:pt x="831" y="39"/>
                  <a:pt x="831" y="39"/>
                </a:cubicBezTo>
                <a:cubicBezTo>
                  <a:pt x="831" y="39"/>
                  <a:pt x="831" y="39"/>
                  <a:pt x="831" y="39"/>
                </a:cubicBezTo>
                <a:cubicBezTo>
                  <a:pt x="832" y="39"/>
                  <a:pt x="832" y="39"/>
                  <a:pt x="832" y="39"/>
                </a:cubicBezTo>
                <a:cubicBezTo>
                  <a:pt x="832" y="39"/>
                  <a:pt x="833" y="39"/>
                  <a:pt x="833" y="39"/>
                </a:cubicBezTo>
                <a:cubicBezTo>
                  <a:pt x="833" y="39"/>
                  <a:pt x="834" y="39"/>
                  <a:pt x="834" y="39"/>
                </a:cubicBezTo>
                <a:cubicBezTo>
                  <a:pt x="834" y="39"/>
                  <a:pt x="834" y="39"/>
                  <a:pt x="835" y="39"/>
                </a:cubicBezTo>
                <a:cubicBezTo>
                  <a:pt x="835" y="39"/>
                  <a:pt x="835" y="39"/>
                  <a:pt x="835" y="39"/>
                </a:cubicBezTo>
                <a:cubicBezTo>
                  <a:pt x="836" y="39"/>
                  <a:pt x="836" y="39"/>
                  <a:pt x="836" y="39"/>
                </a:cubicBezTo>
                <a:cubicBezTo>
                  <a:pt x="837" y="39"/>
                  <a:pt x="837" y="39"/>
                  <a:pt x="838" y="39"/>
                </a:cubicBezTo>
                <a:cubicBezTo>
                  <a:pt x="838" y="38"/>
                  <a:pt x="839" y="38"/>
                  <a:pt x="839" y="38"/>
                </a:cubicBezTo>
                <a:cubicBezTo>
                  <a:pt x="840" y="38"/>
                  <a:pt x="840" y="38"/>
                  <a:pt x="840" y="38"/>
                </a:cubicBezTo>
                <a:cubicBezTo>
                  <a:pt x="840" y="38"/>
                  <a:pt x="841" y="38"/>
                  <a:pt x="841" y="38"/>
                </a:cubicBezTo>
                <a:cubicBezTo>
                  <a:pt x="841" y="38"/>
                  <a:pt x="841" y="38"/>
                  <a:pt x="841" y="37"/>
                </a:cubicBezTo>
                <a:cubicBezTo>
                  <a:pt x="841" y="37"/>
                  <a:pt x="841" y="37"/>
                  <a:pt x="841" y="37"/>
                </a:cubicBezTo>
                <a:cubicBezTo>
                  <a:pt x="841" y="37"/>
                  <a:pt x="841" y="37"/>
                  <a:pt x="841" y="37"/>
                </a:cubicBezTo>
                <a:cubicBezTo>
                  <a:pt x="841" y="37"/>
                  <a:pt x="840" y="36"/>
                  <a:pt x="840" y="36"/>
                </a:cubicBezTo>
                <a:cubicBezTo>
                  <a:pt x="840" y="36"/>
                  <a:pt x="840" y="36"/>
                  <a:pt x="840" y="36"/>
                </a:cubicBezTo>
                <a:cubicBezTo>
                  <a:pt x="840" y="36"/>
                  <a:pt x="840" y="36"/>
                  <a:pt x="840" y="36"/>
                </a:cubicBezTo>
                <a:cubicBezTo>
                  <a:pt x="840" y="36"/>
                  <a:pt x="840" y="36"/>
                  <a:pt x="840" y="35"/>
                </a:cubicBezTo>
                <a:cubicBezTo>
                  <a:pt x="840" y="35"/>
                  <a:pt x="840" y="35"/>
                  <a:pt x="840" y="35"/>
                </a:cubicBezTo>
                <a:cubicBezTo>
                  <a:pt x="841" y="35"/>
                  <a:pt x="841" y="34"/>
                  <a:pt x="841" y="34"/>
                </a:cubicBezTo>
                <a:cubicBezTo>
                  <a:pt x="841" y="34"/>
                  <a:pt x="842" y="34"/>
                  <a:pt x="842" y="34"/>
                </a:cubicBezTo>
                <a:cubicBezTo>
                  <a:pt x="842" y="34"/>
                  <a:pt x="843" y="35"/>
                  <a:pt x="844" y="35"/>
                </a:cubicBezTo>
                <a:cubicBezTo>
                  <a:pt x="844" y="35"/>
                  <a:pt x="844" y="35"/>
                  <a:pt x="844" y="35"/>
                </a:cubicBezTo>
                <a:cubicBezTo>
                  <a:pt x="845" y="35"/>
                  <a:pt x="845" y="35"/>
                  <a:pt x="845" y="35"/>
                </a:cubicBezTo>
                <a:cubicBezTo>
                  <a:pt x="845" y="35"/>
                  <a:pt x="845" y="34"/>
                  <a:pt x="845" y="34"/>
                </a:cubicBezTo>
                <a:cubicBezTo>
                  <a:pt x="846" y="34"/>
                  <a:pt x="846" y="34"/>
                  <a:pt x="847" y="33"/>
                </a:cubicBezTo>
                <a:cubicBezTo>
                  <a:pt x="847" y="33"/>
                  <a:pt x="847" y="33"/>
                  <a:pt x="848" y="33"/>
                </a:cubicBezTo>
                <a:cubicBezTo>
                  <a:pt x="848" y="33"/>
                  <a:pt x="848" y="33"/>
                  <a:pt x="848" y="32"/>
                </a:cubicBezTo>
                <a:cubicBezTo>
                  <a:pt x="849" y="32"/>
                  <a:pt x="849" y="32"/>
                  <a:pt x="849" y="32"/>
                </a:cubicBezTo>
                <a:cubicBezTo>
                  <a:pt x="849" y="32"/>
                  <a:pt x="849" y="32"/>
                  <a:pt x="850" y="32"/>
                </a:cubicBezTo>
                <a:cubicBezTo>
                  <a:pt x="850" y="31"/>
                  <a:pt x="850" y="31"/>
                  <a:pt x="851" y="31"/>
                </a:cubicBezTo>
                <a:cubicBezTo>
                  <a:pt x="851" y="31"/>
                  <a:pt x="851" y="31"/>
                  <a:pt x="851" y="31"/>
                </a:cubicBezTo>
                <a:cubicBezTo>
                  <a:pt x="851" y="31"/>
                  <a:pt x="851" y="30"/>
                  <a:pt x="851" y="30"/>
                </a:cubicBezTo>
                <a:cubicBezTo>
                  <a:pt x="851" y="30"/>
                  <a:pt x="851" y="29"/>
                  <a:pt x="851" y="29"/>
                </a:cubicBezTo>
                <a:cubicBezTo>
                  <a:pt x="851" y="29"/>
                  <a:pt x="850" y="29"/>
                  <a:pt x="850" y="28"/>
                </a:cubicBezTo>
                <a:cubicBezTo>
                  <a:pt x="850" y="28"/>
                  <a:pt x="850" y="28"/>
                  <a:pt x="850" y="28"/>
                </a:cubicBezTo>
                <a:cubicBezTo>
                  <a:pt x="849" y="28"/>
                  <a:pt x="848" y="28"/>
                  <a:pt x="848" y="27"/>
                </a:cubicBezTo>
                <a:cubicBezTo>
                  <a:pt x="848" y="27"/>
                  <a:pt x="848" y="27"/>
                  <a:pt x="848" y="27"/>
                </a:cubicBezTo>
                <a:cubicBezTo>
                  <a:pt x="847" y="27"/>
                  <a:pt x="847" y="26"/>
                  <a:pt x="847" y="26"/>
                </a:cubicBezTo>
                <a:cubicBezTo>
                  <a:pt x="847" y="26"/>
                  <a:pt x="846" y="26"/>
                  <a:pt x="846" y="26"/>
                </a:cubicBezTo>
                <a:cubicBezTo>
                  <a:pt x="846" y="26"/>
                  <a:pt x="845" y="26"/>
                  <a:pt x="845" y="26"/>
                </a:cubicBezTo>
                <a:cubicBezTo>
                  <a:pt x="845" y="26"/>
                  <a:pt x="845" y="26"/>
                  <a:pt x="845" y="26"/>
                </a:cubicBezTo>
                <a:cubicBezTo>
                  <a:pt x="844" y="25"/>
                  <a:pt x="844" y="25"/>
                  <a:pt x="843" y="25"/>
                </a:cubicBezTo>
                <a:cubicBezTo>
                  <a:pt x="843" y="25"/>
                  <a:pt x="843" y="25"/>
                  <a:pt x="842" y="25"/>
                </a:cubicBezTo>
                <a:cubicBezTo>
                  <a:pt x="842" y="25"/>
                  <a:pt x="841" y="25"/>
                  <a:pt x="840" y="25"/>
                </a:cubicBezTo>
                <a:cubicBezTo>
                  <a:pt x="840" y="25"/>
                  <a:pt x="839" y="25"/>
                  <a:pt x="839" y="25"/>
                </a:cubicBezTo>
                <a:cubicBezTo>
                  <a:pt x="838" y="25"/>
                  <a:pt x="838" y="25"/>
                  <a:pt x="837" y="25"/>
                </a:cubicBezTo>
                <a:cubicBezTo>
                  <a:pt x="837" y="25"/>
                  <a:pt x="837" y="25"/>
                  <a:pt x="837" y="25"/>
                </a:cubicBezTo>
                <a:cubicBezTo>
                  <a:pt x="836" y="25"/>
                  <a:pt x="836" y="25"/>
                  <a:pt x="835" y="25"/>
                </a:cubicBezTo>
                <a:cubicBezTo>
                  <a:pt x="835" y="25"/>
                  <a:pt x="834" y="25"/>
                  <a:pt x="834" y="25"/>
                </a:cubicBezTo>
                <a:cubicBezTo>
                  <a:pt x="833" y="25"/>
                  <a:pt x="833" y="26"/>
                  <a:pt x="833" y="26"/>
                </a:cubicBezTo>
                <a:cubicBezTo>
                  <a:pt x="833" y="26"/>
                  <a:pt x="832" y="26"/>
                  <a:pt x="832" y="26"/>
                </a:cubicBezTo>
                <a:cubicBezTo>
                  <a:pt x="831" y="26"/>
                  <a:pt x="831" y="26"/>
                  <a:pt x="831" y="26"/>
                </a:cubicBezTo>
                <a:cubicBezTo>
                  <a:pt x="831" y="26"/>
                  <a:pt x="830" y="26"/>
                  <a:pt x="830" y="25"/>
                </a:cubicBezTo>
                <a:cubicBezTo>
                  <a:pt x="830" y="26"/>
                  <a:pt x="830" y="26"/>
                  <a:pt x="830" y="26"/>
                </a:cubicBezTo>
                <a:cubicBezTo>
                  <a:pt x="830" y="26"/>
                  <a:pt x="829" y="26"/>
                  <a:pt x="829" y="26"/>
                </a:cubicBezTo>
                <a:cubicBezTo>
                  <a:pt x="829" y="26"/>
                  <a:pt x="829" y="26"/>
                  <a:pt x="830" y="27"/>
                </a:cubicBezTo>
                <a:cubicBezTo>
                  <a:pt x="829" y="27"/>
                  <a:pt x="829" y="27"/>
                  <a:pt x="829" y="27"/>
                </a:cubicBezTo>
                <a:cubicBezTo>
                  <a:pt x="829" y="28"/>
                  <a:pt x="829" y="28"/>
                  <a:pt x="829" y="28"/>
                </a:cubicBezTo>
                <a:cubicBezTo>
                  <a:pt x="829" y="28"/>
                  <a:pt x="829" y="28"/>
                  <a:pt x="828" y="28"/>
                </a:cubicBezTo>
                <a:cubicBezTo>
                  <a:pt x="828" y="28"/>
                  <a:pt x="828" y="28"/>
                  <a:pt x="828" y="28"/>
                </a:cubicBezTo>
                <a:cubicBezTo>
                  <a:pt x="828" y="28"/>
                  <a:pt x="829" y="28"/>
                  <a:pt x="829" y="29"/>
                </a:cubicBezTo>
                <a:cubicBezTo>
                  <a:pt x="829" y="29"/>
                  <a:pt x="829" y="29"/>
                  <a:pt x="828" y="29"/>
                </a:cubicBezTo>
                <a:cubicBezTo>
                  <a:pt x="828" y="29"/>
                  <a:pt x="828" y="29"/>
                  <a:pt x="827" y="29"/>
                </a:cubicBezTo>
                <a:cubicBezTo>
                  <a:pt x="827" y="29"/>
                  <a:pt x="827" y="29"/>
                  <a:pt x="826" y="29"/>
                </a:cubicBezTo>
                <a:cubicBezTo>
                  <a:pt x="826" y="29"/>
                  <a:pt x="826" y="29"/>
                  <a:pt x="826" y="29"/>
                </a:cubicBezTo>
                <a:cubicBezTo>
                  <a:pt x="825" y="29"/>
                  <a:pt x="825" y="29"/>
                  <a:pt x="825" y="29"/>
                </a:cubicBezTo>
                <a:cubicBezTo>
                  <a:pt x="825" y="29"/>
                  <a:pt x="825" y="28"/>
                  <a:pt x="825" y="28"/>
                </a:cubicBezTo>
                <a:cubicBezTo>
                  <a:pt x="825" y="29"/>
                  <a:pt x="825" y="29"/>
                  <a:pt x="824" y="29"/>
                </a:cubicBezTo>
                <a:cubicBezTo>
                  <a:pt x="824" y="29"/>
                  <a:pt x="824" y="29"/>
                  <a:pt x="824" y="29"/>
                </a:cubicBezTo>
                <a:cubicBezTo>
                  <a:pt x="825" y="29"/>
                  <a:pt x="825" y="30"/>
                  <a:pt x="825" y="30"/>
                </a:cubicBezTo>
                <a:cubicBezTo>
                  <a:pt x="825" y="30"/>
                  <a:pt x="824" y="30"/>
                  <a:pt x="824" y="30"/>
                </a:cubicBezTo>
                <a:cubicBezTo>
                  <a:pt x="824" y="30"/>
                  <a:pt x="824" y="31"/>
                  <a:pt x="824" y="31"/>
                </a:cubicBezTo>
                <a:cubicBezTo>
                  <a:pt x="824" y="31"/>
                  <a:pt x="824" y="31"/>
                  <a:pt x="824" y="31"/>
                </a:cubicBezTo>
                <a:cubicBezTo>
                  <a:pt x="824" y="31"/>
                  <a:pt x="824" y="31"/>
                  <a:pt x="824" y="31"/>
                </a:cubicBezTo>
                <a:cubicBezTo>
                  <a:pt x="824" y="31"/>
                  <a:pt x="824" y="30"/>
                  <a:pt x="824" y="30"/>
                </a:cubicBezTo>
                <a:cubicBezTo>
                  <a:pt x="824" y="30"/>
                  <a:pt x="824" y="30"/>
                  <a:pt x="824" y="30"/>
                </a:cubicBezTo>
                <a:cubicBezTo>
                  <a:pt x="823" y="29"/>
                  <a:pt x="823" y="29"/>
                  <a:pt x="823" y="29"/>
                </a:cubicBezTo>
                <a:cubicBezTo>
                  <a:pt x="823" y="29"/>
                  <a:pt x="823" y="29"/>
                  <a:pt x="823" y="29"/>
                </a:cubicBezTo>
                <a:cubicBezTo>
                  <a:pt x="823" y="28"/>
                  <a:pt x="823" y="28"/>
                  <a:pt x="823" y="28"/>
                </a:cubicBezTo>
                <a:cubicBezTo>
                  <a:pt x="823" y="28"/>
                  <a:pt x="823" y="28"/>
                  <a:pt x="823" y="28"/>
                </a:cubicBezTo>
                <a:cubicBezTo>
                  <a:pt x="823" y="28"/>
                  <a:pt x="823" y="27"/>
                  <a:pt x="823" y="27"/>
                </a:cubicBezTo>
                <a:cubicBezTo>
                  <a:pt x="823" y="27"/>
                  <a:pt x="822" y="27"/>
                  <a:pt x="822" y="27"/>
                </a:cubicBezTo>
                <a:cubicBezTo>
                  <a:pt x="822" y="28"/>
                  <a:pt x="822" y="28"/>
                  <a:pt x="822" y="28"/>
                </a:cubicBezTo>
                <a:cubicBezTo>
                  <a:pt x="822" y="28"/>
                  <a:pt x="821" y="28"/>
                  <a:pt x="821" y="28"/>
                </a:cubicBezTo>
                <a:cubicBezTo>
                  <a:pt x="821" y="29"/>
                  <a:pt x="821" y="29"/>
                  <a:pt x="821" y="29"/>
                </a:cubicBezTo>
                <a:cubicBezTo>
                  <a:pt x="821" y="29"/>
                  <a:pt x="821" y="29"/>
                  <a:pt x="821" y="30"/>
                </a:cubicBezTo>
                <a:cubicBezTo>
                  <a:pt x="820" y="30"/>
                  <a:pt x="820" y="30"/>
                  <a:pt x="819" y="31"/>
                </a:cubicBezTo>
                <a:cubicBezTo>
                  <a:pt x="819" y="31"/>
                  <a:pt x="819" y="31"/>
                  <a:pt x="818" y="31"/>
                </a:cubicBezTo>
                <a:cubicBezTo>
                  <a:pt x="818" y="31"/>
                  <a:pt x="818" y="31"/>
                  <a:pt x="817" y="31"/>
                </a:cubicBezTo>
                <a:cubicBezTo>
                  <a:pt x="817" y="32"/>
                  <a:pt x="817" y="32"/>
                  <a:pt x="817" y="32"/>
                </a:cubicBezTo>
                <a:cubicBezTo>
                  <a:pt x="817" y="32"/>
                  <a:pt x="816" y="32"/>
                  <a:pt x="816" y="32"/>
                </a:cubicBezTo>
                <a:cubicBezTo>
                  <a:pt x="816" y="32"/>
                  <a:pt x="815" y="32"/>
                  <a:pt x="815" y="32"/>
                </a:cubicBezTo>
                <a:cubicBezTo>
                  <a:pt x="814" y="33"/>
                  <a:pt x="814" y="33"/>
                  <a:pt x="814" y="33"/>
                </a:cubicBezTo>
                <a:cubicBezTo>
                  <a:pt x="813" y="33"/>
                  <a:pt x="813" y="34"/>
                  <a:pt x="812" y="34"/>
                </a:cubicBezTo>
                <a:cubicBezTo>
                  <a:pt x="812" y="34"/>
                  <a:pt x="811" y="34"/>
                  <a:pt x="811" y="34"/>
                </a:cubicBezTo>
                <a:cubicBezTo>
                  <a:pt x="810" y="34"/>
                  <a:pt x="810" y="34"/>
                  <a:pt x="809" y="34"/>
                </a:cubicBezTo>
                <a:cubicBezTo>
                  <a:pt x="809" y="34"/>
                  <a:pt x="809" y="34"/>
                  <a:pt x="809" y="34"/>
                </a:cubicBezTo>
                <a:cubicBezTo>
                  <a:pt x="809" y="34"/>
                  <a:pt x="809" y="35"/>
                  <a:pt x="808" y="35"/>
                </a:cubicBezTo>
                <a:cubicBezTo>
                  <a:pt x="808" y="35"/>
                  <a:pt x="808" y="35"/>
                  <a:pt x="807" y="35"/>
                </a:cubicBezTo>
                <a:cubicBezTo>
                  <a:pt x="807" y="35"/>
                  <a:pt x="807" y="35"/>
                  <a:pt x="807" y="35"/>
                </a:cubicBezTo>
                <a:cubicBezTo>
                  <a:pt x="806" y="35"/>
                  <a:pt x="806" y="35"/>
                  <a:pt x="806" y="35"/>
                </a:cubicBezTo>
                <a:cubicBezTo>
                  <a:pt x="805" y="35"/>
                  <a:pt x="805" y="36"/>
                  <a:pt x="804" y="36"/>
                </a:cubicBezTo>
                <a:cubicBezTo>
                  <a:pt x="804" y="36"/>
                  <a:pt x="803" y="37"/>
                  <a:pt x="802" y="37"/>
                </a:cubicBezTo>
                <a:cubicBezTo>
                  <a:pt x="802" y="37"/>
                  <a:pt x="802" y="38"/>
                  <a:pt x="802" y="38"/>
                </a:cubicBezTo>
                <a:cubicBezTo>
                  <a:pt x="802" y="38"/>
                  <a:pt x="802" y="38"/>
                  <a:pt x="802" y="38"/>
                </a:cubicBezTo>
                <a:cubicBezTo>
                  <a:pt x="801" y="38"/>
                  <a:pt x="800" y="39"/>
                  <a:pt x="800" y="39"/>
                </a:cubicBezTo>
                <a:cubicBezTo>
                  <a:pt x="799" y="39"/>
                  <a:pt x="799" y="40"/>
                  <a:pt x="799" y="40"/>
                </a:cubicBezTo>
                <a:cubicBezTo>
                  <a:pt x="799" y="40"/>
                  <a:pt x="798" y="40"/>
                  <a:pt x="798" y="40"/>
                </a:cubicBezTo>
                <a:cubicBezTo>
                  <a:pt x="798" y="40"/>
                  <a:pt x="798" y="40"/>
                  <a:pt x="798" y="40"/>
                </a:cubicBezTo>
                <a:cubicBezTo>
                  <a:pt x="798" y="40"/>
                  <a:pt x="797" y="40"/>
                  <a:pt x="797" y="40"/>
                </a:cubicBezTo>
                <a:cubicBezTo>
                  <a:pt x="796" y="40"/>
                  <a:pt x="796" y="41"/>
                  <a:pt x="796" y="41"/>
                </a:cubicBezTo>
                <a:cubicBezTo>
                  <a:pt x="796" y="41"/>
                  <a:pt x="795" y="42"/>
                  <a:pt x="795" y="42"/>
                </a:cubicBezTo>
                <a:cubicBezTo>
                  <a:pt x="795" y="42"/>
                  <a:pt x="795" y="42"/>
                  <a:pt x="795" y="42"/>
                </a:cubicBezTo>
                <a:cubicBezTo>
                  <a:pt x="795" y="43"/>
                  <a:pt x="794" y="43"/>
                  <a:pt x="794" y="43"/>
                </a:cubicBezTo>
                <a:cubicBezTo>
                  <a:pt x="794" y="43"/>
                  <a:pt x="794" y="43"/>
                  <a:pt x="794" y="43"/>
                </a:cubicBezTo>
                <a:cubicBezTo>
                  <a:pt x="794" y="42"/>
                  <a:pt x="794" y="42"/>
                  <a:pt x="795" y="42"/>
                </a:cubicBezTo>
                <a:cubicBezTo>
                  <a:pt x="794" y="42"/>
                  <a:pt x="794" y="41"/>
                  <a:pt x="794" y="41"/>
                </a:cubicBezTo>
                <a:cubicBezTo>
                  <a:pt x="794" y="41"/>
                  <a:pt x="794" y="41"/>
                  <a:pt x="794" y="40"/>
                </a:cubicBezTo>
                <a:cubicBezTo>
                  <a:pt x="795" y="40"/>
                  <a:pt x="795" y="40"/>
                  <a:pt x="795" y="40"/>
                </a:cubicBezTo>
                <a:cubicBezTo>
                  <a:pt x="795" y="40"/>
                  <a:pt x="795" y="40"/>
                  <a:pt x="796" y="40"/>
                </a:cubicBezTo>
                <a:cubicBezTo>
                  <a:pt x="796" y="40"/>
                  <a:pt x="797" y="39"/>
                  <a:pt x="797" y="39"/>
                </a:cubicBezTo>
                <a:cubicBezTo>
                  <a:pt x="797" y="39"/>
                  <a:pt x="798" y="39"/>
                  <a:pt x="798" y="39"/>
                </a:cubicBezTo>
                <a:cubicBezTo>
                  <a:pt x="798" y="39"/>
                  <a:pt x="799" y="39"/>
                  <a:pt x="799" y="38"/>
                </a:cubicBezTo>
                <a:cubicBezTo>
                  <a:pt x="800" y="38"/>
                  <a:pt x="800" y="38"/>
                  <a:pt x="801" y="37"/>
                </a:cubicBezTo>
                <a:cubicBezTo>
                  <a:pt x="801" y="37"/>
                  <a:pt x="801" y="37"/>
                  <a:pt x="801" y="37"/>
                </a:cubicBezTo>
                <a:cubicBezTo>
                  <a:pt x="801" y="37"/>
                  <a:pt x="802" y="36"/>
                  <a:pt x="802" y="36"/>
                </a:cubicBezTo>
                <a:cubicBezTo>
                  <a:pt x="802" y="36"/>
                  <a:pt x="803" y="36"/>
                  <a:pt x="803" y="35"/>
                </a:cubicBezTo>
                <a:cubicBezTo>
                  <a:pt x="803" y="35"/>
                  <a:pt x="803" y="35"/>
                  <a:pt x="803" y="35"/>
                </a:cubicBezTo>
                <a:cubicBezTo>
                  <a:pt x="803" y="35"/>
                  <a:pt x="803" y="34"/>
                  <a:pt x="803" y="34"/>
                </a:cubicBezTo>
                <a:cubicBezTo>
                  <a:pt x="803" y="34"/>
                  <a:pt x="803" y="34"/>
                  <a:pt x="804" y="34"/>
                </a:cubicBezTo>
                <a:cubicBezTo>
                  <a:pt x="804" y="34"/>
                  <a:pt x="804" y="34"/>
                  <a:pt x="804" y="34"/>
                </a:cubicBezTo>
                <a:cubicBezTo>
                  <a:pt x="804" y="34"/>
                  <a:pt x="804" y="34"/>
                  <a:pt x="805" y="34"/>
                </a:cubicBezTo>
                <a:cubicBezTo>
                  <a:pt x="805" y="34"/>
                  <a:pt x="805" y="34"/>
                  <a:pt x="805" y="34"/>
                </a:cubicBezTo>
                <a:cubicBezTo>
                  <a:pt x="806" y="34"/>
                  <a:pt x="806" y="33"/>
                  <a:pt x="806" y="33"/>
                </a:cubicBezTo>
                <a:cubicBezTo>
                  <a:pt x="806" y="33"/>
                  <a:pt x="806" y="33"/>
                  <a:pt x="806" y="33"/>
                </a:cubicBezTo>
                <a:cubicBezTo>
                  <a:pt x="807" y="33"/>
                  <a:pt x="807" y="32"/>
                  <a:pt x="807" y="32"/>
                </a:cubicBezTo>
                <a:cubicBezTo>
                  <a:pt x="807" y="32"/>
                  <a:pt x="807" y="32"/>
                  <a:pt x="808" y="32"/>
                </a:cubicBezTo>
                <a:cubicBezTo>
                  <a:pt x="808" y="32"/>
                  <a:pt x="808" y="32"/>
                  <a:pt x="808" y="32"/>
                </a:cubicBezTo>
                <a:cubicBezTo>
                  <a:pt x="809" y="32"/>
                  <a:pt x="809" y="32"/>
                  <a:pt x="809" y="31"/>
                </a:cubicBezTo>
                <a:cubicBezTo>
                  <a:pt x="809" y="31"/>
                  <a:pt x="810" y="31"/>
                  <a:pt x="810" y="31"/>
                </a:cubicBezTo>
                <a:cubicBezTo>
                  <a:pt x="810" y="31"/>
                  <a:pt x="810" y="31"/>
                  <a:pt x="810" y="31"/>
                </a:cubicBezTo>
                <a:cubicBezTo>
                  <a:pt x="811" y="31"/>
                  <a:pt x="811" y="31"/>
                  <a:pt x="811" y="31"/>
                </a:cubicBezTo>
                <a:cubicBezTo>
                  <a:pt x="812" y="30"/>
                  <a:pt x="813" y="30"/>
                  <a:pt x="814" y="29"/>
                </a:cubicBezTo>
                <a:cubicBezTo>
                  <a:pt x="815" y="29"/>
                  <a:pt x="815" y="29"/>
                  <a:pt x="815" y="28"/>
                </a:cubicBezTo>
                <a:cubicBezTo>
                  <a:pt x="815" y="28"/>
                  <a:pt x="815" y="28"/>
                  <a:pt x="815" y="28"/>
                </a:cubicBezTo>
                <a:cubicBezTo>
                  <a:pt x="815" y="27"/>
                  <a:pt x="816" y="27"/>
                  <a:pt x="816" y="26"/>
                </a:cubicBezTo>
                <a:cubicBezTo>
                  <a:pt x="816" y="26"/>
                  <a:pt x="817" y="26"/>
                  <a:pt x="817" y="25"/>
                </a:cubicBezTo>
                <a:cubicBezTo>
                  <a:pt x="817" y="25"/>
                  <a:pt x="817" y="25"/>
                  <a:pt x="817" y="25"/>
                </a:cubicBezTo>
                <a:cubicBezTo>
                  <a:pt x="817" y="24"/>
                  <a:pt x="817" y="24"/>
                  <a:pt x="817" y="23"/>
                </a:cubicBezTo>
                <a:cubicBezTo>
                  <a:pt x="817" y="23"/>
                  <a:pt x="817" y="23"/>
                  <a:pt x="816" y="23"/>
                </a:cubicBezTo>
                <a:cubicBezTo>
                  <a:pt x="816" y="23"/>
                  <a:pt x="816" y="23"/>
                  <a:pt x="816" y="23"/>
                </a:cubicBezTo>
                <a:cubicBezTo>
                  <a:pt x="815" y="23"/>
                  <a:pt x="815" y="23"/>
                  <a:pt x="814" y="23"/>
                </a:cubicBezTo>
                <a:cubicBezTo>
                  <a:pt x="814" y="23"/>
                  <a:pt x="813" y="23"/>
                  <a:pt x="813" y="23"/>
                </a:cubicBezTo>
                <a:cubicBezTo>
                  <a:pt x="812" y="23"/>
                  <a:pt x="812" y="23"/>
                  <a:pt x="811" y="23"/>
                </a:cubicBezTo>
                <a:cubicBezTo>
                  <a:pt x="811" y="23"/>
                  <a:pt x="810" y="23"/>
                  <a:pt x="810" y="23"/>
                </a:cubicBezTo>
                <a:cubicBezTo>
                  <a:pt x="810" y="23"/>
                  <a:pt x="809" y="23"/>
                  <a:pt x="809" y="23"/>
                </a:cubicBezTo>
                <a:cubicBezTo>
                  <a:pt x="809" y="23"/>
                  <a:pt x="809" y="24"/>
                  <a:pt x="809" y="24"/>
                </a:cubicBezTo>
                <a:cubicBezTo>
                  <a:pt x="809" y="24"/>
                  <a:pt x="809" y="24"/>
                  <a:pt x="809" y="24"/>
                </a:cubicBezTo>
                <a:cubicBezTo>
                  <a:pt x="809" y="24"/>
                  <a:pt x="809" y="24"/>
                  <a:pt x="809" y="25"/>
                </a:cubicBezTo>
                <a:cubicBezTo>
                  <a:pt x="809" y="25"/>
                  <a:pt x="809" y="25"/>
                  <a:pt x="809" y="26"/>
                </a:cubicBezTo>
                <a:cubicBezTo>
                  <a:pt x="809" y="26"/>
                  <a:pt x="809" y="26"/>
                  <a:pt x="809" y="27"/>
                </a:cubicBezTo>
                <a:cubicBezTo>
                  <a:pt x="808" y="27"/>
                  <a:pt x="808" y="27"/>
                  <a:pt x="808" y="28"/>
                </a:cubicBezTo>
                <a:cubicBezTo>
                  <a:pt x="807" y="27"/>
                  <a:pt x="807" y="27"/>
                  <a:pt x="807" y="27"/>
                </a:cubicBezTo>
                <a:cubicBezTo>
                  <a:pt x="807" y="27"/>
                  <a:pt x="806" y="27"/>
                  <a:pt x="806" y="27"/>
                </a:cubicBezTo>
                <a:cubicBezTo>
                  <a:pt x="806" y="27"/>
                  <a:pt x="806" y="27"/>
                  <a:pt x="806" y="27"/>
                </a:cubicBezTo>
                <a:cubicBezTo>
                  <a:pt x="806" y="27"/>
                  <a:pt x="806" y="28"/>
                  <a:pt x="805" y="28"/>
                </a:cubicBezTo>
                <a:cubicBezTo>
                  <a:pt x="805" y="28"/>
                  <a:pt x="805" y="28"/>
                  <a:pt x="805" y="28"/>
                </a:cubicBezTo>
                <a:cubicBezTo>
                  <a:pt x="805" y="28"/>
                  <a:pt x="804" y="28"/>
                  <a:pt x="804" y="28"/>
                </a:cubicBezTo>
                <a:cubicBezTo>
                  <a:pt x="804" y="28"/>
                  <a:pt x="803" y="28"/>
                  <a:pt x="803" y="28"/>
                </a:cubicBezTo>
                <a:cubicBezTo>
                  <a:pt x="803" y="28"/>
                  <a:pt x="801" y="27"/>
                  <a:pt x="801" y="27"/>
                </a:cubicBezTo>
                <a:cubicBezTo>
                  <a:pt x="801" y="27"/>
                  <a:pt x="799" y="28"/>
                  <a:pt x="799" y="28"/>
                </a:cubicBezTo>
                <a:cubicBezTo>
                  <a:pt x="799" y="28"/>
                  <a:pt x="798" y="28"/>
                  <a:pt x="798" y="28"/>
                </a:cubicBezTo>
                <a:cubicBezTo>
                  <a:pt x="797" y="28"/>
                  <a:pt x="797" y="28"/>
                  <a:pt x="796" y="28"/>
                </a:cubicBezTo>
                <a:cubicBezTo>
                  <a:pt x="796" y="28"/>
                  <a:pt x="795" y="29"/>
                  <a:pt x="795" y="29"/>
                </a:cubicBezTo>
                <a:cubicBezTo>
                  <a:pt x="795" y="29"/>
                  <a:pt x="795" y="29"/>
                  <a:pt x="794" y="29"/>
                </a:cubicBezTo>
                <a:cubicBezTo>
                  <a:pt x="794" y="28"/>
                  <a:pt x="794" y="28"/>
                  <a:pt x="794" y="28"/>
                </a:cubicBezTo>
                <a:cubicBezTo>
                  <a:pt x="794" y="28"/>
                  <a:pt x="794" y="28"/>
                  <a:pt x="794" y="28"/>
                </a:cubicBezTo>
                <a:cubicBezTo>
                  <a:pt x="794" y="27"/>
                  <a:pt x="794" y="27"/>
                  <a:pt x="794" y="27"/>
                </a:cubicBezTo>
                <a:cubicBezTo>
                  <a:pt x="794" y="27"/>
                  <a:pt x="795" y="27"/>
                  <a:pt x="795" y="27"/>
                </a:cubicBezTo>
                <a:cubicBezTo>
                  <a:pt x="795" y="27"/>
                  <a:pt x="795" y="27"/>
                  <a:pt x="795" y="27"/>
                </a:cubicBezTo>
                <a:cubicBezTo>
                  <a:pt x="795" y="27"/>
                  <a:pt x="795" y="27"/>
                  <a:pt x="795" y="27"/>
                </a:cubicBezTo>
                <a:cubicBezTo>
                  <a:pt x="796" y="27"/>
                  <a:pt x="796" y="27"/>
                  <a:pt x="796" y="27"/>
                </a:cubicBezTo>
                <a:cubicBezTo>
                  <a:pt x="796" y="26"/>
                  <a:pt x="797" y="26"/>
                  <a:pt x="797" y="26"/>
                </a:cubicBezTo>
                <a:cubicBezTo>
                  <a:pt x="798" y="26"/>
                  <a:pt x="799" y="26"/>
                  <a:pt x="800" y="26"/>
                </a:cubicBezTo>
                <a:cubicBezTo>
                  <a:pt x="801" y="26"/>
                  <a:pt x="801" y="26"/>
                  <a:pt x="801" y="26"/>
                </a:cubicBezTo>
                <a:cubicBezTo>
                  <a:pt x="801" y="25"/>
                  <a:pt x="801" y="25"/>
                  <a:pt x="802" y="25"/>
                </a:cubicBezTo>
                <a:cubicBezTo>
                  <a:pt x="802" y="25"/>
                  <a:pt x="802" y="24"/>
                  <a:pt x="802" y="24"/>
                </a:cubicBezTo>
                <a:cubicBezTo>
                  <a:pt x="802" y="24"/>
                  <a:pt x="802" y="24"/>
                  <a:pt x="802" y="24"/>
                </a:cubicBezTo>
                <a:cubicBezTo>
                  <a:pt x="803" y="24"/>
                  <a:pt x="803" y="23"/>
                  <a:pt x="803" y="23"/>
                </a:cubicBezTo>
                <a:cubicBezTo>
                  <a:pt x="802" y="23"/>
                  <a:pt x="802" y="23"/>
                  <a:pt x="802" y="23"/>
                </a:cubicBezTo>
                <a:cubicBezTo>
                  <a:pt x="802" y="23"/>
                  <a:pt x="802" y="23"/>
                  <a:pt x="802" y="23"/>
                </a:cubicBezTo>
                <a:cubicBezTo>
                  <a:pt x="802" y="23"/>
                  <a:pt x="801" y="23"/>
                  <a:pt x="801" y="23"/>
                </a:cubicBezTo>
                <a:cubicBezTo>
                  <a:pt x="800" y="23"/>
                  <a:pt x="800" y="23"/>
                  <a:pt x="799" y="23"/>
                </a:cubicBezTo>
                <a:cubicBezTo>
                  <a:pt x="798" y="23"/>
                  <a:pt x="797" y="23"/>
                  <a:pt x="797" y="23"/>
                </a:cubicBezTo>
                <a:cubicBezTo>
                  <a:pt x="796" y="23"/>
                  <a:pt x="796" y="23"/>
                  <a:pt x="796" y="23"/>
                </a:cubicBezTo>
                <a:cubicBezTo>
                  <a:pt x="795" y="23"/>
                  <a:pt x="795" y="22"/>
                  <a:pt x="795" y="22"/>
                </a:cubicBezTo>
                <a:cubicBezTo>
                  <a:pt x="794" y="23"/>
                  <a:pt x="793" y="23"/>
                  <a:pt x="792" y="23"/>
                </a:cubicBezTo>
                <a:cubicBezTo>
                  <a:pt x="791" y="23"/>
                  <a:pt x="791" y="23"/>
                  <a:pt x="790" y="23"/>
                </a:cubicBezTo>
                <a:cubicBezTo>
                  <a:pt x="790" y="23"/>
                  <a:pt x="790" y="23"/>
                  <a:pt x="789" y="23"/>
                </a:cubicBezTo>
                <a:cubicBezTo>
                  <a:pt x="789" y="23"/>
                  <a:pt x="788" y="23"/>
                  <a:pt x="788" y="23"/>
                </a:cubicBezTo>
                <a:cubicBezTo>
                  <a:pt x="787" y="23"/>
                  <a:pt x="787" y="23"/>
                  <a:pt x="786" y="23"/>
                </a:cubicBezTo>
                <a:cubicBezTo>
                  <a:pt x="786" y="23"/>
                  <a:pt x="786" y="23"/>
                  <a:pt x="786" y="23"/>
                </a:cubicBezTo>
                <a:cubicBezTo>
                  <a:pt x="785" y="23"/>
                  <a:pt x="785" y="23"/>
                  <a:pt x="785" y="23"/>
                </a:cubicBezTo>
                <a:cubicBezTo>
                  <a:pt x="784" y="23"/>
                  <a:pt x="784" y="23"/>
                  <a:pt x="784" y="23"/>
                </a:cubicBezTo>
                <a:cubicBezTo>
                  <a:pt x="784" y="23"/>
                  <a:pt x="783" y="23"/>
                  <a:pt x="783" y="24"/>
                </a:cubicBezTo>
                <a:cubicBezTo>
                  <a:pt x="783" y="24"/>
                  <a:pt x="783" y="24"/>
                  <a:pt x="783" y="24"/>
                </a:cubicBezTo>
                <a:cubicBezTo>
                  <a:pt x="783" y="24"/>
                  <a:pt x="783" y="25"/>
                  <a:pt x="782" y="25"/>
                </a:cubicBezTo>
                <a:cubicBezTo>
                  <a:pt x="782" y="25"/>
                  <a:pt x="782" y="25"/>
                  <a:pt x="782" y="25"/>
                </a:cubicBezTo>
                <a:cubicBezTo>
                  <a:pt x="782" y="25"/>
                  <a:pt x="782" y="24"/>
                  <a:pt x="782" y="24"/>
                </a:cubicBezTo>
                <a:cubicBezTo>
                  <a:pt x="782" y="24"/>
                  <a:pt x="782" y="24"/>
                  <a:pt x="782" y="24"/>
                </a:cubicBezTo>
                <a:cubicBezTo>
                  <a:pt x="782" y="24"/>
                  <a:pt x="782" y="24"/>
                  <a:pt x="781" y="24"/>
                </a:cubicBezTo>
                <a:cubicBezTo>
                  <a:pt x="780" y="24"/>
                  <a:pt x="780" y="25"/>
                  <a:pt x="779" y="25"/>
                </a:cubicBezTo>
                <a:cubicBezTo>
                  <a:pt x="778" y="25"/>
                  <a:pt x="778" y="25"/>
                  <a:pt x="777" y="25"/>
                </a:cubicBezTo>
                <a:cubicBezTo>
                  <a:pt x="777" y="25"/>
                  <a:pt x="777" y="26"/>
                  <a:pt x="777" y="26"/>
                </a:cubicBezTo>
                <a:cubicBezTo>
                  <a:pt x="776" y="26"/>
                  <a:pt x="776" y="26"/>
                  <a:pt x="776" y="26"/>
                </a:cubicBezTo>
                <a:cubicBezTo>
                  <a:pt x="776" y="26"/>
                  <a:pt x="775" y="26"/>
                  <a:pt x="775" y="26"/>
                </a:cubicBezTo>
                <a:cubicBezTo>
                  <a:pt x="775" y="26"/>
                  <a:pt x="774" y="26"/>
                  <a:pt x="774" y="26"/>
                </a:cubicBezTo>
                <a:cubicBezTo>
                  <a:pt x="774" y="26"/>
                  <a:pt x="773" y="27"/>
                  <a:pt x="773" y="27"/>
                </a:cubicBezTo>
                <a:cubicBezTo>
                  <a:pt x="773" y="27"/>
                  <a:pt x="773" y="27"/>
                  <a:pt x="772" y="27"/>
                </a:cubicBezTo>
                <a:cubicBezTo>
                  <a:pt x="772" y="27"/>
                  <a:pt x="772" y="27"/>
                  <a:pt x="771" y="27"/>
                </a:cubicBezTo>
                <a:cubicBezTo>
                  <a:pt x="771" y="28"/>
                  <a:pt x="771" y="28"/>
                  <a:pt x="771" y="28"/>
                </a:cubicBezTo>
                <a:cubicBezTo>
                  <a:pt x="771" y="28"/>
                  <a:pt x="771" y="28"/>
                  <a:pt x="771" y="28"/>
                </a:cubicBezTo>
                <a:cubicBezTo>
                  <a:pt x="771" y="28"/>
                  <a:pt x="770" y="28"/>
                  <a:pt x="770" y="28"/>
                </a:cubicBezTo>
                <a:cubicBezTo>
                  <a:pt x="770" y="28"/>
                  <a:pt x="770" y="28"/>
                  <a:pt x="770" y="28"/>
                </a:cubicBezTo>
                <a:cubicBezTo>
                  <a:pt x="770" y="28"/>
                  <a:pt x="770" y="28"/>
                  <a:pt x="770" y="27"/>
                </a:cubicBezTo>
                <a:cubicBezTo>
                  <a:pt x="770" y="27"/>
                  <a:pt x="770" y="27"/>
                  <a:pt x="769" y="27"/>
                </a:cubicBezTo>
                <a:cubicBezTo>
                  <a:pt x="769" y="27"/>
                  <a:pt x="769" y="27"/>
                  <a:pt x="769" y="27"/>
                </a:cubicBezTo>
                <a:cubicBezTo>
                  <a:pt x="769" y="27"/>
                  <a:pt x="769" y="26"/>
                  <a:pt x="769" y="26"/>
                </a:cubicBezTo>
                <a:cubicBezTo>
                  <a:pt x="769" y="26"/>
                  <a:pt x="769" y="26"/>
                  <a:pt x="769" y="26"/>
                </a:cubicBezTo>
                <a:cubicBezTo>
                  <a:pt x="770" y="26"/>
                  <a:pt x="770" y="26"/>
                  <a:pt x="770" y="26"/>
                </a:cubicBezTo>
                <a:cubicBezTo>
                  <a:pt x="771" y="25"/>
                  <a:pt x="771" y="25"/>
                  <a:pt x="771" y="25"/>
                </a:cubicBezTo>
                <a:cubicBezTo>
                  <a:pt x="772" y="25"/>
                  <a:pt x="772" y="25"/>
                  <a:pt x="772" y="25"/>
                </a:cubicBezTo>
                <a:cubicBezTo>
                  <a:pt x="773" y="25"/>
                  <a:pt x="773" y="25"/>
                  <a:pt x="773" y="25"/>
                </a:cubicBezTo>
                <a:cubicBezTo>
                  <a:pt x="773" y="25"/>
                  <a:pt x="774" y="24"/>
                  <a:pt x="774" y="24"/>
                </a:cubicBezTo>
                <a:cubicBezTo>
                  <a:pt x="774" y="24"/>
                  <a:pt x="774" y="24"/>
                  <a:pt x="775" y="24"/>
                </a:cubicBezTo>
                <a:cubicBezTo>
                  <a:pt x="775" y="24"/>
                  <a:pt x="776" y="24"/>
                  <a:pt x="776" y="24"/>
                </a:cubicBezTo>
                <a:cubicBezTo>
                  <a:pt x="777" y="24"/>
                  <a:pt x="777" y="23"/>
                  <a:pt x="777" y="23"/>
                </a:cubicBezTo>
                <a:cubicBezTo>
                  <a:pt x="778" y="23"/>
                  <a:pt x="778" y="23"/>
                  <a:pt x="778" y="23"/>
                </a:cubicBezTo>
                <a:cubicBezTo>
                  <a:pt x="779" y="23"/>
                  <a:pt x="779" y="23"/>
                  <a:pt x="779" y="23"/>
                </a:cubicBezTo>
                <a:cubicBezTo>
                  <a:pt x="780" y="23"/>
                  <a:pt x="780" y="23"/>
                  <a:pt x="780" y="23"/>
                </a:cubicBezTo>
                <a:cubicBezTo>
                  <a:pt x="780" y="23"/>
                  <a:pt x="780" y="23"/>
                  <a:pt x="781" y="22"/>
                </a:cubicBezTo>
                <a:cubicBezTo>
                  <a:pt x="781" y="22"/>
                  <a:pt x="781" y="22"/>
                  <a:pt x="781" y="22"/>
                </a:cubicBezTo>
                <a:cubicBezTo>
                  <a:pt x="781" y="22"/>
                  <a:pt x="781" y="22"/>
                  <a:pt x="781" y="22"/>
                </a:cubicBezTo>
                <a:cubicBezTo>
                  <a:pt x="780" y="22"/>
                  <a:pt x="780" y="22"/>
                  <a:pt x="780" y="21"/>
                </a:cubicBezTo>
                <a:cubicBezTo>
                  <a:pt x="780" y="21"/>
                  <a:pt x="779" y="22"/>
                  <a:pt x="779" y="22"/>
                </a:cubicBezTo>
                <a:cubicBezTo>
                  <a:pt x="779" y="22"/>
                  <a:pt x="779" y="22"/>
                  <a:pt x="778" y="22"/>
                </a:cubicBezTo>
                <a:cubicBezTo>
                  <a:pt x="778" y="21"/>
                  <a:pt x="778" y="21"/>
                  <a:pt x="779" y="21"/>
                </a:cubicBezTo>
                <a:cubicBezTo>
                  <a:pt x="779" y="21"/>
                  <a:pt x="779" y="21"/>
                  <a:pt x="779" y="21"/>
                </a:cubicBezTo>
                <a:cubicBezTo>
                  <a:pt x="780" y="21"/>
                  <a:pt x="780" y="21"/>
                  <a:pt x="780" y="21"/>
                </a:cubicBezTo>
                <a:cubicBezTo>
                  <a:pt x="780" y="21"/>
                  <a:pt x="780" y="21"/>
                  <a:pt x="781" y="21"/>
                </a:cubicBezTo>
                <a:cubicBezTo>
                  <a:pt x="781" y="21"/>
                  <a:pt x="781" y="21"/>
                  <a:pt x="781" y="21"/>
                </a:cubicBezTo>
                <a:cubicBezTo>
                  <a:pt x="781" y="22"/>
                  <a:pt x="782" y="22"/>
                  <a:pt x="782" y="22"/>
                </a:cubicBezTo>
                <a:cubicBezTo>
                  <a:pt x="782" y="22"/>
                  <a:pt x="782" y="22"/>
                  <a:pt x="782" y="22"/>
                </a:cubicBezTo>
                <a:cubicBezTo>
                  <a:pt x="782" y="22"/>
                  <a:pt x="782" y="22"/>
                  <a:pt x="782" y="22"/>
                </a:cubicBezTo>
                <a:cubicBezTo>
                  <a:pt x="783" y="22"/>
                  <a:pt x="783" y="21"/>
                  <a:pt x="783" y="21"/>
                </a:cubicBezTo>
                <a:cubicBezTo>
                  <a:pt x="784" y="21"/>
                  <a:pt x="784" y="21"/>
                  <a:pt x="785" y="21"/>
                </a:cubicBezTo>
                <a:cubicBezTo>
                  <a:pt x="785" y="21"/>
                  <a:pt x="785" y="21"/>
                  <a:pt x="786" y="21"/>
                </a:cubicBezTo>
                <a:cubicBezTo>
                  <a:pt x="786" y="21"/>
                  <a:pt x="786" y="21"/>
                  <a:pt x="786" y="21"/>
                </a:cubicBezTo>
                <a:cubicBezTo>
                  <a:pt x="786" y="20"/>
                  <a:pt x="787" y="20"/>
                  <a:pt x="787" y="20"/>
                </a:cubicBezTo>
                <a:cubicBezTo>
                  <a:pt x="787" y="20"/>
                  <a:pt x="788" y="20"/>
                  <a:pt x="788" y="21"/>
                </a:cubicBezTo>
                <a:cubicBezTo>
                  <a:pt x="788" y="21"/>
                  <a:pt x="789" y="21"/>
                  <a:pt x="789" y="21"/>
                </a:cubicBezTo>
                <a:cubicBezTo>
                  <a:pt x="790" y="20"/>
                  <a:pt x="790" y="20"/>
                  <a:pt x="790" y="20"/>
                </a:cubicBezTo>
                <a:cubicBezTo>
                  <a:pt x="791" y="20"/>
                  <a:pt x="791" y="20"/>
                  <a:pt x="791" y="20"/>
                </a:cubicBezTo>
                <a:cubicBezTo>
                  <a:pt x="791" y="20"/>
                  <a:pt x="792" y="20"/>
                  <a:pt x="792" y="20"/>
                </a:cubicBezTo>
                <a:cubicBezTo>
                  <a:pt x="793" y="20"/>
                  <a:pt x="793" y="20"/>
                  <a:pt x="794" y="20"/>
                </a:cubicBezTo>
                <a:cubicBezTo>
                  <a:pt x="794" y="20"/>
                  <a:pt x="794" y="20"/>
                  <a:pt x="794" y="21"/>
                </a:cubicBezTo>
                <a:cubicBezTo>
                  <a:pt x="794" y="20"/>
                  <a:pt x="794" y="20"/>
                  <a:pt x="795" y="20"/>
                </a:cubicBezTo>
                <a:cubicBezTo>
                  <a:pt x="795" y="21"/>
                  <a:pt x="796" y="21"/>
                  <a:pt x="796" y="21"/>
                </a:cubicBezTo>
                <a:cubicBezTo>
                  <a:pt x="796" y="21"/>
                  <a:pt x="797" y="21"/>
                  <a:pt x="797" y="21"/>
                </a:cubicBezTo>
                <a:cubicBezTo>
                  <a:pt x="797" y="21"/>
                  <a:pt x="798" y="21"/>
                  <a:pt x="798" y="21"/>
                </a:cubicBezTo>
                <a:cubicBezTo>
                  <a:pt x="798" y="21"/>
                  <a:pt x="799" y="21"/>
                  <a:pt x="799" y="21"/>
                </a:cubicBezTo>
                <a:cubicBezTo>
                  <a:pt x="799" y="21"/>
                  <a:pt x="799" y="21"/>
                  <a:pt x="800" y="21"/>
                </a:cubicBezTo>
                <a:cubicBezTo>
                  <a:pt x="800" y="21"/>
                  <a:pt x="800" y="21"/>
                  <a:pt x="801" y="21"/>
                </a:cubicBezTo>
                <a:cubicBezTo>
                  <a:pt x="801" y="21"/>
                  <a:pt x="801" y="21"/>
                  <a:pt x="801" y="21"/>
                </a:cubicBezTo>
                <a:cubicBezTo>
                  <a:pt x="802" y="21"/>
                  <a:pt x="802" y="21"/>
                  <a:pt x="802" y="21"/>
                </a:cubicBezTo>
                <a:cubicBezTo>
                  <a:pt x="802" y="21"/>
                  <a:pt x="803" y="21"/>
                  <a:pt x="803" y="21"/>
                </a:cubicBezTo>
                <a:cubicBezTo>
                  <a:pt x="804" y="21"/>
                  <a:pt x="804" y="20"/>
                  <a:pt x="805" y="20"/>
                </a:cubicBezTo>
                <a:cubicBezTo>
                  <a:pt x="805" y="20"/>
                  <a:pt x="805" y="20"/>
                  <a:pt x="805" y="20"/>
                </a:cubicBezTo>
                <a:cubicBezTo>
                  <a:pt x="806" y="20"/>
                  <a:pt x="806" y="20"/>
                  <a:pt x="807" y="20"/>
                </a:cubicBezTo>
                <a:cubicBezTo>
                  <a:pt x="807" y="20"/>
                  <a:pt x="807" y="20"/>
                  <a:pt x="807" y="20"/>
                </a:cubicBezTo>
                <a:cubicBezTo>
                  <a:pt x="808" y="20"/>
                  <a:pt x="808" y="20"/>
                  <a:pt x="808" y="20"/>
                </a:cubicBezTo>
                <a:cubicBezTo>
                  <a:pt x="808" y="20"/>
                  <a:pt x="808" y="20"/>
                  <a:pt x="809" y="20"/>
                </a:cubicBezTo>
                <a:cubicBezTo>
                  <a:pt x="809" y="20"/>
                  <a:pt x="810" y="20"/>
                  <a:pt x="810" y="20"/>
                </a:cubicBezTo>
                <a:cubicBezTo>
                  <a:pt x="810" y="20"/>
                  <a:pt x="811" y="20"/>
                  <a:pt x="811" y="20"/>
                </a:cubicBezTo>
                <a:cubicBezTo>
                  <a:pt x="811" y="20"/>
                  <a:pt x="811" y="19"/>
                  <a:pt x="811" y="19"/>
                </a:cubicBezTo>
                <a:cubicBezTo>
                  <a:pt x="811" y="19"/>
                  <a:pt x="811" y="19"/>
                  <a:pt x="811" y="19"/>
                </a:cubicBezTo>
                <a:cubicBezTo>
                  <a:pt x="810" y="19"/>
                  <a:pt x="810" y="19"/>
                  <a:pt x="810" y="19"/>
                </a:cubicBezTo>
                <a:cubicBezTo>
                  <a:pt x="811" y="19"/>
                  <a:pt x="811" y="19"/>
                  <a:pt x="811" y="19"/>
                </a:cubicBezTo>
                <a:cubicBezTo>
                  <a:pt x="811" y="19"/>
                  <a:pt x="811" y="19"/>
                  <a:pt x="811" y="19"/>
                </a:cubicBezTo>
                <a:cubicBezTo>
                  <a:pt x="812" y="19"/>
                  <a:pt x="812" y="19"/>
                  <a:pt x="812" y="19"/>
                </a:cubicBezTo>
                <a:cubicBezTo>
                  <a:pt x="812" y="19"/>
                  <a:pt x="813" y="19"/>
                  <a:pt x="813" y="19"/>
                </a:cubicBezTo>
                <a:cubicBezTo>
                  <a:pt x="813" y="19"/>
                  <a:pt x="813" y="19"/>
                  <a:pt x="813" y="19"/>
                </a:cubicBezTo>
                <a:cubicBezTo>
                  <a:pt x="814" y="19"/>
                  <a:pt x="814" y="19"/>
                  <a:pt x="815" y="19"/>
                </a:cubicBezTo>
                <a:cubicBezTo>
                  <a:pt x="816" y="19"/>
                  <a:pt x="816" y="19"/>
                  <a:pt x="817" y="18"/>
                </a:cubicBezTo>
                <a:cubicBezTo>
                  <a:pt x="817" y="18"/>
                  <a:pt x="818" y="18"/>
                  <a:pt x="818" y="18"/>
                </a:cubicBezTo>
                <a:cubicBezTo>
                  <a:pt x="818" y="18"/>
                  <a:pt x="818" y="18"/>
                  <a:pt x="818" y="18"/>
                </a:cubicBezTo>
                <a:cubicBezTo>
                  <a:pt x="818" y="17"/>
                  <a:pt x="818" y="17"/>
                  <a:pt x="818" y="17"/>
                </a:cubicBezTo>
                <a:cubicBezTo>
                  <a:pt x="819" y="17"/>
                  <a:pt x="819" y="17"/>
                  <a:pt x="819" y="17"/>
                </a:cubicBezTo>
                <a:cubicBezTo>
                  <a:pt x="819" y="17"/>
                  <a:pt x="819" y="17"/>
                  <a:pt x="819" y="17"/>
                </a:cubicBezTo>
                <a:cubicBezTo>
                  <a:pt x="820" y="17"/>
                  <a:pt x="820" y="17"/>
                  <a:pt x="820" y="17"/>
                </a:cubicBezTo>
                <a:cubicBezTo>
                  <a:pt x="821" y="17"/>
                  <a:pt x="821" y="17"/>
                  <a:pt x="821" y="16"/>
                </a:cubicBezTo>
                <a:cubicBezTo>
                  <a:pt x="822" y="16"/>
                  <a:pt x="822" y="16"/>
                  <a:pt x="822" y="16"/>
                </a:cubicBezTo>
                <a:cubicBezTo>
                  <a:pt x="822" y="16"/>
                  <a:pt x="822" y="16"/>
                  <a:pt x="822" y="16"/>
                </a:cubicBezTo>
                <a:cubicBezTo>
                  <a:pt x="822" y="15"/>
                  <a:pt x="822" y="15"/>
                  <a:pt x="822" y="15"/>
                </a:cubicBezTo>
                <a:cubicBezTo>
                  <a:pt x="822" y="15"/>
                  <a:pt x="823" y="15"/>
                  <a:pt x="823" y="15"/>
                </a:cubicBezTo>
                <a:cubicBezTo>
                  <a:pt x="823" y="15"/>
                  <a:pt x="823" y="14"/>
                  <a:pt x="823" y="14"/>
                </a:cubicBezTo>
                <a:cubicBezTo>
                  <a:pt x="823" y="14"/>
                  <a:pt x="822" y="14"/>
                  <a:pt x="822" y="14"/>
                </a:cubicBezTo>
                <a:cubicBezTo>
                  <a:pt x="822" y="14"/>
                  <a:pt x="822" y="14"/>
                  <a:pt x="821" y="13"/>
                </a:cubicBezTo>
                <a:cubicBezTo>
                  <a:pt x="821" y="13"/>
                  <a:pt x="820" y="13"/>
                  <a:pt x="820" y="13"/>
                </a:cubicBezTo>
                <a:cubicBezTo>
                  <a:pt x="819" y="13"/>
                  <a:pt x="819" y="13"/>
                  <a:pt x="818" y="13"/>
                </a:cubicBezTo>
                <a:cubicBezTo>
                  <a:pt x="818" y="13"/>
                  <a:pt x="818" y="12"/>
                  <a:pt x="818" y="12"/>
                </a:cubicBezTo>
                <a:cubicBezTo>
                  <a:pt x="818" y="12"/>
                  <a:pt x="818" y="12"/>
                  <a:pt x="818" y="12"/>
                </a:cubicBezTo>
                <a:cubicBezTo>
                  <a:pt x="817" y="12"/>
                  <a:pt x="816" y="12"/>
                  <a:pt x="816" y="12"/>
                </a:cubicBezTo>
                <a:cubicBezTo>
                  <a:pt x="816" y="12"/>
                  <a:pt x="815" y="12"/>
                  <a:pt x="815" y="11"/>
                </a:cubicBezTo>
                <a:cubicBezTo>
                  <a:pt x="815" y="11"/>
                  <a:pt x="815" y="11"/>
                  <a:pt x="815" y="11"/>
                </a:cubicBezTo>
                <a:cubicBezTo>
                  <a:pt x="815" y="11"/>
                  <a:pt x="814" y="11"/>
                  <a:pt x="814" y="11"/>
                </a:cubicBezTo>
                <a:cubicBezTo>
                  <a:pt x="814" y="11"/>
                  <a:pt x="814" y="11"/>
                  <a:pt x="814" y="11"/>
                </a:cubicBezTo>
                <a:cubicBezTo>
                  <a:pt x="814" y="11"/>
                  <a:pt x="813" y="11"/>
                  <a:pt x="813" y="11"/>
                </a:cubicBezTo>
                <a:cubicBezTo>
                  <a:pt x="813" y="11"/>
                  <a:pt x="813" y="11"/>
                  <a:pt x="813" y="11"/>
                </a:cubicBezTo>
                <a:cubicBezTo>
                  <a:pt x="813" y="11"/>
                  <a:pt x="812" y="11"/>
                  <a:pt x="812" y="11"/>
                </a:cubicBezTo>
                <a:cubicBezTo>
                  <a:pt x="812" y="11"/>
                  <a:pt x="812" y="11"/>
                  <a:pt x="812" y="10"/>
                </a:cubicBezTo>
                <a:cubicBezTo>
                  <a:pt x="811" y="11"/>
                  <a:pt x="810" y="11"/>
                  <a:pt x="809" y="11"/>
                </a:cubicBezTo>
                <a:cubicBezTo>
                  <a:pt x="809" y="11"/>
                  <a:pt x="809" y="11"/>
                  <a:pt x="808" y="11"/>
                </a:cubicBezTo>
                <a:cubicBezTo>
                  <a:pt x="808" y="11"/>
                  <a:pt x="808" y="11"/>
                  <a:pt x="808" y="11"/>
                </a:cubicBezTo>
                <a:cubicBezTo>
                  <a:pt x="808" y="11"/>
                  <a:pt x="808" y="11"/>
                  <a:pt x="808" y="12"/>
                </a:cubicBezTo>
                <a:cubicBezTo>
                  <a:pt x="808" y="11"/>
                  <a:pt x="808" y="11"/>
                  <a:pt x="808" y="11"/>
                </a:cubicBezTo>
                <a:cubicBezTo>
                  <a:pt x="807" y="11"/>
                  <a:pt x="807" y="11"/>
                  <a:pt x="807" y="11"/>
                </a:cubicBezTo>
                <a:cubicBezTo>
                  <a:pt x="806" y="12"/>
                  <a:pt x="806" y="12"/>
                  <a:pt x="805" y="12"/>
                </a:cubicBezTo>
                <a:cubicBezTo>
                  <a:pt x="805" y="12"/>
                  <a:pt x="805" y="12"/>
                  <a:pt x="804" y="12"/>
                </a:cubicBezTo>
                <a:cubicBezTo>
                  <a:pt x="804" y="12"/>
                  <a:pt x="803" y="12"/>
                  <a:pt x="803" y="12"/>
                </a:cubicBezTo>
                <a:cubicBezTo>
                  <a:pt x="803" y="12"/>
                  <a:pt x="802" y="12"/>
                  <a:pt x="802" y="12"/>
                </a:cubicBezTo>
                <a:cubicBezTo>
                  <a:pt x="801" y="12"/>
                  <a:pt x="801" y="12"/>
                  <a:pt x="801" y="12"/>
                </a:cubicBezTo>
                <a:cubicBezTo>
                  <a:pt x="801" y="12"/>
                  <a:pt x="800" y="11"/>
                  <a:pt x="800" y="11"/>
                </a:cubicBezTo>
                <a:cubicBezTo>
                  <a:pt x="800" y="11"/>
                  <a:pt x="800" y="11"/>
                  <a:pt x="800" y="11"/>
                </a:cubicBezTo>
                <a:cubicBezTo>
                  <a:pt x="801" y="11"/>
                  <a:pt x="801" y="11"/>
                  <a:pt x="801" y="11"/>
                </a:cubicBezTo>
                <a:cubicBezTo>
                  <a:pt x="801" y="11"/>
                  <a:pt x="801" y="11"/>
                  <a:pt x="802" y="11"/>
                </a:cubicBezTo>
                <a:cubicBezTo>
                  <a:pt x="802" y="11"/>
                  <a:pt x="802" y="11"/>
                  <a:pt x="803" y="11"/>
                </a:cubicBezTo>
                <a:cubicBezTo>
                  <a:pt x="803" y="11"/>
                  <a:pt x="803" y="11"/>
                  <a:pt x="803" y="11"/>
                </a:cubicBezTo>
                <a:cubicBezTo>
                  <a:pt x="803" y="11"/>
                  <a:pt x="803" y="11"/>
                  <a:pt x="803" y="11"/>
                </a:cubicBezTo>
                <a:cubicBezTo>
                  <a:pt x="802" y="11"/>
                  <a:pt x="802" y="11"/>
                  <a:pt x="802" y="10"/>
                </a:cubicBezTo>
                <a:cubicBezTo>
                  <a:pt x="802" y="10"/>
                  <a:pt x="802" y="10"/>
                  <a:pt x="802" y="10"/>
                </a:cubicBezTo>
                <a:cubicBezTo>
                  <a:pt x="802" y="10"/>
                  <a:pt x="802" y="10"/>
                  <a:pt x="802" y="10"/>
                </a:cubicBezTo>
                <a:cubicBezTo>
                  <a:pt x="802" y="10"/>
                  <a:pt x="803" y="10"/>
                  <a:pt x="803" y="10"/>
                </a:cubicBezTo>
                <a:cubicBezTo>
                  <a:pt x="803" y="10"/>
                  <a:pt x="803" y="10"/>
                  <a:pt x="804" y="10"/>
                </a:cubicBezTo>
                <a:cubicBezTo>
                  <a:pt x="804" y="10"/>
                  <a:pt x="804" y="10"/>
                  <a:pt x="805" y="10"/>
                </a:cubicBezTo>
                <a:cubicBezTo>
                  <a:pt x="805" y="10"/>
                  <a:pt x="806" y="10"/>
                  <a:pt x="807" y="10"/>
                </a:cubicBezTo>
                <a:cubicBezTo>
                  <a:pt x="807" y="10"/>
                  <a:pt x="808" y="9"/>
                  <a:pt x="808" y="9"/>
                </a:cubicBezTo>
                <a:cubicBezTo>
                  <a:pt x="808" y="9"/>
                  <a:pt x="808" y="9"/>
                  <a:pt x="808" y="9"/>
                </a:cubicBezTo>
                <a:cubicBezTo>
                  <a:pt x="808" y="9"/>
                  <a:pt x="808" y="8"/>
                  <a:pt x="808" y="8"/>
                </a:cubicBezTo>
                <a:cubicBezTo>
                  <a:pt x="808" y="8"/>
                  <a:pt x="807" y="8"/>
                  <a:pt x="807" y="8"/>
                </a:cubicBezTo>
                <a:cubicBezTo>
                  <a:pt x="807" y="8"/>
                  <a:pt x="807" y="8"/>
                  <a:pt x="807" y="8"/>
                </a:cubicBezTo>
                <a:cubicBezTo>
                  <a:pt x="807" y="8"/>
                  <a:pt x="808" y="8"/>
                  <a:pt x="808" y="7"/>
                </a:cubicBezTo>
                <a:cubicBezTo>
                  <a:pt x="808" y="7"/>
                  <a:pt x="808" y="7"/>
                  <a:pt x="808" y="7"/>
                </a:cubicBezTo>
                <a:cubicBezTo>
                  <a:pt x="807" y="7"/>
                  <a:pt x="807" y="7"/>
                  <a:pt x="807" y="7"/>
                </a:cubicBezTo>
                <a:cubicBezTo>
                  <a:pt x="806" y="7"/>
                  <a:pt x="806" y="6"/>
                  <a:pt x="806" y="6"/>
                </a:cubicBezTo>
                <a:cubicBezTo>
                  <a:pt x="806" y="6"/>
                  <a:pt x="806" y="6"/>
                  <a:pt x="805" y="6"/>
                </a:cubicBezTo>
                <a:cubicBezTo>
                  <a:pt x="805" y="6"/>
                  <a:pt x="805" y="6"/>
                  <a:pt x="805" y="6"/>
                </a:cubicBezTo>
                <a:cubicBezTo>
                  <a:pt x="804" y="6"/>
                  <a:pt x="804" y="7"/>
                  <a:pt x="804" y="7"/>
                </a:cubicBezTo>
                <a:cubicBezTo>
                  <a:pt x="803" y="7"/>
                  <a:pt x="803" y="7"/>
                  <a:pt x="802" y="8"/>
                </a:cubicBezTo>
                <a:cubicBezTo>
                  <a:pt x="802" y="8"/>
                  <a:pt x="801" y="8"/>
                  <a:pt x="801" y="8"/>
                </a:cubicBezTo>
                <a:cubicBezTo>
                  <a:pt x="801" y="8"/>
                  <a:pt x="801" y="8"/>
                  <a:pt x="800" y="8"/>
                </a:cubicBezTo>
                <a:cubicBezTo>
                  <a:pt x="800" y="8"/>
                  <a:pt x="800" y="8"/>
                  <a:pt x="799" y="8"/>
                </a:cubicBezTo>
                <a:cubicBezTo>
                  <a:pt x="799" y="8"/>
                  <a:pt x="799" y="8"/>
                  <a:pt x="799" y="8"/>
                </a:cubicBezTo>
                <a:cubicBezTo>
                  <a:pt x="799" y="8"/>
                  <a:pt x="798" y="8"/>
                  <a:pt x="798" y="8"/>
                </a:cubicBezTo>
                <a:cubicBezTo>
                  <a:pt x="798" y="8"/>
                  <a:pt x="798" y="8"/>
                  <a:pt x="798" y="8"/>
                </a:cubicBezTo>
                <a:cubicBezTo>
                  <a:pt x="797" y="8"/>
                  <a:pt x="797" y="8"/>
                  <a:pt x="797" y="8"/>
                </a:cubicBezTo>
                <a:cubicBezTo>
                  <a:pt x="797" y="8"/>
                  <a:pt x="796" y="8"/>
                  <a:pt x="796" y="8"/>
                </a:cubicBezTo>
                <a:cubicBezTo>
                  <a:pt x="796" y="8"/>
                  <a:pt x="796" y="8"/>
                  <a:pt x="795" y="8"/>
                </a:cubicBezTo>
                <a:cubicBezTo>
                  <a:pt x="795" y="8"/>
                  <a:pt x="795" y="8"/>
                  <a:pt x="794" y="8"/>
                </a:cubicBezTo>
                <a:cubicBezTo>
                  <a:pt x="794" y="8"/>
                  <a:pt x="794" y="8"/>
                  <a:pt x="793" y="8"/>
                </a:cubicBezTo>
                <a:cubicBezTo>
                  <a:pt x="793" y="8"/>
                  <a:pt x="793" y="8"/>
                  <a:pt x="792" y="7"/>
                </a:cubicBezTo>
                <a:cubicBezTo>
                  <a:pt x="792" y="7"/>
                  <a:pt x="792" y="7"/>
                  <a:pt x="791" y="7"/>
                </a:cubicBezTo>
                <a:cubicBezTo>
                  <a:pt x="791" y="7"/>
                  <a:pt x="790" y="7"/>
                  <a:pt x="790" y="7"/>
                </a:cubicBezTo>
                <a:cubicBezTo>
                  <a:pt x="789" y="7"/>
                  <a:pt x="789" y="7"/>
                  <a:pt x="788" y="7"/>
                </a:cubicBezTo>
                <a:cubicBezTo>
                  <a:pt x="787" y="7"/>
                  <a:pt x="787" y="7"/>
                  <a:pt x="786" y="7"/>
                </a:cubicBezTo>
                <a:cubicBezTo>
                  <a:pt x="786" y="7"/>
                  <a:pt x="785" y="7"/>
                  <a:pt x="785" y="8"/>
                </a:cubicBezTo>
                <a:cubicBezTo>
                  <a:pt x="784" y="8"/>
                  <a:pt x="784" y="8"/>
                  <a:pt x="783" y="8"/>
                </a:cubicBezTo>
                <a:cubicBezTo>
                  <a:pt x="783" y="8"/>
                  <a:pt x="782" y="8"/>
                  <a:pt x="782" y="8"/>
                </a:cubicBezTo>
                <a:cubicBezTo>
                  <a:pt x="781" y="8"/>
                  <a:pt x="781" y="8"/>
                  <a:pt x="780" y="9"/>
                </a:cubicBezTo>
                <a:cubicBezTo>
                  <a:pt x="780" y="9"/>
                  <a:pt x="779" y="9"/>
                  <a:pt x="779" y="9"/>
                </a:cubicBezTo>
                <a:cubicBezTo>
                  <a:pt x="779" y="9"/>
                  <a:pt x="778" y="9"/>
                  <a:pt x="778" y="9"/>
                </a:cubicBezTo>
                <a:cubicBezTo>
                  <a:pt x="778" y="9"/>
                  <a:pt x="778" y="9"/>
                  <a:pt x="777" y="9"/>
                </a:cubicBezTo>
                <a:cubicBezTo>
                  <a:pt x="778" y="9"/>
                  <a:pt x="778" y="10"/>
                  <a:pt x="778" y="10"/>
                </a:cubicBezTo>
                <a:cubicBezTo>
                  <a:pt x="778" y="10"/>
                  <a:pt x="778" y="10"/>
                  <a:pt x="778" y="10"/>
                </a:cubicBezTo>
                <a:cubicBezTo>
                  <a:pt x="778" y="10"/>
                  <a:pt x="778" y="10"/>
                  <a:pt x="777" y="10"/>
                </a:cubicBezTo>
                <a:cubicBezTo>
                  <a:pt x="777" y="10"/>
                  <a:pt x="777" y="10"/>
                  <a:pt x="777" y="10"/>
                </a:cubicBezTo>
                <a:cubicBezTo>
                  <a:pt x="777" y="10"/>
                  <a:pt x="776" y="10"/>
                  <a:pt x="776" y="9"/>
                </a:cubicBezTo>
                <a:cubicBezTo>
                  <a:pt x="776" y="9"/>
                  <a:pt x="776" y="9"/>
                  <a:pt x="776" y="9"/>
                </a:cubicBezTo>
                <a:cubicBezTo>
                  <a:pt x="775" y="9"/>
                  <a:pt x="775" y="9"/>
                  <a:pt x="775" y="9"/>
                </a:cubicBezTo>
                <a:cubicBezTo>
                  <a:pt x="775" y="9"/>
                  <a:pt x="775" y="9"/>
                  <a:pt x="774" y="9"/>
                </a:cubicBezTo>
                <a:cubicBezTo>
                  <a:pt x="774" y="9"/>
                  <a:pt x="774" y="9"/>
                  <a:pt x="773" y="9"/>
                </a:cubicBezTo>
                <a:cubicBezTo>
                  <a:pt x="773" y="9"/>
                  <a:pt x="772" y="9"/>
                  <a:pt x="772" y="9"/>
                </a:cubicBezTo>
                <a:cubicBezTo>
                  <a:pt x="771" y="9"/>
                  <a:pt x="771" y="9"/>
                  <a:pt x="771" y="9"/>
                </a:cubicBezTo>
                <a:cubicBezTo>
                  <a:pt x="771" y="9"/>
                  <a:pt x="770" y="10"/>
                  <a:pt x="770" y="10"/>
                </a:cubicBezTo>
                <a:cubicBezTo>
                  <a:pt x="770" y="10"/>
                  <a:pt x="769" y="11"/>
                  <a:pt x="769" y="11"/>
                </a:cubicBezTo>
                <a:cubicBezTo>
                  <a:pt x="769" y="11"/>
                  <a:pt x="769" y="11"/>
                  <a:pt x="769" y="12"/>
                </a:cubicBezTo>
                <a:cubicBezTo>
                  <a:pt x="768" y="12"/>
                  <a:pt x="768" y="12"/>
                  <a:pt x="768" y="12"/>
                </a:cubicBezTo>
                <a:cubicBezTo>
                  <a:pt x="768" y="12"/>
                  <a:pt x="768" y="12"/>
                  <a:pt x="768" y="12"/>
                </a:cubicBezTo>
                <a:cubicBezTo>
                  <a:pt x="768" y="12"/>
                  <a:pt x="768" y="12"/>
                  <a:pt x="767" y="12"/>
                </a:cubicBezTo>
                <a:cubicBezTo>
                  <a:pt x="768" y="12"/>
                  <a:pt x="768" y="12"/>
                  <a:pt x="768" y="11"/>
                </a:cubicBezTo>
                <a:cubicBezTo>
                  <a:pt x="768" y="11"/>
                  <a:pt x="768" y="11"/>
                  <a:pt x="768" y="11"/>
                </a:cubicBezTo>
                <a:cubicBezTo>
                  <a:pt x="768" y="11"/>
                  <a:pt x="768" y="11"/>
                  <a:pt x="768" y="11"/>
                </a:cubicBezTo>
                <a:cubicBezTo>
                  <a:pt x="768" y="11"/>
                  <a:pt x="767" y="11"/>
                  <a:pt x="767" y="11"/>
                </a:cubicBezTo>
                <a:cubicBezTo>
                  <a:pt x="767" y="11"/>
                  <a:pt x="766" y="11"/>
                  <a:pt x="766" y="11"/>
                </a:cubicBezTo>
                <a:cubicBezTo>
                  <a:pt x="766" y="11"/>
                  <a:pt x="765" y="11"/>
                  <a:pt x="765" y="11"/>
                </a:cubicBezTo>
                <a:cubicBezTo>
                  <a:pt x="765" y="11"/>
                  <a:pt x="765" y="12"/>
                  <a:pt x="765" y="12"/>
                </a:cubicBezTo>
                <a:cubicBezTo>
                  <a:pt x="765" y="12"/>
                  <a:pt x="765" y="12"/>
                  <a:pt x="765" y="12"/>
                </a:cubicBezTo>
                <a:cubicBezTo>
                  <a:pt x="765" y="12"/>
                  <a:pt x="765" y="13"/>
                  <a:pt x="765" y="13"/>
                </a:cubicBezTo>
                <a:cubicBezTo>
                  <a:pt x="765" y="13"/>
                  <a:pt x="764" y="13"/>
                  <a:pt x="764" y="13"/>
                </a:cubicBezTo>
                <a:cubicBezTo>
                  <a:pt x="764" y="13"/>
                  <a:pt x="764" y="13"/>
                  <a:pt x="764" y="13"/>
                </a:cubicBezTo>
                <a:cubicBezTo>
                  <a:pt x="764" y="13"/>
                  <a:pt x="764" y="13"/>
                  <a:pt x="764" y="12"/>
                </a:cubicBezTo>
                <a:cubicBezTo>
                  <a:pt x="764" y="12"/>
                  <a:pt x="764" y="12"/>
                  <a:pt x="764" y="12"/>
                </a:cubicBezTo>
                <a:cubicBezTo>
                  <a:pt x="764" y="11"/>
                  <a:pt x="764" y="11"/>
                  <a:pt x="764" y="11"/>
                </a:cubicBezTo>
                <a:cubicBezTo>
                  <a:pt x="764" y="11"/>
                  <a:pt x="764" y="10"/>
                  <a:pt x="764" y="10"/>
                </a:cubicBezTo>
                <a:cubicBezTo>
                  <a:pt x="765" y="10"/>
                  <a:pt x="766" y="10"/>
                  <a:pt x="766" y="9"/>
                </a:cubicBezTo>
                <a:cubicBezTo>
                  <a:pt x="767" y="9"/>
                  <a:pt x="767" y="9"/>
                  <a:pt x="768" y="9"/>
                </a:cubicBezTo>
                <a:cubicBezTo>
                  <a:pt x="769" y="9"/>
                  <a:pt x="769" y="9"/>
                  <a:pt x="770" y="9"/>
                </a:cubicBezTo>
                <a:cubicBezTo>
                  <a:pt x="770" y="9"/>
                  <a:pt x="770" y="9"/>
                  <a:pt x="771" y="9"/>
                </a:cubicBezTo>
                <a:cubicBezTo>
                  <a:pt x="771" y="9"/>
                  <a:pt x="772" y="9"/>
                  <a:pt x="772" y="8"/>
                </a:cubicBezTo>
                <a:cubicBezTo>
                  <a:pt x="772" y="8"/>
                  <a:pt x="772" y="8"/>
                  <a:pt x="772" y="8"/>
                </a:cubicBezTo>
                <a:cubicBezTo>
                  <a:pt x="773" y="8"/>
                  <a:pt x="773" y="8"/>
                  <a:pt x="774" y="8"/>
                </a:cubicBezTo>
                <a:cubicBezTo>
                  <a:pt x="774" y="8"/>
                  <a:pt x="774" y="8"/>
                  <a:pt x="775" y="8"/>
                </a:cubicBezTo>
                <a:cubicBezTo>
                  <a:pt x="775" y="8"/>
                  <a:pt x="775" y="8"/>
                  <a:pt x="775" y="8"/>
                </a:cubicBezTo>
                <a:cubicBezTo>
                  <a:pt x="776" y="8"/>
                  <a:pt x="776" y="8"/>
                  <a:pt x="776" y="8"/>
                </a:cubicBezTo>
                <a:cubicBezTo>
                  <a:pt x="776" y="7"/>
                  <a:pt x="776" y="7"/>
                  <a:pt x="777" y="7"/>
                </a:cubicBezTo>
                <a:cubicBezTo>
                  <a:pt x="776" y="7"/>
                  <a:pt x="776" y="7"/>
                  <a:pt x="776" y="7"/>
                </a:cubicBezTo>
                <a:cubicBezTo>
                  <a:pt x="776" y="7"/>
                  <a:pt x="775" y="7"/>
                  <a:pt x="775" y="7"/>
                </a:cubicBezTo>
                <a:cubicBezTo>
                  <a:pt x="775" y="6"/>
                  <a:pt x="775" y="6"/>
                  <a:pt x="775" y="6"/>
                </a:cubicBezTo>
                <a:cubicBezTo>
                  <a:pt x="775" y="6"/>
                  <a:pt x="776" y="6"/>
                  <a:pt x="776" y="5"/>
                </a:cubicBezTo>
                <a:cubicBezTo>
                  <a:pt x="776" y="5"/>
                  <a:pt x="777" y="5"/>
                  <a:pt x="777" y="5"/>
                </a:cubicBezTo>
                <a:cubicBezTo>
                  <a:pt x="777" y="5"/>
                  <a:pt x="777" y="5"/>
                  <a:pt x="778" y="5"/>
                </a:cubicBezTo>
                <a:cubicBezTo>
                  <a:pt x="778" y="5"/>
                  <a:pt x="778" y="5"/>
                  <a:pt x="778" y="5"/>
                </a:cubicBezTo>
                <a:cubicBezTo>
                  <a:pt x="778" y="6"/>
                  <a:pt x="778" y="6"/>
                  <a:pt x="778" y="6"/>
                </a:cubicBezTo>
                <a:cubicBezTo>
                  <a:pt x="778" y="6"/>
                  <a:pt x="778" y="6"/>
                  <a:pt x="777" y="6"/>
                </a:cubicBezTo>
                <a:cubicBezTo>
                  <a:pt x="777" y="6"/>
                  <a:pt x="777" y="6"/>
                  <a:pt x="777" y="6"/>
                </a:cubicBezTo>
                <a:cubicBezTo>
                  <a:pt x="777" y="6"/>
                  <a:pt x="777" y="7"/>
                  <a:pt x="777" y="7"/>
                </a:cubicBezTo>
                <a:cubicBezTo>
                  <a:pt x="777" y="7"/>
                  <a:pt x="777" y="7"/>
                  <a:pt x="778" y="7"/>
                </a:cubicBezTo>
                <a:cubicBezTo>
                  <a:pt x="778" y="7"/>
                  <a:pt x="779" y="7"/>
                  <a:pt x="779" y="7"/>
                </a:cubicBezTo>
                <a:cubicBezTo>
                  <a:pt x="780" y="7"/>
                  <a:pt x="780" y="7"/>
                  <a:pt x="781" y="7"/>
                </a:cubicBezTo>
                <a:cubicBezTo>
                  <a:pt x="781" y="7"/>
                  <a:pt x="781" y="7"/>
                  <a:pt x="782" y="7"/>
                </a:cubicBezTo>
                <a:cubicBezTo>
                  <a:pt x="782" y="7"/>
                  <a:pt x="782" y="7"/>
                  <a:pt x="783" y="7"/>
                </a:cubicBezTo>
                <a:cubicBezTo>
                  <a:pt x="783" y="7"/>
                  <a:pt x="783" y="7"/>
                  <a:pt x="784" y="7"/>
                </a:cubicBezTo>
                <a:cubicBezTo>
                  <a:pt x="784" y="6"/>
                  <a:pt x="785" y="6"/>
                  <a:pt x="785" y="6"/>
                </a:cubicBezTo>
                <a:cubicBezTo>
                  <a:pt x="786" y="6"/>
                  <a:pt x="786" y="6"/>
                  <a:pt x="787" y="6"/>
                </a:cubicBezTo>
                <a:cubicBezTo>
                  <a:pt x="787" y="6"/>
                  <a:pt x="787" y="6"/>
                  <a:pt x="787" y="6"/>
                </a:cubicBezTo>
                <a:cubicBezTo>
                  <a:pt x="787" y="6"/>
                  <a:pt x="788" y="6"/>
                  <a:pt x="788" y="6"/>
                </a:cubicBezTo>
                <a:cubicBezTo>
                  <a:pt x="788" y="6"/>
                  <a:pt x="788" y="6"/>
                  <a:pt x="789" y="6"/>
                </a:cubicBezTo>
                <a:cubicBezTo>
                  <a:pt x="789" y="6"/>
                  <a:pt x="789" y="6"/>
                  <a:pt x="790" y="6"/>
                </a:cubicBezTo>
                <a:cubicBezTo>
                  <a:pt x="790" y="6"/>
                  <a:pt x="791" y="6"/>
                  <a:pt x="791" y="6"/>
                </a:cubicBezTo>
                <a:cubicBezTo>
                  <a:pt x="791" y="6"/>
                  <a:pt x="791" y="6"/>
                  <a:pt x="792" y="6"/>
                </a:cubicBezTo>
                <a:cubicBezTo>
                  <a:pt x="792" y="6"/>
                  <a:pt x="792" y="6"/>
                  <a:pt x="793" y="6"/>
                </a:cubicBezTo>
                <a:cubicBezTo>
                  <a:pt x="794" y="6"/>
                  <a:pt x="794" y="6"/>
                  <a:pt x="795" y="6"/>
                </a:cubicBezTo>
                <a:cubicBezTo>
                  <a:pt x="796" y="6"/>
                  <a:pt x="796" y="6"/>
                  <a:pt x="797" y="6"/>
                </a:cubicBezTo>
                <a:cubicBezTo>
                  <a:pt x="797" y="6"/>
                  <a:pt x="797" y="6"/>
                  <a:pt x="798" y="6"/>
                </a:cubicBezTo>
                <a:cubicBezTo>
                  <a:pt x="798" y="6"/>
                  <a:pt x="798" y="6"/>
                  <a:pt x="798" y="6"/>
                </a:cubicBezTo>
                <a:cubicBezTo>
                  <a:pt x="799" y="6"/>
                  <a:pt x="799" y="6"/>
                  <a:pt x="799" y="6"/>
                </a:cubicBezTo>
                <a:cubicBezTo>
                  <a:pt x="799" y="6"/>
                  <a:pt x="800" y="6"/>
                  <a:pt x="800" y="5"/>
                </a:cubicBezTo>
                <a:cubicBezTo>
                  <a:pt x="800" y="5"/>
                  <a:pt x="800" y="5"/>
                  <a:pt x="801" y="5"/>
                </a:cubicBezTo>
                <a:cubicBezTo>
                  <a:pt x="801" y="5"/>
                  <a:pt x="801" y="5"/>
                  <a:pt x="802" y="5"/>
                </a:cubicBezTo>
                <a:cubicBezTo>
                  <a:pt x="802" y="5"/>
                  <a:pt x="802" y="5"/>
                  <a:pt x="803" y="5"/>
                </a:cubicBezTo>
                <a:cubicBezTo>
                  <a:pt x="803" y="5"/>
                  <a:pt x="803" y="5"/>
                  <a:pt x="803" y="4"/>
                </a:cubicBezTo>
                <a:cubicBezTo>
                  <a:pt x="803" y="4"/>
                  <a:pt x="803" y="4"/>
                  <a:pt x="803" y="4"/>
                </a:cubicBezTo>
                <a:cubicBezTo>
                  <a:pt x="803" y="4"/>
                  <a:pt x="802" y="4"/>
                  <a:pt x="802" y="4"/>
                </a:cubicBezTo>
                <a:cubicBezTo>
                  <a:pt x="801" y="3"/>
                  <a:pt x="801" y="3"/>
                  <a:pt x="801" y="3"/>
                </a:cubicBezTo>
                <a:cubicBezTo>
                  <a:pt x="801" y="3"/>
                  <a:pt x="800" y="3"/>
                  <a:pt x="800" y="3"/>
                </a:cubicBezTo>
                <a:cubicBezTo>
                  <a:pt x="800" y="2"/>
                  <a:pt x="799" y="2"/>
                  <a:pt x="799" y="2"/>
                </a:cubicBezTo>
                <a:cubicBezTo>
                  <a:pt x="798" y="2"/>
                  <a:pt x="797" y="2"/>
                  <a:pt x="797" y="2"/>
                </a:cubicBezTo>
                <a:cubicBezTo>
                  <a:pt x="797" y="2"/>
                  <a:pt x="796" y="2"/>
                  <a:pt x="796" y="2"/>
                </a:cubicBezTo>
                <a:cubicBezTo>
                  <a:pt x="795" y="2"/>
                  <a:pt x="795" y="1"/>
                  <a:pt x="795" y="1"/>
                </a:cubicBezTo>
                <a:cubicBezTo>
                  <a:pt x="794" y="2"/>
                  <a:pt x="794" y="2"/>
                  <a:pt x="794" y="2"/>
                </a:cubicBezTo>
                <a:cubicBezTo>
                  <a:pt x="793" y="2"/>
                  <a:pt x="793" y="2"/>
                  <a:pt x="793" y="1"/>
                </a:cubicBezTo>
                <a:cubicBezTo>
                  <a:pt x="793" y="1"/>
                  <a:pt x="793" y="1"/>
                  <a:pt x="793" y="1"/>
                </a:cubicBezTo>
                <a:cubicBezTo>
                  <a:pt x="792" y="1"/>
                  <a:pt x="792" y="1"/>
                  <a:pt x="791" y="1"/>
                </a:cubicBezTo>
                <a:cubicBezTo>
                  <a:pt x="791" y="1"/>
                  <a:pt x="791" y="1"/>
                  <a:pt x="791" y="1"/>
                </a:cubicBezTo>
                <a:cubicBezTo>
                  <a:pt x="790" y="1"/>
                  <a:pt x="789" y="1"/>
                  <a:pt x="788" y="1"/>
                </a:cubicBezTo>
                <a:cubicBezTo>
                  <a:pt x="788" y="1"/>
                  <a:pt x="787" y="1"/>
                  <a:pt x="787" y="1"/>
                </a:cubicBezTo>
                <a:cubicBezTo>
                  <a:pt x="786" y="1"/>
                  <a:pt x="786" y="1"/>
                  <a:pt x="786" y="1"/>
                </a:cubicBezTo>
                <a:cubicBezTo>
                  <a:pt x="785" y="1"/>
                  <a:pt x="785" y="0"/>
                  <a:pt x="784" y="0"/>
                </a:cubicBezTo>
                <a:cubicBezTo>
                  <a:pt x="784" y="0"/>
                  <a:pt x="784" y="0"/>
                  <a:pt x="783" y="0"/>
                </a:cubicBezTo>
                <a:cubicBezTo>
                  <a:pt x="783" y="0"/>
                  <a:pt x="783" y="0"/>
                  <a:pt x="783" y="1"/>
                </a:cubicBezTo>
                <a:cubicBezTo>
                  <a:pt x="783" y="1"/>
                  <a:pt x="783" y="1"/>
                  <a:pt x="783" y="1"/>
                </a:cubicBezTo>
                <a:cubicBezTo>
                  <a:pt x="782" y="1"/>
                  <a:pt x="781" y="0"/>
                  <a:pt x="781" y="0"/>
                </a:cubicBezTo>
                <a:cubicBezTo>
                  <a:pt x="781" y="0"/>
                  <a:pt x="781" y="0"/>
                  <a:pt x="780" y="0"/>
                </a:cubicBezTo>
                <a:cubicBezTo>
                  <a:pt x="780" y="0"/>
                  <a:pt x="780" y="0"/>
                  <a:pt x="780" y="0"/>
                </a:cubicBezTo>
                <a:cubicBezTo>
                  <a:pt x="780" y="0"/>
                  <a:pt x="779" y="0"/>
                  <a:pt x="779" y="0"/>
                </a:cubicBezTo>
                <a:cubicBezTo>
                  <a:pt x="779" y="0"/>
                  <a:pt x="778" y="0"/>
                  <a:pt x="778" y="0"/>
                </a:cubicBezTo>
                <a:cubicBezTo>
                  <a:pt x="778" y="0"/>
                  <a:pt x="778" y="0"/>
                  <a:pt x="778" y="0"/>
                </a:cubicBezTo>
                <a:cubicBezTo>
                  <a:pt x="777" y="0"/>
                  <a:pt x="776" y="0"/>
                  <a:pt x="775" y="0"/>
                </a:cubicBezTo>
                <a:cubicBezTo>
                  <a:pt x="775" y="0"/>
                  <a:pt x="775" y="0"/>
                  <a:pt x="774" y="0"/>
                </a:cubicBezTo>
                <a:cubicBezTo>
                  <a:pt x="774" y="0"/>
                  <a:pt x="774" y="0"/>
                  <a:pt x="773" y="0"/>
                </a:cubicBezTo>
                <a:cubicBezTo>
                  <a:pt x="773" y="0"/>
                  <a:pt x="773" y="0"/>
                  <a:pt x="773" y="0"/>
                </a:cubicBezTo>
                <a:cubicBezTo>
                  <a:pt x="773" y="0"/>
                  <a:pt x="773" y="0"/>
                  <a:pt x="773" y="0"/>
                </a:cubicBezTo>
                <a:cubicBezTo>
                  <a:pt x="772" y="0"/>
                  <a:pt x="772" y="0"/>
                  <a:pt x="772" y="0"/>
                </a:cubicBezTo>
                <a:cubicBezTo>
                  <a:pt x="771" y="0"/>
                  <a:pt x="770" y="0"/>
                  <a:pt x="770" y="0"/>
                </a:cubicBezTo>
                <a:cubicBezTo>
                  <a:pt x="769" y="0"/>
                  <a:pt x="769" y="0"/>
                  <a:pt x="768" y="0"/>
                </a:cubicBezTo>
                <a:cubicBezTo>
                  <a:pt x="768" y="0"/>
                  <a:pt x="768" y="0"/>
                  <a:pt x="767" y="0"/>
                </a:cubicBezTo>
                <a:cubicBezTo>
                  <a:pt x="767" y="0"/>
                  <a:pt x="767" y="0"/>
                  <a:pt x="767" y="0"/>
                </a:cubicBezTo>
                <a:cubicBezTo>
                  <a:pt x="767" y="0"/>
                  <a:pt x="767" y="1"/>
                  <a:pt x="767" y="1"/>
                </a:cubicBezTo>
                <a:cubicBezTo>
                  <a:pt x="767" y="1"/>
                  <a:pt x="767" y="1"/>
                  <a:pt x="768" y="1"/>
                </a:cubicBezTo>
                <a:cubicBezTo>
                  <a:pt x="768" y="2"/>
                  <a:pt x="768" y="2"/>
                  <a:pt x="768" y="2"/>
                </a:cubicBezTo>
                <a:cubicBezTo>
                  <a:pt x="767" y="2"/>
                  <a:pt x="767" y="2"/>
                  <a:pt x="767" y="2"/>
                </a:cubicBezTo>
                <a:cubicBezTo>
                  <a:pt x="767" y="2"/>
                  <a:pt x="767" y="2"/>
                  <a:pt x="766" y="2"/>
                </a:cubicBezTo>
                <a:cubicBezTo>
                  <a:pt x="766" y="2"/>
                  <a:pt x="766" y="1"/>
                  <a:pt x="766" y="1"/>
                </a:cubicBezTo>
                <a:cubicBezTo>
                  <a:pt x="766" y="1"/>
                  <a:pt x="765" y="1"/>
                  <a:pt x="765" y="1"/>
                </a:cubicBezTo>
                <a:cubicBezTo>
                  <a:pt x="765" y="1"/>
                  <a:pt x="765" y="1"/>
                  <a:pt x="765" y="1"/>
                </a:cubicBezTo>
                <a:cubicBezTo>
                  <a:pt x="765" y="1"/>
                  <a:pt x="764" y="1"/>
                  <a:pt x="764" y="0"/>
                </a:cubicBezTo>
                <a:cubicBezTo>
                  <a:pt x="764" y="0"/>
                  <a:pt x="764" y="0"/>
                  <a:pt x="763" y="0"/>
                </a:cubicBezTo>
                <a:cubicBezTo>
                  <a:pt x="763" y="0"/>
                  <a:pt x="763" y="1"/>
                  <a:pt x="763" y="1"/>
                </a:cubicBezTo>
                <a:cubicBezTo>
                  <a:pt x="763" y="1"/>
                  <a:pt x="763" y="1"/>
                  <a:pt x="763" y="1"/>
                </a:cubicBezTo>
                <a:cubicBezTo>
                  <a:pt x="763" y="2"/>
                  <a:pt x="763" y="2"/>
                  <a:pt x="762" y="2"/>
                </a:cubicBezTo>
                <a:cubicBezTo>
                  <a:pt x="762" y="2"/>
                  <a:pt x="762" y="2"/>
                  <a:pt x="762" y="2"/>
                </a:cubicBezTo>
                <a:cubicBezTo>
                  <a:pt x="761" y="2"/>
                  <a:pt x="761" y="2"/>
                  <a:pt x="761" y="2"/>
                </a:cubicBezTo>
                <a:cubicBezTo>
                  <a:pt x="761" y="2"/>
                  <a:pt x="761" y="2"/>
                  <a:pt x="761" y="3"/>
                </a:cubicBezTo>
                <a:cubicBezTo>
                  <a:pt x="761" y="3"/>
                  <a:pt x="761" y="3"/>
                  <a:pt x="761" y="3"/>
                </a:cubicBezTo>
                <a:cubicBezTo>
                  <a:pt x="761" y="3"/>
                  <a:pt x="761" y="3"/>
                  <a:pt x="761" y="3"/>
                </a:cubicBezTo>
                <a:cubicBezTo>
                  <a:pt x="761" y="4"/>
                  <a:pt x="761" y="4"/>
                  <a:pt x="761" y="4"/>
                </a:cubicBezTo>
                <a:cubicBezTo>
                  <a:pt x="760" y="4"/>
                  <a:pt x="760" y="4"/>
                  <a:pt x="760" y="5"/>
                </a:cubicBezTo>
                <a:cubicBezTo>
                  <a:pt x="760" y="5"/>
                  <a:pt x="760" y="5"/>
                  <a:pt x="760" y="5"/>
                </a:cubicBezTo>
                <a:cubicBezTo>
                  <a:pt x="760" y="5"/>
                  <a:pt x="760" y="5"/>
                  <a:pt x="761" y="5"/>
                </a:cubicBezTo>
                <a:cubicBezTo>
                  <a:pt x="761" y="5"/>
                  <a:pt x="761" y="5"/>
                  <a:pt x="761" y="6"/>
                </a:cubicBezTo>
                <a:cubicBezTo>
                  <a:pt x="761" y="6"/>
                  <a:pt x="761" y="6"/>
                  <a:pt x="761" y="6"/>
                </a:cubicBezTo>
                <a:cubicBezTo>
                  <a:pt x="760" y="6"/>
                  <a:pt x="760" y="6"/>
                  <a:pt x="759" y="6"/>
                </a:cubicBezTo>
                <a:cubicBezTo>
                  <a:pt x="759" y="6"/>
                  <a:pt x="758" y="6"/>
                  <a:pt x="758" y="6"/>
                </a:cubicBezTo>
                <a:cubicBezTo>
                  <a:pt x="757" y="6"/>
                  <a:pt x="757" y="6"/>
                  <a:pt x="756" y="6"/>
                </a:cubicBezTo>
                <a:cubicBezTo>
                  <a:pt x="756" y="6"/>
                  <a:pt x="756" y="6"/>
                  <a:pt x="755" y="6"/>
                </a:cubicBezTo>
                <a:cubicBezTo>
                  <a:pt x="755" y="6"/>
                  <a:pt x="755" y="7"/>
                  <a:pt x="755" y="7"/>
                </a:cubicBezTo>
                <a:cubicBezTo>
                  <a:pt x="755" y="7"/>
                  <a:pt x="755" y="7"/>
                  <a:pt x="755" y="8"/>
                </a:cubicBezTo>
                <a:cubicBezTo>
                  <a:pt x="756" y="8"/>
                  <a:pt x="756" y="8"/>
                  <a:pt x="756" y="9"/>
                </a:cubicBezTo>
                <a:cubicBezTo>
                  <a:pt x="757" y="9"/>
                  <a:pt x="757" y="9"/>
                  <a:pt x="758" y="9"/>
                </a:cubicBezTo>
                <a:cubicBezTo>
                  <a:pt x="758" y="9"/>
                  <a:pt x="758" y="9"/>
                  <a:pt x="759" y="9"/>
                </a:cubicBezTo>
                <a:cubicBezTo>
                  <a:pt x="759" y="9"/>
                  <a:pt x="759" y="9"/>
                  <a:pt x="759" y="10"/>
                </a:cubicBezTo>
                <a:cubicBezTo>
                  <a:pt x="758" y="10"/>
                  <a:pt x="758" y="9"/>
                  <a:pt x="757" y="9"/>
                </a:cubicBezTo>
                <a:cubicBezTo>
                  <a:pt x="757" y="9"/>
                  <a:pt x="756" y="9"/>
                  <a:pt x="756" y="9"/>
                </a:cubicBezTo>
                <a:cubicBezTo>
                  <a:pt x="755" y="9"/>
                  <a:pt x="755" y="8"/>
                  <a:pt x="754" y="8"/>
                </a:cubicBezTo>
                <a:cubicBezTo>
                  <a:pt x="754" y="8"/>
                  <a:pt x="753" y="8"/>
                  <a:pt x="752" y="7"/>
                </a:cubicBezTo>
                <a:cubicBezTo>
                  <a:pt x="752" y="7"/>
                  <a:pt x="752" y="7"/>
                  <a:pt x="752" y="7"/>
                </a:cubicBezTo>
                <a:cubicBezTo>
                  <a:pt x="752" y="7"/>
                  <a:pt x="752" y="7"/>
                  <a:pt x="751" y="7"/>
                </a:cubicBezTo>
                <a:cubicBezTo>
                  <a:pt x="752" y="8"/>
                  <a:pt x="752" y="8"/>
                  <a:pt x="752" y="8"/>
                </a:cubicBezTo>
                <a:cubicBezTo>
                  <a:pt x="752" y="8"/>
                  <a:pt x="752" y="8"/>
                  <a:pt x="752" y="8"/>
                </a:cubicBezTo>
                <a:cubicBezTo>
                  <a:pt x="752" y="9"/>
                  <a:pt x="752" y="9"/>
                  <a:pt x="752" y="9"/>
                </a:cubicBezTo>
                <a:cubicBezTo>
                  <a:pt x="752" y="9"/>
                  <a:pt x="753" y="9"/>
                  <a:pt x="753" y="9"/>
                </a:cubicBezTo>
                <a:cubicBezTo>
                  <a:pt x="753" y="10"/>
                  <a:pt x="753" y="10"/>
                  <a:pt x="753" y="10"/>
                </a:cubicBezTo>
                <a:cubicBezTo>
                  <a:pt x="753" y="10"/>
                  <a:pt x="752" y="11"/>
                  <a:pt x="752" y="11"/>
                </a:cubicBezTo>
                <a:cubicBezTo>
                  <a:pt x="752" y="11"/>
                  <a:pt x="752" y="10"/>
                  <a:pt x="752" y="10"/>
                </a:cubicBezTo>
                <a:cubicBezTo>
                  <a:pt x="752" y="10"/>
                  <a:pt x="752" y="9"/>
                  <a:pt x="751" y="9"/>
                </a:cubicBezTo>
                <a:cubicBezTo>
                  <a:pt x="751" y="9"/>
                  <a:pt x="751" y="8"/>
                  <a:pt x="751" y="8"/>
                </a:cubicBezTo>
                <a:cubicBezTo>
                  <a:pt x="751" y="8"/>
                  <a:pt x="751" y="8"/>
                  <a:pt x="751" y="8"/>
                </a:cubicBezTo>
                <a:cubicBezTo>
                  <a:pt x="750" y="7"/>
                  <a:pt x="750" y="7"/>
                  <a:pt x="750" y="7"/>
                </a:cubicBezTo>
                <a:cubicBezTo>
                  <a:pt x="749" y="7"/>
                  <a:pt x="749" y="7"/>
                  <a:pt x="748" y="7"/>
                </a:cubicBezTo>
                <a:cubicBezTo>
                  <a:pt x="748" y="7"/>
                  <a:pt x="748" y="7"/>
                  <a:pt x="747" y="8"/>
                </a:cubicBezTo>
                <a:cubicBezTo>
                  <a:pt x="747" y="8"/>
                  <a:pt x="747" y="8"/>
                  <a:pt x="747" y="8"/>
                </a:cubicBezTo>
                <a:cubicBezTo>
                  <a:pt x="747" y="8"/>
                  <a:pt x="747" y="8"/>
                  <a:pt x="747" y="8"/>
                </a:cubicBezTo>
                <a:cubicBezTo>
                  <a:pt x="747" y="8"/>
                  <a:pt x="747" y="7"/>
                  <a:pt x="747" y="7"/>
                </a:cubicBezTo>
                <a:cubicBezTo>
                  <a:pt x="747" y="7"/>
                  <a:pt x="747" y="7"/>
                  <a:pt x="747" y="7"/>
                </a:cubicBezTo>
                <a:cubicBezTo>
                  <a:pt x="747" y="7"/>
                  <a:pt x="747" y="7"/>
                  <a:pt x="746" y="7"/>
                </a:cubicBezTo>
                <a:cubicBezTo>
                  <a:pt x="746" y="6"/>
                  <a:pt x="746" y="6"/>
                  <a:pt x="746" y="6"/>
                </a:cubicBezTo>
                <a:cubicBezTo>
                  <a:pt x="746" y="6"/>
                  <a:pt x="746" y="6"/>
                  <a:pt x="746" y="6"/>
                </a:cubicBezTo>
                <a:cubicBezTo>
                  <a:pt x="745" y="6"/>
                  <a:pt x="745" y="6"/>
                  <a:pt x="744" y="6"/>
                </a:cubicBezTo>
                <a:cubicBezTo>
                  <a:pt x="744" y="6"/>
                  <a:pt x="744" y="6"/>
                  <a:pt x="744" y="6"/>
                </a:cubicBezTo>
                <a:cubicBezTo>
                  <a:pt x="743" y="6"/>
                  <a:pt x="743" y="6"/>
                  <a:pt x="743" y="6"/>
                </a:cubicBezTo>
                <a:cubicBezTo>
                  <a:pt x="743" y="6"/>
                  <a:pt x="743" y="6"/>
                  <a:pt x="744" y="6"/>
                </a:cubicBezTo>
                <a:cubicBezTo>
                  <a:pt x="744" y="5"/>
                  <a:pt x="744" y="5"/>
                  <a:pt x="744" y="5"/>
                </a:cubicBezTo>
                <a:cubicBezTo>
                  <a:pt x="744" y="5"/>
                  <a:pt x="744" y="5"/>
                  <a:pt x="743" y="5"/>
                </a:cubicBezTo>
                <a:cubicBezTo>
                  <a:pt x="743" y="6"/>
                  <a:pt x="743" y="6"/>
                  <a:pt x="742" y="6"/>
                </a:cubicBezTo>
                <a:cubicBezTo>
                  <a:pt x="742" y="6"/>
                  <a:pt x="742" y="6"/>
                  <a:pt x="742" y="7"/>
                </a:cubicBezTo>
                <a:cubicBezTo>
                  <a:pt x="742" y="7"/>
                  <a:pt x="741" y="7"/>
                  <a:pt x="741" y="7"/>
                </a:cubicBezTo>
                <a:cubicBezTo>
                  <a:pt x="741" y="7"/>
                  <a:pt x="740" y="7"/>
                  <a:pt x="740" y="7"/>
                </a:cubicBezTo>
                <a:cubicBezTo>
                  <a:pt x="740" y="8"/>
                  <a:pt x="739" y="8"/>
                  <a:pt x="739" y="8"/>
                </a:cubicBezTo>
                <a:cubicBezTo>
                  <a:pt x="739" y="9"/>
                  <a:pt x="739" y="9"/>
                  <a:pt x="738" y="9"/>
                </a:cubicBezTo>
                <a:cubicBezTo>
                  <a:pt x="738" y="8"/>
                  <a:pt x="738" y="8"/>
                  <a:pt x="738" y="8"/>
                </a:cubicBezTo>
                <a:cubicBezTo>
                  <a:pt x="737" y="8"/>
                  <a:pt x="737" y="8"/>
                  <a:pt x="737" y="7"/>
                </a:cubicBezTo>
                <a:cubicBezTo>
                  <a:pt x="737" y="7"/>
                  <a:pt x="736" y="7"/>
                  <a:pt x="736" y="7"/>
                </a:cubicBezTo>
                <a:cubicBezTo>
                  <a:pt x="736" y="8"/>
                  <a:pt x="736" y="8"/>
                  <a:pt x="736" y="8"/>
                </a:cubicBezTo>
                <a:cubicBezTo>
                  <a:pt x="736" y="8"/>
                  <a:pt x="736" y="8"/>
                  <a:pt x="736" y="9"/>
                </a:cubicBezTo>
                <a:cubicBezTo>
                  <a:pt x="736" y="9"/>
                  <a:pt x="736" y="9"/>
                  <a:pt x="736" y="9"/>
                </a:cubicBezTo>
                <a:cubicBezTo>
                  <a:pt x="737" y="10"/>
                  <a:pt x="737" y="10"/>
                  <a:pt x="738" y="10"/>
                </a:cubicBezTo>
                <a:cubicBezTo>
                  <a:pt x="738" y="10"/>
                  <a:pt x="738" y="10"/>
                  <a:pt x="738" y="10"/>
                </a:cubicBezTo>
                <a:cubicBezTo>
                  <a:pt x="738" y="10"/>
                  <a:pt x="737" y="10"/>
                  <a:pt x="737" y="11"/>
                </a:cubicBezTo>
                <a:cubicBezTo>
                  <a:pt x="737" y="11"/>
                  <a:pt x="737" y="11"/>
                  <a:pt x="736" y="11"/>
                </a:cubicBezTo>
                <a:cubicBezTo>
                  <a:pt x="736" y="12"/>
                  <a:pt x="736" y="12"/>
                  <a:pt x="736" y="12"/>
                </a:cubicBezTo>
                <a:cubicBezTo>
                  <a:pt x="737" y="12"/>
                  <a:pt x="737" y="12"/>
                  <a:pt x="738" y="13"/>
                </a:cubicBezTo>
                <a:cubicBezTo>
                  <a:pt x="738" y="13"/>
                  <a:pt x="738" y="12"/>
                  <a:pt x="739" y="12"/>
                </a:cubicBezTo>
                <a:cubicBezTo>
                  <a:pt x="739" y="12"/>
                  <a:pt x="739" y="12"/>
                  <a:pt x="740" y="12"/>
                </a:cubicBezTo>
                <a:cubicBezTo>
                  <a:pt x="740" y="12"/>
                  <a:pt x="740" y="12"/>
                  <a:pt x="741" y="12"/>
                </a:cubicBezTo>
                <a:cubicBezTo>
                  <a:pt x="741" y="12"/>
                  <a:pt x="741" y="12"/>
                  <a:pt x="741" y="12"/>
                </a:cubicBezTo>
                <a:cubicBezTo>
                  <a:pt x="742" y="12"/>
                  <a:pt x="742" y="13"/>
                  <a:pt x="743" y="13"/>
                </a:cubicBezTo>
                <a:cubicBezTo>
                  <a:pt x="743" y="13"/>
                  <a:pt x="744" y="13"/>
                  <a:pt x="744" y="13"/>
                </a:cubicBezTo>
                <a:cubicBezTo>
                  <a:pt x="744" y="13"/>
                  <a:pt x="744" y="13"/>
                  <a:pt x="745" y="13"/>
                </a:cubicBezTo>
                <a:cubicBezTo>
                  <a:pt x="745" y="14"/>
                  <a:pt x="744" y="14"/>
                  <a:pt x="744" y="14"/>
                </a:cubicBezTo>
                <a:cubicBezTo>
                  <a:pt x="744" y="14"/>
                  <a:pt x="744" y="14"/>
                  <a:pt x="744" y="14"/>
                </a:cubicBezTo>
                <a:cubicBezTo>
                  <a:pt x="744" y="15"/>
                  <a:pt x="745" y="15"/>
                  <a:pt x="745" y="15"/>
                </a:cubicBezTo>
                <a:cubicBezTo>
                  <a:pt x="744" y="15"/>
                  <a:pt x="744" y="16"/>
                  <a:pt x="744" y="16"/>
                </a:cubicBezTo>
                <a:cubicBezTo>
                  <a:pt x="744" y="16"/>
                  <a:pt x="744" y="16"/>
                  <a:pt x="744" y="17"/>
                </a:cubicBezTo>
                <a:cubicBezTo>
                  <a:pt x="745" y="17"/>
                  <a:pt x="745" y="17"/>
                  <a:pt x="745" y="17"/>
                </a:cubicBezTo>
                <a:cubicBezTo>
                  <a:pt x="745" y="18"/>
                  <a:pt x="745" y="18"/>
                  <a:pt x="745" y="18"/>
                </a:cubicBezTo>
                <a:cubicBezTo>
                  <a:pt x="745" y="18"/>
                  <a:pt x="745" y="18"/>
                  <a:pt x="745" y="19"/>
                </a:cubicBezTo>
                <a:cubicBezTo>
                  <a:pt x="746" y="19"/>
                  <a:pt x="746" y="19"/>
                  <a:pt x="747" y="19"/>
                </a:cubicBezTo>
                <a:cubicBezTo>
                  <a:pt x="747" y="19"/>
                  <a:pt x="747" y="19"/>
                  <a:pt x="748" y="19"/>
                </a:cubicBezTo>
                <a:cubicBezTo>
                  <a:pt x="748" y="19"/>
                  <a:pt x="748" y="19"/>
                  <a:pt x="748" y="19"/>
                </a:cubicBezTo>
                <a:cubicBezTo>
                  <a:pt x="749" y="19"/>
                  <a:pt x="749" y="20"/>
                  <a:pt x="750" y="20"/>
                </a:cubicBezTo>
                <a:cubicBezTo>
                  <a:pt x="750" y="20"/>
                  <a:pt x="750" y="20"/>
                  <a:pt x="750" y="20"/>
                </a:cubicBezTo>
                <a:cubicBezTo>
                  <a:pt x="750" y="20"/>
                  <a:pt x="750" y="20"/>
                  <a:pt x="750" y="20"/>
                </a:cubicBezTo>
                <a:cubicBezTo>
                  <a:pt x="750" y="20"/>
                  <a:pt x="749" y="20"/>
                  <a:pt x="749" y="20"/>
                </a:cubicBezTo>
                <a:cubicBezTo>
                  <a:pt x="748" y="20"/>
                  <a:pt x="747" y="20"/>
                  <a:pt x="747" y="19"/>
                </a:cubicBezTo>
                <a:cubicBezTo>
                  <a:pt x="746" y="20"/>
                  <a:pt x="746" y="20"/>
                  <a:pt x="745" y="20"/>
                </a:cubicBezTo>
                <a:cubicBezTo>
                  <a:pt x="745" y="20"/>
                  <a:pt x="745" y="19"/>
                  <a:pt x="744" y="19"/>
                </a:cubicBezTo>
                <a:cubicBezTo>
                  <a:pt x="744" y="19"/>
                  <a:pt x="744" y="19"/>
                  <a:pt x="744" y="19"/>
                </a:cubicBezTo>
                <a:cubicBezTo>
                  <a:pt x="744" y="19"/>
                  <a:pt x="744" y="18"/>
                  <a:pt x="744" y="18"/>
                </a:cubicBezTo>
                <a:cubicBezTo>
                  <a:pt x="744" y="18"/>
                  <a:pt x="743" y="17"/>
                  <a:pt x="743" y="17"/>
                </a:cubicBezTo>
                <a:cubicBezTo>
                  <a:pt x="743" y="17"/>
                  <a:pt x="743" y="16"/>
                  <a:pt x="743" y="16"/>
                </a:cubicBezTo>
                <a:cubicBezTo>
                  <a:pt x="743" y="16"/>
                  <a:pt x="743" y="16"/>
                  <a:pt x="743" y="16"/>
                </a:cubicBezTo>
                <a:cubicBezTo>
                  <a:pt x="743" y="15"/>
                  <a:pt x="743" y="15"/>
                  <a:pt x="742" y="15"/>
                </a:cubicBezTo>
                <a:cubicBezTo>
                  <a:pt x="742" y="15"/>
                  <a:pt x="742" y="15"/>
                  <a:pt x="742" y="14"/>
                </a:cubicBezTo>
                <a:cubicBezTo>
                  <a:pt x="742" y="14"/>
                  <a:pt x="742" y="14"/>
                  <a:pt x="741" y="13"/>
                </a:cubicBezTo>
                <a:cubicBezTo>
                  <a:pt x="741" y="13"/>
                  <a:pt x="741" y="13"/>
                  <a:pt x="741" y="13"/>
                </a:cubicBezTo>
                <a:cubicBezTo>
                  <a:pt x="740" y="13"/>
                  <a:pt x="740" y="13"/>
                  <a:pt x="740" y="13"/>
                </a:cubicBezTo>
                <a:cubicBezTo>
                  <a:pt x="739" y="13"/>
                  <a:pt x="739" y="13"/>
                  <a:pt x="739" y="13"/>
                </a:cubicBezTo>
                <a:cubicBezTo>
                  <a:pt x="738" y="13"/>
                  <a:pt x="738" y="13"/>
                  <a:pt x="738" y="13"/>
                </a:cubicBezTo>
                <a:cubicBezTo>
                  <a:pt x="737" y="13"/>
                  <a:pt x="737" y="13"/>
                  <a:pt x="737" y="13"/>
                </a:cubicBezTo>
                <a:cubicBezTo>
                  <a:pt x="736" y="13"/>
                  <a:pt x="736" y="13"/>
                  <a:pt x="735" y="14"/>
                </a:cubicBezTo>
                <a:cubicBezTo>
                  <a:pt x="735" y="14"/>
                  <a:pt x="735" y="14"/>
                  <a:pt x="734" y="13"/>
                </a:cubicBezTo>
                <a:cubicBezTo>
                  <a:pt x="734" y="14"/>
                  <a:pt x="734" y="14"/>
                  <a:pt x="734" y="14"/>
                </a:cubicBezTo>
                <a:cubicBezTo>
                  <a:pt x="733" y="14"/>
                  <a:pt x="733" y="14"/>
                  <a:pt x="733" y="15"/>
                </a:cubicBezTo>
                <a:cubicBezTo>
                  <a:pt x="733" y="15"/>
                  <a:pt x="734" y="15"/>
                  <a:pt x="734" y="15"/>
                </a:cubicBezTo>
                <a:cubicBezTo>
                  <a:pt x="734" y="15"/>
                  <a:pt x="734" y="15"/>
                  <a:pt x="734" y="16"/>
                </a:cubicBezTo>
                <a:cubicBezTo>
                  <a:pt x="734" y="16"/>
                  <a:pt x="733" y="16"/>
                  <a:pt x="733" y="16"/>
                </a:cubicBezTo>
                <a:cubicBezTo>
                  <a:pt x="733" y="16"/>
                  <a:pt x="732" y="16"/>
                  <a:pt x="731" y="16"/>
                </a:cubicBezTo>
                <a:cubicBezTo>
                  <a:pt x="731" y="15"/>
                  <a:pt x="730" y="15"/>
                  <a:pt x="729" y="15"/>
                </a:cubicBezTo>
                <a:cubicBezTo>
                  <a:pt x="729" y="15"/>
                  <a:pt x="729" y="15"/>
                  <a:pt x="729" y="15"/>
                </a:cubicBezTo>
                <a:cubicBezTo>
                  <a:pt x="729" y="15"/>
                  <a:pt x="728" y="15"/>
                  <a:pt x="728" y="15"/>
                </a:cubicBezTo>
                <a:cubicBezTo>
                  <a:pt x="728" y="15"/>
                  <a:pt x="728" y="15"/>
                  <a:pt x="728" y="15"/>
                </a:cubicBezTo>
                <a:cubicBezTo>
                  <a:pt x="728" y="15"/>
                  <a:pt x="727" y="15"/>
                  <a:pt x="727" y="15"/>
                </a:cubicBezTo>
                <a:cubicBezTo>
                  <a:pt x="726" y="15"/>
                  <a:pt x="726" y="15"/>
                  <a:pt x="725" y="15"/>
                </a:cubicBezTo>
                <a:cubicBezTo>
                  <a:pt x="725" y="15"/>
                  <a:pt x="725" y="15"/>
                  <a:pt x="725" y="15"/>
                </a:cubicBezTo>
                <a:cubicBezTo>
                  <a:pt x="725" y="15"/>
                  <a:pt x="725" y="16"/>
                  <a:pt x="725" y="16"/>
                </a:cubicBezTo>
                <a:cubicBezTo>
                  <a:pt x="725" y="16"/>
                  <a:pt x="725" y="16"/>
                  <a:pt x="726" y="17"/>
                </a:cubicBezTo>
                <a:cubicBezTo>
                  <a:pt x="725" y="17"/>
                  <a:pt x="725" y="17"/>
                  <a:pt x="725" y="17"/>
                </a:cubicBezTo>
                <a:cubicBezTo>
                  <a:pt x="725" y="17"/>
                  <a:pt x="726" y="18"/>
                  <a:pt x="726" y="18"/>
                </a:cubicBezTo>
                <a:cubicBezTo>
                  <a:pt x="726" y="18"/>
                  <a:pt x="726" y="18"/>
                  <a:pt x="727" y="19"/>
                </a:cubicBezTo>
                <a:cubicBezTo>
                  <a:pt x="727" y="19"/>
                  <a:pt x="727" y="19"/>
                  <a:pt x="726" y="19"/>
                </a:cubicBezTo>
                <a:cubicBezTo>
                  <a:pt x="727" y="20"/>
                  <a:pt x="727" y="20"/>
                  <a:pt x="727" y="20"/>
                </a:cubicBezTo>
                <a:cubicBezTo>
                  <a:pt x="727" y="20"/>
                  <a:pt x="727" y="20"/>
                  <a:pt x="727" y="21"/>
                </a:cubicBezTo>
                <a:cubicBezTo>
                  <a:pt x="727" y="21"/>
                  <a:pt x="727" y="21"/>
                  <a:pt x="727" y="21"/>
                </a:cubicBezTo>
                <a:cubicBezTo>
                  <a:pt x="727" y="21"/>
                  <a:pt x="727" y="21"/>
                  <a:pt x="727" y="22"/>
                </a:cubicBezTo>
                <a:cubicBezTo>
                  <a:pt x="728" y="22"/>
                  <a:pt x="728" y="22"/>
                  <a:pt x="728" y="22"/>
                </a:cubicBezTo>
                <a:cubicBezTo>
                  <a:pt x="728" y="23"/>
                  <a:pt x="728" y="23"/>
                  <a:pt x="729" y="23"/>
                </a:cubicBezTo>
                <a:cubicBezTo>
                  <a:pt x="728" y="23"/>
                  <a:pt x="728" y="24"/>
                  <a:pt x="728" y="24"/>
                </a:cubicBezTo>
                <a:cubicBezTo>
                  <a:pt x="728" y="24"/>
                  <a:pt x="728" y="24"/>
                  <a:pt x="728" y="25"/>
                </a:cubicBezTo>
                <a:cubicBezTo>
                  <a:pt x="729" y="25"/>
                  <a:pt x="729" y="25"/>
                  <a:pt x="729" y="25"/>
                </a:cubicBezTo>
                <a:cubicBezTo>
                  <a:pt x="729" y="25"/>
                  <a:pt x="729" y="26"/>
                  <a:pt x="730" y="26"/>
                </a:cubicBezTo>
                <a:cubicBezTo>
                  <a:pt x="730" y="26"/>
                  <a:pt x="730" y="26"/>
                  <a:pt x="730" y="26"/>
                </a:cubicBezTo>
                <a:cubicBezTo>
                  <a:pt x="730" y="27"/>
                  <a:pt x="731" y="27"/>
                  <a:pt x="731" y="27"/>
                </a:cubicBezTo>
                <a:cubicBezTo>
                  <a:pt x="731" y="27"/>
                  <a:pt x="731" y="27"/>
                  <a:pt x="732" y="27"/>
                </a:cubicBezTo>
                <a:cubicBezTo>
                  <a:pt x="732" y="28"/>
                  <a:pt x="732" y="28"/>
                  <a:pt x="732" y="28"/>
                </a:cubicBezTo>
                <a:cubicBezTo>
                  <a:pt x="732" y="28"/>
                  <a:pt x="732" y="28"/>
                  <a:pt x="732" y="28"/>
                </a:cubicBezTo>
                <a:cubicBezTo>
                  <a:pt x="732" y="28"/>
                  <a:pt x="733" y="28"/>
                  <a:pt x="733" y="28"/>
                </a:cubicBezTo>
                <a:cubicBezTo>
                  <a:pt x="733" y="28"/>
                  <a:pt x="733" y="29"/>
                  <a:pt x="733" y="29"/>
                </a:cubicBezTo>
                <a:cubicBezTo>
                  <a:pt x="733" y="29"/>
                  <a:pt x="733" y="29"/>
                  <a:pt x="733" y="29"/>
                </a:cubicBezTo>
                <a:cubicBezTo>
                  <a:pt x="734" y="29"/>
                  <a:pt x="734" y="29"/>
                  <a:pt x="735" y="29"/>
                </a:cubicBezTo>
                <a:cubicBezTo>
                  <a:pt x="735" y="29"/>
                  <a:pt x="735" y="29"/>
                  <a:pt x="735" y="30"/>
                </a:cubicBezTo>
                <a:cubicBezTo>
                  <a:pt x="735" y="30"/>
                  <a:pt x="735" y="30"/>
                  <a:pt x="735" y="30"/>
                </a:cubicBezTo>
                <a:cubicBezTo>
                  <a:pt x="734" y="30"/>
                  <a:pt x="734" y="30"/>
                  <a:pt x="734" y="30"/>
                </a:cubicBezTo>
                <a:cubicBezTo>
                  <a:pt x="733" y="30"/>
                  <a:pt x="733" y="30"/>
                  <a:pt x="733" y="30"/>
                </a:cubicBezTo>
                <a:cubicBezTo>
                  <a:pt x="733" y="30"/>
                  <a:pt x="732" y="30"/>
                  <a:pt x="732" y="30"/>
                </a:cubicBezTo>
                <a:cubicBezTo>
                  <a:pt x="732" y="30"/>
                  <a:pt x="732" y="30"/>
                  <a:pt x="731" y="30"/>
                </a:cubicBezTo>
                <a:cubicBezTo>
                  <a:pt x="731" y="29"/>
                  <a:pt x="731" y="29"/>
                  <a:pt x="731" y="29"/>
                </a:cubicBezTo>
                <a:cubicBezTo>
                  <a:pt x="731" y="29"/>
                  <a:pt x="731" y="29"/>
                  <a:pt x="731" y="29"/>
                </a:cubicBezTo>
                <a:cubicBezTo>
                  <a:pt x="731" y="29"/>
                  <a:pt x="731" y="29"/>
                  <a:pt x="730" y="29"/>
                </a:cubicBezTo>
                <a:cubicBezTo>
                  <a:pt x="730" y="29"/>
                  <a:pt x="730" y="29"/>
                  <a:pt x="730" y="29"/>
                </a:cubicBezTo>
                <a:cubicBezTo>
                  <a:pt x="729" y="29"/>
                  <a:pt x="729" y="29"/>
                  <a:pt x="729" y="29"/>
                </a:cubicBezTo>
                <a:cubicBezTo>
                  <a:pt x="729" y="29"/>
                  <a:pt x="729" y="29"/>
                  <a:pt x="729" y="29"/>
                </a:cubicBezTo>
                <a:cubicBezTo>
                  <a:pt x="729" y="28"/>
                  <a:pt x="729" y="28"/>
                  <a:pt x="729" y="28"/>
                </a:cubicBezTo>
                <a:cubicBezTo>
                  <a:pt x="729" y="28"/>
                  <a:pt x="729" y="28"/>
                  <a:pt x="729" y="28"/>
                </a:cubicBezTo>
                <a:cubicBezTo>
                  <a:pt x="728" y="28"/>
                  <a:pt x="728" y="28"/>
                  <a:pt x="728" y="28"/>
                </a:cubicBezTo>
                <a:cubicBezTo>
                  <a:pt x="728" y="29"/>
                  <a:pt x="728" y="29"/>
                  <a:pt x="727" y="29"/>
                </a:cubicBezTo>
                <a:cubicBezTo>
                  <a:pt x="727" y="29"/>
                  <a:pt x="726" y="30"/>
                  <a:pt x="726" y="30"/>
                </a:cubicBezTo>
                <a:cubicBezTo>
                  <a:pt x="726" y="30"/>
                  <a:pt x="725" y="30"/>
                  <a:pt x="725" y="30"/>
                </a:cubicBezTo>
                <a:cubicBezTo>
                  <a:pt x="725" y="30"/>
                  <a:pt x="724" y="29"/>
                  <a:pt x="724" y="29"/>
                </a:cubicBezTo>
                <a:cubicBezTo>
                  <a:pt x="723" y="29"/>
                  <a:pt x="723" y="29"/>
                  <a:pt x="723" y="29"/>
                </a:cubicBezTo>
                <a:cubicBezTo>
                  <a:pt x="722" y="29"/>
                  <a:pt x="722" y="29"/>
                  <a:pt x="722" y="29"/>
                </a:cubicBezTo>
                <a:cubicBezTo>
                  <a:pt x="722" y="29"/>
                  <a:pt x="722" y="29"/>
                  <a:pt x="722" y="28"/>
                </a:cubicBezTo>
                <a:cubicBezTo>
                  <a:pt x="722" y="28"/>
                  <a:pt x="722" y="28"/>
                  <a:pt x="722" y="27"/>
                </a:cubicBezTo>
                <a:cubicBezTo>
                  <a:pt x="722" y="27"/>
                  <a:pt x="721" y="27"/>
                  <a:pt x="721" y="26"/>
                </a:cubicBezTo>
                <a:cubicBezTo>
                  <a:pt x="721" y="26"/>
                  <a:pt x="721" y="26"/>
                  <a:pt x="720" y="26"/>
                </a:cubicBezTo>
                <a:cubicBezTo>
                  <a:pt x="720" y="26"/>
                  <a:pt x="720" y="26"/>
                  <a:pt x="720" y="25"/>
                </a:cubicBezTo>
                <a:cubicBezTo>
                  <a:pt x="720" y="25"/>
                  <a:pt x="720" y="25"/>
                  <a:pt x="720" y="25"/>
                </a:cubicBezTo>
                <a:cubicBezTo>
                  <a:pt x="720" y="25"/>
                  <a:pt x="720" y="24"/>
                  <a:pt x="721" y="24"/>
                </a:cubicBezTo>
                <a:cubicBezTo>
                  <a:pt x="721" y="24"/>
                  <a:pt x="721" y="24"/>
                  <a:pt x="721" y="24"/>
                </a:cubicBezTo>
                <a:cubicBezTo>
                  <a:pt x="721" y="23"/>
                  <a:pt x="721" y="23"/>
                  <a:pt x="720" y="22"/>
                </a:cubicBezTo>
                <a:cubicBezTo>
                  <a:pt x="720" y="22"/>
                  <a:pt x="720" y="22"/>
                  <a:pt x="720" y="21"/>
                </a:cubicBezTo>
                <a:cubicBezTo>
                  <a:pt x="719" y="21"/>
                  <a:pt x="719" y="21"/>
                  <a:pt x="718" y="21"/>
                </a:cubicBezTo>
                <a:cubicBezTo>
                  <a:pt x="718" y="20"/>
                  <a:pt x="718" y="20"/>
                  <a:pt x="718" y="20"/>
                </a:cubicBezTo>
                <a:cubicBezTo>
                  <a:pt x="718" y="19"/>
                  <a:pt x="717" y="19"/>
                  <a:pt x="717" y="19"/>
                </a:cubicBezTo>
                <a:cubicBezTo>
                  <a:pt x="717" y="18"/>
                  <a:pt x="717" y="18"/>
                  <a:pt x="716" y="18"/>
                </a:cubicBezTo>
                <a:cubicBezTo>
                  <a:pt x="716" y="18"/>
                  <a:pt x="716" y="18"/>
                  <a:pt x="715" y="18"/>
                </a:cubicBezTo>
                <a:cubicBezTo>
                  <a:pt x="715" y="18"/>
                  <a:pt x="715" y="17"/>
                  <a:pt x="715" y="17"/>
                </a:cubicBezTo>
                <a:cubicBezTo>
                  <a:pt x="715" y="17"/>
                  <a:pt x="714" y="17"/>
                  <a:pt x="714" y="17"/>
                </a:cubicBezTo>
                <a:cubicBezTo>
                  <a:pt x="714" y="17"/>
                  <a:pt x="713" y="17"/>
                  <a:pt x="713" y="17"/>
                </a:cubicBezTo>
                <a:cubicBezTo>
                  <a:pt x="713" y="17"/>
                  <a:pt x="713" y="17"/>
                  <a:pt x="712" y="17"/>
                </a:cubicBezTo>
                <a:cubicBezTo>
                  <a:pt x="712" y="17"/>
                  <a:pt x="712" y="17"/>
                  <a:pt x="711" y="17"/>
                </a:cubicBezTo>
                <a:cubicBezTo>
                  <a:pt x="711" y="17"/>
                  <a:pt x="711" y="18"/>
                  <a:pt x="711" y="18"/>
                </a:cubicBezTo>
                <a:cubicBezTo>
                  <a:pt x="711" y="18"/>
                  <a:pt x="711" y="18"/>
                  <a:pt x="711" y="19"/>
                </a:cubicBezTo>
                <a:cubicBezTo>
                  <a:pt x="711" y="19"/>
                  <a:pt x="711" y="19"/>
                  <a:pt x="711" y="19"/>
                </a:cubicBezTo>
                <a:cubicBezTo>
                  <a:pt x="711" y="19"/>
                  <a:pt x="711" y="19"/>
                  <a:pt x="711" y="19"/>
                </a:cubicBezTo>
                <a:cubicBezTo>
                  <a:pt x="711" y="20"/>
                  <a:pt x="711" y="20"/>
                  <a:pt x="711" y="20"/>
                </a:cubicBezTo>
                <a:cubicBezTo>
                  <a:pt x="711" y="20"/>
                  <a:pt x="710" y="21"/>
                  <a:pt x="710" y="21"/>
                </a:cubicBezTo>
                <a:cubicBezTo>
                  <a:pt x="710" y="22"/>
                  <a:pt x="710" y="22"/>
                  <a:pt x="710" y="22"/>
                </a:cubicBezTo>
                <a:cubicBezTo>
                  <a:pt x="710" y="22"/>
                  <a:pt x="710" y="23"/>
                  <a:pt x="711" y="23"/>
                </a:cubicBezTo>
                <a:cubicBezTo>
                  <a:pt x="711" y="23"/>
                  <a:pt x="711" y="23"/>
                  <a:pt x="711" y="23"/>
                </a:cubicBezTo>
                <a:cubicBezTo>
                  <a:pt x="711" y="24"/>
                  <a:pt x="711" y="24"/>
                  <a:pt x="711" y="24"/>
                </a:cubicBezTo>
                <a:cubicBezTo>
                  <a:pt x="711" y="25"/>
                  <a:pt x="711" y="25"/>
                  <a:pt x="711" y="25"/>
                </a:cubicBezTo>
                <a:cubicBezTo>
                  <a:pt x="711" y="26"/>
                  <a:pt x="711" y="26"/>
                  <a:pt x="711" y="26"/>
                </a:cubicBezTo>
                <a:cubicBezTo>
                  <a:pt x="711" y="26"/>
                  <a:pt x="711" y="27"/>
                  <a:pt x="711" y="27"/>
                </a:cubicBezTo>
                <a:cubicBezTo>
                  <a:pt x="711" y="27"/>
                  <a:pt x="711" y="27"/>
                  <a:pt x="711" y="28"/>
                </a:cubicBezTo>
                <a:cubicBezTo>
                  <a:pt x="711" y="27"/>
                  <a:pt x="710" y="27"/>
                  <a:pt x="710" y="27"/>
                </a:cubicBezTo>
                <a:cubicBezTo>
                  <a:pt x="710" y="27"/>
                  <a:pt x="710" y="27"/>
                  <a:pt x="710" y="27"/>
                </a:cubicBezTo>
                <a:cubicBezTo>
                  <a:pt x="710" y="27"/>
                  <a:pt x="710" y="27"/>
                  <a:pt x="709" y="28"/>
                </a:cubicBezTo>
                <a:cubicBezTo>
                  <a:pt x="709" y="28"/>
                  <a:pt x="709" y="28"/>
                  <a:pt x="709" y="28"/>
                </a:cubicBezTo>
                <a:cubicBezTo>
                  <a:pt x="708" y="28"/>
                  <a:pt x="708" y="27"/>
                  <a:pt x="708" y="27"/>
                </a:cubicBezTo>
                <a:cubicBezTo>
                  <a:pt x="708" y="27"/>
                  <a:pt x="708" y="27"/>
                  <a:pt x="708" y="27"/>
                </a:cubicBezTo>
                <a:cubicBezTo>
                  <a:pt x="707" y="27"/>
                  <a:pt x="707" y="27"/>
                  <a:pt x="706" y="27"/>
                </a:cubicBezTo>
                <a:cubicBezTo>
                  <a:pt x="706" y="27"/>
                  <a:pt x="706" y="27"/>
                  <a:pt x="705" y="27"/>
                </a:cubicBezTo>
                <a:cubicBezTo>
                  <a:pt x="705" y="27"/>
                  <a:pt x="705" y="27"/>
                  <a:pt x="705" y="27"/>
                </a:cubicBezTo>
                <a:cubicBezTo>
                  <a:pt x="705" y="27"/>
                  <a:pt x="705" y="27"/>
                  <a:pt x="705" y="27"/>
                </a:cubicBezTo>
                <a:cubicBezTo>
                  <a:pt x="705" y="27"/>
                  <a:pt x="705" y="28"/>
                  <a:pt x="705" y="28"/>
                </a:cubicBezTo>
                <a:cubicBezTo>
                  <a:pt x="705" y="28"/>
                  <a:pt x="705" y="28"/>
                  <a:pt x="706" y="28"/>
                </a:cubicBezTo>
                <a:cubicBezTo>
                  <a:pt x="706" y="28"/>
                  <a:pt x="706" y="28"/>
                  <a:pt x="706" y="28"/>
                </a:cubicBezTo>
                <a:cubicBezTo>
                  <a:pt x="706" y="28"/>
                  <a:pt x="706" y="29"/>
                  <a:pt x="706" y="29"/>
                </a:cubicBezTo>
                <a:cubicBezTo>
                  <a:pt x="706" y="29"/>
                  <a:pt x="706" y="29"/>
                  <a:pt x="705" y="29"/>
                </a:cubicBezTo>
                <a:cubicBezTo>
                  <a:pt x="705" y="29"/>
                  <a:pt x="705" y="29"/>
                  <a:pt x="705" y="29"/>
                </a:cubicBezTo>
                <a:cubicBezTo>
                  <a:pt x="705" y="29"/>
                  <a:pt x="705" y="29"/>
                  <a:pt x="705" y="29"/>
                </a:cubicBezTo>
                <a:cubicBezTo>
                  <a:pt x="704" y="29"/>
                  <a:pt x="704" y="29"/>
                  <a:pt x="704" y="29"/>
                </a:cubicBezTo>
                <a:cubicBezTo>
                  <a:pt x="703" y="29"/>
                  <a:pt x="703" y="29"/>
                  <a:pt x="703" y="29"/>
                </a:cubicBezTo>
                <a:cubicBezTo>
                  <a:pt x="703" y="28"/>
                  <a:pt x="703" y="28"/>
                  <a:pt x="703" y="28"/>
                </a:cubicBezTo>
                <a:cubicBezTo>
                  <a:pt x="702" y="28"/>
                  <a:pt x="702" y="27"/>
                  <a:pt x="702" y="27"/>
                </a:cubicBezTo>
                <a:cubicBezTo>
                  <a:pt x="702" y="27"/>
                  <a:pt x="702" y="27"/>
                  <a:pt x="701" y="26"/>
                </a:cubicBezTo>
                <a:cubicBezTo>
                  <a:pt x="701" y="26"/>
                  <a:pt x="701" y="26"/>
                  <a:pt x="701" y="26"/>
                </a:cubicBezTo>
                <a:cubicBezTo>
                  <a:pt x="701" y="26"/>
                  <a:pt x="700" y="25"/>
                  <a:pt x="700" y="25"/>
                </a:cubicBezTo>
                <a:cubicBezTo>
                  <a:pt x="700" y="25"/>
                  <a:pt x="700" y="25"/>
                  <a:pt x="700" y="25"/>
                </a:cubicBezTo>
                <a:cubicBezTo>
                  <a:pt x="700" y="25"/>
                  <a:pt x="700" y="24"/>
                  <a:pt x="700" y="24"/>
                </a:cubicBezTo>
                <a:cubicBezTo>
                  <a:pt x="699" y="25"/>
                  <a:pt x="699" y="25"/>
                  <a:pt x="699" y="25"/>
                </a:cubicBezTo>
                <a:cubicBezTo>
                  <a:pt x="699" y="25"/>
                  <a:pt x="699" y="25"/>
                  <a:pt x="699" y="26"/>
                </a:cubicBezTo>
                <a:cubicBezTo>
                  <a:pt x="698" y="26"/>
                  <a:pt x="698" y="26"/>
                  <a:pt x="698" y="26"/>
                </a:cubicBezTo>
                <a:cubicBezTo>
                  <a:pt x="698" y="26"/>
                  <a:pt x="698" y="26"/>
                  <a:pt x="698" y="26"/>
                </a:cubicBezTo>
                <a:cubicBezTo>
                  <a:pt x="698" y="27"/>
                  <a:pt x="698" y="27"/>
                  <a:pt x="698" y="27"/>
                </a:cubicBezTo>
                <a:cubicBezTo>
                  <a:pt x="698" y="27"/>
                  <a:pt x="697" y="27"/>
                  <a:pt x="697" y="27"/>
                </a:cubicBezTo>
                <a:cubicBezTo>
                  <a:pt x="697" y="27"/>
                  <a:pt x="697" y="28"/>
                  <a:pt x="696" y="28"/>
                </a:cubicBezTo>
                <a:cubicBezTo>
                  <a:pt x="696" y="28"/>
                  <a:pt x="696" y="28"/>
                  <a:pt x="696" y="28"/>
                </a:cubicBezTo>
                <a:cubicBezTo>
                  <a:pt x="696" y="29"/>
                  <a:pt x="695" y="29"/>
                  <a:pt x="695" y="29"/>
                </a:cubicBezTo>
                <a:cubicBezTo>
                  <a:pt x="695" y="30"/>
                  <a:pt x="694" y="30"/>
                  <a:pt x="694" y="30"/>
                </a:cubicBezTo>
                <a:cubicBezTo>
                  <a:pt x="694" y="30"/>
                  <a:pt x="694" y="30"/>
                  <a:pt x="694" y="31"/>
                </a:cubicBezTo>
                <a:cubicBezTo>
                  <a:pt x="694" y="31"/>
                  <a:pt x="694" y="31"/>
                  <a:pt x="694" y="31"/>
                </a:cubicBezTo>
                <a:cubicBezTo>
                  <a:pt x="693" y="31"/>
                  <a:pt x="693" y="32"/>
                  <a:pt x="693" y="32"/>
                </a:cubicBezTo>
                <a:cubicBezTo>
                  <a:pt x="693" y="32"/>
                  <a:pt x="692" y="32"/>
                  <a:pt x="692" y="32"/>
                </a:cubicBezTo>
                <a:cubicBezTo>
                  <a:pt x="692" y="32"/>
                  <a:pt x="692" y="32"/>
                  <a:pt x="692" y="32"/>
                </a:cubicBezTo>
                <a:cubicBezTo>
                  <a:pt x="692" y="32"/>
                  <a:pt x="692" y="31"/>
                  <a:pt x="692" y="31"/>
                </a:cubicBezTo>
                <a:cubicBezTo>
                  <a:pt x="692" y="31"/>
                  <a:pt x="693" y="31"/>
                  <a:pt x="693" y="30"/>
                </a:cubicBezTo>
                <a:cubicBezTo>
                  <a:pt x="693" y="30"/>
                  <a:pt x="693" y="30"/>
                  <a:pt x="693" y="30"/>
                </a:cubicBezTo>
                <a:cubicBezTo>
                  <a:pt x="693" y="29"/>
                  <a:pt x="693" y="29"/>
                  <a:pt x="693" y="29"/>
                </a:cubicBezTo>
                <a:cubicBezTo>
                  <a:pt x="694" y="29"/>
                  <a:pt x="694" y="29"/>
                  <a:pt x="694" y="29"/>
                </a:cubicBezTo>
                <a:cubicBezTo>
                  <a:pt x="694" y="28"/>
                  <a:pt x="695" y="28"/>
                  <a:pt x="695" y="28"/>
                </a:cubicBezTo>
                <a:cubicBezTo>
                  <a:pt x="695" y="27"/>
                  <a:pt x="695" y="27"/>
                  <a:pt x="696" y="27"/>
                </a:cubicBezTo>
                <a:cubicBezTo>
                  <a:pt x="696" y="27"/>
                  <a:pt x="696" y="27"/>
                  <a:pt x="696" y="26"/>
                </a:cubicBezTo>
                <a:cubicBezTo>
                  <a:pt x="696" y="26"/>
                  <a:pt x="696" y="26"/>
                  <a:pt x="696" y="26"/>
                </a:cubicBezTo>
                <a:cubicBezTo>
                  <a:pt x="696" y="26"/>
                  <a:pt x="695" y="26"/>
                  <a:pt x="695" y="26"/>
                </a:cubicBezTo>
                <a:cubicBezTo>
                  <a:pt x="695" y="26"/>
                  <a:pt x="695" y="25"/>
                  <a:pt x="695" y="25"/>
                </a:cubicBezTo>
                <a:cubicBezTo>
                  <a:pt x="696" y="25"/>
                  <a:pt x="696" y="25"/>
                  <a:pt x="696" y="25"/>
                </a:cubicBezTo>
                <a:cubicBezTo>
                  <a:pt x="696" y="25"/>
                  <a:pt x="696" y="25"/>
                  <a:pt x="697" y="25"/>
                </a:cubicBezTo>
                <a:cubicBezTo>
                  <a:pt x="696" y="24"/>
                  <a:pt x="696" y="24"/>
                  <a:pt x="696" y="24"/>
                </a:cubicBezTo>
                <a:cubicBezTo>
                  <a:pt x="697" y="24"/>
                  <a:pt x="697" y="24"/>
                  <a:pt x="697" y="23"/>
                </a:cubicBezTo>
                <a:cubicBezTo>
                  <a:pt x="697" y="23"/>
                  <a:pt x="697" y="22"/>
                  <a:pt x="698" y="22"/>
                </a:cubicBezTo>
                <a:cubicBezTo>
                  <a:pt x="698" y="22"/>
                  <a:pt x="698" y="22"/>
                  <a:pt x="698" y="21"/>
                </a:cubicBezTo>
                <a:cubicBezTo>
                  <a:pt x="698" y="21"/>
                  <a:pt x="698" y="21"/>
                  <a:pt x="698" y="20"/>
                </a:cubicBezTo>
                <a:cubicBezTo>
                  <a:pt x="698" y="20"/>
                  <a:pt x="698" y="19"/>
                  <a:pt x="698" y="19"/>
                </a:cubicBezTo>
                <a:cubicBezTo>
                  <a:pt x="698" y="18"/>
                  <a:pt x="698" y="18"/>
                  <a:pt x="698" y="18"/>
                </a:cubicBezTo>
                <a:cubicBezTo>
                  <a:pt x="697" y="18"/>
                  <a:pt x="696" y="18"/>
                  <a:pt x="696" y="18"/>
                </a:cubicBezTo>
                <a:cubicBezTo>
                  <a:pt x="695" y="18"/>
                  <a:pt x="695" y="18"/>
                  <a:pt x="695" y="19"/>
                </a:cubicBezTo>
                <a:cubicBezTo>
                  <a:pt x="694" y="19"/>
                  <a:pt x="694" y="19"/>
                  <a:pt x="694" y="19"/>
                </a:cubicBezTo>
                <a:cubicBezTo>
                  <a:pt x="693" y="19"/>
                  <a:pt x="693" y="19"/>
                  <a:pt x="693" y="19"/>
                </a:cubicBezTo>
                <a:cubicBezTo>
                  <a:pt x="692" y="19"/>
                  <a:pt x="692" y="19"/>
                  <a:pt x="692" y="19"/>
                </a:cubicBezTo>
                <a:cubicBezTo>
                  <a:pt x="691" y="19"/>
                  <a:pt x="691" y="19"/>
                  <a:pt x="691" y="19"/>
                </a:cubicBezTo>
                <a:cubicBezTo>
                  <a:pt x="691" y="19"/>
                  <a:pt x="691" y="20"/>
                  <a:pt x="691" y="20"/>
                </a:cubicBezTo>
                <a:cubicBezTo>
                  <a:pt x="692" y="20"/>
                  <a:pt x="692" y="20"/>
                  <a:pt x="692" y="20"/>
                </a:cubicBezTo>
                <a:cubicBezTo>
                  <a:pt x="692" y="20"/>
                  <a:pt x="692" y="21"/>
                  <a:pt x="693" y="21"/>
                </a:cubicBezTo>
                <a:cubicBezTo>
                  <a:pt x="692" y="21"/>
                  <a:pt x="692" y="21"/>
                  <a:pt x="692" y="22"/>
                </a:cubicBezTo>
                <a:cubicBezTo>
                  <a:pt x="692" y="22"/>
                  <a:pt x="692" y="21"/>
                  <a:pt x="692" y="21"/>
                </a:cubicBezTo>
                <a:cubicBezTo>
                  <a:pt x="692" y="21"/>
                  <a:pt x="691" y="21"/>
                  <a:pt x="691" y="21"/>
                </a:cubicBezTo>
                <a:cubicBezTo>
                  <a:pt x="691" y="20"/>
                  <a:pt x="691" y="20"/>
                  <a:pt x="690" y="20"/>
                </a:cubicBezTo>
                <a:cubicBezTo>
                  <a:pt x="690" y="20"/>
                  <a:pt x="690" y="20"/>
                  <a:pt x="690" y="20"/>
                </a:cubicBezTo>
                <a:cubicBezTo>
                  <a:pt x="689" y="20"/>
                  <a:pt x="688" y="21"/>
                  <a:pt x="688" y="21"/>
                </a:cubicBezTo>
                <a:cubicBezTo>
                  <a:pt x="688" y="21"/>
                  <a:pt x="688" y="22"/>
                  <a:pt x="688" y="22"/>
                </a:cubicBezTo>
                <a:cubicBezTo>
                  <a:pt x="688" y="22"/>
                  <a:pt x="688" y="22"/>
                  <a:pt x="689" y="22"/>
                </a:cubicBezTo>
                <a:cubicBezTo>
                  <a:pt x="688" y="22"/>
                  <a:pt x="688" y="23"/>
                  <a:pt x="688" y="23"/>
                </a:cubicBezTo>
                <a:cubicBezTo>
                  <a:pt x="688" y="23"/>
                  <a:pt x="687" y="23"/>
                  <a:pt x="687" y="23"/>
                </a:cubicBezTo>
                <a:cubicBezTo>
                  <a:pt x="687" y="23"/>
                  <a:pt x="687" y="23"/>
                  <a:pt x="687" y="23"/>
                </a:cubicBezTo>
                <a:cubicBezTo>
                  <a:pt x="687" y="22"/>
                  <a:pt x="687" y="22"/>
                  <a:pt x="687" y="22"/>
                </a:cubicBezTo>
                <a:cubicBezTo>
                  <a:pt x="687" y="22"/>
                  <a:pt x="687" y="22"/>
                  <a:pt x="687" y="21"/>
                </a:cubicBezTo>
                <a:cubicBezTo>
                  <a:pt x="686" y="21"/>
                  <a:pt x="686" y="21"/>
                  <a:pt x="686" y="21"/>
                </a:cubicBezTo>
                <a:cubicBezTo>
                  <a:pt x="685" y="21"/>
                  <a:pt x="684" y="21"/>
                  <a:pt x="684" y="21"/>
                </a:cubicBezTo>
                <a:cubicBezTo>
                  <a:pt x="683" y="22"/>
                  <a:pt x="682" y="22"/>
                  <a:pt x="681" y="22"/>
                </a:cubicBezTo>
                <a:cubicBezTo>
                  <a:pt x="681" y="22"/>
                  <a:pt x="680" y="23"/>
                  <a:pt x="679" y="23"/>
                </a:cubicBezTo>
                <a:cubicBezTo>
                  <a:pt x="678" y="23"/>
                  <a:pt x="678" y="23"/>
                  <a:pt x="677" y="23"/>
                </a:cubicBezTo>
                <a:cubicBezTo>
                  <a:pt x="677" y="23"/>
                  <a:pt x="677" y="23"/>
                  <a:pt x="676" y="23"/>
                </a:cubicBezTo>
                <a:cubicBezTo>
                  <a:pt x="676" y="23"/>
                  <a:pt x="676" y="23"/>
                  <a:pt x="675" y="23"/>
                </a:cubicBezTo>
                <a:cubicBezTo>
                  <a:pt x="675" y="23"/>
                  <a:pt x="675" y="23"/>
                  <a:pt x="675" y="23"/>
                </a:cubicBezTo>
                <a:cubicBezTo>
                  <a:pt x="674" y="23"/>
                  <a:pt x="674" y="23"/>
                  <a:pt x="673" y="23"/>
                </a:cubicBezTo>
                <a:cubicBezTo>
                  <a:pt x="673" y="23"/>
                  <a:pt x="673" y="24"/>
                  <a:pt x="672" y="24"/>
                </a:cubicBezTo>
                <a:cubicBezTo>
                  <a:pt x="672" y="24"/>
                  <a:pt x="672" y="24"/>
                  <a:pt x="672" y="24"/>
                </a:cubicBezTo>
                <a:cubicBezTo>
                  <a:pt x="672" y="24"/>
                  <a:pt x="673" y="25"/>
                  <a:pt x="673" y="25"/>
                </a:cubicBezTo>
                <a:cubicBezTo>
                  <a:pt x="673" y="25"/>
                  <a:pt x="673" y="25"/>
                  <a:pt x="673" y="25"/>
                </a:cubicBezTo>
                <a:cubicBezTo>
                  <a:pt x="673" y="25"/>
                  <a:pt x="673" y="26"/>
                  <a:pt x="673" y="26"/>
                </a:cubicBezTo>
                <a:cubicBezTo>
                  <a:pt x="674" y="26"/>
                  <a:pt x="674" y="26"/>
                  <a:pt x="674" y="26"/>
                </a:cubicBezTo>
                <a:cubicBezTo>
                  <a:pt x="674" y="26"/>
                  <a:pt x="674" y="27"/>
                  <a:pt x="674" y="27"/>
                </a:cubicBezTo>
                <a:cubicBezTo>
                  <a:pt x="674" y="27"/>
                  <a:pt x="673" y="27"/>
                  <a:pt x="673" y="28"/>
                </a:cubicBezTo>
                <a:cubicBezTo>
                  <a:pt x="673" y="28"/>
                  <a:pt x="673" y="28"/>
                  <a:pt x="673" y="29"/>
                </a:cubicBezTo>
                <a:cubicBezTo>
                  <a:pt x="674" y="29"/>
                  <a:pt x="675" y="29"/>
                  <a:pt x="675" y="30"/>
                </a:cubicBezTo>
                <a:cubicBezTo>
                  <a:pt x="675" y="30"/>
                  <a:pt x="675" y="30"/>
                  <a:pt x="675" y="30"/>
                </a:cubicBezTo>
                <a:cubicBezTo>
                  <a:pt x="675" y="31"/>
                  <a:pt x="675" y="31"/>
                  <a:pt x="676" y="32"/>
                </a:cubicBezTo>
                <a:cubicBezTo>
                  <a:pt x="676" y="32"/>
                  <a:pt x="675" y="32"/>
                  <a:pt x="675" y="32"/>
                </a:cubicBezTo>
                <a:cubicBezTo>
                  <a:pt x="675" y="32"/>
                  <a:pt x="675" y="32"/>
                  <a:pt x="675" y="32"/>
                </a:cubicBezTo>
                <a:cubicBezTo>
                  <a:pt x="675" y="32"/>
                  <a:pt x="674" y="31"/>
                  <a:pt x="674" y="31"/>
                </a:cubicBezTo>
                <a:cubicBezTo>
                  <a:pt x="674" y="31"/>
                  <a:pt x="673" y="31"/>
                  <a:pt x="673" y="30"/>
                </a:cubicBezTo>
                <a:cubicBezTo>
                  <a:pt x="672" y="30"/>
                  <a:pt x="672" y="30"/>
                  <a:pt x="672" y="30"/>
                </a:cubicBezTo>
                <a:cubicBezTo>
                  <a:pt x="672" y="30"/>
                  <a:pt x="672" y="29"/>
                  <a:pt x="672" y="29"/>
                </a:cubicBezTo>
                <a:cubicBezTo>
                  <a:pt x="672" y="28"/>
                  <a:pt x="672" y="28"/>
                  <a:pt x="672" y="28"/>
                </a:cubicBezTo>
                <a:cubicBezTo>
                  <a:pt x="672" y="27"/>
                  <a:pt x="672" y="27"/>
                  <a:pt x="672" y="27"/>
                </a:cubicBezTo>
                <a:cubicBezTo>
                  <a:pt x="671" y="27"/>
                  <a:pt x="671" y="26"/>
                  <a:pt x="670" y="26"/>
                </a:cubicBezTo>
                <a:cubicBezTo>
                  <a:pt x="670" y="26"/>
                  <a:pt x="670" y="26"/>
                  <a:pt x="670" y="26"/>
                </a:cubicBezTo>
                <a:cubicBezTo>
                  <a:pt x="670" y="25"/>
                  <a:pt x="670" y="25"/>
                  <a:pt x="670" y="25"/>
                </a:cubicBezTo>
                <a:cubicBezTo>
                  <a:pt x="670" y="25"/>
                  <a:pt x="670" y="25"/>
                  <a:pt x="669" y="25"/>
                </a:cubicBezTo>
                <a:cubicBezTo>
                  <a:pt x="669" y="25"/>
                  <a:pt x="669" y="25"/>
                  <a:pt x="668" y="26"/>
                </a:cubicBezTo>
                <a:cubicBezTo>
                  <a:pt x="668" y="26"/>
                  <a:pt x="667" y="26"/>
                  <a:pt x="667" y="26"/>
                </a:cubicBezTo>
                <a:cubicBezTo>
                  <a:pt x="666" y="26"/>
                  <a:pt x="666" y="26"/>
                  <a:pt x="665" y="27"/>
                </a:cubicBezTo>
                <a:cubicBezTo>
                  <a:pt x="665" y="27"/>
                  <a:pt x="665" y="27"/>
                  <a:pt x="664" y="27"/>
                </a:cubicBezTo>
                <a:cubicBezTo>
                  <a:pt x="664" y="27"/>
                  <a:pt x="664" y="28"/>
                  <a:pt x="664" y="28"/>
                </a:cubicBezTo>
                <a:cubicBezTo>
                  <a:pt x="664" y="28"/>
                  <a:pt x="664" y="28"/>
                  <a:pt x="664" y="29"/>
                </a:cubicBezTo>
                <a:cubicBezTo>
                  <a:pt x="664" y="29"/>
                  <a:pt x="664" y="29"/>
                  <a:pt x="664" y="29"/>
                </a:cubicBezTo>
                <a:cubicBezTo>
                  <a:pt x="664" y="30"/>
                  <a:pt x="664" y="30"/>
                  <a:pt x="663" y="30"/>
                </a:cubicBezTo>
                <a:cubicBezTo>
                  <a:pt x="663" y="30"/>
                  <a:pt x="663" y="30"/>
                  <a:pt x="663" y="31"/>
                </a:cubicBezTo>
                <a:cubicBezTo>
                  <a:pt x="663" y="31"/>
                  <a:pt x="663" y="31"/>
                  <a:pt x="664" y="31"/>
                </a:cubicBezTo>
                <a:cubicBezTo>
                  <a:pt x="664" y="31"/>
                  <a:pt x="664" y="31"/>
                  <a:pt x="664" y="31"/>
                </a:cubicBezTo>
                <a:cubicBezTo>
                  <a:pt x="664" y="31"/>
                  <a:pt x="664" y="31"/>
                  <a:pt x="665" y="31"/>
                </a:cubicBezTo>
                <a:cubicBezTo>
                  <a:pt x="665" y="31"/>
                  <a:pt x="665" y="31"/>
                  <a:pt x="665" y="32"/>
                </a:cubicBezTo>
                <a:cubicBezTo>
                  <a:pt x="665" y="32"/>
                  <a:pt x="664" y="32"/>
                  <a:pt x="664" y="32"/>
                </a:cubicBezTo>
                <a:cubicBezTo>
                  <a:pt x="664" y="33"/>
                  <a:pt x="663" y="33"/>
                  <a:pt x="663" y="33"/>
                </a:cubicBezTo>
                <a:cubicBezTo>
                  <a:pt x="662" y="33"/>
                  <a:pt x="662" y="33"/>
                  <a:pt x="662" y="33"/>
                </a:cubicBezTo>
                <a:cubicBezTo>
                  <a:pt x="662" y="33"/>
                  <a:pt x="661" y="34"/>
                  <a:pt x="661" y="34"/>
                </a:cubicBezTo>
                <a:cubicBezTo>
                  <a:pt x="661" y="34"/>
                  <a:pt x="661" y="34"/>
                  <a:pt x="661" y="34"/>
                </a:cubicBezTo>
                <a:cubicBezTo>
                  <a:pt x="661" y="35"/>
                  <a:pt x="661" y="35"/>
                  <a:pt x="661" y="35"/>
                </a:cubicBezTo>
                <a:cubicBezTo>
                  <a:pt x="661" y="35"/>
                  <a:pt x="660" y="35"/>
                  <a:pt x="660" y="35"/>
                </a:cubicBezTo>
                <a:cubicBezTo>
                  <a:pt x="661" y="35"/>
                  <a:pt x="661" y="35"/>
                  <a:pt x="661" y="36"/>
                </a:cubicBezTo>
                <a:cubicBezTo>
                  <a:pt x="661" y="36"/>
                  <a:pt x="661" y="36"/>
                  <a:pt x="661" y="36"/>
                </a:cubicBezTo>
                <a:cubicBezTo>
                  <a:pt x="660" y="36"/>
                  <a:pt x="660" y="36"/>
                  <a:pt x="660" y="36"/>
                </a:cubicBezTo>
                <a:cubicBezTo>
                  <a:pt x="660" y="36"/>
                  <a:pt x="660" y="36"/>
                  <a:pt x="659" y="36"/>
                </a:cubicBezTo>
                <a:cubicBezTo>
                  <a:pt x="659" y="36"/>
                  <a:pt x="658" y="37"/>
                  <a:pt x="658" y="37"/>
                </a:cubicBezTo>
                <a:cubicBezTo>
                  <a:pt x="657" y="37"/>
                  <a:pt x="657" y="37"/>
                  <a:pt x="657" y="36"/>
                </a:cubicBezTo>
                <a:cubicBezTo>
                  <a:pt x="657" y="36"/>
                  <a:pt x="656" y="36"/>
                  <a:pt x="656" y="36"/>
                </a:cubicBezTo>
                <a:cubicBezTo>
                  <a:pt x="656" y="36"/>
                  <a:pt x="656" y="36"/>
                  <a:pt x="656" y="36"/>
                </a:cubicBezTo>
                <a:cubicBezTo>
                  <a:pt x="656" y="36"/>
                  <a:pt x="656" y="36"/>
                  <a:pt x="656" y="36"/>
                </a:cubicBezTo>
                <a:cubicBezTo>
                  <a:pt x="656" y="36"/>
                  <a:pt x="655" y="36"/>
                  <a:pt x="655" y="36"/>
                </a:cubicBezTo>
                <a:cubicBezTo>
                  <a:pt x="655" y="35"/>
                  <a:pt x="655" y="35"/>
                  <a:pt x="655" y="35"/>
                </a:cubicBezTo>
                <a:cubicBezTo>
                  <a:pt x="655" y="35"/>
                  <a:pt x="655" y="35"/>
                  <a:pt x="655" y="35"/>
                </a:cubicBezTo>
                <a:cubicBezTo>
                  <a:pt x="654" y="35"/>
                  <a:pt x="654" y="35"/>
                  <a:pt x="654" y="35"/>
                </a:cubicBezTo>
                <a:cubicBezTo>
                  <a:pt x="654" y="35"/>
                  <a:pt x="654" y="35"/>
                  <a:pt x="654" y="35"/>
                </a:cubicBezTo>
                <a:cubicBezTo>
                  <a:pt x="654" y="35"/>
                  <a:pt x="654" y="36"/>
                  <a:pt x="653" y="36"/>
                </a:cubicBezTo>
                <a:cubicBezTo>
                  <a:pt x="653" y="36"/>
                  <a:pt x="653" y="36"/>
                  <a:pt x="653" y="36"/>
                </a:cubicBezTo>
                <a:cubicBezTo>
                  <a:pt x="653" y="36"/>
                  <a:pt x="652" y="36"/>
                  <a:pt x="652" y="36"/>
                </a:cubicBezTo>
                <a:cubicBezTo>
                  <a:pt x="652" y="36"/>
                  <a:pt x="652" y="37"/>
                  <a:pt x="652" y="37"/>
                </a:cubicBezTo>
                <a:cubicBezTo>
                  <a:pt x="652" y="37"/>
                  <a:pt x="652" y="37"/>
                  <a:pt x="652" y="38"/>
                </a:cubicBezTo>
                <a:cubicBezTo>
                  <a:pt x="652" y="38"/>
                  <a:pt x="652" y="38"/>
                  <a:pt x="652" y="38"/>
                </a:cubicBezTo>
                <a:cubicBezTo>
                  <a:pt x="653" y="39"/>
                  <a:pt x="653" y="39"/>
                  <a:pt x="653" y="39"/>
                </a:cubicBezTo>
                <a:cubicBezTo>
                  <a:pt x="653" y="40"/>
                  <a:pt x="653" y="40"/>
                  <a:pt x="653" y="40"/>
                </a:cubicBezTo>
                <a:cubicBezTo>
                  <a:pt x="653" y="41"/>
                  <a:pt x="653" y="41"/>
                  <a:pt x="652" y="41"/>
                </a:cubicBezTo>
                <a:cubicBezTo>
                  <a:pt x="652" y="41"/>
                  <a:pt x="652" y="41"/>
                  <a:pt x="652" y="41"/>
                </a:cubicBezTo>
                <a:cubicBezTo>
                  <a:pt x="652" y="41"/>
                  <a:pt x="652" y="40"/>
                  <a:pt x="652" y="40"/>
                </a:cubicBezTo>
                <a:cubicBezTo>
                  <a:pt x="652" y="39"/>
                  <a:pt x="652" y="39"/>
                  <a:pt x="652" y="39"/>
                </a:cubicBezTo>
                <a:cubicBezTo>
                  <a:pt x="652" y="38"/>
                  <a:pt x="652" y="38"/>
                  <a:pt x="651" y="38"/>
                </a:cubicBezTo>
                <a:cubicBezTo>
                  <a:pt x="651" y="38"/>
                  <a:pt x="651" y="37"/>
                  <a:pt x="651" y="37"/>
                </a:cubicBezTo>
                <a:cubicBezTo>
                  <a:pt x="651" y="37"/>
                  <a:pt x="651" y="36"/>
                  <a:pt x="651" y="36"/>
                </a:cubicBezTo>
                <a:cubicBezTo>
                  <a:pt x="651" y="36"/>
                  <a:pt x="651" y="36"/>
                  <a:pt x="651" y="36"/>
                </a:cubicBezTo>
                <a:cubicBezTo>
                  <a:pt x="650" y="36"/>
                  <a:pt x="650" y="36"/>
                  <a:pt x="650" y="36"/>
                </a:cubicBezTo>
                <a:cubicBezTo>
                  <a:pt x="650" y="36"/>
                  <a:pt x="649" y="36"/>
                  <a:pt x="649" y="36"/>
                </a:cubicBezTo>
                <a:cubicBezTo>
                  <a:pt x="649" y="37"/>
                  <a:pt x="649" y="37"/>
                  <a:pt x="648" y="37"/>
                </a:cubicBezTo>
                <a:cubicBezTo>
                  <a:pt x="648" y="37"/>
                  <a:pt x="648" y="37"/>
                  <a:pt x="647" y="37"/>
                </a:cubicBezTo>
                <a:cubicBezTo>
                  <a:pt x="647" y="38"/>
                  <a:pt x="647" y="38"/>
                  <a:pt x="646" y="38"/>
                </a:cubicBezTo>
                <a:cubicBezTo>
                  <a:pt x="646" y="38"/>
                  <a:pt x="646" y="38"/>
                  <a:pt x="646" y="39"/>
                </a:cubicBezTo>
                <a:cubicBezTo>
                  <a:pt x="646" y="39"/>
                  <a:pt x="646" y="39"/>
                  <a:pt x="646" y="39"/>
                </a:cubicBezTo>
                <a:cubicBezTo>
                  <a:pt x="646" y="39"/>
                  <a:pt x="645" y="40"/>
                  <a:pt x="645" y="40"/>
                </a:cubicBezTo>
                <a:cubicBezTo>
                  <a:pt x="645" y="40"/>
                  <a:pt x="645" y="40"/>
                  <a:pt x="644" y="40"/>
                </a:cubicBezTo>
                <a:cubicBezTo>
                  <a:pt x="644" y="40"/>
                  <a:pt x="644" y="40"/>
                  <a:pt x="644" y="40"/>
                </a:cubicBezTo>
                <a:cubicBezTo>
                  <a:pt x="644" y="40"/>
                  <a:pt x="643" y="40"/>
                  <a:pt x="643" y="40"/>
                </a:cubicBezTo>
                <a:cubicBezTo>
                  <a:pt x="643" y="40"/>
                  <a:pt x="643" y="40"/>
                  <a:pt x="642" y="41"/>
                </a:cubicBezTo>
                <a:cubicBezTo>
                  <a:pt x="642" y="41"/>
                  <a:pt x="642" y="41"/>
                  <a:pt x="642" y="41"/>
                </a:cubicBezTo>
                <a:cubicBezTo>
                  <a:pt x="643" y="41"/>
                  <a:pt x="643" y="41"/>
                  <a:pt x="643" y="41"/>
                </a:cubicBezTo>
                <a:cubicBezTo>
                  <a:pt x="643" y="41"/>
                  <a:pt x="643" y="41"/>
                  <a:pt x="643" y="41"/>
                </a:cubicBezTo>
                <a:cubicBezTo>
                  <a:pt x="643" y="41"/>
                  <a:pt x="643" y="41"/>
                  <a:pt x="643" y="41"/>
                </a:cubicBezTo>
                <a:cubicBezTo>
                  <a:pt x="642" y="41"/>
                  <a:pt x="642" y="42"/>
                  <a:pt x="641" y="42"/>
                </a:cubicBezTo>
                <a:cubicBezTo>
                  <a:pt x="641" y="42"/>
                  <a:pt x="640" y="42"/>
                  <a:pt x="640" y="42"/>
                </a:cubicBezTo>
                <a:cubicBezTo>
                  <a:pt x="640" y="42"/>
                  <a:pt x="640" y="42"/>
                  <a:pt x="640" y="43"/>
                </a:cubicBezTo>
                <a:cubicBezTo>
                  <a:pt x="639" y="43"/>
                  <a:pt x="638" y="43"/>
                  <a:pt x="638" y="43"/>
                </a:cubicBezTo>
                <a:cubicBezTo>
                  <a:pt x="638" y="43"/>
                  <a:pt x="638" y="43"/>
                  <a:pt x="638" y="44"/>
                </a:cubicBezTo>
                <a:cubicBezTo>
                  <a:pt x="638" y="44"/>
                  <a:pt x="637" y="44"/>
                  <a:pt x="637" y="44"/>
                </a:cubicBezTo>
                <a:cubicBezTo>
                  <a:pt x="637" y="44"/>
                  <a:pt x="636" y="44"/>
                  <a:pt x="636" y="45"/>
                </a:cubicBezTo>
                <a:cubicBezTo>
                  <a:pt x="636" y="45"/>
                  <a:pt x="635" y="45"/>
                  <a:pt x="635" y="45"/>
                </a:cubicBezTo>
                <a:cubicBezTo>
                  <a:pt x="635" y="45"/>
                  <a:pt x="635" y="45"/>
                  <a:pt x="635" y="45"/>
                </a:cubicBezTo>
                <a:cubicBezTo>
                  <a:pt x="635" y="45"/>
                  <a:pt x="635" y="45"/>
                  <a:pt x="635" y="45"/>
                </a:cubicBezTo>
                <a:cubicBezTo>
                  <a:pt x="635" y="46"/>
                  <a:pt x="635" y="46"/>
                  <a:pt x="636" y="46"/>
                </a:cubicBezTo>
                <a:cubicBezTo>
                  <a:pt x="635" y="46"/>
                  <a:pt x="635" y="46"/>
                  <a:pt x="635" y="46"/>
                </a:cubicBezTo>
                <a:cubicBezTo>
                  <a:pt x="635" y="46"/>
                  <a:pt x="635" y="46"/>
                  <a:pt x="635" y="46"/>
                </a:cubicBezTo>
                <a:cubicBezTo>
                  <a:pt x="635" y="47"/>
                  <a:pt x="635" y="47"/>
                  <a:pt x="634" y="47"/>
                </a:cubicBezTo>
                <a:cubicBezTo>
                  <a:pt x="634" y="47"/>
                  <a:pt x="634" y="47"/>
                  <a:pt x="634" y="47"/>
                </a:cubicBezTo>
                <a:cubicBezTo>
                  <a:pt x="634" y="48"/>
                  <a:pt x="633" y="48"/>
                  <a:pt x="633" y="48"/>
                </a:cubicBezTo>
                <a:cubicBezTo>
                  <a:pt x="633" y="48"/>
                  <a:pt x="633" y="48"/>
                  <a:pt x="633" y="48"/>
                </a:cubicBezTo>
                <a:cubicBezTo>
                  <a:pt x="633" y="48"/>
                  <a:pt x="633" y="48"/>
                  <a:pt x="633" y="49"/>
                </a:cubicBezTo>
                <a:cubicBezTo>
                  <a:pt x="633" y="49"/>
                  <a:pt x="633" y="49"/>
                  <a:pt x="633" y="49"/>
                </a:cubicBezTo>
                <a:cubicBezTo>
                  <a:pt x="633" y="49"/>
                  <a:pt x="633" y="49"/>
                  <a:pt x="633" y="49"/>
                </a:cubicBezTo>
                <a:cubicBezTo>
                  <a:pt x="633" y="49"/>
                  <a:pt x="633" y="49"/>
                  <a:pt x="633" y="50"/>
                </a:cubicBezTo>
                <a:cubicBezTo>
                  <a:pt x="634" y="50"/>
                  <a:pt x="634" y="50"/>
                  <a:pt x="634" y="50"/>
                </a:cubicBezTo>
                <a:cubicBezTo>
                  <a:pt x="634" y="49"/>
                  <a:pt x="634" y="49"/>
                  <a:pt x="635" y="49"/>
                </a:cubicBezTo>
                <a:cubicBezTo>
                  <a:pt x="635" y="49"/>
                  <a:pt x="635" y="49"/>
                  <a:pt x="635" y="50"/>
                </a:cubicBezTo>
                <a:cubicBezTo>
                  <a:pt x="636" y="50"/>
                  <a:pt x="636" y="50"/>
                  <a:pt x="636" y="50"/>
                </a:cubicBezTo>
                <a:cubicBezTo>
                  <a:pt x="636" y="49"/>
                  <a:pt x="636" y="49"/>
                  <a:pt x="637" y="49"/>
                </a:cubicBezTo>
                <a:cubicBezTo>
                  <a:pt x="637" y="49"/>
                  <a:pt x="637" y="49"/>
                  <a:pt x="637" y="49"/>
                </a:cubicBezTo>
                <a:cubicBezTo>
                  <a:pt x="638" y="49"/>
                  <a:pt x="638" y="49"/>
                  <a:pt x="638" y="49"/>
                </a:cubicBezTo>
                <a:cubicBezTo>
                  <a:pt x="639" y="49"/>
                  <a:pt x="639" y="49"/>
                  <a:pt x="639" y="50"/>
                </a:cubicBezTo>
                <a:cubicBezTo>
                  <a:pt x="639" y="50"/>
                  <a:pt x="640" y="50"/>
                  <a:pt x="640" y="49"/>
                </a:cubicBezTo>
                <a:cubicBezTo>
                  <a:pt x="640" y="49"/>
                  <a:pt x="641" y="49"/>
                  <a:pt x="641" y="49"/>
                </a:cubicBezTo>
                <a:cubicBezTo>
                  <a:pt x="641" y="49"/>
                  <a:pt x="641" y="49"/>
                  <a:pt x="641" y="49"/>
                </a:cubicBezTo>
                <a:cubicBezTo>
                  <a:pt x="642" y="49"/>
                  <a:pt x="642" y="49"/>
                  <a:pt x="643" y="49"/>
                </a:cubicBezTo>
                <a:cubicBezTo>
                  <a:pt x="643" y="49"/>
                  <a:pt x="644" y="48"/>
                  <a:pt x="644" y="48"/>
                </a:cubicBezTo>
                <a:cubicBezTo>
                  <a:pt x="645" y="48"/>
                  <a:pt x="645" y="48"/>
                  <a:pt x="645" y="48"/>
                </a:cubicBezTo>
                <a:cubicBezTo>
                  <a:pt x="645" y="48"/>
                  <a:pt x="645" y="48"/>
                  <a:pt x="645" y="47"/>
                </a:cubicBezTo>
                <a:cubicBezTo>
                  <a:pt x="645" y="47"/>
                  <a:pt x="645" y="47"/>
                  <a:pt x="646" y="47"/>
                </a:cubicBezTo>
                <a:cubicBezTo>
                  <a:pt x="646" y="47"/>
                  <a:pt x="646" y="47"/>
                  <a:pt x="646" y="47"/>
                </a:cubicBezTo>
                <a:cubicBezTo>
                  <a:pt x="646" y="47"/>
                  <a:pt x="646" y="47"/>
                  <a:pt x="646" y="47"/>
                </a:cubicBezTo>
                <a:cubicBezTo>
                  <a:pt x="646" y="48"/>
                  <a:pt x="646" y="48"/>
                  <a:pt x="646" y="48"/>
                </a:cubicBezTo>
                <a:cubicBezTo>
                  <a:pt x="646" y="48"/>
                  <a:pt x="646" y="48"/>
                  <a:pt x="646" y="48"/>
                </a:cubicBezTo>
                <a:cubicBezTo>
                  <a:pt x="646" y="48"/>
                  <a:pt x="645" y="48"/>
                  <a:pt x="645" y="49"/>
                </a:cubicBezTo>
                <a:cubicBezTo>
                  <a:pt x="644" y="49"/>
                  <a:pt x="644" y="49"/>
                  <a:pt x="644" y="49"/>
                </a:cubicBezTo>
                <a:cubicBezTo>
                  <a:pt x="643" y="49"/>
                  <a:pt x="643" y="49"/>
                  <a:pt x="642" y="49"/>
                </a:cubicBezTo>
                <a:cubicBezTo>
                  <a:pt x="642" y="49"/>
                  <a:pt x="641" y="49"/>
                  <a:pt x="641" y="50"/>
                </a:cubicBezTo>
                <a:cubicBezTo>
                  <a:pt x="641" y="50"/>
                  <a:pt x="641" y="50"/>
                  <a:pt x="641" y="50"/>
                </a:cubicBezTo>
                <a:cubicBezTo>
                  <a:pt x="641" y="50"/>
                  <a:pt x="641" y="50"/>
                  <a:pt x="641" y="50"/>
                </a:cubicBezTo>
                <a:cubicBezTo>
                  <a:pt x="642" y="50"/>
                  <a:pt x="642" y="51"/>
                  <a:pt x="642" y="51"/>
                </a:cubicBezTo>
                <a:cubicBezTo>
                  <a:pt x="643" y="51"/>
                  <a:pt x="643" y="51"/>
                  <a:pt x="644" y="50"/>
                </a:cubicBezTo>
                <a:cubicBezTo>
                  <a:pt x="644" y="51"/>
                  <a:pt x="644" y="51"/>
                  <a:pt x="644" y="51"/>
                </a:cubicBezTo>
                <a:cubicBezTo>
                  <a:pt x="644" y="51"/>
                  <a:pt x="644" y="51"/>
                  <a:pt x="644" y="51"/>
                </a:cubicBezTo>
                <a:cubicBezTo>
                  <a:pt x="643" y="51"/>
                  <a:pt x="643" y="52"/>
                  <a:pt x="642" y="52"/>
                </a:cubicBezTo>
                <a:cubicBezTo>
                  <a:pt x="642" y="52"/>
                  <a:pt x="642" y="52"/>
                  <a:pt x="641" y="52"/>
                </a:cubicBezTo>
                <a:cubicBezTo>
                  <a:pt x="641" y="52"/>
                  <a:pt x="640" y="52"/>
                  <a:pt x="640" y="52"/>
                </a:cubicBezTo>
                <a:cubicBezTo>
                  <a:pt x="640" y="53"/>
                  <a:pt x="639" y="53"/>
                  <a:pt x="639" y="53"/>
                </a:cubicBezTo>
                <a:cubicBezTo>
                  <a:pt x="639" y="53"/>
                  <a:pt x="639" y="53"/>
                  <a:pt x="639" y="54"/>
                </a:cubicBezTo>
                <a:cubicBezTo>
                  <a:pt x="640" y="54"/>
                  <a:pt x="640" y="54"/>
                  <a:pt x="640" y="54"/>
                </a:cubicBezTo>
                <a:cubicBezTo>
                  <a:pt x="640" y="54"/>
                  <a:pt x="640" y="54"/>
                  <a:pt x="640" y="55"/>
                </a:cubicBezTo>
                <a:cubicBezTo>
                  <a:pt x="640" y="55"/>
                  <a:pt x="639" y="55"/>
                  <a:pt x="639" y="55"/>
                </a:cubicBezTo>
                <a:cubicBezTo>
                  <a:pt x="639" y="55"/>
                  <a:pt x="638" y="56"/>
                  <a:pt x="638" y="56"/>
                </a:cubicBezTo>
                <a:cubicBezTo>
                  <a:pt x="638" y="56"/>
                  <a:pt x="638" y="56"/>
                  <a:pt x="638" y="57"/>
                </a:cubicBezTo>
                <a:cubicBezTo>
                  <a:pt x="637" y="57"/>
                  <a:pt x="637" y="57"/>
                  <a:pt x="636" y="57"/>
                </a:cubicBezTo>
                <a:cubicBezTo>
                  <a:pt x="636" y="57"/>
                  <a:pt x="636" y="58"/>
                  <a:pt x="635" y="58"/>
                </a:cubicBezTo>
                <a:cubicBezTo>
                  <a:pt x="635" y="58"/>
                  <a:pt x="635" y="59"/>
                  <a:pt x="635" y="59"/>
                </a:cubicBezTo>
                <a:cubicBezTo>
                  <a:pt x="634" y="59"/>
                  <a:pt x="634" y="59"/>
                  <a:pt x="634" y="60"/>
                </a:cubicBezTo>
                <a:cubicBezTo>
                  <a:pt x="634" y="60"/>
                  <a:pt x="634" y="60"/>
                  <a:pt x="634" y="60"/>
                </a:cubicBezTo>
                <a:cubicBezTo>
                  <a:pt x="634" y="60"/>
                  <a:pt x="633" y="60"/>
                  <a:pt x="633" y="60"/>
                </a:cubicBezTo>
                <a:cubicBezTo>
                  <a:pt x="633" y="60"/>
                  <a:pt x="633" y="60"/>
                  <a:pt x="632" y="60"/>
                </a:cubicBezTo>
                <a:cubicBezTo>
                  <a:pt x="632" y="60"/>
                  <a:pt x="631" y="60"/>
                  <a:pt x="631" y="60"/>
                </a:cubicBezTo>
                <a:cubicBezTo>
                  <a:pt x="631" y="60"/>
                  <a:pt x="630" y="60"/>
                  <a:pt x="630" y="60"/>
                </a:cubicBezTo>
                <a:cubicBezTo>
                  <a:pt x="630" y="60"/>
                  <a:pt x="630" y="60"/>
                  <a:pt x="629" y="60"/>
                </a:cubicBezTo>
                <a:cubicBezTo>
                  <a:pt x="629" y="60"/>
                  <a:pt x="629" y="60"/>
                  <a:pt x="629" y="60"/>
                </a:cubicBezTo>
                <a:cubicBezTo>
                  <a:pt x="628" y="60"/>
                  <a:pt x="628" y="60"/>
                  <a:pt x="627" y="60"/>
                </a:cubicBezTo>
                <a:cubicBezTo>
                  <a:pt x="627" y="60"/>
                  <a:pt x="626" y="60"/>
                  <a:pt x="626" y="60"/>
                </a:cubicBezTo>
                <a:cubicBezTo>
                  <a:pt x="626" y="60"/>
                  <a:pt x="625" y="60"/>
                  <a:pt x="625" y="61"/>
                </a:cubicBezTo>
                <a:cubicBezTo>
                  <a:pt x="625" y="61"/>
                  <a:pt x="624" y="61"/>
                  <a:pt x="624" y="61"/>
                </a:cubicBezTo>
                <a:cubicBezTo>
                  <a:pt x="624" y="61"/>
                  <a:pt x="623" y="61"/>
                  <a:pt x="623" y="61"/>
                </a:cubicBezTo>
                <a:cubicBezTo>
                  <a:pt x="623" y="61"/>
                  <a:pt x="622" y="61"/>
                  <a:pt x="622" y="61"/>
                </a:cubicBezTo>
                <a:cubicBezTo>
                  <a:pt x="621" y="61"/>
                  <a:pt x="621" y="61"/>
                  <a:pt x="620" y="61"/>
                </a:cubicBezTo>
                <a:cubicBezTo>
                  <a:pt x="619" y="61"/>
                  <a:pt x="619" y="62"/>
                  <a:pt x="618" y="62"/>
                </a:cubicBezTo>
                <a:cubicBezTo>
                  <a:pt x="618" y="62"/>
                  <a:pt x="618" y="62"/>
                  <a:pt x="618" y="62"/>
                </a:cubicBezTo>
                <a:cubicBezTo>
                  <a:pt x="618" y="62"/>
                  <a:pt x="619" y="63"/>
                  <a:pt x="619" y="63"/>
                </a:cubicBezTo>
                <a:cubicBezTo>
                  <a:pt x="619" y="63"/>
                  <a:pt x="619" y="63"/>
                  <a:pt x="618" y="63"/>
                </a:cubicBezTo>
                <a:cubicBezTo>
                  <a:pt x="618" y="63"/>
                  <a:pt x="618" y="63"/>
                  <a:pt x="618" y="63"/>
                </a:cubicBezTo>
                <a:cubicBezTo>
                  <a:pt x="618" y="63"/>
                  <a:pt x="617" y="63"/>
                  <a:pt x="617" y="63"/>
                </a:cubicBezTo>
                <a:cubicBezTo>
                  <a:pt x="616" y="63"/>
                  <a:pt x="614" y="64"/>
                  <a:pt x="613" y="64"/>
                </a:cubicBezTo>
                <a:cubicBezTo>
                  <a:pt x="612" y="64"/>
                  <a:pt x="612" y="64"/>
                  <a:pt x="612" y="65"/>
                </a:cubicBezTo>
                <a:cubicBezTo>
                  <a:pt x="612" y="65"/>
                  <a:pt x="612" y="65"/>
                  <a:pt x="611" y="65"/>
                </a:cubicBezTo>
                <a:cubicBezTo>
                  <a:pt x="611" y="65"/>
                  <a:pt x="611" y="65"/>
                  <a:pt x="611" y="65"/>
                </a:cubicBezTo>
                <a:cubicBezTo>
                  <a:pt x="611" y="65"/>
                  <a:pt x="611" y="65"/>
                  <a:pt x="610" y="65"/>
                </a:cubicBezTo>
                <a:cubicBezTo>
                  <a:pt x="610" y="65"/>
                  <a:pt x="610" y="65"/>
                  <a:pt x="610" y="65"/>
                </a:cubicBezTo>
                <a:cubicBezTo>
                  <a:pt x="609" y="65"/>
                  <a:pt x="609" y="65"/>
                  <a:pt x="609" y="65"/>
                </a:cubicBezTo>
                <a:cubicBezTo>
                  <a:pt x="609" y="66"/>
                  <a:pt x="609" y="66"/>
                  <a:pt x="609" y="66"/>
                </a:cubicBezTo>
                <a:cubicBezTo>
                  <a:pt x="608" y="66"/>
                  <a:pt x="608" y="66"/>
                  <a:pt x="608" y="66"/>
                </a:cubicBezTo>
                <a:cubicBezTo>
                  <a:pt x="608" y="66"/>
                  <a:pt x="608" y="66"/>
                  <a:pt x="607" y="66"/>
                </a:cubicBezTo>
                <a:cubicBezTo>
                  <a:pt x="607" y="66"/>
                  <a:pt x="607" y="66"/>
                  <a:pt x="607" y="66"/>
                </a:cubicBezTo>
                <a:cubicBezTo>
                  <a:pt x="607" y="66"/>
                  <a:pt x="607" y="66"/>
                  <a:pt x="607" y="66"/>
                </a:cubicBezTo>
                <a:cubicBezTo>
                  <a:pt x="606" y="66"/>
                  <a:pt x="606" y="66"/>
                  <a:pt x="606" y="66"/>
                </a:cubicBezTo>
                <a:cubicBezTo>
                  <a:pt x="606" y="66"/>
                  <a:pt x="605" y="66"/>
                  <a:pt x="605" y="66"/>
                </a:cubicBezTo>
                <a:cubicBezTo>
                  <a:pt x="605" y="67"/>
                  <a:pt x="605" y="67"/>
                  <a:pt x="604" y="67"/>
                </a:cubicBezTo>
                <a:cubicBezTo>
                  <a:pt x="604" y="67"/>
                  <a:pt x="604" y="67"/>
                  <a:pt x="604" y="67"/>
                </a:cubicBezTo>
                <a:cubicBezTo>
                  <a:pt x="603" y="67"/>
                  <a:pt x="603" y="67"/>
                  <a:pt x="603" y="67"/>
                </a:cubicBezTo>
                <a:cubicBezTo>
                  <a:pt x="603" y="67"/>
                  <a:pt x="602" y="67"/>
                  <a:pt x="602" y="67"/>
                </a:cubicBezTo>
                <a:cubicBezTo>
                  <a:pt x="602" y="67"/>
                  <a:pt x="602" y="67"/>
                  <a:pt x="601" y="67"/>
                </a:cubicBezTo>
                <a:cubicBezTo>
                  <a:pt x="601" y="68"/>
                  <a:pt x="601" y="68"/>
                  <a:pt x="602" y="68"/>
                </a:cubicBezTo>
                <a:cubicBezTo>
                  <a:pt x="601" y="68"/>
                  <a:pt x="601" y="68"/>
                  <a:pt x="601" y="68"/>
                </a:cubicBezTo>
                <a:cubicBezTo>
                  <a:pt x="601" y="68"/>
                  <a:pt x="600" y="69"/>
                  <a:pt x="600" y="69"/>
                </a:cubicBezTo>
                <a:cubicBezTo>
                  <a:pt x="599" y="69"/>
                  <a:pt x="599" y="69"/>
                  <a:pt x="599" y="69"/>
                </a:cubicBezTo>
                <a:cubicBezTo>
                  <a:pt x="599" y="69"/>
                  <a:pt x="598" y="69"/>
                  <a:pt x="598" y="69"/>
                </a:cubicBezTo>
                <a:cubicBezTo>
                  <a:pt x="599" y="70"/>
                  <a:pt x="599" y="70"/>
                  <a:pt x="599" y="70"/>
                </a:cubicBezTo>
                <a:cubicBezTo>
                  <a:pt x="599" y="70"/>
                  <a:pt x="599" y="70"/>
                  <a:pt x="600" y="70"/>
                </a:cubicBezTo>
                <a:cubicBezTo>
                  <a:pt x="600" y="70"/>
                  <a:pt x="600" y="70"/>
                  <a:pt x="601" y="70"/>
                </a:cubicBezTo>
                <a:cubicBezTo>
                  <a:pt x="601" y="70"/>
                  <a:pt x="601" y="70"/>
                  <a:pt x="601" y="70"/>
                </a:cubicBezTo>
                <a:cubicBezTo>
                  <a:pt x="600" y="70"/>
                  <a:pt x="600" y="70"/>
                  <a:pt x="600" y="70"/>
                </a:cubicBezTo>
                <a:cubicBezTo>
                  <a:pt x="600" y="70"/>
                  <a:pt x="600" y="70"/>
                  <a:pt x="600" y="70"/>
                </a:cubicBezTo>
                <a:cubicBezTo>
                  <a:pt x="599" y="70"/>
                  <a:pt x="599" y="70"/>
                  <a:pt x="599" y="70"/>
                </a:cubicBezTo>
                <a:cubicBezTo>
                  <a:pt x="599" y="71"/>
                  <a:pt x="599" y="71"/>
                  <a:pt x="599" y="71"/>
                </a:cubicBezTo>
                <a:cubicBezTo>
                  <a:pt x="598" y="71"/>
                  <a:pt x="598" y="71"/>
                  <a:pt x="598" y="72"/>
                </a:cubicBezTo>
                <a:cubicBezTo>
                  <a:pt x="598" y="72"/>
                  <a:pt x="597" y="72"/>
                  <a:pt x="597" y="72"/>
                </a:cubicBezTo>
                <a:cubicBezTo>
                  <a:pt x="597" y="72"/>
                  <a:pt x="597" y="72"/>
                  <a:pt x="598" y="72"/>
                </a:cubicBezTo>
                <a:cubicBezTo>
                  <a:pt x="598" y="72"/>
                  <a:pt x="598" y="72"/>
                  <a:pt x="599" y="72"/>
                </a:cubicBezTo>
                <a:cubicBezTo>
                  <a:pt x="599" y="72"/>
                  <a:pt x="599" y="72"/>
                  <a:pt x="599" y="73"/>
                </a:cubicBezTo>
                <a:cubicBezTo>
                  <a:pt x="600" y="73"/>
                  <a:pt x="600" y="73"/>
                  <a:pt x="601" y="74"/>
                </a:cubicBezTo>
                <a:cubicBezTo>
                  <a:pt x="601" y="74"/>
                  <a:pt x="601" y="74"/>
                  <a:pt x="601" y="74"/>
                </a:cubicBezTo>
                <a:cubicBezTo>
                  <a:pt x="602" y="74"/>
                  <a:pt x="602" y="74"/>
                  <a:pt x="602" y="74"/>
                </a:cubicBezTo>
                <a:cubicBezTo>
                  <a:pt x="603" y="74"/>
                  <a:pt x="603" y="74"/>
                  <a:pt x="603" y="74"/>
                </a:cubicBezTo>
                <a:cubicBezTo>
                  <a:pt x="603" y="74"/>
                  <a:pt x="603" y="74"/>
                  <a:pt x="603" y="74"/>
                </a:cubicBezTo>
                <a:cubicBezTo>
                  <a:pt x="603" y="74"/>
                  <a:pt x="603" y="74"/>
                  <a:pt x="603" y="75"/>
                </a:cubicBezTo>
                <a:cubicBezTo>
                  <a:pt x="603" y="75"/>
                  <a:pt x="602" y="75"/>
                  <a:pt x="602" y="75"/>
                </a:cubicBezTo>
                <a:cubicBezTo>
                  <a:pt x="602" y="75"/>
                  <a:pt x="602" y="75"/>
                  <a:pt x="602" y="75"/>
                </a:cubicBezTo>
                <a:cubicBezTo>
                  <a:pt x="602" y="76"/>
                  <a:pt x="602" y="76"/>
                  <a:pt x="603" y="76"/>
                </a:cubicBezTo>
                <a:cubicBezTo>
                  <a:pt x="603" y="76"/>
                  <a:pt x="603" y="76"/>
                  <a:pt x="604" y="76"/>
                </a:cubicBezTo>
                <a:cubicBezTo>
                  <a:pt x="604" y="76"/>
                  <a:pt x="605" y="76"/>
                  <a:pt x="605" y="75"/>
                </a:cubicBezTo>
                <a:cubicBezTo>
                  <a:pt x="605" y="75"/>
                  <a:pt x="606" y="75"/>
                  <a:pt x="606" y="75"/>
                </a:cubicBezTo>
                <a:cubicBezTo>
                  <a:pt x="606" y="75"/>
                  <a:pt x="606" y="74"/>
                  <a:pt x="606" y="74"/>
                </a:cubicBezTo>
                <a:cubicBezTo>
                  <a:pt x="607" y="74"/>
                  <a:pt x="607" y="74"/>
                  <a:pt x="607" y="74"/>
                </a:cubicBezTo>
                <a:cubicBezTo>
                  <a:pt x="607" y="74"/>
                  <a:pt x="607" y="74"/>
                  <a:pt x="607" y="74"/>
                </a:cubicBezTo>
                <a:cubicBezTo>
                  <a:pt x="608" y="74"/>
                  <a:pt x="608" y="74"/>
                  <a:pt x="608" y="74"/>
                </a:cubicBezTo>
                <a:cubicBezTo>
                  <a:pt x="608" y="75"/>
                  <a:pt x="607" y="75"/>
                  <a:pt x="607" y="75"/>
                </a:cubicBezTo>
                <a:cubicBezTo>
                  <a:pt x="607" y="76"/>
                  <a:pt x="606" y="76"/>
                  <a:pt x="606" y="76"/>
                </a:cubicBezTo>
                <a:cubicBezTo>
                  <a:pt x="606" y="76"/>
                  <a:pt x="605" y="76"/>
                  <a:pt x="605" y="76"/>
                </a:cubicBezTo>
                <a:cubicBezTo>
                  <a:pt x="605" y="76"/>
                  <a:pt x="605" y="77"/>
                  <a:pt x="605" y="77"/>
                </a:cubicBezTo>
                <a:cubicBezTo>
                  <a:pt x="605" y="77"/>
                  <a:pt x="605" y="77"/>
                  <a:pt x="605" y="77"/>
                </a:cubicBezTo>
                <a:cubicBezTo>
                  <a:pt x="605" y="77"/>
                  <a:pt x="606" y="77"/>
                  <a:pt x="606" y="77"/>
                </a:cubicBezTo>
                <a:cubicBezTo>
                  <a:pt x="606" y="77"/>
                  <a:pt x="607" y="77"/>
                  <a:pt x="607" y="77"/>
                </a:cubicBezTo>
                <a:cubicBezTo>
                  <a:pt x="607" y="77"/>
                  <a:pt x="608" y="76"/>
                  <a:pt x="608" y="76"/>
                </a:cubicBezTo>
                <a:cubicBezTo>
                  <a:pt x="608" y="76"/>
                  <a:pt x="609" y="76"/>
                  <a:pt x="609" y="76"/>
                </a:cubicBezTo>
                <a:cubicBezTo>
                  <a:pt x="609" y="76"/>
                  <a:pt x="609" y="76"/>
                  <a:pt x="609" y="76"/>
                </a:cubicBezTo>
                <a:cubicBezTo>
                  <a:pt x="608" y="77"/>
                  <a:pt x="608" y="77"/>
                  <a:pt x="607" y="77"/>
                </a:cubicBezTo>
                <a:cubicBezTo>
                  <a:pt x="607" y="77"/>
                  <a:pt x="606" y="78"/>
                  <a:pt x="606" y="78"/>
                </a:cubicBezTo>
                <a:cubicBezTo>
                  <a:pt x="606" y="78"/>
                  <a:pt x="606" y="78"/>
                  <a:pt x="606" y="78"/>
                </a:cubicBezTo>
                <a:cubicBezTo>
                  <a:pt x="606" y="78"/>
                  <a:pt x="607" y="79"/>
                  <a:pt x="608" y="79"/>
                </a:cubicBezTo>
                <a:cubicBezTo>
                  <a:pt x="608" y="79"/>
                  <a:pt x="609" y="79"/>
                  <a:pt x="609" y="79"/>
                </a:cubicBezTo>
                <a:cubicBezTo>
                  <a:pt x="610" y="79"/>
                  <a:pt x="610" y="79"/>
                  <a:pt x="611" y="79"/>
                </a:cubicBezTo>
                <a:cubicBezTo>
                  <a:pt x="611" y="79"/>
                  <a:pt x="611" y="78"/>
                  <a:pt x="611" y="78"/>
                </a:cubicBezTo>
                <a:cubicBezTo>
                  <a:pt x="611" y="78"/>
                  <a:pt x="611" y="78"/>
                  <a:pt x="611" y="77"/>
                </a:cubicBezTo>
                <a:cubicBezTo>
                  <a:pt x="611" y="77"/>
                  <a:pt x="611" y="77"/>
                  <a:pt x="611" y="77"/>
                </a:cubicBezTo>
                <a:cubicBezTo>
                  <a:pt x="611" y="77"/>
                  <a:pt x="611" y="77"/>
                  <a:pt x="611" y="77"/>
                </a:cubicBezTo>
                <a:cubicBezTo>
                  <a:pt x="611" y="77"/>
                  <a:pt x="611" y="77"/>
                  <a:pt x="611" y="77"/>
                </a:cubicBezTo>
                <a:cubicBezTo>
                  <a:pt x="611" y="77"/>
                  <a:pt x="611" y="77"/>
                  <a:pt x="611" y="77"/>
                </a:cubicBezTo>
                <a:cubicBezTo>
                  <a:pt x="612" y="77"/>
                  <a:pt x="612" y="77"/>
                  <a:pt x="612" y="77"/>
                </a:cubicBezTo>
                <a:cubicBezTo>
                  <a:pt x="613" y="77"/>
                  <a:pt x="613" y="77"/>
                  <a:pt x="613" y="77"/>
                </a:cubicBezTo>
                <a:cubicBezTo>
                  <a:pt x="613" y="77"/>
                  <a:pt x="613" y="78"/>
                  <a:pt x="613" y="78"/>
                </a:cubicBezTo>
                <a:cubicBezTo>
                  <a:pt x="613" y="78"/>
                  <a:pt x="613" y="78"/>
                  <a:pt x="614" y="78"/>
                </a:cubicBezTo>
                <a:cubicBezTo>
                  <a:pt x="614" y="78"/>
                  <a:pt x="615" y="78"/>
                  <a:pt x="616" y="78"/>
                </a:cubicBezTo>
                <a:cubicBezTo>
                  <a:pt x="616" y="78"/>
                  <a:pt x="616" y="78"/>
                  <a:pt x="617" y="77"/>
                </a:cubicBezTo>
                <a:cubicBezTo>
                  <a:pt x="617" y="77"/>
                  <a:pt x="618" y="77"/>
                  <a:pt x="618" y="77"/>
                </a:cubicBezTo>
                <a:cubicBezTo>
                  <a:pt x="618" y="77"/>
                  <a:pt x="618" y="77"/>
                  <a:pt x="619" y="77"/>
                </a:cubicBezTo>
                <a:cubicBezTo>
                  <a:pt x="619" y="77"/>
                  <a:pt x="619" y="77"/>
                  <a:pt x="619" y="77"/>
                </a:cubicBezTo>
                <a:cubicBezTo>
                  <a:pt x="619" y="77"/>
                  <a:pt x="619" y="77"/>
                  <a:pt x="619" y="77"/>
                </a:cubicBezTo>
                <a:cubicBezTo>
                  <a:pt x="620" y="77"/>
                  <a:pt x="620" y="77"/>
                  <a:pt x="620" y="77"/>
                </a:cubicBezTo>
                <a:cubicBezTo>
                  <a:pt x="620" y="77"/>
                  <a:pt x="620" y="77"/>
                  <a:pt x="620" y="77"/>
                </a:cubicBezTo>
                <a:cubicBezTo>
                  <a:pt x="621" y="77"/>
                  <a:pt x="621" y="77"/>
                  <a:pt x="621" y="77"/>
                </a:cubicBezTo>
                <a:cubicBezTo>
                  <a:pt x="621" y="78"/>
                  <a:pt x="621" y="78"/>
                  <a:pt x="622" y="78"/>
                </a:cubicBezTo>
                <a:cubicBezTo>
                  <a:pt x="621" y="78"/>
                  <a:pt x="621" y="78"/>
                  <a:pt x="621" y="78"/>
                </a:cubicBezTo>
                <a:cubicBezTo>
                  <a:pt x="621" y="79"/>
                  <a:pt x="620" y="79"/>
                  <a:pt x="620" y="79"/>
                </a:cubicBezTo>
                <a:cubicBezTo>
                  <a:pt x="620" y="79"/>
                  <a:pt x="620" y="79"/>
                  <a:pt x="620" y="80"/>
                </a:cubicBezTo>
                <a:cubicBezTo>
                  <a:pt x="620" y="80"/>
                  <a:pt x="620" y="80"/>
                  <a:pt x="620" y="80"/>
                </a:cubicBezTo>
                <a:cubicBezTo>
                  <a:pt x="620" y="80"/>
                  <a:pt x="620" y="80"/>
                  <a:pt x="620" y="80"/>
                </a:cubicBezTo>
                <a:cubicBezTo>
                  <a:pt x="620" y="80"/>
                  <a:pt x="620" y="80"/>
                  <a:pt x="619" y="80"/>
                </a:cubicBezTo>
                <a:cubicBezTo>
                  <a:pt x="619" y="80"/>
                  <a:pt x="619" y="80"/>
                  <a:pt x="619" y="80"/>
                </a:cubicBezTo>
                <a:cubicBezTo>
                  <a:pt x="619" y="80"/>
                  <a:pt x="619" y="80"/>
                  <a:pt x="618" y="80"/>
                </a:cubicBezTo>
                <a:cubicBezTo>
                  <a:pt x="618" y="80"/>
                  <a:pt x="618" y="80"/>
                  <a:pt x="617" y="79"/>
                </a:cubicBezTo>
                <a:cubicBezTo>
                  <a:pt x="617" y="79"/>
                  <a:pt x="616" y="79"/>
                  <a:pt x="615" y="79"/>
                </a:cubicBezTo>
                <a:cubicBezTo>
                  <a:pt x="615" y="79"/>
                  <a:pt x="614" y="79"/>
                  <a:pt x="613" y="80"/>
                </a:cubicBezTo>
                <a:cubicBezTo>
                  <a:pt x="612" y="80"/>
                  <a:pt x="612" y="80"/>
                  <a:pt x="611" y="80"/>
                </a:cubicBezTo>
                <a:cubicBezTo>
                  <a:pt x="611" y="80"/>
                  <a:pt x="610" y="80"/>
                  <a:pt x="609" y="80"/>
                </a:cubicBezTo>
                <a:cubicBezTo>
                  <a:pt x="609" y="81"/>
                  <a:pt x="609" y="81"/>
                  <a:pt x="609" y="81"/>
                </a:cubicBezTo>
                <a:cubicBezTo>
                  <a:pt x="610" y="81"/>
                  <a:pt x="610" y="81"/>
                  <a:pt x="610" y="81"/>
                </a:cubicBezTo>
                <a:cubicBezTo>
                  <a:pt x="611" y="81"/>
                  <a:pt x="612" y="81"/>
                  <a:pt x="612" y="81"/>
                </a:cubicBezTo>
                <a:cubicBezTo>
                  <a:pt x="613" y="81"/>
                  <a:pt x="613" y="81"/>
                  <a:pt x="613" y="81"/>
                </a:cubicBezTo>
                <a:cubicBezTo>
                  <a:pt x="614" y="81"/>
                  <a:pt x="615" y="81"/>
                  <a:pt x="615" y="81"/>
                </a:cubicBezTo>
                <a:cubicBezTo>
                  <a:pt x="616" y="81"/>
                  <a:pt x="616" y="82"/>
                  <a:pt x="617" y="82"/>
                </a:cubicBezTo>
                <a:cubicBezTo>
                  <a:pt x="617" y="82"/>
                  <a:pt x="618" y="82"/>
                  <a:pt x="618" y="81"/>
                </a:cubicBezTo>
                <a:cubicBezTo>
                  <a:pt x="618" y="81"/>
                  <a:pt x="619" y="81"/>
                  <a:pt x="619" y="81"/>
                </a:cubicBezTo>
                <a:cubicBezTo>
                  <a:pt x="619" y="82"/>
                  <a:pt x="618" y="82"/>
                  <a:pt x="618" y="82"/>
                </a:cubicBezTo>
                <a:cubicBezTo>
                  <a:pt x="617" y="82"/>
                  <a:pt x="617" y="82"/>
                  <a:pt x="617" y="82"/>
                </a:cubicBezTo>
                <a:cubicBezTo>
                  <a:pt x="617" y="82"/>
                  <a:pt x="616" y="82"/>
                  <a:pt x="616" y="82"/>
                </a:cubicBezTo>
                <a:cubicBezTo>
                  <a:pt x="615" y="82"/>
                  <a:pt x="615" y="82"/>
                  <a:pt x="614" y="82"/>
                </a:cubicBezTo>
                <a:cubicBezTo>
                  <a:pt x="614" y="82"/>
                  <a:pt x="613" y="82"/>
                  <a:pt x="613" y="82"/>
                </a:cubicBezTo>
                <a:cubicBezTo>
                  <a:pt x="612" y="82"/>
                  <a:pt x="612" y="82"/>
                  <a:pt x="611" y="82"/>
                </a:cubicBezTo>
                <a:cubicBezTo>
                  <a:pt x="611" y="82"/>
                  <a:pt x="610" y="82"/>
                  <a:pt x="609" y="82"/>
                </a:cubicBezTo>
                <a:cubicBezTo>
                  <a:pt x="608" y="82"/>
                  <a:pt x="608" y="82"/>
                  <a:pt x="607" y="82"/>
                </a:cubicBezTo>
                <a:cubicBezTo>
                  <a:pt x="606" y="82"/>
                  <a:pt x="606" y="82"/>
                  <a:pt x="605" y="81"/>
                </a:cubicBezTo>
                <a:cubicBezTo>
                  <a:pt x="605" y="81"/>
                  <a:pt x="604" y="82"/>
                  <a:pt x="603" y="82"/>
                </a:cubicBezTo>
                <a:cubicBezTo>
                  <a:pt x="603" y="82"/>
                  <a:pt x="602" y="82"/>
                  <a:pt x="602" y="82"/>
                </a:cubicBezTo>
                <a:cubicBezTo>
                  <a:pt x="602" y="83"/>
                  <a:pt x="602" y="83"/>
                  <a:pt x="602" y="83"/>
                </a:cubicBezTo>
                <a:cubicBezTo>
                  <a:pt x="602" y="83"/>
                  <a:pt x="601" y="83"/>
                  <a:pt x="601" y="83"/>
                </a:cubicBezTo>
                <a:cubicBezTo>
                  <a:pt x="601" y="83"/>
                  <a:pt x="601" y="83"/>
                  <a:pt x="600" y="83"/>
                </a:cubicBezTo>
                <a:cubicBezTo>
                  <a:pt x="600" y="83"/>
                  <a:pt x="600" y="83"/>
                  <a:pt x="600" y="83"/>
                </a:cubicBezTo>
                <a:cubicBezTo>
                  <a:pt x="600" y="83"/>
                  <a:pt x="600" y="83"/>
                  <a:pt x="599" y="83"/>
                </a:cubicBezTo>
                <a:cubicBezTo>
                  <a:pt x="599" y="84"/>
                  <a:pt x="599" y="84"/>
                  <a:pt x="599" y="84"/>
                </a:cubicBezTo>
                <a:cubicBezTo>
                  <a:pt x="599" y="84"/>
                  <a:pt x="599" y="84"/>
                  <a:pt x="599" y="85"/>
                </a:cubicBezTo>
                <a:cubicBezTo>
                  <a:pt x="599" y="85"/>
                  <a:pt x="599" y="85"/>
                  <a:pt x="599" y="85"/>
                </a:cubicBezTo>
                <a:cubicBezTo>
                  <a:pt x="599" y="85"/>
                  <a:pt x="600" y="85"/>
                  <a:pt x="600" y="85"/>
                </a:cubicBezTo>
                <a:cubicBezTo>
                  <a:pt x="600" y="85"/>
                  <a:pt x="600" y="85"/>
                  <a:pt x="600" y="85"/>
                </a:cubicBezTo>
                <a:cubicBezTo>
                  <a:pt x="600" y="85"/>
                  <a:pt x="601" y="85"/>
                  <a:pt x="601" y="85"/>
                </a:cubicBezTo>
                <a:cubicBezTo>
                  <a:pt x="600" y="85"/>
                  <a:pt x="600" y="85"/>
                  <a:pt x="600" y="85"/>
                </a:cubicBezTo>
                <a:cubicBezTo>
                  <a:pt x="600" y="85"/>
                  <a:pt x="600" y="86"/>
                  <a:pt x="600" y="86"/>
                </a:cubicBezTo>
                <a:cubicBezTo>
                  <a:pt x="600" y="86"/>
                  <a:pt x="600" y="86"/>
                  <a:pt x="600" y="86"/>
                </a:cubicBezTo>
                <a:cubicBezTo>
                  <a:pt x="601" y="86"/>
                  <a:pt x="601" y="87"/>
                  <a:pt x="602" y="87"/>
                </a:cubicBezTo>
                <a:cubicBezTo>
                  <a:pt x="602" y="86"/>
                  <a:pt x="602" y="86"/>
                  <a:pt x="602" y="86"/>
                </a:cubicBezTo>
                <a:cubicBezTo>
                  <a:pt x="602" y="86"/>
                  <a:pt x="602" y="86"/>
                  <a:pt x="603" y="86"/>
                </a:cubicBezTo>
                <a:cubicBezTo>
                  <a:pt x="603" y="86"/>
                  <a:pt x="603" y="86"/>
                  <a:pt x="603" y="86"/>
                </a:cubicBezTo>
                <a:cubicBezTo>
                  <a:pt x="603" y="85"/>
                  <a:pt x="604" y="85"/>
                  <a:pt x="604" y="85"/>
                </a:cubicBezTo>
                <a:cubicBezTo>
                  <a:pt x="604" y="84"/>
                  <a:pt x="604" y="84"/>
                  <a:pt x="604" y="84"/>
                </a:cubicBezTo>
                <a:cubicBezTo>
                  <a:pt x="605" y="84"/>
                  <a:pt x="605" y="84"/>
                  <a:pt x="605" y="84"/>
                </a:cubicBezTo>
                <a:cubicBezTo>
                  <a:pt x="605" y="84"/>
                  <a:pt x="605" y="84"/>
                  <a:pt x="605" y="85"/>
                </a:cubicBezTo>
                <a:cubicBezTo>
                  <a:pt x="605" y="85"/>
                  <a:pt x="605" y="85"/>
                  <a:pt x="604" y="85"/>
                </a:cubicBezTo>
                <a:cubicBezTo>
                  <a:pt x="604" y="86"/>
                  <a:pt x="604" y="86"/>
                  <a:pt x="604" y="86"/>
                </a:cubicBezTo>
                <a:cubicBezTo>
                  <a:pt x="603" y="86"/>
                  <a:pt x="603" y="86"/>
                  <a:pt x="603" y="86"/>
                </a:cubicBezTo>
                <a:cubicBezTo>
                  <a:pt x="603" y="87"/>
                  <a:pt x="603" y="87"/>
                  <a:pt x="603" y="87"/>
                </a:cubicBezTo>
                <a:cubicBezTo>
                  <a:pt x="604" y="88"/>
                  <a:pt x="605" y="88"/>
                  <a:pt x="605" y="88"/>
                </a:cubicBezTo>
                <a:cubicBezTo>
                  <a:pt x="605" y="88"/>
                  <a:pt x="606" y="88"/>
                  <a:pt x="606" y="88"/>
                </a:cubicBezTo>
                <a:cubicBezTo>
                  <a:pt x="606" y="88"/>
                  <a:pt x="606" y="88"/>
                  <a:pt x="606" y="88"/>
                </a:cubicBezTo>
                <a:cubicBezTo>
                  <a:pt x="607" y="88"/>
                  <a:pt x="607" y="88"/>
                  <a:pt x="608" y="88"/>
                </a:cubicBezTo>
                <a:cubicBezTo>
                  <a:pt x="608" y="88"/>
                  <a:pt x="609" y="88"/>
                  <a:pt x="609" y="88"/>
                </a:cubicBezTo>
                <a:cubicBezTo>
                  <a:pt x="609" y="88"/>
                  <a:pt x="609" y="88"/>
                  <a:pt x="609" y="88"/>
                </a:cubicBezTo>
                <a:cubicBezTo>
                  <a:pt x="609" y="88"/>
                  <a:pt x="609" y="88"/>
                  <a:pt x="609" y="88"/>
                </a:cubicBezTo>
                <a:cubicBezTo>
                  <a:pt x="609" y="89"/>
                  <a:pt x="608" y="89"/>
                  <a:pt x="608" y="89"/>
                </a:cubicBezTo>
                <a:cubicBezTo>
                  <a:pt x="608" y="89"/>
                  <a:pt x="608" y="89"/>
                  <a:pt x="608" y="89"/>
                </a:cubicBezTo>
                <a:cubicBezTo>
                  <a:pt x="607" y="89"/>
                  <a:pt x="607" y="89"/>
                  <a:pt x="606" y="89"/>
                </a:cubicBezTo>
                <a:cubicBezTo>
                  <a:pt x="606" y="89"/>
                  <a:pt x="605" y="89"/>
                  <a:pt x="605" y="89"/>
                </a:cubicBezTo>
                <a:cubicBezTo>
                  <a:pt x="605" y="89"/>
                  <a:pt x="605" y="90"/>
                  <a:pt x="605" y="90"/>
                </a:cubicBezTo>
                <a:cubicBezTo>
                  <a:pt x="604" y="90"/>
                  <a:pt x="604" y="90"/>
                  <a:pt x="603" y="90"/>
                </a:cubicBezTo>
                <a:cubicBezTo>
                  <a:pt x="603" y="90"/>
                  <a:pt x="603" y="90"/>
                  <a:pt x="603" y="91"/>
                </a:cubicBezTo>
                <a:cubicBezTo>
                  <a:pt x="603" y="91"/>
                  <a:pt x="603" y="91"/>
                  <a:pt x="603" y="91"/>
                </a:cubicBezTo>
                <a:cubicBezTo>
                  <a:pt x="603" y="92"/>
                  <a:pt x="603" y="92"/>
                  <a:pt x="604" y="92"/>
                </a:cubicBezTo>
                <a:cubicBezTo>
                  <a:pt x="604" y="92"/>
                  <a:pt x="604" y="92"/>
                  <a:pt x="604" y="92"/>
                </a:cubicBezTo>
                <a:cubicBezTo>
                  <a:pt x="605" y="93"/>
                  <a:pt x="605" y="93"/>
                  <a:pt x="605" y="93"/>
                </a:cubicBezTo>
                <a:cubicBezTo>
                  <a:pt x="606" y="93"/>
                  <a:pt x="606" y="93"/>
                  <a:pt x="607" y="93"/>
                </a:cubicBezTo>
                <a:cubicBezTo>
                  <a:pt x="607" y="93"/>
                  <a:pt x="606" y="93"/>
                  <a:pt x="606" y="94"/>
                </a:cubicBezTo>
                <a:cubicBezTo>
                  <a:pt x="606" y="94"/>
                  <a:pt x="606" y="94"/>
                  <a:pt x="606" y="94"/>
                </a:cubicBezTo>
                <a:cubicBezTo>
                  <a:pt x="607" y="94"/>
                  <a:pt x="607" y="94"/>
                  <a:pt x="607" y="94"/>
                </a:cubicBezTo>
                <a:cubicBezTo>
                  <a:pt x="607" y="94"/>
                  <a:pt x="608" y="94"/>
                  <a:pt x="608" y="94"/>
                </a:cubicBezTo>
                <a:cubicBezTo>
                  <a:pt x="609" y="94"/>
                  <a:pt x="609" y="95"/>
                  <a:pt x="609" y="95"/>
                </a:cubicBezTo>
                <a:cubicBezTo>
                  <a:pt x="610" y="95"/>
                  <a:pt x="610" y="95"/>
                  <a:pt x="611" y="95"/>
                </a:cubicBezTo>
                <a:cubicBezTo>
                  <a:pt x="611" y="95"/>
                  <a:pt x="611" y="95"/>
                  <a:pt x="612" y="95"/>
                </a:cubicBezTo>
                <a:cubicBezTo>
                  <a:pt x="612" y="95"/>
                  <a:pt x="612" y="95"/>
                  <a:pt x="613" y="95"/>
                </a:cubicBezTo>
                <a:cubicBezTo>
                  <a:pt x="613" y="95"/>
                  <a:pt x="613" y="95"/>
                  <a:pt x="613" y="95"/>
                </a:cubicBezTo>
                <a:cubicBezTo>
                  <a:pt x="613" y="95"/>
                  <a:pt x="613" y="95"/>
                  <a:pt x="613" y="95"/>
                </a:cubicBezTo>
                <a:cubicBezTo>
                  <a:pt x="613" y="94"/>
                  <a:pt x="613" y="94"/>
                  <a:pt x="612" y="94"/>
                </a:cubicBezTo>
                <a:cubicBezTo>
                  <a:pt x="612" y="94"/>
                  <a:pt x="612" y="93"/>
                  <a:pt x="612" y="93"/>
                </a:cubicBezTo>
                <a:cubicBezTo>
                  <a:pt x="613" y="93"/>
                  <a:pt x="613" y="93"/>
                  <a:pt x="613" y="93"/>
                </a:cubicBezTo>
                <a:cubicBezTo>
                  <a:pt x="613" y="93"/>
                  <a:pt x="613" y="92"/>
                  <a:pt x="613" y="92"/>
                </a:cubicBezTo>
                <a:cubicBezTo>
                  <a:pt x="613" y="92"/>
                  <a:pt x="613" y="92"/>
                  <a:pt x="613" y="92"/>
                </a:cubicBezTo>
                <a:cubicBezTo>
                  <a:pt x="613" y="92"/>
                  <a:pt x="613" y="91"/>
                  <a:pt x="614" y="91"/>
                </a:cubicBezTo>
                <a:cubicBezTo>
                  <a:pt x="614" y="91"/>
                  <a:pt x="614" y="91"/>
                  <a:pt x="614" y="91"/>
                </a:cubicBezTo>
                <a:cubicBezTo>
                  <a:pt x="614" y="92"/>
                  <a:pt x="614" y="92"/>
                  <a:pt x="614" y="92"/>
                </a:cubicBezTo>
                <a:cubicBezTo>
                  <a:pt x="615" y="92"/>
                  <a:pt x="615" y="92"/>
                  <a:pt x="615" y="92"/>
                </a:cubicBezTo>
                <a:cubicBezTo>
                  <a:pt x="615" y="93"/>
                  <a:pt x="615" y="93"/>
                  <a:pt x="615" y="93"/>
                </a:cubicBezTo>
                <a:cubicBezTo>
                  <a:pt x="615" y="93"/>
                  <a:pt x="615" y="93"/>
                  <a:pt x="615" y="93"/>
                </a:cubicBezTo>
                <a:cubicBezTo>
                  <a:pt x="615" y="93"/>
                  <a:pt x="616" y="93"/>
                  <a:pt x="616" y="93"/>
                </a:cubicBezTo>
                <a:cubicBezTo>
                  <a:pt x="616" y="93"/>
                  <a:pt x="616" y="93"/>
                  <a:pt x="616" y="93"/>
                </a:cubicBezTo>
                <a:cubicBezTo>
                  <a:pt x="616" y="93"/>
                  <a:pt x="616" y="92"/>
                  <a:pt x="617" y="92"/>
                </a:cubicBezTo>
                <a:cubicBezTo>
                  <a:pt x="617" y="92"/>
                  <a:pt x="617" y="92"/>
                  <a:pt x="618" y="92"/>
                </a:cubicBezTo>
                <a:cubicBezTo>
                  <a:pt x="618" y="92"/>
                  <a:pt x="618" y="92"/>
                  <a:pt x="618" y="92"/>
                </a:cubicBezTo>
                <a:cubicBezTo>
                  <a:pt x="618" y="92"/>
                  <a:pt x="619" y="92"/>
                  <a:pt x="619" y="92"/>
                </a:cubicBezTo>
                <a:cubicBezTo>
                  <a:pt x="619" y="92"/>
                  <a:pt x="619" y="92"/>
                  <a:pt x="619" y="92"/>
                </a:cubicBezTo>
                <a:cubicBezTo>
                  <a:pt x="619" y="92"/>
                  <a:pt x="619" y="92"/>
                  <a:pt x="618" y="93"/>
                </a:cubicBezTo>
                <a:cubicBezTo>
                  <a:pt x="618" y="93"/>
                  <a:pt x="618" y="93"/>
                  <a:pt x="618" y="93"/>
                </a:cubicBezTo>
                <a:cubicBezTo>
                  <a:pt x="618" y="94"/>
                  <a:pt x="618" y="94"/>
                  <a:pt x="618" y="94"/>
                </a:cubicBezTo>
                <a:cubicBezTo>
                  <a:pt x="618" y="94"/>
                  <a:pt x="619" y="94"/>
                  <a:pt x="619" y="94"/>
                </a:cubicBezTo>
                <a:cubicBezTo>
                  <a:pt x="619" y="94"/>
                  <a:pt x="619" y="94"/>
                  <a:pt x="619" y="94"/>
                </a:cubicBezTo>
                <a:cubicBezTo>
                  <a:pt x="620" y="93"/>
                  <a:pt x="620" y="93"/>
                  <a:pt x="620" y="92"/>
                </a:cubicBezTo>
                <a:cubicBezTo>
                  <a:pt x="620" y="92"/>
                  <a:pt x="620" y="92"/>
                  <a:pt x="620" y="92"/>
                </a:cubicBezTo>
                <a:cubicBezTo>
                  <a:pt x="620" y="92"/>
                  <a:pt x="620" y="92"/>
                  <a:pt x="621" y="92"/>
                </a:cubicBezTo>
                <a:cubicBezTo>
                  <a:pt x="621" y="92"/>
                  <a:pt x="621" y="93"/>
                  <a:pt x="621" y="93"/>
                </a:cubicBezTo>
                <a:cubicBezTo>
                  <a:pt x="622" y="93"/>
                  <a:pt x="622" y="93"/>
                  <a:pt x="622" y="93"/>
                </a:cubicBezTo>
                <a:cubicBezTo>
                  <a:pt x="622" y="93"/>
                  <a:pt x="623" y="93"/>
                  <a:pt x="623" y="93"/>
                </a:cubicBezTo>
                <a:cubicBezTo>
                  <a:pt x="623" y="92"/>
                  <a:pt x="623" y="92"/>
                  <a:pt x="623" y="92"/>
                </a:cubicBezTo>
                <a:cubicBezTo>
                  <a:pt x="623" y="92"/>
                  <a:pt x="623" y="92"/>
                  <a:pt x="623" y="92"/>
                </a:cubicBezTo>
                <a:cubicBezTo>
                  <a:pt x="624" y="91"/>
                  <a:pt x="624" y="91"/>
                  <a:pt x="624" y="91"/>
                </a:cubicBezTo>
                <a:cubicBezTo>
                  <a:pt x="625" y="91"/>
                  <a:pt x="625" y="91"/>
                  <a:pt x="625" y="92"/>
                </a:cubicBezTo>
                <a:cubicBezTo>
                  <a:pt x="625" y="92"/>
                  <a:pt x="625" y="92"/>
                  <a:pt x="625" y="92"/>
                </a:cubicBezTo>
                <a:cubicBezTo>
                  <a:pt x="625" y="92"/>
                  <a:pt x="625" y="93"/>
                  <a:pt x="625" y="93"/>
                </a:cubicBezTo>
                <a:cubicBezTo>
                  <a:pt x="625" y="93"/>
                  <a:pt x="625" y="93"/>
                  <a:pt x="625" y="94"/>
                </a:cubicBezTo>
                <a:cubicBezTo>
                  <a:pt x="625" y="93"/>
                  <a:pt x="625" y="93"/>
                  <a:pt x="625" y="93"/>
                </a:cubicBezTo>
                <a:cubicBezTo>
                  <a:pt x="625" y="93"/>
                  <a:pt x="626" y="93"/>
                  <a:pt x="626" y="92"/>
                </a:cubicBezTo>
                <a:cubicBezTo>
                  <a:pt x="626" y="92"/>
                  <a:pt x="627" y="92"/>
                  <a:pt x="627" y="92"/>
                </a:cubicBezTo>
                <a:cubicBezTo>
                  <a:pt x="627" y="91"/>
                  <a:pt x="627" y="91"/>
                  <a:pt x="627" y="91"/>
                </a:cubicBezTo>
                <a:cubicBezTo>
                  <a:pt x="628" y="91"/>
                  <a:pt x="628" y="91"/>
                  <a:pt x="629" y="91"/>
                </a:cubicBezTo>
                <a:cubicBezTo>
                  <a:pt x="629" y="91"/>
                  <a:pt x="629" y="91"/>
                  <a:pt x="630" y="91"/>
                </a:cubicBezTo>
                <a:cubicBezTo>
                  <a:pt x="630" y="91"/>
                  <a:pt x="630" y="91"/>
                  <a:pt x="631" y="91"/>
                </a:cubicBezTo>
                <a:cubicBezTo>
                  <a:pt x="631" y="91"/>
                  <a:pt x="632" y="91"/>
                  <a:pt x="632" y="91"/>
                </a:cubicBezTo>
                <a:cubicBezTo>
                  <a:pt x="633" y="91"/>
                  <a:pt x="633" y="92"/>
                  <a:pt x="634" y="92"/>
                </a:cubicBezTo>
                <a:cubicBezTo>
                  <a:pt x="634" y="92"/>
                  <a:pt x="634" y="92"/>
                  <a:pt x="635" y="92"/>
                </a:cubicBezTo>
                <a:cubicBezTo>
                  <a:pt x="635" y="92"/>
                  <a:pt x="635" y="92"/>
                  <a:pt x="635" y="91"/>
                </a:cubicBezTo>
                <a:cubicBezTo>
                  <a:pt x="635" y="91"/>
                  <a:pt x="636" y="91"/>
                  <a:pt x="636" y="91"/>
                </a:cubicBezTo>
                <a:cubicBezTo>
                  <a:pt x="636" y="92"/>
                  <a:pt x="637" y="92"/>
                  <a:pt x="637" y="92"/>
                </a:cubicBezTo>
                <a:cubicBezTo>
                  <a:pt x="637" y="92"/>
                  <a:pt x="638" y="92"/>
                  <a:pt x="638" y="92"/>
                </a:cubicBezTo>
                <a:cubicBezTo>
                  <a:pt x="638" y="93"/>
                  <a:pt x="638" y="93"/>
                  <a:pt x="638" y="93"/>
                </a:cubicBezTo>
                <a:cubicBezTo>
                  <a:pt x="638" y="93"/>
                  <a:pt x="638" y="93"/>
                  <a:pt x="638" y="93"/>
                </a:cubicBezTo>
                <a:cubicBezTo>
                  <a:pt x="639" y="93"/>
                  <a:pt x="639" y="93"/>
                  <a:pt x="639" y="93"/>
                </a:cubicBezTo>
                <a:cubicBezTo>
                  <a:pt x="639" y="93"/>
                  <a:pt x="639" y="93"/>
                  <a:pt x="639" y="93"/>
                </a:cubicBezTo>
                <a:cubicBezTo>
                  <a:pt x="639" y="93"/>
                  <a:pt x="640" y="93"/>
                  <a:pt x="640" y="93"/>
                </a:cubicBezTo>
                <a:cubicBezTo>
                  <a:pt x="640" y="93"/>
                  <a:pt x="640" y="93"/>
                  <a:pt x="640" y="93"/>
                </a:cubicBezTo>
                <a:cubicBezTo>
                  <a:pt x="641" y="93"/>
                  <a:pt x="641" y="93"/>
                  <a:pt x="641" y="93"/>
                </a:cubicBezTo>
                <a:cubicBezTo>
                  <a:pt x="641" y="94"/>
                  <a:pt x="642" y="94"/>
                  <a:pt x="642" y="94"/>
                </a:cubicBezTo>
                <a:cubicBezTo>
                  <a:pt x="642" y="94"/>
                  <a:pt x="642" y="94"/>
                  <a:pt x="642" y="94"/>
                </a:cubicBezTo>
                <a:cubicBezTo>
                  <a:pt x="642" y="94"/>
                  <a:pt x="642" y="94"/>
                  <a:pt x="643" y="94"/>
                </a:cubicBezTo>
                <a:cubicBezTo>
                  <a:pt x="643" y="94"/>
                  <a:pt x="643" y="94"/>
                  <a:pt x="643" y="94"/>
                </a:cubicBezTo>
                <a:cubicBezTo>
                  <a:pt x="643" y="94"/>
                  <a:pt x="643" y="94"/>
                  <a:pt x="643" y="94"/>
                </a:cubicBezTo>
                <a:cubicBezTo>
                  <a:pt x="643" y="94"/>
                  <a:pt x="643" y="94"/>
                  <a:pt x="644" y="94"/>
                </a:cubicBezTo>
                <a:cubicBezTo>
                  <a:pt x="644" y="94"/>
                  <a:pt x="644" y="94"/>
                  <a:pt x="644" y="94"/>
                </a:cubicBezTo>
                <a:cubicBezTo>
                  <a:pt x="644" y="94"/>
                  <a:pt x="644" y="94"/>
                  <a:pt x="645" y="94"/>
                </a:cubicBezTo>
                <a:cubicBezTo>
                  <a:pt x="645" y="95"/>
                  <a:pt x="645" y="95"/>
                  <a:pt x="646" y="95"/>
                </a:cubicBezTo>
                <a:cubicBezTo>
                  <a:pt x="646" y="95"/>
                  <a:pt x="647" y="95"/>
                  <a:pt x="647" y="95"/>
                </a:cubicBezTo>
                <a:cubicBezTo>
                  <a:pt x="647" y="95"/>
                  <a:pt x="647" y="95"/>
                  <a:pt x="648" y="95"/>
                </a:cubicBezTo>
                <a:cubicBezTo>
                  <a:pt x="648" y="96"/>
                  <a:pt x="648" y="96"/>
                  <a:pt x="648" y="96"/>
                </a:cubicBezTo>
                <a:cubicBezTo>
                  <a:pt x="648" y="96"/>
                  <a:pt x="648" y="96"/>
                  <a:pt x="648" y="96"/>
                </a:cubicBezTo>
                <a:cubicBezTo>
                  <a:pt x="648" y="96"/>
                  <a:pt x="648" y="96"/>
                  <a:pt x="648" y="96"/>
                </a:cubicBezTo>
                <a:cubicBezTo>
                  <a:pt x="648" y="96"/>
                  <a:pt x="648" y="97"/>
                  <a:pt x="648" y="97"/>
                </a:cubicBezTo>
                <a:cubicBezTo>
                  <a:pt x="648" y="97"/>
                  <a:pt x="648" y="97"/>
                  <a:pt x="648" y="97"/>
                </a:cubicBezTo>
                <a:cubicBezTo>
                  <a:pt x="647" y="97"/>
                  <a:pt x="647" y="98"/>
                  <a:pt x="647" y="98"/>
                </a:cubicBezTo>
                <a:cubicBezTo>
                  <a:pt x="647" y="98"/>
                  <a:pt x="647" y="98"/>
                  <a:pt x="647" y="98"/>
                </a:cubicBezTo>
                <a:cubicBezTo>
                  <a:pt x="647" y="98"/>
                  <a:pt x="647" y="99"/>
                  <a:pt x="647" y="99"/>
                </a:cubicBezTo>
                <a:cubicBezTo>
                  <a:pt x="647" y="99"/>
                  <a:pt x="647" y="98"/>
                  <a:pt x="648" y="98"/>
                </a:cubicBezTo>
                <a:cubicBezTo>
                  <a:pt x="648" y="98"/>
                  <a:pt x="648" y="99"/>
                  <a:pt x="648" y="99"/>
                </a:cubicBezTo>
                <a:cubicBezTo>
                  <a:pt x="648" y="99"/>
                  <a:pt x="648" y="99"/>
                  <a:pt x="648" y="99"/>
                </a:cubicBezTo>
                <a:cubicBezTo>
                  <a:pt x="647" y="99"/>
                  <a:pt x="647" y="99"/>
                  <a:pt x="647" y="99"/>
                </a:cubicBezTo>
                <a:cubicBezTo>
                  <a:pt x="647" y="100"/>
                  <a:pt x="646" y="100"/>
                  <a:pt x="646" y="100"/>
                </a:cubicBezTo>
                <a:cubicBezTo>
                  <a:pt x="646" y="100"/>
                  <a:pt x="646" y="100"/>
                  <a:pt x="645" y="100"/>
                </a:cubicBezTo>
                <a:cubicBezTo>
                  <a:pt x="645" y="100"/>
                  <a:pt x="646" y="101"/>
                  <a:pt x="646" y="101"/>
                </a:cubicBezTo>
                <a:cubicBezTo>
                  <a:pt x="646" y="101"/>
                  <a:pt x="646" y="101"/>
                  <a:pt x="646" y="101"/>
                </a:cubicBezTo>
                <a:cubicBezTo>
                  <a:pt x="646" y="101"/>
                  <a:pt x="646" y="101"/>
                  <a:pt x="647" y="101"/>
                </a:cubicBezTo>
                <a:cubicBezTo>
                  <a:pt x="647" y="101"/>
                  <a:pt x="647" y="101"/>
                  <a:pt x="647" y="102"/>
                </a:cubicBezTo>
                <a:cubicBezTo>
                  <a:pt x="647" y="102"/>
                  <a:pt x="648" y="102"/>
                  <a:pt x="649" y="102"/>
                </a:cubicBezTo>
                <a:cubicBezTo>
                  <a:pt x="649" y="102"/>
                  <a:pt x="649" y="103"/>
                  <a:pt x="649" y="103"/>
                </a:cubicBezTo>
                <a:cubicBezTo>
                  <a:pt x="649" y="103"/>
                  <a:pt x="649" y="103"/>
                  <a:pt x="649" y="103"/>
                </a:cubicBezTo>
                <a:cubicBezTo>
                  <a:pt x="650" y="104"/>
                  <a:pt x="650" y="104"/>
                  <a:pt x="650" y="104"/>
                </a:cubicBezTo>
                <a:cubicBezTo>
                  <a:pt x="650" y="104"/>
                  <a:pt x="650" y="104"/>
                  <a:pt x="649" y="104"/>
                </a:cubicBezTo>
                <a:cubicBezTo>
                  <a:pt x="649" y="104"/>
                  <a:pt x="649" y="104"/>
                  <a:pt x="649" y="105"/>
                </a:cubicBezTo>
                <a:cubicBezTo>
                  <a:pt x="650" y="105"/>
                  <a:pt x="650" y="105"/>
                  <a:pt x="650" y="105"/>
                </a:cubicBezTo>
                <a:cubicBezTo>
                  <a:pt x="650" y="105"/>
                  <a:pt x="651" y="105"/>
                  <a:pt x="651" y="105"/>
                </a:cubicBezTo>
                <a:cubicBezTo>
                  <a:pt x="651" y="105"/>
                  <a:pt x="651" y="105"/>
                  <a:pt x="651" y="105"/>
                </a:cubicBezTo>
                <a:cubicBezTo>
                  <a:pt x="651" y="105"/>
                  <a:pt x="651" y="105"/>
                  <a:pt x="651" y="106"/>
                </a:cubicBezTo>
                <a:cubicBezTo>
                  <a:pt x="652" y="106"/>
                  <a:pt x="652" y="106"/>
                  <a:pt x="652" y="106"/>
                </a:cubicBezTo>
                <a:cubicBezTo>
                  <a:pt x="652" y="106"/>
                  <a:pt x="653" y="106"/>
                  <a:pt x="653" y="106"/>
                </a:cubicBezTo>
                <a:cubicBezTo>
                  <a:pt x="653" y="106"/>
                  <a:pt x="653" y="107"/>
                  <a:pt x="653" y="107"/>
                </a:cubicBezTo>
                <a:cubicBezTo>
                  <a:pt x="653" y="107"/>
                  <a:pt x="653" y="107"/>
                  <a:pt x="653" y="107"/>
                </a:cubicBezTo>
                <a:cubicBezTo>
                  <a:pt x="652" y="107"/>
                  <a:pt x="652" y="108"/>
                  <a:pt x="652" y="108"/>
                </a:cubicBezTo>
                <a:cubicBezTo>
                  <a:pt x="652" y="108"/>
                  <a:pt x="651" y="108"/>
                  <a:pt x="651" y="108"/>
                </a:cubicBezTo>
                <a:cubicBezTo>
                  <a:pt x="651" y="109"/>
                  <a:pt x="651" y="109"/>
                  <a:pt x="651" y="109"/>
                </a:cubicBezTo>
                <a:cubicBezTo>
                  <a:pt x="651" y="109"/>
                  <a:pt x="650" y="109"/>
                  <a:pt x="650" y="109"/>
                </a:cubicBezTo>
                <a:cubicBezTo>
                  <a:pt x="650" y="109"/>
                  <a:pt x="650" y="110"/>
                  <a:pt x="650" y="110"/>
                </a:cubicBezTo>
                <a:cubicBezTo>
                  <a:pt x="649" y="110"/>
                  <a:pt x="649" y="110"/>
                  <a:pt x="649" y="110"/>
                </a:cubicBezTo>
                <a:cubicBezTo>
                  <a:pt x="649" y="110"/>
                  <a:pt x="648" y="110"/>
                  <a:pt x="648" y="111"/>
                </a:cubicBezTo>
                <a:cubicBezTo>
                  <a:pt x="649" y="111"/>
                  <a:pt x="649" y="111"/>
                  <a:pt x="649" y="111"/>
                </a:cubicBezTo>
                <a:cubicBezTo>
                  <a:pt x="649" y="111"/>
                  <a:pt x="649" y="111"/>
                  <a:pt x="649" y="110"/>
                </a:cubicBezTo>
                <a:cubicBezTo>
                  <a:pt x="650" y="110"/>
                  <a:pt x="650" y="110"/>
                  <a:pt x="650" y="110"/>
                </a:cubicBezTo>
                <a:cubicBezTo>
                  <a:pt x="650" y="110"/>
                  <a:pt x="650" y="110"/>
                  <a:pt x="650" y="110"/>
                </a:cubicBezTo>
                <a:cubicBezTo>
                  <a:pt x="651" y="110"/>
                  <a:pt x="651" y="109"/>
                  <a:pt x="651" y="109"/>
                </a:cubicBezTo>
                <a:cubicBezTo>
                  <a:pt x="652" y="109"/>
                  <a:pt x="652" y="109"/>
                  <a:pt x="652" y="109"/>
                </a:cubicBezTo>
                <a:cubicBezTo>
                  <a:pt x="652" y="109"/>
                  <a:pt x="652" y="109"/>
                  <a:pt x="652" y="109"/>
                </a:cubicBezTo>
                <a:cubicBezTo>
                  <a:pt x="652" y="109"/>
                  <a:pt x="652" y="110"/>
                  <a:pt x="652" y="110"/>
                </a:cubicBezTo>
                <a:cubicBezTo>
                  <a:pt x="652" y="110"/>
                  <a:pt x="652" y="110"/>
                  <a:pt x="652" y="110"/>
                </a:cubicBezTo>
                <a:cubicBezTo>
                  <a:pt x="652" y="110"/>
                  <a:pt x="652" y="111"/>
                  <a:pt x="652" y="111"/>
                </a:cubicBezTo>
                <a:cubicBezTo>
                  <a:pt x="652" y="111"/>
                  <a:pt x="652" y="111"/>
                  <a:pt x="652" y="111"/>
                </a:cubicBezTo>
                <a:cubicBezTo>
                  <a:pt x="652" y="111"/>
                  <a:pt x="653" y="111"/>
                  <a:pt x="653" y="112"/>
                </a:cubicBezTo>
                <a:cubicBezTo>
                  <a:pt x="653" y="112"/>
                  <a:pt x="653" y="112"/>
                  <a:pt x="653" y="112"/>
                </a:cubicBezTo>
                <a:cubicBezTo>
                  <a:pt x="653" y="113"/>
                  <a:pt x="653" y="113"/>
                  <a:pt x="653" y="113"/>
                </a:cubicBezTo>
                <a:cubicBezTo>
                  <a:pt x="653" y="113"/>
                  <a:pt x="653" y="113"/>
                  <a:pt x="653" y="113"/>
                </a:cubicBezTo>
                <a:cubicBezTo>
                  <a:pt x="653" y="113"/>
                  <a:pt x="653" y="114"/>
                  <a:pt x="653" y="114"/>
                </a:cubicBezTo>
                <a:cubicBezTo>
                  <a:pt x="653" y="114"/>
                  <a:pt x="653" y="114"/>
                  <a:pt x="653" y="114"/>
                </a:cubicBezTo>
                <a:cubicBezTo>
                  <a:pt x="653" y="114"/>
                  <a:pt x="653" y="114"/>
                  <a:pt x="653" y="114"/>
                </a:cubicBezTo>
                <a:cubicBezTo>
                  <a:pt x="652" y="114"/>
                  <a:pt x="652" y="114"/>
                  <a:pt x="652" y="114"/>
                </a:cubicBezTo>
                <a:cubicBezTo>
                  <a:pt x="652" y="114"/>
                  <a:pt x="652" y="114"/>
                  <a:pt x="653" y="115"/>
                </a:cubicBezTo>
                <a:cubicBezTo>
                  <a:pt x="653" y="115"/>
                  <a:pt x="653" y="115"/>
                  <a:pt x="653" y="115"/>
                </a:cubicBezTo>
                <a:cubicBezTo>
                  <a:pt x="653" y="115"/>
                  <a:pt x="653" y="115"/>
                  <a:pt x="653" y="115"/>
                </a:cubicBezTo>
                <a:cubicBezTo>
                  <a:pt x="653" y="115"/>
                  <a:pt x="653" y="115"/>
                  <a:pt x="653" y="115"/>
                </a:cubicBezTo>
                <a:cubicBezTo>
                  <a:pt x="653" y="115"/>
                  <a:pt x="653" y="116"/>
                  <a:pt x="653" y="116"/>
                </a:cubicBezTo>
                <a:cubicBezTo>
                  <a:pt x="653" y="116"/>
                  <a:pt x="653" y="116"/>
                  <a:pt x="653" y="116"/>
                </a:cubicBezTo>
                <a:cubicBezTo>
                  <a:pt x="653" y="116"/>
                  <a:pt x="653" y="116"/>
                  <a:pt x="653" y="116"/>
                </a:cubicBezTo>
                <a:cubicBezTo>
                  <a:pt x="653" y="116"/>
                  <a:pt x="654" y="116"/>
                  <a:pt x="654" y="116"/>
                </a:cubicBezTo>
                <a:cubicBezTo>
                  <a:pt x="654" y="116"/>
                  <a:pt x="654" y="117"/>
                  <a:pt x="654" y="117"/>
                </a:cubicBezTo>
                <a:cubicBezTo>
                  <a:pt x="654" y="117"/>
                  <a:pt x="654" y="117"/>
                  <a:pt x="654" y="117"/>
                </a:cubicBezTo>
                <a:cubicBezTo>
                  <a:pt x="654" y="117"/>
                  <a:pt x="654" y="117"/>
                  <a:pt x="654" y="117"/>
                </a:cubicBezTo>
                <a:cubicBezTo>
                  <a:pt x="654" y="118"/>
                  <a:pt x="654" y="118"/>
                  <a:pt x="654" y="118"/>
                </a:cubicBezTo>
                <a:cubicBezTo>
                  <a:pt x="654" y="118"/>
                  <a:pt x="654" y="118"/>
                  <a:pt x="653" y="119"/>
                </a:cubicBezTo>
                <a:cubicBezTo>
                  <a:pt x="653" y="119"/>
                  <a:pt x="653" y="119"/>
                  <a:pt x="653" y="119"/>
                </a:cubicBezTo>
                <a:cubicBezTo>
                  <a:pt x="653" y="119"/>
                  <a:pt x="652" y="119"/>
                  <a:pt x="652" y="119"/>
                </a:cubicBezTo>
                <a:cubicBezTo>
                  <a:pt x="652" y="119"/>
                  <a:pt x="652" y="119"/>
                  <a:pt x="652" y="119"/>
                </a:cubicBezTo>
                <a:cubicBezTo>
                  <a:pt x="651" y="119"/>
                  <a:pt x="651" y="119"/>
                  <a:pt x="651" y="119"/>
                </a:cubicBezTo>
                <a:cubicBezTo>
                  <a:pt x="652" y="119"/>
                  <a:pt x="652" y="119"/>
                  <a:pt x="652" y="120"/>
                </a:cubicBezTo>
                <a:cubicBezTo>
                  <a:pt x="652" y="119"/>
                  <a:pt x="653" y="119"/>
                  <a:pt x="653" y="119"/>
                </a:cubicBezTo>
                <a:cubicBezTo>
                  <a:pt x="653" y="120"/>
                  <a:pt x="653" y="120"/>
                  <a:pt x="654" y="120"/>
                </a:cubicBezTo>
                <a:cubicBezTo>
                  <a:pt x="654" y="120"/>
                  <a:pt x="654" y="120"/>
                  <a:pt x="654" y="120"/>
                </a:cubicBezTo>
                <a:cubicBezTo>
                  <a:pt x="655" y="120"/>
                  <a:pt x="655" y="120"/>
                  <a:pt x="655" y="120"/>
                </a:cubicBezTo>
                <a:cubicBezTo>
                  <a:pt x="655" y="120"/>
                  <a:pt x="655" y="120"/>
                  <a:pt x="655" y="120"/>
                </a:cubicBezTo>
                <a:cubicBezTo>
                  <a:pt x="655" y="120"/>
                  <a:pt x="655" y="120"/>
                  <a:pt x="655" y="121"/>
                </a:cubicBezTo>
                <a:cubicBezTo>
                  <a:pt x="655" y="121"/>
                  <a:pt x="656" y="121"/>
                  <a:pt x="656" y="121"/>
                </a:cubicBezTo>
                <a:cubicBezTo>
                  <a:pt x="655" y="122"/>
                  <a:pt x="655" y="122"/>
                  <a:pt x="655" y="122"/>
                </a:cubicBezTo>
                <a:cubicBezTo>
                  <a:pt x="655" y="122"/>
                  <a:pt x="655" y="123"/>
                  <a:pt x="655" y="123"/>
                </a:cubicBezTo>
                <a:cubicBezTo>
                  <a:pt x="655" y="123"/>
                  <a:pt x="655" y="123"/>
                  <a:pt x="655" y="123"/>
                </a:cubicBezTo>
                <a:cubicBezTo>
                  <a:pt x="655" y="123"/>
                  <a:pt x="655" y="124"/>
                  <a:pt x="655" y="124"/>
                </a:cubicBezTo>
                <a:cubicBezTo>
                  <a:pt x="654" y="124"/>
                  <a:pt x="654" y="124"/>
                  <a:pt x="653" y="125"/>
                </a:cubicBezTo>
                <a:cubicBezTo>
                  <a:pt x="653" y="125"/>
                  <a:pt x="653" y="125"/>
                  <a:pt x="653" y="125"/>
                </a:cubicBezTo>
                <a:cubicBezTo>
                  <a:pt x="652" y="125"/>
                  <a:pt x="652" y="125"/>
                  <a:pt x="652" y="125"/>
                </a:cubicBezTo>
                <a:cubicBezTo>
                  <a:pt x="652" y="125"/>
                  <a:pt x="652" y="125"/>
                  <a:pt x="651" y="125"/>
                </a:cubicBezTo>
                <a:cubicBezTo>
                  <a:pt x="651" y="125"/>
                  <a:pt x="651" y="125"/>
                  <a:pt x="650" y="125"/>
                </a:cubicBezTo>
                <a:cubicBezTo>
                  <a:pt x="650" y="125"/>
                  <a:pt x="650" y="126"/>
                  <a:pt x="650" y="126"/>
                </a:cubicBezTo>
                <a:cubicBezTo>
                  <a:pt x="650" y="126"/>
                  <a:pt x="650" y="126"/>
                  <a:pt x="650" y="126"/>
                </a:cubicBezTo>
                <a:cubicBezTo>
                  <a:pt x="651" y="126"/>
                  <a:pt x="651" y="126"/>
                  <a:pt x="651" y="126"/>
                </a:cubicBezTo>
                <a:cubicBezTo>
                  <a:pt x="651" y="126"/>
                  <a:pt x="652" y="126"/>
                  <a:pt x="652" y="126"/>
                </a:cubicBezTo>
                <a:cubicBezTo>
                  <a:pt x="653" y="126"/>
                  <a:pt x="653" y="125"/>
                  <a:pt x="653" y="125"/>
                </a:cubicBezTo>
                <a:cubicBezTo>
                  <a:pt x="653" y="125"/>
                  <a:pt x="653" y="125"/>
                  <a:pt x="653" y="125"/>
                </a:cubicBezTo>
                <a:cubicBezTo>
                  <a:pt x="653" y="125"/>
                  <a:pt x="653" y="125"/>
                  <a:pt x="653" y="125"/>
                </a:cubicBezTo>
                <a:cubicBezTo>
                  <a:pt x="654" y="125"/>
                  <a:pt x="654" y="126"/>
                  <a:pt x="654" y="126"/>
                </a:cubicBezTo>
                <a:cubicBezTo>
                  <a:pt x="654" y="126"/>
                  <a:pt x="654" y="126"/>
                  <a:pt x="654" y="126"/>
                </a:cubicBezTo>
                <a:cubicBezTo>
                  <a:pt x="654" y="126"/>
                  <a:pt x="654" y="126"/>
                  <a:pt x="654" y="126"/>
                </a:cubicBezTo>
                <a:cubicBezTo>
                  <a:pt x="653" y="126"/>
                  <a:pt x="653" y="126"/>
                  <a:pt x="653" y="126"/>
                </a:cubicBezTo>
                <a:cubicBezTo>
                  <a:pt x="653" y="126"/>
                  <a:pt x="653" y="126"/>
                  <a:pt x="653" y="127"/>
                </a:cubicBezTo>
                <a:cubicBezTo>
                  <a:pt x="653" y="127"/>
                  <a:pt x="653" y="127"/>
                  <a:pt x="653" y="127"/>
                </a:cubicBezTo>
                <a:cubicBezTo>
                  <a:pt x="653" y="127"/>
                  <a:pt x="653" y="127"/>
                  <a:pt x="653" y="127"/>
                </a:cubicBezTo>
                <a:cubicBezTo>
                  <a:pt x="652" y="127"/>
                  <a:pt x="652" y="127"/>
                  <a:pt x="652" y="127"/>
                </a:cubicBezTo>
                <a:cubicBezTo>
                  <a:pt x="652" y="128"/>
                  <a:pt x="651" y="128"/>
                  <a:pt x="651" y="128"/>
                </a:cubicBezTo>
                <a:cubicBezTo>
                  <a:pt x="650" y="128"/>
                  <a:pt x="650" y="129"/>
                  <a:pt x="650" y="129"/>
                </a:cubicBezTo>
                <a:cubicBezTo>
                  <a:pt x="650" y="129"/>
                  <a:pt x="650" y="129"/>
                  <a:pt x="650" y="129"/>
                </a:cubicBezTo>
                <a:cubicBezTo>
                  <a:pt x="650" y="129"/>
                  <a:pt x="650" y="129"/>
                  <a:pt x="651" y="130"/>
                </a:cubicBezTo>
                <a:cubicBezTo>
                  <a:pt x="651" y="130"/>
                  <a:pt x="652" y="130"/>
                  <a:pt x="652" y="130"/>
                </a:cubicBezTo>
                <a:cubicBezTo>
                  <a:pt x="653" y="129"/>
                  <a:pt x="653" y="129"/>
                  <a:pt x="653" y="129"/>
                </a:cubicBezTo>
                <a:cubicBezTo>
                  <a:pt x="654" y="129"/>
                  <a:pt x="654" y="129"/>
                  <a:pt x="654" y="128"/>
                </a:cubicBezTo>
                <a:cubicBezTo>
                  <a:pt x="654" y="128"/>
                  <a:pt x="654" y="128"/>
                  <a:pt x="655" y="128"/>
                </a:cubicBezTo>
                <a:cubicBezTo>
                  <a:pt x="655" y="127"/>
                  <a:pt x="655" y="127"/>
                  <a:pt x="655" y="127"/>
                </a:cubicBezTo>
                <a:cubicBezTo>
                  <a:pt x="655" y="127"/>
                  <a:pt x="655" y="127"/>
                  <a:pt x="655" y="127"/>
                </a:cubicBezTo>
                <a:cubicBezTo>
                  <a:pt x="656" y="127"/>
                  <a:pt x="656" y="127"/>
                  <a:pt x="656" y="128"/>
                </a:cubicBezTo>
                <a:cubicBezTo>
                  <a:pt x="655" y="128"/>
                  <a:pt x="655" y="128"/>
                  <a:pt x="655" y="129"/>
                </a:cubicBezTo>
                <a:cubicBezTo>
                  <a:pt x="654" y="129"/>
                  <a:pt x="654" y="129"/>
                  <a:pt x="654" y="130"/>
                </a:cubicBezTo>
                <a:cubicBezTo>
                  <a:pt x="653" y="130"/>
                  <a:pt x="653" y="130"/>
                  <a:pt x="653" y="130"/>
                </a:cubicBezTo>
                <a:cubicBezTo>
                  <a:pt x="652" y="130"/>
                  <a:pt x="652" y="130"/>
                  <a:pt x="651" y="130"/>
                </a:cubicBezTo>
                <a:cubicBezTo>
                  <a:pt x="651" y="130"/>
                  <a:pt x="651" y="130"/>
                  <a:pt x="651" y="130"/>
                </a:cubicBezTo>
                <a:cubicBezTo>
                  <a:pt x="651" y="131"/>
                  <a:pt x="650" y="131"/>
                  <a:pt x="650" y="131"/>
                </a:cubicBezTo>
                <a:cubicBezTo>
                  <a:pt x="650" y="131"/>
                  <a:pt x="650" y="131"/>
                  <a:pt x="650" y="131"/>
                </a:cubicBezTo>
                <a:cubicBezTo>
                  <a:pt x="650" y="131"/>
                  <a:pt x="649" y="131"/>
                  <a:pt x="649" y="131"/>
                </a:cubicBezTo>
                <a:cubicBezTo>
                  <a:pt x="649" y="131"/>
                  <a:pt x="648" y="131"/>
                  <a:pt x="648" y="132"/>
                </a:cubicBezTo>
                <a:cubicBezTo>
                  <a:pt x="648" y="132"/>
                  <a:pt x="648" y="132"/>
                  <a:pt x="648" y="132"/>
                </a:cubicBezTo>
                <a:cubicBezTo>
                  <a:pt x="648" y="132"/>
                  <a:pt x="648" y="132"/>
                  <a:pt x="648" y="132"/>
                </a:cubicBezTo>
                <a:cubicBezTo>
                  <a:pt x="649" y="132"/>
                  <a:pt x="649" y="132"/>
                  <a:pt x="649" y="133"/>
                </a:cubicBezTo>
                <a:cubicBezTo>
                  <a:pt x="649" y="133"/>
                  <a:pt x="649" y="133"/>
                  <a:pt x="649" y="133"/>
                </a:cubicBezTo>
                <a:cubicBezTo>
                  <a:pt x="649" y="133"/>
                  <a:pt x="649" y="134"/>
                  <a:pt x="649" y="134"/>
                </a:cubicBezTo>
                <a:cubicBezTo>
                  <a:pt x="649" y="134"/>
                  <a:pt x="649" y="134"/>
                  <a:pt x="649" y="134"/>
                </a:cubicBezTo>
                <a:cubicBezTo>
                  <a:pt x="649" y="134"/>
                  <a:pt x="650" y="134"/>
                  <a:pt x="650" y="133"/>
                </a:cubicBezTo>
                <a:cubicBezTo>
                  <a:pt x="650" y="133"/>
                  <a:pt x="650" y="133"/>
                  <a:pt x="650" y="133"/>
                </a:cubicBezTo>
                <a:cubicBezTo>
                  <a:pt x="650" y="133"/>
                  <a:pt x="650" y="133"/>
                  <a:pt x="651" y="133"/>
                </a:cubicBezTo>
                <a:cubicBezTo>
                  <a:pt x="651" y="134"/>
                  <a:pt x="651" y="134"/>
                  <a:pt x="651" y="134"/>
                </a:cubicBezTo>
                <a:cubicBezTo>
                  <a:pt x="651" y="134"/>
                  <a:pt x="651" y="134"/>
                  <a:pt x="651" y="134"/>
                </a:cubicBezTo>
                <a:cubicBezTo>
                  <a:pt x="651" y="134"/>
                  <a:pt x="651" y="135"/>
                  <a:pt x="652" y="135"/>
                </a:cubicBezTo>
                <a:cubicBezTo>
                  <a:pt x="652" y="135"/>
                  <a:pt x="652" y="134"/>
                  <a:pt x="653" y="134"/>
                </a:cubicBezTo>
                <a:cubicBezTo>
                  <a:pt x="653" y="134"/>
                  <a:pt x="653" y="134"/>
                  <a:pt x="654" y="134"/>
                </a:cubicBezTo>
                <a:cubicBezTo>
                  <a:pt x="654" y="134"/>
                  <a:pt x="654" y="134"/>
                  <a:pt x="654" y="134"/>
                </a:cubicBezTo>
                <a:cubicBezTo>
                  <a:pt x="654" y="134"/>
                  <a:pt x="654" y="134"/>
                  <a:pt x="655" y="134"/>
                </a:cubicBezTo>
                <a:cubicBezTo>
                  <a:pt x="655" y="134"/>
                  <a:pt x="655" y="134"/>
                  <a:pt x="655" y="133"/>
                </a:cubicBezTo>
                <a:cubicBezTo>
                  <a:pt x="656" y="133"/>
                  <a:pt x="656" y="133"/>
                  <a:pt x="656" y="133"/>
                </a:cubicBezTo>
                <a:cubicBezTo>
                  <a:pt x="656" y="133"/>
                  <a:pt x="656" y="133"/>
                  <a:pt x="656" y="132"/>
                </a:cubicBezTo>
                <a:cubicBezTo>
                  <a:pt x="656" y="132"/>
                  <a:pt x="656" y="132"/>
                  <a:pt x="656" y="132"/>
                </a:cubicBezTo>
                <a:cubicBezTo>
                  <a:pt x="656" y="132"/>
                  <a:pt x="655" y="132"/>
                  <a:pt x="655" y="132"/>
                </a:cubicBezTo>
                <a:cubicBezTo>
                  <a:pt x="655" y="132"/>
                  <a:pt x="656" y="132"/>
                  <a:pt x="656" y="132"/>
                </a:cubicBezTo>
                <a:cubicBezTo>
                  <a:pt x="656" y="132"/>
                  <a:pt x="656" y="132"/>
                  <a:pt x="656" y="132"/>
                </a:cubicBezTo>
                <a:cubicBezTo>
                  <a:pt x="656" y="132"/>
                  <a:pt x="656" y="131"/>
                  <a:pt x="656" y="131"/>
                </a:cubicBezTo>
                <a:cubicBezTo>
                  <a:pt x="656" y="131"/>
                  <a:pt x="656" y="131"/>
                  <a:pt x="656" y="130"/>
                </a:cubicBezTo>
                <a:cubicBezTo>
                  <a:pt x="657" y="130"/>
                  <a:pt x="657" y="131"/>
                  <a:pt x="657" y="131"/>
                </a:cubicBezTo>
                <a:cubicBezTo>
                  <a:pt x="657" y="131"/>
                  <a:pt x="657" y="131"/>
                  <a:pt x="658" y="131"/>
                </a:cubicBezTo>
                <a:cubicBezTo>
                  <a:pt x="658" y="131"/>
                  <a:pt x="658" y="131"/>
                  <a:pt x="658" y="131"/>
                </a:cubicBezTo>
                <a:cubicBezTo>
                  <a:pt x="658" y="131"/>
                  <a:pt x="658" y="130"/>
                  <a:pt x="659" y="130"/>
                </a:cubicBezTo>
                <a:cubicBezTo>
                  <a:pt x="659" y="130"/>
                  <a:pt x="658" y="130"/>
                  <a:pt x="658" y="129"/>
                </a:cubicBezTo>
                <a:cubicBezTo>
                  <a:pt x="658" y="129"/>
                  <a:pt x="658" y="129"/>
                  <a:pt x="658" y="129"/>
                </a:cubicBezTo>
                <a:cubicBezTo>
                  <a:pt x="658" y="128"/>
                  <a:pt x="658" y="128"/>
                  <a:pt x="658" y="128"/>
                </a:cubicBezTo>
                <a:cubicBezTo>
                  <a:pt x="658" y="128"/>
                  <a:pt x="658" y="128"/>
                  <a:pt x="657" y="128"/>
                </a:cubicBezTo>
                <a:cubicBezTo>
                  <a:pt x="658" y="127"/>
                  <a:pt x="658" y="127"/>
                  <a:pt x="658" y="126"/>
                </a:cubicBezTo>
                <a:cubicBezTo>
                  <a:pt x="658" y="126"/>
                  <a:pt x="658" y="126"/>
                  <a:pt x="658" y="126"/>
                </a:cubicBezTo>
                <a:cubicBezTo>
                  <a:pt x="658" y="126"/>
                  <a:pt x="658" y="126"/>
                  <a:pt x="658" y="126"/>
                </a:cubicBezTo>
                <a:cubicBezTo>
                  <a:pt x="658" y="126"/>
                  <a:pt x="658" y="126"/>
                  <a:pt x="658" y="126"/>
                </a:cubicBezTo>
                <a:cubicBezTo>
                  <a:pt x="658" y="127"/>
                  <a:pt x="658" y="127"/>
                  <a:pt x="658" y="127"/>
                </a:cubicBezTo>
                <a:cubicBezTo>
                  <a:pt x="658" y="127"/>
                  <a:pt x="658" y="127"/>
                  <a:pt x="658" y="128"/>
                </a:cubicBezTo>
                <a:cubicBezTo>
                  <a:pt x="658" y="128"/>
                  <a:pt x="659" y="128"/>
                  <a:pt x="659" y="128"/>
                </a:cubicBezTo>
                <a:cubicBezTo>
                  <a:pt x="659" y="129"/>
                  <a:pt x="659" y="129"/>
                  <a:pt x="659" y="129"/>
                </a:cubicBezTo>
                <a:cubicBezTo>
                  <a:pt x="659" y="129"/>
                  <a:pt x="659" y="130"/>
                  <a:pt x="659" y="130"/>
                </a:cubicBezTo>
                <a:cubicBezTo>
                  <a:pt x="659" y="130"/>
                  <a:pt x="659" y="130"/>
                  <a:pt x="659" y="131"/>
                </a:cubicBezTo>
                <a:cubicBezTo>
                  <a:pt x="659" y="131"/>
                  <a:pt x="659" y="131"/>
                  <a:pt x="659" y="131"/>
                </a:cubicBezTo>
                <a:cubicBezTo>
                  <a:pt x="659" y="131"/>
                  <a:pt x="659" y="130"/>
                  <a:pt x="660" y="130"/>
                </a:cubicBezTo>
                <a:cubicBezTo>
                  <a:pt x="660" y="130"/>
                  <a:pt x="660" y="130"/>
                  <a:pt x="660" y="130"/>
                </a:cubicBezTo>
                <a:cubicBezTo>
                  <a:pt x="660" y="130"/>
                  <a:pt x="660" y="130"/>
                  <a:pt x="660" y="130"/>
                </a:cubicBezTo>
                <a:cubicBezTo>
                  <a:pt x="661" y="129"/>
                  <a:pt x="661" y="129"/>
                  <a:pt x="661" y="129"/>
                </a:cubicBezTo>
                <a:cubicBezTo>
                  <a:pt x="662" y="128"/>
                  <a:pt x="662" y="128"/>
                  <a:pt x="662" y="128"/>
                </a:cubicBezTo>
                <a:cubicBezTo>
                  <a:pt x="662" y="128"/>
                  <a:pt x="662" y="128"/>
                  <a:pt x="663" y="128"/>
                </a:cubicBezTo>
                <a:cubicBezTo>
                  <a:pt x="663" y="128"/>
                  <a:pt x="663" y="128"/>
                  <a:pt x="663" y="128"/>
                </a:cubicBezTo>
                <a:cubicBezTo>
                  <a:pt x="662" y="128"/>
                  <a:pt x="662" y="129"/>
                  <a:pt x="662" y="129"/>
                </a:cubicBezTo>
                <a:cubicBezTo>
                  <a:pt x="662" y="129"/>
                  <a:pt x="662" y="129"/>
                  <a:pt x="661" y="129"/>
                </a:cubicBezTo>
                <a:cubicBezTo>
                  <a:pt x="661" y="129"/>
                  <a:pt x="661" y="130"/>
                  <a:pt x="661" y="130"/>
                </a:cubicBezTo>
                <a:cubicBezTo>
                  <a:pt x="661" y="130"/>
                  <a:pt x="661" y="130"/>
                  <a:pt x="660" y="130"/>
                </a:cubicBezTo>
                <a:cubicBezTo>
                  <a:pt x="660" y="131"/>
                  <a:pt x="660" y="131"/>
                  <a:pt x="660" y="131"/>
                </a:cubicBezTo>
                <a:cubicBezTo>
                  <a:pt x="660" y="131"/>
                  <a:pt x="661" y="131"/>
                  <a:pt x="661" y="131"/>
                </a:cubicBezTo>
                <a:cubicBezTo>
                  <a:pt x="661" y="131"/>
                  <a:pt x="661" y="131"/>
                  <a:pt x="662" y="131"/>
                </a:cubicBezTo>
                <a:cubicBezTo>
                  <a:pt x="662" y="131"/>
                  <a:pt x="662" y="131"/>
                  <a:pt x="662" y="131"/>
                </a:cubicBezTo>
                <a:cubicBezTo>
                  <a:pt x="662" y="131"/>
                  <a:pt x="663" y="131"/>
                  <a:pt x="663" y="131"/>
                </a:cubicBezTo>
                <a:cubicBezTo>
                  <a:pt x="663" y="131"/>
                  <a:pt x="663" y="131"/>
                  <a:pt x="663" y="131"/>
                </a:cubicBezTo>
                <a:cubicBezTo>
                  <a:pt x="664" y="131"/>
                  <a:pt x="664" y="131"/>
                  <a:pt x="664" y="131"/>
                </a:cubicBezTo>
                <a:cubicBezTo>
                  <a:pt x="665" y="131"/>
                  <a:pt x="665" y="131"/>
                  <a:pt x="665" y="130"/>
                </a:cubicBezTo>
                <a:cubicBezTo>
                  <a:pt x="665" y="130"/>
                  <a:pt x="666" y="130"/>
                  <a:pt x="666" y="130"/>
                </a:cubicBezTo>
                <a:cubicBezTo>
                  <a:pt x="666" y="130"/>
                  <a:pt x="666" y="130"/>
                  <a:pt x="666" y="130"/>
                </a:cubicBezTo>
                <a:cubicBezTo>
                  <a:pt x="666" y="131"/>
                  <a:pt x="666" y="131"/>
                  <a:pt x="666" y="131"/>
                </a:cubicBezTo>
                <a:cubicBezTo>
                  <a:pt x="666" y="131"/>
                  <a:pt x="665" y="131"/>
                  <a:pt x="665" y="131"/>
                </a:cubicBezTo>
                <a:cubicBezTo>
                  <a:pt x="664" y="132"/>
                  <a:pt x="664" y="132"/>
                  <a:pt x="663" y="132"/>
                </a:cubicBezTo>
                <a:cubicBezTo>
                  <a:pt x="663" y="132"/>
                  <a:pt x="662" y="132"/>
                  <a:pt x="662" y="132"/>
                </a:cubicBezTo>
                <a:cubicBezTo>
                  <a:pt x="661" y="132"/>
                  <a:pt x="661" y="132"/>
                  <a:pt x="661" y="133"/>
                </a:cubicBezTo>
                <a:cubicBezTo>
                  <a:pt x="661" y="133"/>
                  <a:pt x="661" y="133"/>
                  <a:pt x="660" y="133"/>
                </a:cubicBezTo>
                <a:cubicBezTo>
                  <a:pt x="660" y="133"/>
                  <a:pt x="660" y="133"/>
                  <a:pt x="660" y="133"/>
                </a:cubicBezTo>
                <a:cubicBezTo>
                  <a:pt x="661" y="133"/>
                  <a:pt x="661" y="133"/>
                  <a:pt x="661" y="134"/>
                </a:cubicBezTo>
                <a:cubicBezTo>
                  <a:pt x="661" y="133"/>
                  <a:pt x="662" y="133"/>
                  <a:pt x="662" y="133"/>
                </a:cubicBezTo>
                <a:cubicBezTo>
                  <a:pt x="662" y="133"/>
                  <a:pt x="663" y="133"/>
                  <a:pt x="663" y="133"/>
                </a:cubicBezTo>
                <a:cubicBezTo>
                  <a:pt x="663" y="133"/>
                  <a:pt x="663" y="133"/>
                  <a:pt x="663" y="133"/>
                </a:cubicBezTo>
                <a:cubicBezTo>
                  <a:pt x="664" y="133"/>
                  <a:pt x="664" y="133"/>
                  <a:pt x="664" y="133"/>
                </a:cubicBezTo>
                <a:cubicBezTo>
                  <a:pt x="665" y="133"/>
                  <a:pt x="665" y="133"/>
                  <a:pt x="665" y="132"/>
                </a:cubicBezTo>
                <a:cubicBezTo>
                  <a:pt x="666" y="132"/>
                  <a:pt x="666" y="133"/>
                  <a:pt x="666" y="133"/>
                </a:cubicBezTo>
                <a:cubicBezTo>
                  <a:pt x="666" y="133"/>
                  <a:pt x="665" y="133"/>
                  <a:pt x="665" y="133"/>
                </a:cubicBezTo>
                <a:cubicBezTo>
                  <a:pt x="665" y="133"/>
                  <a:pt x="665" y="133"/>
                  <a:pt x="665" y="133"/>
                </a:cubicBezTo>
                <a:cubicBezTo>
                  <a:pt x="664" y="133"/>
                  <a:pt x="664" y="133"/>
                  <a:pt x="664" y="134"/>
                </a:cubicBezTo>
                <a:cubicBezTo>
                  <a:pt x="664" y="134"/>
                  <a:pt x="663" y="134"/>
                  <a:pt x="663" y="134"/>
                </a:cubicBezTo>
                <a:cubicBezTo>
                  <a:pt x="663" y="134"/>
                  <a:pt x="663" y="134"/>
                  <a:pt x="663" y="134"/>
                </a:cubicBezTo>
                <a:cubicBezTo>
                  <a:pt x="663" y="134"/>
                  <a:pt x="662" y="134"/>
                  <a:pt x="662" y="134"/>
                </a:cubicBezTo>
                <a:cubicBezTo>
                  <a:pt x="662" y="135"/>
                  <a:pt x="662" y="135"/>
                  <a:pt x="662" y="135"/>
                </a:cubicBezTo>
                <a:cubicBezTo>
                  <a:pt x="662" y="135"/>
                  <a:pt x="661" y="135"/>
                  <a:pt x="661" y="135"/>
                </a:cubicBezTo>
                <a:cubicBezTo>
                  <a:pt x="661" y="135"/>
                  <a:pt x="661" y="136"/>
                  <a:pt x="661" y="136"/>
                </a:cubicBezTo>
                <a:cubicBezTo>
                  <a:pt x="662" y="136"/>
                  <a:pt x="662" y="136"/>
                  <a:pt x="662" y="136"/>
                </a:cubicBezTo>
                <a:cubicBezTo>
                  <a:pt x="662" y="135"/>
                  <a:pt x="663" y="135"/>
                  <a:pt x="663" y="135"/>
                </a:cubicBezTo>
                <a:cubicBezTo>
                  <a:pt x="663" y="134"/>
                  <a:pt x="664" y="134"/>
                  <a:pt x="664" y="134"/>
                </a:cubicBezTo>
                <a:cubicBezTo>
                  <a:pt x="664" y="134"/>
                  <a:pt x="664" y="134"/>
                  <a:pt x="665" y="134"/>
                </a:cubicBezTo>
                <a:cubicBezTo>
                  <a:pt x="665" y="134"/>
                  <a:pt x="665" y="134"/>
                  <a:pt x="665" y="134"/>
                </a:cubicBezTo>
                <a:cubicBezTo>
                  <a:pt x="665" y="134"/>
                  <a:pt x="665" y="134"/>
                  <a:pt x="665" y="134"/>
                </a:cubicBezTo>
                <a:cubicBezTo>
                  <a:pt x="665" y="134"/>
                  <a:pt x="666" y="134"/>
                  <a:pt x="666" y="134"/>
                </a:cubicBezTo>
                <a:cubicBezTo>
                  <a:pt x="666" y="134"/>
                  <a:pt x="666" y="134"/>
                  <a:pt x="666" y="135"/>
                </a:cubicBezTo>
                <a:cubicBezTo>
                  <a:pt x="666" y="135"/>
                  <a:pt x="666" y="135"/>
                  <a:pt x="666" y="135"/>
                </a:cubicBezTo>
                <a:cubicBezTo>
                  <a:pt x="666" y="135"/>
                  <a:pt x="665" y="135"/>
                  <a:pt x="665" y="135"/>
                </a:cubicBezTo>
                <a:cubicBezTo>
                  <a:pt x="665" y="135"/>
                  <a:pt x="665" y="135"/>
                  <a:pt x="665" y="135"/>
                </a:cubicBezTo>
                <a:cubicBezTo>
                  <a:pt x="664" y="135"/>
                  <a:pt x="664" y="135"/>
                  <a:pt x="663" y="135"/>
                </a:cubicBezTo>
                <a:cubicBezTo>
                  <a:pt x="663" y="135"/>
                  <a:pt x="663" y="135"/>
                  <a:pt x="663" y="136"/>
                </a:cubicBezTo>
                <a:cubicBezTo>
                  <a:pt x="663" y="136"/>
                  <a:pt x="663" y="136"/>
                  <a:pt x="663" y="136"/>
                </a:cubicBezTo>
                <a:cubicBezTo>
                  <a:pt x="664" y="136"/>
                  <a:pt x="664" y="136"/>
                  <a:pt x="664" y="136"/>
                </a:cubicBezTo>
                <a:cubicBezTo>
                  <a:pt x="665" y="136"/>
                  <a:pt x="665" y="136"/>
                  <a:pt x="665" y="136"/>
                </a:cubicBezTo>
                <a:cubicBezTo>
                  <a:pt x="666" y="136"/>
                  <a:pt x="666" y="135"/>
                  <a:pt x="666" y="135"/>
                </a:cubicBezTo>
                <a:cubicBezTo>
                  <a:pt x="666" y="135"/>
                  <a:pt x="666" y="135"/>
                  <a:pt x="666" y="135"/>
                </a:cubicBezTo>
                <a:cubicBezTo>
                  <a:pt x="667" y="135"/>
                  <a:pt x="667" y="136"/>
                  <a:pt x="667" y="136"/>
                </a:cubicBezTo>
                <a:cubicBezTo>
                  <a:pt x="667" y="136"/>
                  <a:pt x="667" y="136"/>
                  <a:pt x="667" y="136"/>
                </a:cubicBezTo>
                <a:cubicBezTo>
                  <a:pt x="667" y="136"/>
                  <a:pt x="667" y="136"/>
                  <a:pt x="667" y="137"/>
                </a:cubicBezTo>
                <a:cubicBezTo>
                  <a:pt x="666" y="136"/>
                  <a:pt x="665" y="136"/>
                  <a:pt x="665" y="136"/>
                </a:cubicBezTo>
                <a:cubicBezTo>
                  <a:pt x="664" y="136"/>
                  <a:pt x="664" y="136"/>
                  <a:pt x="663" y="136"/>
                </a:cubicBezTo>
                <a:cubicBezTo>
                  <a:pt x="663" y="136"/>
                  <a:pt x="663" y="136"/>
                  <a:pt x="663" y="137"/>
                </a:cubicBezTo>
                <a:cubicBezTo>
                  <a:pt x="663" y="137"/>
                  <a:pt x="663" y="137"/>
                  <a:pt x="664" y="137"/>
                </a:cubicBezTo>
                <a:cubicBezTo>
                  <a:pt x="664" y="137"/>
                  <a:pt x="664" y="137"/>
                  <a:pt x="665" y="137"/>
                </a:cubicBezTo>
                <a:cubicBezTo>
                  <a:pt x="665" y="137"/>
                  <a:pt x="665" y="138"/>
                  <a:pt x="666" y="138"/>
                </a:cubicBezTo>
                <a:cubicBezTo>
                  <a:pt x="666" y="138"/>
                  <a:pt x="666" y="138"/>
                  <a:pt x="666" y="138"/>
                </a:cubicBezTo>
                <a:cubicBezTo>
                  <a:pt x="666" y="138"/>
                  <a:pt x="666" y="138"/>
                  <a:pt x="666" y="139"/>
                </a:cubicBezTo>
                <a:cubicBezTo>
                  <a:pt x="665" y="138"/>
                  <a:pt x="665" y="138"/>
                  <a:pt x="665" y="138"/>
                </a:cubicBezTo>
                <a:cubicBezTo>
                  <a:pt x="665" y="138"/>
                  <a:pt x="665" y="138"/>
                  <a:pt x="665" y="138"/>
                </a:cubicBezTo>
                <a:cubicBezTo>
                  <a:pt x="665" y="138"/>
                  <a:pt x="664" y="138"/>
                  <a:pt x="664" y="138"/>
                </a:cubicBezTo>
                <a:cubicBezTo>
                  <a:pt x="665" y="138"/>
                  <a:pt x="665" y="139"/>
                  <a:pt x="665" y="139"/>
                </a:cubicBezTo>
                <a:cubicBezTo>
                  <a:pt x="665" y="139"/>
                  <a:pt x="666" y="139"/>
                  <a:pt x="666" y="139"/>
                </a:cubicBezTo>
                <a:cubicBezTo>
                  <a:pt x="667" y="139"/>
                  <a:pt x="667" y="139"/>
                  <a:pt x="668" y="140"/>
                </a:cubicBezTo>
                <a:cubicBezTo>
                  <a:pt x="668" y="140"/>
                  <a:pt x="668" y="140"/>
                  <a:pt x="668" y="140"/>
                </a:cubicBezTo>
                <a:cubicBezTo>
                  <a:pt x="667" y="140"/>
                  <a:pt x="667" y="140"/>
                  <a:pt x="667" y="140"/>
                </a:cubicBezTo>
                <a:cubicBezTo>
                  <a:pt x="667" y="140"/>
                  <a:pt x="667" y="140"/>
                  <a:pt x="667" y="140"/>
                </a:cubicBezTo>
                <a:cubicBezTo>
                  <a:pt x="667" y="140"/>
                  <a:pt x="667" y="140"/>
                  <a:pt x="666" y="140"/>
                </a:cubicBezTo>
                <a:cubicBezTo>
                  <a:pt x="666" y="140"/>
                  <a:pt x="666" y="140"/>
                  <a:pt x="665" y="140"/>
                </a:cubicBezTo>
                <a:cubicBezTo>
                  <a:pt x="665" y="140"/>
                  <a:pt x="665" y="140"/>
                  <a:pt x="665" y="140"/>
                </a:cubicBezTo>
                <a:cubicBezTo>
                  <a:pt x="665" y="140"/>
                  <a:pt x="665" y="140"/>
                  <a:pt x="665" y="140"/>
                </a:cubicBezTo>
                <a:cubicBezTo>
                  <a:pt x="665" y="140"/>
                  <a:pt x="666" y="141"/>
                  <a:pt x="666" y="141"/>
                </a:cubicBezTo>
                <a:cubicBezTo>
                  <a:pt x="667" y="141"/>
                  <a:pt x="667" y="141"/>
                  <a:pt x="667" y="141"/>
                </a:cubicBezTo>
                <a:cubicBezTo>
                  <a:pt x="667" y="141"/>
                  <a:pt x="667" y="141"/>
                  <a:pt x="667" y="141"/>
                </a:cubicBezTo>
                <a:cubicBezTo>
                  <a:pt x="668" y="141"/>
                  <a:pt x="668" y="141"/>
                  <a:pt x="668" y="141"/>
                </a:cubicBezTo>
                <a:cubicBezTo>
                  <a:pt x="668" y="141"/>
                  <a:pt x="668" y="141"/>
                  <a:pt x="668" y="141"/>
                </a:cubicBezTo>
                <a:cubicBezTo>
                  <a:pt x="668" y="141"/>
                  <a:pt x="668" y="141"/>
                  <a:pt x="668" y="142"/>
                </a:cubicBezTo>
                <a:cubicBezTo>
                  <a:pt x="668" y="142"/>
                  <a:pt x="668" y="142"/>
                  <a:pt x="667" y="142"/>
                </a:cubicBezTo>
                <a:cubicBezTo>
                  <a:pt x="667" y="142"/>
                  <a:pt x="667" y="142"/>
                  <a:pt x="666" y="142"/>
                </a:cubicBezTo>
                <a:cubicBezTo>
                  <a:pt x="666" y="142"/>
                  <a:pt x="666" y="141"/>
                  <a:pt x="665" y="141"/>
                </a:cubicBezTo>
                <a:cubicBezTo>
                  <a:pt x="665" y="141"/>
                  <a:pt x="665" y="141"/>
                  <a:pt x="664" y="141"/>
                </a:cubicBezTo>
                <a:cubicBezTo>
                  <a:pt x="664" y="141"/>
                  <a:pt x="664" y="141"/>
                  <a:pt x="663" y="140"/>
                </a:cubicBezTo>
                <a:cubicBezTo>
                  <a:pt x="663" y="140"/>
                  <a:pt x="663" y="140"/>
                  <a:pt x="662" y="139"/>
                </a:cubicBezTo>
                <a:cubicBezTo>
                  <a:pt x="662" y="139"/>
                  <a:pt x="662" y="139"/>
                  <a:pt x="662" y="139"/>
                </a:cubicBezTo>
                <a:cubicBezTo>
                  <a:pt x="661" y="139"/>
                  <a:pt x="661" y="139"/>
                  <a:pt x="661" y="139"/>
                </a:cubicBezTo>
                <a:cubicBezTo>
                  <a:pt x="661" y="139"/>
                  <a:pt x="661" y="139"/>
                  <a:pt x="660" y="139"/>
                </a:cubicBezTo>
                <a:cubicBezTo>
                  <a:pt x="660" y="139"/>
                  <a:pt x="660" y="139"/>
                  <a:pt x="659" y="139"/>
                </a:cubicBezTo>
                <a:cubicBezTo>
                  <a:pt x="659" y="139"/>
                  <a:pt x="659" y="139"/>
                  <a:pt x="658" y="139"/>
                </a:cubicBezTo>
                <a:cubicBezTo>
                  <a:pt x="658" y="139"/>
                  <a:pt x="658" y="139"/>
                  <a:pt x="658" y="139"/>
                </a:cubicBezTo>
                <a:cubicBezTo>
                  <a:pt x="658" y="139"/>
                  <a:pt x="657" y="139"/>
                  <a:pt x="657" y="139"/>
                </a:cubicBezTo>
                <a:cubicBezTo>
                  <a:pt x="657" y="139"/>
                  <a:pt x="656" y="139"/>
                  <a:pt x="656" y="139"/>
                </a:cubicBezTo>
                <a:cubicBezTo>
                  <a:pt x="655" y="139"/>
                  <a:pt x="655" y="138"/>
                  <a:pt x="655" y="138"/>
                </a:cubicBezTo>
                <a:cubicBezTo>
                  <a:pt x="654" y="138"/>
                  <a:pt x="654" y="138"/>
                  <a:pt x="654" y="138"/>
                </a:cubicBezTo>
                <a:cubicBezTo>
                  <a:pt x="653" y="138"/>
                  <a:pt x="653" y="138"/>
                  <a:pt x="653" y="138"/>
                </a:cubicBezTo>
                <a:cubicBezTo>
                  <a:pt x="653" y="138"/>
                  <a:pt x="653" y="138"/>
                  <a:pt x="652" y="138"/>
                </a:cubicBezTo>
                <a:cubicBezTo>
                  <a:pt x="652" y="139"/>
                  <a:pt x="652" y="139"/>
                  <a:pt x="651" y="139"/>
                </a:cubicBezTo>
                <a:cubicBezTo>
                  <a:pt x="651" y="139"/>
                  <a:pt x="651" y="139"/>
                  <a:pt x="650" y="140"/>
                </a:cubicBezTo>
                <a:cubicBezTo>
                  <a:pt x="650" y="140"/>
                  <a:pt x="650" y="140"/>
                  <a:pt x="650" y="140"/>
                </a:cubicBezTo>
                <a:cubicBezTo>
                  <a:pt x="650" y="140"/>
                  <a:pt x="651" y="140"/>
                  <a:pt x="651" y="140"/>
                </a:cubicBezTo>
                <a:cubicBezTo>
                  <a:pt x="651" y="140"/>
                  <a:pt x="651" y="140"/>
                  <a:pt x="652" y="141"/>
                </a:cubicBezTo>
                <a:cubicBezTo>
                  <a:pt x="652" y="141"/>
                  <a:pt x="652" y="141"/>
                  <a:pt x="652" y="141"/>
                </a:cubicBezTo>
                <a:cubicBezTo>
                  <a:pt x="652" y="142"/>
                  <a:pt x="652" y="142"/>
                  <a:pt x="652" y="142"/>
                </a:cubicBezTo>
                <a:cubicBezTo>
                  <a:pt x="653" y="142"/>
                  <a:pt x="653" y="142"/>
                  <a:pt x="653" y="142"/>
                </a:cubicBezTo>
                <a:cubicBezTo>
                  <a:pt x="654" y="142"/>
                  <a:pt x="654" y="142"/>
                  <a:pt x="655" y="142"/>
                </a:cubicBezTo>
                <a:cubicBezTo>
                  <a:pt x="656" y="143"/>
                  <a:pt x="656" y="143"/>
                  <a:pt x="657" y="143"/>
                </a:cubicBezTo>
                <a:cubicBezTo>
                  <a:pt x="658" y="143"/>
                  <a:pt x="658" y="143"/>
                  <a:pt x="658" y="143"/>
                </a:cubicBezTo>
                <a:cubicBezTo>
                  <a:pt x="659" y="143"/>
                  <a:pt x="659" y="143"/>
                  <a:pt x="659" y="144"/>
                </a:cubicBezTo>
                <a:cubicBezTo>
                  <a:pt x="659" y="144"/>
                  <a:pt x="659" y="144"/>
                  <a:pt x="659" y="144"/>
                </a:cubicBezTo>
                <a:cubicBezTo>
                  <a:pt x="659" y="144"/>
                  <a:pt x="660" y="144"/>
                  <a:pt x="660" y="144"/>
                </a:cubicBezTo>
                <a:cubicBezTo>
                  <a:pt x="660" y="144"/>
                  <a:pt x="660" y="144"/>
                  <a:pt x="661" y="144"/>
                </a:cubicBezTo>
                <a:cubicBezTo>
                  <a:pt x="661" y="144"/>
                  <a:pt x="661" y="144"/>
                  <a:pt x="662" y="144"/>
                </a:cubicBezTo>
                <a:cubicBezTo>
                  <a:pt x="662" y="144"/>
                  <a:pt x="662" y="144"/>
                  <a:pt x="662" y="144"/>
                </a:cubicBezTo>
                <a:cubicBezTo>
                  <a:pt x="663" y="144"/>
                  <a:pt x="663" y="144"/>
                  <a:pt x="663" y="144"/>
                </a:cubicBezTo>
                <a:cubicBezTo>
                  <a:pt x="663" y="144"/>
                  <a:pt x="663" y="144"/>
                  <a:pt x="664" y="144"/>
                </a:cubicBezTo>
                <a:cubicBezTo>
                  <a:pt x="664" y="144"/>
                  <a:pt x="664" y="144"/>
                  <a:pt x="665" y="144"/>
                </a:cubicBezTo>
                <a:cubicBezTo>
                  <a:pt x="665" y="144"/>
                  <a:pt x="665" y="144"/>
                  <a:pt x="665" y="144"/>
                </a:cubicBezTo>
                <a:cubicBezTo>
                  <a:pt x="665" y="144"/>
                  <a:pt x="666" y="144"/>
                  <a:pt x="666" y="144"/>
                </a:cubicBezTo>
                <a:cubicBezTo>
                  <a:pt x="666" y="144"/>
                  <a:pt x="666" y="144"/>
                  <a:pt x="667" y="144"/>
                </a:cubicBezTo>
                <a:cubicBezTo>
                  <a:pt x="667" y="144"/>
                  <a:pt x="667" y="144"/>
                  <a:pt x="668" y="144"/>
                </a:cubicBezTo>
                <a:cubicBezTo>
                  <a:pt x="668" y="144"/>
                  <a:pt x="668" y="144"/>
                  <a:pt x="669" y="143"/>
                </a:cubicBezTo>
                <a:cubicBezTo>
                  <a:pt x="669" y="144"/>
                  <a:pt x="669" y="144"/>
                  <a:pt x="669" y="144"/>
                </a:cubicBezTo>
                <a:cubicBezTo>
                  <a:pt x="669" y="144"/>
                  <a:pt x="669" y="144"/>
                  <a:pt x="669" y="144"/>
                </a:cubicBezTo>
                <a:cubicBezTo>
                  <a:pt x="669" y="144"/>
                  <a:pt x="669" y="144"/>
                  <a:pt x="669" y="144"/>
                </a:cubicBezTo>
                <a:cubicBezTo>
                  <a:pt x="668" y="144"/>
                  <a:pt x="668" y="144"/>
                  <a:pt x="668" y="144"/>
                </a:cubicBezTo>
                <a:cubicBezTo>
                  <a:pt x="668" y="144"/>
                  <a:pt x="668" y="145"/>
                  <a:pt x="668" y="145"/>
                </a:cubicBezTo>
                <a:cubicBezTo>
                  <a:pt x="668" y="145"/>
                  <a:pt x="668" y="145"/>
                  <a:pt x="669" y="145"/>
                </a:cubicBezTo>
                <a:cubicBezTo>
                  <a:pt x="669" y="145"/>
                  <a:pt x="669" y="145"/>
                  <a:pt x="669" y="145"/>
                </a:cubicBezTo>
                <a:cubicBezTo>
                  <a:pt x="669" y="145"/>
                  <a:pt x="669" y="145"/>
                  <a:pt x="669" y="145"/>
                </a:cubicBezTo>
                <a:cubicBezTo>
                  <a:pt x="669" y="145"/>
                  <a:pt x="669" y="146"/>
                  <a:pt x="669" y="146"/>
                </a:cubicBezTo>
                <a:cubicBezTo>
                  <a:pt x="668" y="146"/>
                  <a:pt x="668" y="146"/>
                  <a:pt x="668" y="146"/>
                </a:cubicBezTo>
                <a:cubicBezTo>
                  <a:pt x="668" y="146"/>
                  <a:pt x="668" y="146"/>
                  <a:pt x="667" y="146"/>
                </a:cubicBezTo>
                <a:cubicBezTo>
                  <a:pt x="667" y="146"/>
                  <a:pt x="667" y="147"/>
                  <a:pt x="666" y="147"/>
                </a:cubicBezTo>
                <a:cubicBezTo>
                  <a:pt x="666" y="147"/>
                  <a:pt x="666" y="147"/>
                  <a:pt x="666" y="147"/>
                </a:cubicBezTo>
                <a:cubicBezTo>
                  <a:pt x="666" y="147"/>
                  <a:pt x="666" y="147"/>
                  <a:pt x="666" y="147"/>
                </a:cubicBezTo>
                <a:cubicBezTo>
                  <a:pt x="667" y="147"/>
                  <a:pt x="667" y="147"/>
                  <a:pt x="667" y="147"/>
                </a:cubicBezTo>
                <a:cubicBezTo>
                  <a:pt x="668" y="147"/>
                  <a:pt x="668" y="147"/>
                  <a:pt x="668" y="147"/>
                </a:cubicBezTo>
                <a:cubicBezTo>
                  <a:pt x="668" y="147"/>
                  <a:pt x="668" y="147"/>
                  <a:pt x="668" y="148"/>
                </a:cubicBezTo>
                <a:cubicBezTo>
                  <a:pt x="668" y="148"/>
                  <a:pt x="668" y="148"/>
                  <a:pt x="668" y="148"/>
                </a:cubicBezTo>
                <a:cubicBezTo>
                  <a:pt x="667" y="148"/>
                  <a:pt x="667" y="148"/>
                  <a:pt x="667" y="148"/>
                </a:cubicBezTo>
                <a:cubicBezTo>
                  <a:pt x="667" y="148"/>
                  <a:pt x="667" y="148"/>
                  <a:pt x="667" y="148"/>
                </a:cubicBezTo>
                <a:cubicBezTo>
                  <a:pt x="666" y="148"/>
                  <a:pt x="666" y="148"/>
                  <a:pt x="666" y="148"/>
                </a:cubicBezTo>
                <a:cubicBezTo>
                  <a:pt x="666" y="148"/>
                  <a:pt x="666" y="149"/>
                  <a:pt x="665" y="149"/>
                </a:cubicBezTo>
                <a:cubicBezTo>
                  <a:pt x="665" y="149"/>
                  <a:pt x="665" y="149"/>
                  <a:pt x="665" y="149"/>
                </a:cubicBezTo>
                <a:cubicBezTo>
                  <a:pt x="665" y="149"/>
                  <a:pt x="664" y="149"/>
                  <a:pt x="664" y="150"/>
                </a:cubicBezTo>
                <a:cubicBezTo>
                  <a:pt x="664" y="150"/>
                  <a:pt x="664" y="150"/>
                  <a:pt x="664" y="150"/>
                </a:cubicBezTo>
                <a:cubicBezTo>
                  <a:pt x="665" y="150"/>
                  <a:pt x="665" y="150"/>
                  <a:pt x="665" y="150"/>
                </a:cubicBezTo>
                <a:cubicBezTo>
                  <a:pt x="665" y="150"/>
                  <a:pt x="666" y="150"/>
                  <a:pt x="666" y="150"/>
                </a:cubicBezTo>
                <a:cubicBezTo>
                  <a:pt x="666" y="150"/>
                  <a:pt x="666" y="150"/>
                  <a:pt x="666" y="150"/>
                </a:cubicBezTo>
                <a:cubicBezTo>
                  <a:pt x="666" y="150"/>
                  <a:pt x="666" y="150"/>
                  <a:pt x="667" y="150"/>
                </a:cubicBezTo>
                <a:cubicBezTo>
                  <a:pt x="667" y="150"/>
                  <a:pt x="667" y="150"/>
                  <a:pt x="667" y="150"/>
                </a:cubicBezTo>
                <a:cubicBezTo>
                  <a:pt x="667" y="150"/>
                  <a:pt x="667" y="150"/>
                  <a:pt x="668" y="150"/>
                </a:cubicBezTo>
                <a:cubicBezTo>
                  <a:pt x="668" y="150"/>
                  <a:pt x="668" y="150"/>
                  <a:pt x="668" y="150"/>
                </a:cubicBezTo>
                <a:cubicBezTo>
                  <a:pt x="668" y="150"/>
                  <a:pt x="668" y="150"/>
                  <a:pt x="668" y="150"/>
                </a:cubicBezTo>
                <a:cubicBezTo>
                  <a:pt x="668" y="150"/>
                  <a:pt x="667" y="150"/>
                  <a:pt x="667" y="151"/>
                </a:cubicBezTo>
                <a:cubicBezTo>
                  <a:pt x="667" y="151"/>
                  <a:pt x="666" y="151"/>
                  <a:pt x="666" y="151"/>
                </a:cubicBezTo>
                <a:cubicBezTo>
                  <a:pt x="666" y="151"/>
                  <a:pt x="666" y="151"/>
                  <a:pt x="666" y="151"/>
                </a:cubicBezTo>
                <a:cubicBezTo>
                  <a:pt x="667" y="151"/>
                  <a:pt x="667" y="151"/>
                  <a:pt x="668" y="151"/>
                </a:cubicBezTo>
                <a:cubicBezTo>
                  <a:pt x="668" y="151"/>
                  <a:pt x="668" y="151"/>
                  <a:pt x="668" y="151"/>
                </a:cubicBezTo>
                <a:cubicBezTo>
                  <a:pt x="668" y="151"/>
                  <a:pt x="668" y="151"/>
                  <a:pt x="669" y="151"/>
                </a:cubicBezTo>
                <a:cubicBezTo>
                  <a:pt x="668" y="151"/>
                  <a:pt x="668" y="151"/>
                  <a:pt x="668" y="151"/>
                </a:cubicBezTo>
                <a:cubicBezTo>
                  <a:pt x="668" y="151"/>
                  <a:pt x="668" y="151"/>
                  <a:pt x="667" y="151"/>
                </a:cubicBezTo>
                <a:cubicBezTo>
                  <a:pt x="667" y="151"/>
                  <a:pt x="667" y="152"/>
                  <a:pt x="667" y="152"/>
                </a:cubicBezTo>
                <a:cubicBezTo>
                  <a:pt x="667" y="152"/>
                  <a:pt x="667" y="152"/>
                  <a:pt x="667" y="152"/>
                </a:cubicBezTo>
                <a:cubicBezTo>
                  <a:pt x="667" y="152"/>
                  <a:pt x="666" y="152"/>
                  <a:pt x="666" y="151"/>
                </a:cubicBezTo>
                <a:cubicBezTo>
                  <a:pt x="666" y="151"/>
                  <a:pt x="666" y="152"/>
                  <a:pt x="666" y="152"/>
                </a:cubicBezTo>
                <a:cubicBezTo>
                  <a:pt x="665" y="152"/>
                  <a:pt x="665" y="152"/>
                  <a:pt x="665" y="152"/>
                </a:cubicBezTo>
                <a:cubicBezTo>
                  <a:pt x="665" y="151"/>
                  <a:pt x="664" y="151"/>
                  <a:pt x="664" y="151"/>
                </a:cubicBezTo>
                <a:cubicBezTo>
                  <a:pt x="665" y="151"/>
                  <a:pt x="665" y="151"/>
                  <a:pt x="665" y="151"/>
                </a:cubicBezTo>
                <a:cubicBezTo>
                  <a:pt x="664" y="151"/>
                  <a:pt x="664" y="151"/>
                  <a:pt x="664" y="150"/>
                </a:cubicBezTo>
                <a:cubicBezTo>
                  <a:pt x="664" y="150"/>
                  <a:pt x="664" y="150"/>
                  <a:pt x="664" y="150"/>
                </a:cubicBezTo>
                <a:cubicBezTo>
                  <a:pt x="663" y="150"/>
                  <a:pt x="663" y="150"/>
                  <a:pt x="663" y="151"/>
                </a:cubicBezTo>
                <a:cubicBezTo>
                  <a:pt x="663" y="151"/>
                  <a:pt x="663" y="151"/>
                  <a:pt x="663" y="151"/>
                </a:cubicBezTo>
                <a:cubicBezTo>
                  <a:pt x="663" y="152"/>
                  <a:pt x="663" y="152"/>
                  <a:pt x="663" y="153"/>
                </a:cubicBezTo>
                <a:cubicBezTo>
                  <a:pt x="663" y="153"/>
                  <a:pt x="663" y="153"/>
                  <a:pt x="662" y="153"/>
                </a:cubicBezTo>
                <a:cubicBezTo>
                  <a:pt x="663" y="153"/>
                  <a:pt x="663" y="153"/>
                  <a:pt x="663" y="154"/>
                </a:cubicBezTo>
                <a:cubicBezTo>
                  <a:pt x="663" y="154"/>
                  <a:pt x="663" y="153"/>
                  <a:pt x="663" y="153"/>
                </a:cubicBezTo>
                <a:cubicBezTo>
                  <a:pt x="664" y="153"/>
                  <a:pt x="664" y="153"/>
                  <a:pt x="664" y="153"/>
                </a:cubicBezTo>
                <a:cubicBezTo>
                  <a:pt x="664" y="153"/>
                  <a:pt x="664" y="153"/>
                  <a:pt x="664" y="153"/>
                </a:cubicBezTo>
                <a:cubicBezTo>
                  <a:pt x="664" y="153"/>
                  <a:pt x="664" y="153"/>
                  <a:pt x="664" y="153"/>
                </a:cubicBezTo>
                <a:cubicBezTo>
                  <a:pt x="664" y="154"/>
                  <a:pt x="664" y="154"/>
                  <a:pt x="663" y="154"/>
                </a:cubicBezTo>
                <a:cubicBezTo>
                  <a:pt x="663" y="154"/>
                  <a:pt x="663" y="154"/>
                  <a:pt x="663" y="154"/>
                </a:cubicBezTo>
                <a:cubicBezTo>
                  <a:pt x="663" y="154"/>
                  <a:pt x="663" y="154"/>
                  <a:pt x="662" y="154"/>
                </a:cubicBezTo>
                <a:cubicBezTo>
                  <a:pt x="662" y="155"/>
                  <a:pt x="662" y="155"/>
                  <a:pt x="662" y="155"/>
                </a:cubicBezTo>
                <a:cubicBezTo>
                  <a:pt x="662" y="155"/>
                  <a:pt x="662" y="155"/>
                  <a:pt x="661" y="155"/>
                </a:cubicBezTo>
                <a:cubicBezTo>
                  <a:pt x="661" y="155"/>
                  <a:pt x="661" y="155"/>
                  <a:pt x="660" y="155"/>
                </a:cubicBezTo>
                <a:cubicBezTo>
                  <a:pt x="660" y="155"/>
                  <a:pt x="660" y="155"/>
                  <a:pt x="659" y="155"/>
                </a:cubicBezTo>
                <a:cubicBezTo>
                  <a:pt x="659" y="155"/>
                  <a:pt x="659" y="155"/>
                  <a:pt x="659" y="155"/>
                </a:cubicBezTo>
                <a:cubicBezTo>
                  <a:pt x="658" y="155"/>
                  <a:pt x="658" y="155"/>
                  <a:pt x="658" y="155"/>
                </a:cubicBezTo>
                <a:cubicBezTo>
                  <a:pt x="657" y="155"/>
                  <a:pt x="657" y="156"/>
                  <a:pt x="657" y="156"/>
                </a:cubicBezTo>
                <a:cubicBezTo>
                  <a:pt x="656" y="156"/>
                  <a:pt x="656" y="156"/>
                  <a:pt x="655" y="156"/>
                </a:cubicBezTo>
                <a:cubicBezTo>
                  <a:pt x="655" y="156"/>
                  <a:pt x="655" y="157"/>
                  <a:pt x="654" y="157"/>
                </a:cubicBezTo>
                <a:cubicBezTo>
                  <a:pt x="654" y="157"/>
                  <a:pt x="654" y="157"/>
                  <a:pt x="654" y="157"/>
                </a:cubicBezTo>
                <a:cubicBezTo>
                  <a:pt x="655" y="157"/>
                  <a:pt x="655" y="157"/>
                  <a:pt x="655" y="157"/>
                </a:cubicBezTo>
                <a:cubicBezTo>
                  <a:pt x="656" y="156"/>
                  <a:pt x="656" y="156"/>
                  <a:pt x="656" y="156"/>
                </a:cubicBezTo>
                <a:cubicBezTo>
                  <a:pt x="656" y="157"/>
                  <a:pt x="656" y="157"/>
                  <a:pt x="656" y="157"/>
                </a:cubicBezTo>
                <a:cubicBezTo>
                  <a:pt x="655" y="157"/>
                  <a:pt x="655" y="157"/>
                  <a:pt x="655" y="157"/>
                </a:cubicBezTo>
                <a:cubicBezTo>
                  <a:pt x="655" y="157"/>
                  <a:pt x="655" y="157"/>
                  <a:pt x="655" y="157"/>
                </a:cubicBezTo>
                <a:cubicBezTo>
                  <a:pt x="656" y="157"/>
                  <a:pt x="656" y="157"/>
                  <a:pt x="656" y="157"/>
                </a:cubicBezTo>
                <a:cubicBezTo>
                  <a:pt x="656" y="158"/>
                  <a:pt x="657" y="158"/>
                  <a:pt x="657" y="158"/>
                </a:cubicBezTo>
                <a:cubicBezTo>
                  <a:pt x="657" y="158"/>
                  <a:pt x="658" y="158"/>
                  <a:pt x="658" y="158"/>
                </a:cubicBezTo>
                <a:cubicBezTo>
                  <a:pt x="658" y="158"/>
                  <a:pt x="658" y="158"/>
                  <a:pt x="659" y="158"/>
                </a:cubicBezTo>
                <a:cubicBezTo>
                  <a:pt x="659" y="157"/>
                  <a:pt x="659" y="157"/>
                  <a:pt x="659" y="157"/>
                </a:cubicBezTo>
                <a:cubicBezTo>
                  <a:pt x="660" y="157"/>
                  <a:pt x="660" y="157"/>
                  <a:pt x="661" y="157"/>
                </a:cubicBezTo>
                <a:cubicBezTo>
                  <a:pt x="661" y="157"/>
                  <a:pt x="661" y="157"/>
                  <a:pt x="661" y="157"/>
                </a:cubicBezTo>
                <a:cubicBezTo>
                  <a:pt x="661" y="157"/>
                  <a:pt x="660" y="157"/>
                  <a:pt x="660" y="157"/>
                </a:cubicBezTo>
                <a:cubicBezTo>
                  <a:pt x="660" y="157"/>
                  <a:pt x="660" y="156"/>
                  <a:pt x="660" y="156"/>
                </a:cubicBezTo>
                <a:cubicBezTo>
                  <a:pt x="660" y="156"/>
                  <a:pt x="660" y="156"/>
                  <a:pt x="660" y="156"/>
                </a:cubicBezTo>
                <a:cubicBezTo>
                  <a:pt x="661" y="156"/>
                  <a:pt x="661" y="156"/>
                  <a:pt x="662" y="156"/>
                </a:cubicBezTo>
                <a:cubicBezTo>
                  <a:pt x="662" y="156"/>
                  <a:pt x="662" y="156"/>
                  <a:pt x="662" y="156"/>
                </a:cubicBezTo>
                <a:cubicBezTo>
                  <a:pt x="663" y="156"/>
                  <a:pt x="663" y="156"/>
                  <a:pt x="663" y="156"/>
                </a:cubicBezTo>
                <a:cubicBezTo>
                  <a:pt x="663" y="156"/>
                  <a:pt x="663" y="156"/>
                  <a:pt x="663" y="156"/>
                </a:cubicBezTo>
                <a:cubicBezTo>
                  <a:pt x="663" y="156"/>
                  <a:pt x="663" y="156"/>
                  <a:pt x="663" y="156"/>
                </a:cubicBezTo>
                <a:cubicBezTo>
                  <a:pt x="663" y="156"/>
                  <a:pt x="662" y="156"/>
                  <a:pt x="662" y="156"/>
                </a:cubicBezTo>
                <a:cubicBezTo>
                  <a:pt x="662" y="157"/>
                  <a:pt x="662" y="157"/>
                  <a:pt x="662" y="157"/>
                </a:cubicBezTo>
                <a:cubicBezTo>
                  <a:pt x="662" y="157"/>
                  <a:pt x="661" y="157"/>
                  <a:pt x="661" y="157"/>
                </a:cubicBezTo>
                <a:cubicBezTo>
                  <a:pt x="661" y="157"/>
                  <a:pt x="661" y="158"/>
                  <a:pt x="661" y="158"/>
                </a:cubicBezTo>
                <a:cubicBezTo>
                  <a:pt x="661" y="158"/>
                  <a:pt x="661" y="158"/>
                  <a:pt x="661" y="158"/>
                </a:cubicBezTo>
                <a:cubicBezTo>
                  <a:pt x="662" y="158"/>
                  <a:pt x="663" y="158"/>
                  <a:pt x="664" y="159"/>
                </a:cubicBezTo>
                <a:cubicBezTo>
                  <a:pt x="664" y="159"/>
                  <a:pt x="664" y="159"/>
                  <a:pt x="665" y="159"/>
                </a:cubicBezTo>
                <a:cubicBezTo>
                  <a:pt x="665" y="159"/>
                  <a:pt x="665" y="159"/>
                  <a:pt x="665" y="159"/>
                </a:cubicBezTo>
                <a:cubicBezTo>
                  <a:pt x="665" y="159"/>
                  <a:pt x="664" y="160"/>
                  <a:pt x="664" y="160"/>
                </a:cubicBezTo>
                <a:cubicBezTo>
                  <a:pt x="664" y="159"/>
                  <a:pt x="664" y="159"/>
                  <a:pt x="664" y="159"/>
                </a:cubicBezTo>
                <a:cubicBezTo>
                  <a:pt x="663" y="159"/>
                  <a:pt x="663" y="159"/>
                  <a:pt x="663" y="159"/>
                </a:cubicBezTo>
                <a:cubicBezTo>
                  <a:pt x="662" y="159"/>
                  <a:pt x="662" y="159"/>
                  <a:pt x="661" y="159"/>
                </a:cubicBezTo>
                <a:cubicBezTo>
                  <a:pt x="661" y="159"/>
                  <a:pt x="661" y="159"/>
                  <a:pt x="661" y="159"/>
                </a:cubicBezTo>
                <a:cubicBezTo>
                  <a:pt x="661" y="159"/>
                  <a:pt x="660" y="159"/>
                  <a:pt x="660" y="159"/>
                </a:cubicBezTo>
                <a:cubicBezTo>
                  <a:pt x="660" y="159"/>
                  <a:pt x="660" y="159"/>
                  <a:pt x="659" y="159"/>
                </a:cubicBezTo>
                <a:cubicBezTo>
                  <a:pt x="659" y="159"/>
                  <a:pt x="659" y="159"/>
                  <a:pt x="659" y="159"/>
                </a:cubicBezTo>
                <a:cubicBezTo>
                  <a:pt x="658" y="159"/>
                  <a:pt x="657" y="159"/>
                  <a:pt x="657" y="159"/>
                </a:cubicBezTo>
                <a:cubicBezTo>
                  <a:pt x="656" y="159"/>
                  <a:pt x="656" y="159"/>
                  <a:pt x="656" y="158"/>
                </a:cubicBezTo>
                <a:cubicBezTo>
                  <a:pt x="656" y="158"/>
                  <a:pt x="656" y="158"/>
                  <a:pt x="656" y="158"/>
                </a:cubicBezTo>
                <a:cubicBezTo>
                  <a:pt x="655" y="158"/>
                  <a:pt x="655" y="158"/>
                  <a:pt x="655" y="158"/>
                </a:cubicBezTo>
                <a:cubicBezTo>
                  <a:pt x="655" y="158"/>
                  <a:pt x="655" y="158"/>
                  <a:pt x="656" y="159"/>
                </a:cubicBezTo>
                <a:cubicBezTo>
                  <a:pt x="656" y="159"/>
                  <a:pt x="656" y="159"/>
                  <a:pt x="656" y="159"/>
                </a:cubicBezTo>
                <a:cubicBezTo>
                  <a:pt x="656" y="159"/>
                  <a:pt x="656" y="159"/>
                  <a:pt x="656" y="159"/>
                </a:cubicBezTo>
                <a:cubicBezTo>
                  <a:pt x="655" y="159"/>
                  <a:pt x="655" y="159"/>
                  <a:pt x="655" y="159"/>
                </a:cubicBezTo>
                <a:cubicBezTo>
                  <a:pt x="654" y="159"/>
                  <a:pt x="654" y="158"/>
                  <a:pt x="653" y="158"/>
                </a:cubicBezTo>
                <a:cubicBezTo>
                  <a:pt x="653" y="158"/>
                  <a:pt x="653" y="158"/>
                  <a:pt x="652" y="158"/>
                </a:cubicBezTo>
                <a:cubicBezTo>
                  <a:pt x="652" y="158"/>
                  <a:pt x="652" y="158"/>
                  <a:pt x="652" y="158"/>
                </a:cubicBezTo>
                <a:cubicBezTo>
                  <a:pt x="652" y="158"/>
                  <a:pt x="652" y="158"/>
                  <a:pt x="652" y="159"/>
                </a:cubicBezTo>
                <a:cubicBezTo>
                  <a:pt x="652" y="159"/>
                  <a:pt x="652" y="159"/>
                  <a:pt x="653" y="159"/>
                </a:cubicBezTo>
                <a:cubicBezTo>
                  <a:pt x="653" y="159"/>
                  <a:pt x="653" y="159"/>
                  <a:pt x="653" y="159"/>
                </a:cubicBezTo>
                <a:cubicBezTo>
                  <a:pt x="653" y="159"/>
                  <a:pt x="654" y="160"/>
                  <a:pt x="654" y="160"/>
                </a:cubicBezTo>
                <a:cubicBezTo>
                  <a:pt x="655" y="160"/>
                  <a:pt x="655" y="160"/>
                  <a:pt x="655" y="160"/>
                </a:cubicBezTo>
                <a:cubicBezTo>
                  <a:pt x="655" y="160"/>
                  <a:pt x="656" y="160"/>
                  <a:pt x="656" y="160"/>
                </a:cubicBezTo>
                <a:cubicBezTo>
                  <a:pt x="656" y="160"/>
                  <a:pt x="656" y="160"/>
                  <a:pt x="656" y="160"/>
                </a:cubicBezTo>
                <a:cubicBezTo>
                  <a:pt x="657" y="160"/>
                  <a:pt x="657" y="160"/>
                  <a:pt x="657" y="160"/>
                </a:cubicBezTo>
                <a:cubicBezTo>
                  <a:pt x="656" y="160"/>
                  <a:pt x="656" y="160"/>
                  <a:pt x="655" y="160"/>
                </a:cubicBezTo>
                <a:cubicBezTo>
                  <a:pt x="655" y="160"/>
                  <a:pt x="654" y="160"/>
                  <a:pt x="654" y="160"/>
                </a:cubicBezTo>
                <a:cubicBezTo>
                  <a:pt x="654" y="160"/>
                  <a:pt x="653" y="160"/>
                  <a:pt x="653" y="160"/>
                </a:cubicBezTo>
                <a:cubicBezTo>
                  <a:pt x="653" y="160"/>
                  <a:pt x="653" y="160"/>
                  <a:pt x="652" y="160"/>
                </a:cubicBezTo>
                <a:cubicBezTo>
                  <a:pt x="652" y="160"/>
                  <a:pt x="652" y="160"/>
                  <a:pt x="652" y="160"/>
                </a:cubicBezTo>
                <a:cubicBezTo>
                  <a:pt x="652" y="160"/>
                  <a:pt x="652" y="161"/>
                  <a:pt x="652" y="161"/>
                </a:cubicBezTo>
                <a:cubicBezTo>
                  <a:pt x="652" y="161"/>
                  <a:pt x="652" y="161"/>
                  <a:pt x="652" y="161"/>
                </a:cubicBezTo>
                <a:cubicBezTo>
                  <a:pt x="652" y="161"/>
                  <a:pt x="651" y="161"/>
                  <a:pt x="651" y="161"/>
                </a:cubicBezTo>
                <a:cubicBezTo>
                  <a:pt x="651" y="161"/>
                  <a:pt x="651" y="161"/>
                  <a:pt x="651" y="162"/>
                </a:cubicBezTo>
                <a:cubicBezTo>
                  <a:pt x="651" y="162"/>
                  <a:pt x="651" y="162"/>
                  <a:pt x="651" y="162"/>
                </a:cubicBezTo>
                <a:cubicBezTo>
                  <a:pt x="651" y="162"/>
                  <a:pt x="651" y="162"/>
                  <a:pt x="651" y="162"/>
                </a:cubicBezTo>
                <a:cubicBezTo>
                  <a:pt x="650" y="162"/>
                  <a:pt x="650" y="163"/>
                  <a:pt x="649" y="163"/>
                </a:cubicBezTo>
                <a:cubicBezTo>
                  <a:pt x="649" y="163"/>
                  <a:pt x="649" y="163"/>
                  <a:pt x="649" y="164"/>
                </a:cubicBezTo>
                <a:cubicBezTo>
                  <a:pt x="650" y="164"/>
                  <a:pt x="650" y="164"/>
                  <a:pt x="650" y="164"/>
                </a:cubicBezTo>
                <a:cubicBezTo>
                  <a:pt x="650" y="164"/>
                  <a:pt x="650" y="163"/>
                  <a:pt x="651" y="163"/>
                </a:cubicBezTo>
                <a:cubicBezTo>
                  <a:pt x="651" y="163"/>
                  <a:pt x="651" y="163"/>
                  <a:pt x="652" y="162"/>
                </a:cubicBezTo>
                <a:cubicBezTo>
                  <a:pt x="652" y="162"/>
                  <a:pt x="652" y="162"/>
                  <a:pt x="652" y="162"/>
                </a:cubicBezTo>
                <a:cubicBezTo>
                  <a:pt x="653" y="162"/>
                  <a:pt x="653" y="162"/>
                  <a:pt x="653" y="162"/>
                </a:cubicBezTo>
                <a:cubicBezTo>
                  <a:pt x="654" y="162"/>
                  <a:pt x="654" y="162"/>
                  <a:pt x="655" y="161"/>
                </a:cubicBezTo>
                <a:cubicBezTo>
                  <a:pt x="655" y="161"/>
                  <a:pt x="655" y="161"/>
                  <a:pt x="655" y="161"/>
                </a:cubicBezTo>
                <a:cubicBezTo>
                  <a:pt x="655" y="161"/>
                  <a:pt x="655" y="161"/>
                  <a:pt x="655" y="161"/>
                </a:cubicBezTo>
                <a:cubicBezTo>
                  <a:pt x="655" y="161"/>
                  <a:pt x="655" y="161"/>
                  <a:pt x="655" y="161"/>
                </a:cubicBezTo>
                <a:cubicBezTo>
                  <a:pt x="656" y="161"/>
                  <a:pt x="656" y="161"/>
                  <a:pt x="656" y="161"/>
                </a:cubicBezTo>
                <a:cubicBezTo>
                  <a:pt x="656" y="161"/>
                  <a:pt x="657" y="161"/>
                  <a:pt x="657" y="161"/>
                </a:cubicBezTo>
                <a:cubicBezTo>
                  <a:pt x="657" y="162"/>
                  <a:pt x="658" y="162"/>
                  <a:pt x="658" y="162"/>
                </a:cubicBezTo>
                <a:cubicBezTo>
                  <a:pt x="658" y="162"/>
                  <a:pt x="659" y="162"/>
                  <a:pt x="659" y="162"/>
                </a:cubicBezTo>
                <a:cubicBezTo>
                  <a:pt x="659" y="162"/>
                  <a:pt x="659" y="162"/>
                  <a:pt x="660" y="162"/>
                </a:cubicBezTo>
                <a:cubicBezTo>
                  <a:pt x="660" y="161"/>
                  <a:pt x="660" y="161"/>
                  <a:pt x="660" y="161"/>
                </a:cubicBezTo>
                <a:cubicBezTo>
                  <a:pt x="660" y="161"/>
                  <a:pt x="660" y="161"/>
                  <a:pt x="660" y="161"/>
                </a:cubicBezTo>
                <a:cubicBezTo>
                  <a:pt x="660" y="160"/>
                  <a:pt x="660" y="160"/>
                  <a:pt x="660" y="160"/>
                </a:cubicBezTo>
                <a:cubicBezTo>
                  <a:pt x="660" y="160"/>
                  <a:pt x="660" y="160"/>
                  <a:pt x="660" y="160"/>
                </a:cubicBezTo>
                <a:cubicBezTo>
                  <a:pt x="660" y="160"/>
                  <a:pt x="660" y="160"/>
                  <a:pt x="660" y="160"/>
                </a:cubicBezTo>
                <a:cubicBezTo>
                  <a:pt x="660" y="160"/>
                  <a:pt x="661" y="160"/>
                  <a:pt x="661" y="160"/>
                </a:cubicBezTo>
                <a:cubicBezTo>
                  <a:pt x="661" y="160"/>
                  <a:pt x="661" y="160"/>
                  <a:pt x="661" y="160"/>
                </a:cubicBezTo>
                <a:cubicBezTo>
                  <a:pt x="661" y="160"/>
                  <a:pt x="662" y="160"/>
                  <a:pt x="662" y="160"/>
                </a:cubicBezTo>
                <a:cubicBezTo>
                  <a:pt x="662" y="160"/>
                  <a:pt x="662" y="160"/>
                  <a:pt x="662" y="160"/>
                </a:cubicBezTo>
                <a:cubicBezTo>
                  <a:pt x="662" y="160"/>
                  <a:pt x="662" y="160"/>
                  <a:pt x="662" y="160"/>
                </a:cubicBezTo>
                <a:cubicBezTo>
                  <a:pt x="662" y="160"/>
                  <a:pt x="662" y="160"/>
                  <a:pt x="662" y="160"/>
                </a:cubicBezTo>
                <a:cubicBezTo>
                  <a:pt x="661" y="160"/>
                  <a:pt x="661" y="160"/>
                  <a:pt x="661" y="160"/>
                </a:cubicBezTo>
                <a:cubicBezTo>
                  <a:pt x="661" y="161"/>
                  <a:pt x="661" y="161"/>
                  <a:pt x="661" y="161"/>
                </a:cubicBezTo>
                <a:cubicBezTo>
                  <a:pt x="661" y="161"/>
                  <a:pt x="662" y="161"/>
                  <a:pt x="662" y="161"/>
                </a:cubicBezTo>
                <a:cubicBezTo>
                  <a:pt x="662" y="161"/>
                  <a:pt x="663" y="161"/>
                  <a:pt x="663" y="161"/>
                </a:cubicBezTo>
                <a:cubicBezTo>
                  <a:pt x="663" y="161"/>
                  <a:pt x="664" y="161"/>
                  <a:pt x="664" y="161"/>
                </a:cubicBezTo>
                <a:cubicBezTo>
                  <a:pt x="664" y="161"/>
                  <a:pt x="663" y="161"/>
                  <a:pt x="663" y="160"/>
                </a:cubicBezTo>
                <a:cubicBezTo>
                  <a:pt x="663" y="160"/>
                  <a:pt x="663" y="160"/>
                  <a:pt x="663" y="160"/>
                </a:cubicBezTo>
                <a:cubicBezTo>
                  <a:pt x="663" y="160"/>
                  <a:pt x="664" y="160"/>
                  <a:pt x="664" y="160"/>
                </a:cubicBezTo>
                <a:cubicBezTo>
                  <a:pt x="664" y="160"/>
                  <a:pt x="665" y="160"/>
                  <a:pt x="665" y="160"/>
                </a:cubicBezTo>
                <a:cubicBezTo>
                  <a:pt x="665" y="160"/>
                  <a:pt x="665" y="160"/>
                  <a:pt x="666" y="160"/>
                </a:cubicBezTo>
                <a:cubicBezTo>
                  <a:pt x="665" y="160"/>
                  <a:pt x="665" y="161"/>
                  <a:pt x="665" y="161"/>
                </a:cubicBezTo>
                <a:cubicBezTo>
                  <a:pt x="665" y="161"/>
                  <a:pt x="664" y="161"/>
                  <a:pt x="664" y="161"/>
                </a:cubicBezTo>
                <a:cubicBezTo>
                  <a:pt x="663" y="161"/>
                  <a:pt x="663" y="161"/>
                  <a:pt x="662" y="162"/>
                </a:cubicBezTo>
                <a:cubicBezTo>
                  <a:pt x="662" y="162"/>
                  <a:pt x="662" y="162"/>
                  <a:pt x="661" y="162"/>
                </a:cubicBezTo>
                <a:cubicBezTo>
                  <a:pt x="661" y="162"/>
                  <a:pt x="661" y="162"/>
                  <a:pt x="661" y="162"/>
                </a:cubicBezTo>
                <a:cubicBezTo>
                  <a:pt x="662" y="162"/>
                  <a:pt x="662" y="162"/>
                  <a:pt x="663" y="163"/>
                </a:cubicBezTo>
                <a:cubicBezTo>
                  <a:pt x="663" y="163"/>
                  <a:pt x="663" y="163"/>
                  <a:pt x="664" y="163"/>
                </a:cubicBezTo>
                <a:cubicBezTo>
                  <a:pt x="664" y="163"/>
                  <a:pt x="664" y="163"/>
                  <a:pt x="665" y="163"/>
                </a:cubicBezTo>
                <a:cubicBezTo>
                  <a:pt x="665" y="163"/>
                  <a:pt x="665" y="163"/>
                  <a:pt x="665" y="163"/>
                </a:cubicBezTo>
                <a:cubicBezTo>
                  <a:pt x="665" y="163"/>
                  <a:pt x="666" y="163"/>
                  <a:pt x="666" y="163"/>
                </a:cubicBezTo>
                <a:cubicBezTo>
                  <a:pt x="666" y="163"/>
                  <a:pt x="666" y="163"/>
                  <a:pt x="666" y="163"/>
                </a:cubicBezTo>
                <a:cubicBezTo>
                  <a:pt x="666" y="163"/>
                  <a:pt x="666" y="163"/>
                  <a:pt x="666" y="163"/>
                </a:cubicBezTo>
                <a:cubicBezTo>
                  <a:pt x="666" y="163"/>
                  <a:pt x="666" y="163"/>
                  <a:pt x="666" y="163"/>
                </a:cubicBezTo>
                <a:cubicBezTo>
                  <a:pt x="665" y="163"/>
                  <a:pt x="665" y="163"/>
                  <a:pt x="665" y="163"/>
                </a:cubicBezTo>
                <a:cubicBezTo>
                  <a:pt x="664" y="163"/>
                  <a:pt x="664" y="163"/>
                  <a:pt x="663" y="163"/>
                </a:cubicBezTo>
                <a:cubicBezTo>
                  <a:pt x="663" y="163"/>
                  <a:pt x="662" y="163"/>
                  <a:pt x="662" y="163"/>
                </a:cubicBezTo>
                <a:cubicBezTo>
                  <a:pt x="662" y="163"/>
                  <a:pt x="661" y="163"/>
                  <a:pt x="661" y="162"/>
                </a:cubicBezTo>
                <a:cubicBezTo>
                  <a:pt x="660" y="162"/>
                  <a:pt x="660" y="162"/>
                  <a:pt x="660" y="162"/>
                </a:cubicBezTo>
                <a:cubicBezTo>
                  <a:pt x="659" y="162"/>
                  <a:pt x="659" y="163"/>
                  <a:pt x="658" y="163"/>
                </a:cubicBezTo>
                <a:cubicBezTo>
                  <a:pt x="658" y="162"/>
                  <a:pt x="658" y="162"/>
                  <a:pt x="657" y="162"/>
                </a:cubicBezTo>
                <a:cubicBezTo>
                  <a:pt x="657" y="162"/>
                  <a:pt x="656" y="162"/>
                  <a:pt x="656" y="162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62"/>
                  <a:pt x="655" y="162"/>
                  <a:pt x="655" y="162"/>
                </a:cubicBezTo>
                <a:cubicBezTo>
                  <a:pt x="655" y="162"/>
                  <a:pt x="655" y="162"/>
                  <a:pt x="654" y="162"/>
                </a:cubicBezTo>
                <a:cubicBezTo>
                  <a:pt x="654" y="162"/>
                  <a:pt x="654" y="162"/>
                  <a:pt x="653" y="162"/>
                </a:cubicBezTo>
                <a:cubicBezTo>
                  <a:pt x="653" y="162"/>
                  <a:pt x="653" y="162"/>
                  <a:pt x="653" y="162"/>
                </a:cubicBezTo>
                <a:cubicBezTo>
                  <a:pt x="653" y="162"/>
                  <a:pt x="653" y="162"/>
                  <a:pt x="653" y="162"/>
                </a:cubicBezTo>
                <a:cubicBezTo>
                  <a:pt x="652" y="163"/>
                  <a:pt x="652" y="163"/>
                  <a:pt x="652" y="163"/>
                </a:cubicBezTo>
                <a:cubicBezTo>
                  <a:pt x="652" y="163"/>
                  <a:pt x="651" y="163"/>
                  <a:pt x="651" y="164"/>
                </a:cubicBezTo>
                <a:cubicBezTo>
                  <a:pt x="651" y="164"/>
                  <a:pt x="651" y="164"/>
                  <a:pt x="650" y="164"/>
                </a:cubicBezTo>
                <a:cubicBezTo>
                  <a:pt x="650" y="164"/>
                  <a:pt x="650" y="164"/>
                  <a:pt x="650" y="165"/>
                </a:cubicBezTo>
                <a:cubicBezTo>
                  <a:pt x="649" y="165"/>
                  <a:pt x="649" y="165"/>
                  <a:pt x="649" y="165"/>
                </a:cubicBezTo>
                <a:cubicBezTo>
                  <a:pt x="648" y="165"/>
                  <a:pt x="648" y="165"/>
                  <a:pt x="648" y="166"/>
                </a:cubicBezTo>
                <a:cubicBezTo>
                  <a:pt x="648" y="166"/>
                  <a:pt x="648" y="166"/>
                  <a:pt x="648" y="166"/>
                </a:cubicBezTo>
                <a:cubicBezTo>
                  <a:pt x="648" y="166"/>
                  <a:pt x="648" y="166"/>
                  <a:pt x="648" y="166"/>
                </a:cubicBezTo>
                <a:cubicBezTo>
                  <a:pt x="649" y="166"/>
                  <a:pt x="649" y="166"/>
                  <a:pt x="649" y="166"/>
                </a:cubicBezTo>
                <a:cubicBezTo>
                  <a:pt x="649" y="166"/>
                  <a:pt x="650" y="166"/>
                  <a:pt x="650" y="165"/>
                </a:cubicBezTo>
                <a:cubicBezTo>
                  <a:pt x="650" y="165"/>
                  <a:pt x="651" y="165"/>
                  <a:pt x="651" y="165"/>
                </a:cubicBezTo>
                <a:cubicBezTo>
                  <a:pt x="651" y="166"/>
                  <a:pt x="651" y="166"/>
                  <a:pt x="651" y="166"/>
                </a:cubicBezTo>
                <a:cubicBezTo>
                  <a:pt x="651" y="166"/>
                  <a:pt x="652" y="165"/>
                  <a:pt x="652" y="165"/>
                </a:cubicBezTo>
                <a:cubicBezTo>
                  <a:pt x="653" y="165"/>
                  <a:pt x="653" y="165"/>
                  <a:pt x="654" y="165"/>
                </a:cubicBezTo>
                <a:cubicBezTo>
                  <a:pt x="655" y="165"/>
                  <a:pt x="655" y="165"/>
                  <a:pt x="656" y="165"/>
                </a:cubicBezTo>
                <a:cubicBezTo>
                  <a:pt x="656" y="165"/>
                  <a:pt x="657" y="165"/>
                  <a:pt x="657" y="165"/>
                </a:cubicBezTo>
                <a:cubicBezTo>
                  <a:pt x="657" y="165"/>
                  <a:pt x="657" y="165"/>
                  <a:pt x="657" y="165"/>
                </a:cubicBezTo>
                <a:cubicBezTo>
                  <a:pt x="657" y="165"/>
                  <a:pt x="657" y="165"/>
                  <a:pt x="657" y="165"/>
                </a:cubicBezTo>
                <a:cubicBezTo>
                  <a:pt x="656" y="165"/>
                  <a:pt x="656" y="165"/>
                  <a:pt x="656" y="165"/>
                </a:cubicBezTo>
                <a:cubicBezTo>
                  <a:pt x="655" y="165"/>
                  <a:pt x="655" y="166"/>
                  <a:pt x="655" y="166"/>
                </a:cubicBezTo>
                <a:cubicBezTo>
                  <a:pt x="654" y="166"/>
                  <a:pt x="652" y="166"/>
                  <a:pt x="651" y="166"/>
                </a:cubicBezTo>
                <a:cubicBezTo>
                  <a:pt x="651" y="166"/>
                  <a:pt x="650" y="166"/>
                  <a:pt x="650" y="166"/>
                </a:cubicBezTo>
                <a:cubicBezTo>
                  <a:pt x="650" y="166"/>
                  <a:pt x="650" y="166"/>
                  <a:pt x="650" y="166"/>
                </a:cubicBezTo>
                <a:cubicBezTo>
                  <a:pt x="649" y="167"/>
                  <a:pt x="649" y="167"/>
                  <a:pt x="648" y="167"/>
                </a:cubicBezTo>
                <a:cubicBezTo>
                  <a:pt x="648" y="167"/>
                  <a:pt x="648" y="167"/>
                  <a:pt x="648" y="167"/>
                </a:cubicBezTo>
                <a:cubicBezTo>
                  <a:pt x="648" y="167"/>
                  <a:pt x="648" y="167"/>
                  <a:pt x="648" y="167"/>
                </a:cubicBezTo>
                <a:cubicBezTo>
                  <a:pt x="649" y="167"/>
                  <a:pt x="649" y="167"/>
                  <a:pt x="649" y="167"/>
                </a:cubicBezTo>
                <a:cubicBezTo>
                  <a:pt x="649" y="167"/>
                  <a:pt x="650" y="167"/>
                  <a:pt x="650" y="167"/>
                </a:cubicBezTo>
                <a:cubicBezTo>
                  <a:pt x="650" y="167"/>
                  <a:pt x="649" y="167"/>
                  <a:pt x="649" y="168"/>
                </a:cubicBezTo>
                <a:cubicBezTo>
                  <a:pt x="649" y="167"/>
                  <a:pt x="649" y="167"/>
                  <a:pt x="649" y="167"/>
                </a:cubicBezTo>
                <a:cubicBezTo>
                  <a:pt x="648" y="168"/>
                  <a:pt x="648" y="168"/>
                  <a:pt x="647" y="168"/>
                </a:cubicBezTo>
                <a:cubicBezTo>
                  <a:pt x="647" y="168"/>
                  <a:pt x="647" y="168"/>
                  <a:pt x="647" y="168"/>
                </a:cubicBezTo>
                <a:cubicBezTo>
                  <a:pt x="648" y="168"/>
                  <a:pt x="648" y="168"/>
                  <a:pt x="648" y="168"/>
                </a:cubicBezTo>
                <a:cubicBezTo>
                  <a:pt x="648" y="168"/>
                  <a:pt x="649" y="168"/>
                  <a:pt x="649" y="168"/>
                </a:cubicBezTo>
                <a:cubicBezTo>
                  <a:pt x="650" y="168"/>
                  <a:pt x="651" y="168"/>
                  <a:pt x="652" y="168"/>
                </a:cubicBezTo>
                <a:cubicBezTo>
                  <a:pt x="652" y="168"/>
                  <a:pt x="652" y="168"/>
                  <a:pt x="653" y="168"/>
                </a:cubicBezTo>
                <a:cubicBezTo>
                  <a:pt x="653" y="168"/>
                  <a:pt x="653" y="168"/>
                  <a:pt x="653" y="168"/>
                </a:cubicBezTo>
                <a:cubicBezTo>
                  <a:pt x="653" y="168"/>
                  <a:pt x="653" y="168"/>
                  <a:pt x="654" y="168"/>
                </a:cubicBezTo>
                <a:cubicBezTo>
                  <a:pt x="654" y="168"/>
                  <a:pt x="654" y="168"/>
                  <a:pt x="654" y="168"/>
                </a:cubicBezTo>
                <a:cubicBezTo>
                  <a:pt x="654" y="168"/>
                  <a:pt x="654" y="168"/>
                  <a:pt x="654" y="168"/>
                </a:cubicBezTo>
                <a:cubicBezTo>
                  <a:pt x="654" y="168"/>
                  <a:pt x="654" y="168"/>
                  <a:pt x="654" y="169"/>
                </a:cubicBezTo>
                <a:cubicBezTo>
                  <a:pt x="654" y="169"/>
                  <a:pt x="654" y="169"/>
                  <a:pt x="654" y="169"/>
                </a:cubicBezTo>
                <a:cubicBezTo>
                  <a:pt x="653" y="169"/>
                  <a:pt x="653" y="169"/>
                  <a:pt x="653" y="169"/>
                </a:cubicBezTo>
                <a:cubicBezTo>
                  <a:pt x="653" y="169"/>
                  <a:pt x="653" y="169"/>
                  <a:pt x="652" y="169"/>
                </a:cubicBezTo>
                <a:cubicBezTo>
                  <a:pt x="652" y="169"/>
                  <a:pt x="652" y="169"/>
                  <a:pt x="652" y="169"/>
                </a:cubicBezTo>
                <a:cubicBezTo>
                  <a:pt x="652" y="169"/>
                  <a:pt x="651" y="169"/>
                  <a:pt x="651" y="169"/>
                </a:cubicBezTo>
                <a:cubicBezTo>
                  <a:pt x="651" y="169"/>
                  <a:pt x="651" y="169"/>
                  <a:pt x="651" y="169"/>
                </a:cubicBezTo>
                <a:cubicBezTo>
                  <a:pt x="651" y="170"/>
                  <a:pt x="651" y="170"/>
                  <a:pt x="651" y="170"/>
                </a:cubicBezTo>
                <a:cubicBezTo>
                  <a:pt x="652" y="170"/>
                  <a:pt x="652" y="169"/>
                  <a:pt x="652" y="169"/>
                </a:cubicBezTo>
                <a:cubicBezTo>
                  <a:pt x="652" y="169"/>
                  <a:pt x="652" y="169"/>
                  <a:pt x="653" y="170"/>
                </a:cubicBezTo>
                <a:cubicBezTo>
                  <a:pt x="653" y="170"/>
                  <a:pt x="653" y="170"/>
                  <a:pt x="653" y="170"/>
                </a:cubicBezTo>
                <a:cubicBezTo>
                  <a:pt x="653" y="170"/>
                  <a:pt x="652" y="170"/>
                  <a:pt x="652" y="170"/>
                </a:cubicBezTo>
                <a:cubicBezTo>
                  <a:pt x="652" y="170"/>
                  <a:pt x="651" y="170"/>
                  <a:pt x="651" y="170"/>
                </a:cubicBezTo>
                <a:cubicBezTo>
                  <a:pt x="651" y="170"/>
                  <a:pt x="650" y="170"/>
                  <a:pt x="650" y="170"/>
                </a:cubicBezTo>
                <a:cubicBezTo>
                  <a:pt x="650" y="170"/>
                  <a:pt x="649" y="170"/>
                  <a:pt x="649" y="170"/>
                </a:cubicBezTo>
                <a:cubicBezTo>
                  <a:pt x="649" y="170"/>
                  <a:pt x="649" y="170"/>
                  <a:pt x="649" y="171"/>
                </a:cubicBezTo>
                <a:cubicBezTo>
                  <a:pt x="649" y="171"/>
                  <a:pt x="649" y="171"/>
                  <a:pt x="649" y="171"/>
                </a:cubicBezTo>
                <a:cubicBezTo>
                  <a:pt x="649" y="171"/>
                  <a:pt x="650" y="171"/>
                  <a:pt x="650" y="171"/>
                </a:cubicBezTo>
                <a:cubicBezTo>
                  <a:pt x="650" y="171"/>
                  <a:pt x="650" y="171"/>
                  <a:pt x="650" y="171"/>
                </a:cubicBezTo>
                <a:cubicBezTo>
                  <a:pt x="651" y="171"/>
                  <a:pt x="651" y="171"/>
                  <a:pt x="651" y="171"/>
                </a:cubicBezTo>
                <a:cubicBezTo>
                  <a:pt x="652" y="171"/>
                  <a:pt x="652" y="171"/>
                  <a:pt x="652" y="171"/>
                </a:cubicBezTo>
                <a:cubicBezTo>
                  <a:pt x="652" y="171"/>
                  <a:pt x="652" y="171"/>
                  <a:pt x="653" y="171"/>
                </a:cubicBezTo>
                <a:cubicBezTo>
                  <a:pt x="652" y="171"/>
                  <a:pt x="652" y="171"/>
                  <a:pt x="652" y="171"/>
                </a:cubicBezTo>
                <a:cubicBezTo>
                  <a:pt x="651" y="171"/>
                  <a:pt x="651" y="171"/>
                  <a:pt x="650" y="171"/>
                </a:cubicBezTo>
                <a:cubicBezTo>
                  <a:pt x="650" y="171"/>
                  <a:pt x="650" y="172"/>
                  <a:pt x="650" y="172"/>
                </a:cubicBezTo>
                <a:cubicBezTo>
                  <a:pt x="649" y="172"/>
                  <a:pt x="649" y="171"/>
                  <a:pt x="649" y="171"/>
                </a:cubicBezTo>
                <a:cubicBezTo>
                  <a:pt x="649" y="171"/>
                  <a:pt x="648" y="171"/>
                  <a:pt x="648" y="171"/>
                </a:cubicBezTo>
                <a:cubicBezTo>
                  <a:pt x="648" y="172"/>
                  <a:pt x="648" y="172"/>
                  <a:pt x="648" y="172"/>
                </a:cubicBezTo>
                <a:cubicBezTo>
                  <a:pt x="648" y="172"/>
                  <a:pt x="648" y="173"/>
                  <a:pt x="648" y="173"/>
                </a:cubicBezTo>
                <a:cubicBezTo>
                  <a:pt x="648" y="173"/>
                  <a:pt x="648" y="174"/>
                  <a:pt x="648" y="174"/>
                </a:cubicBezTo>
                <a:cubicBezTo>
                  <a:pt x="648" y="174"/>
                  <a:pt x="648" y="174"/>
                  <a:pt x="648" y="174"/>
                </a:cubicBezTo>
                <a:cubicBezTo>
                  <a:pt x="648" y="174"/>
                  <a:pt x="648" y="174"/>
                  <a:pt x="649" y="174"/>
                </a:cubicBezTo>
                <a:cubicBezTo>
                  <a:pt x="649" y="173"/>
                  <a:pt x="650" y="173"/>
                  <a:pt x="651" y="173"/>
                </a:cubicBezTo>
                <a:cubicBezTo>
                  <a:pt x="651" y="173"/>
                  <a:pt x="651" y="173"/>
                  <a:pt x="651" y="173"/>
                </a:cubicBezTo>
                <a:cubicBezTo>
                  <a:pt x="652" y="172"/>
                  <a:pt x="653" y="172"/>
                  <a:pt x="653" y="172"/>
                </a:cubicBezTo>
                <a:cubicBezTo>
                  <a:pt x="654" y="172"/>
                  <a:pt x="654" y="172"/>
                  <a:pt x="654" y="171"/>
                </a:cubicBezTo>
                <a:cubicBezTo>
                  <a:pt x="654" y="171"/>
                  <a:pt x="655" y="171"/>
                  <a:pt x="655" y="170"/>
                </a:cubicBezTo>
                <a:cubicBezTo>
                  <a:pt x="655" y="170"/>
                  <a:pt x="656" y="170"/>
                  <a:pt x="656" y="169"/>
                </a:cubicBezTo>
                <a:cubicBezTo>
                  <a:pt x="657" y="169"/>
                  <a:pt x="658" y="169"/>
                  <a:pt x="659" y="168"/>
                </a:cubicBezTo>
                <a:cubicBezTo>
                  <a:pt x="659" y="168"/>
                  <a:pt x="660" y="168"/>
                  <a:pt x="660" y="168"/>
                </a:cubicBezTo>
                <a:cubicBezTo>
                  <a:pt x="660" y="168"/>
                  <a:pt x="661" y="168"/>
                  <a:pt x="661" y="168"/>
                </a:cubicBezTo>
                <a:cubicBezTo>
                  <a:pt x="661" y="168"/>
                  <a:pt x="661" y="168"/>
                  <a:pt x="661" y="168"/>
                </a:cubicBezTo>
                <a:cubicBezTo>
                  <a:pt x="661" y="168"/>
                  <a:pt x="661" y="168"/>
                  <a:pt x="661" y="168"/>
                </a:cubicBezTo>
                <a:cubicBezTo>
                  <a:pt x="660" y="168"/>
                  <a:pt x="660" y="168"/>
                  <a:pt x="660" y="168"/>
                </a:cubicBezTo>
                <a:cubicBezTo>
                  <a:pt x="659" y="169"/>
                  <a:pt x="659" y="169"/>
                  <a:pt x="658" y="169"/>
                </a:cubicBezTo>
                <a:cubicBezTo>
                  <a:pt x="658" y="169"/>
                  <a:pt x="657" y="170"/>
                  <a:pt x="657" y="170"/>
                </a:cubicBezTo>
                <a:cubicBezTo>
                  <a:pt x="656" y="170"/>
                  <a:pt x="656" y="171"/>
                  <a:pt x="655" y="171"/>
                </a:cubicBezTo>
                <a:cubicBezTo>
                  <a:pt x="655" y="172"/>
                  <a:pt x="655" y="172"/>
                  <a:pt x="654" y="172"/>
                </a:cubicBezTo>
                <a:cubicBezTo>
                  <a:pt x="654" y="172"/>
                  <a:pt x="653" y="172"/>
                  <a:pt x="653" y="173"/>
                </a:cubicBezTo>
                <a:cubicBezTo>
                  <a:pt x="652" y="173"/>
                  <a:pt x="652" y="173"/>
                  <a:pt x="652" y="173"/>
                </a:cubicBezTo>
                <a:cubicBezTo>
                  <a:pt x="651" y="173"/>
                  <a:pt x="651" y="174"/>
                  <a:pt x="650" y="174"/>
                </a:cubicBezTo>
                <a:cubicBezTo>
                  <a:pt x="650" y="174"/>
                  <a:pt x="649" y="174"/>
                  <a:pt x="649" y="174"/>
                </a:cubicBezTo>
                <a:cubicBezTo>
                  <a:pt x="649" y="174"/>
                  <a:pt x="649" y="175"/>
                  <a:pt x="648" y="175"/>
                </a:cubicBezTo>
                <a:cubicBezTo>
                  <a:pt x="648" y="175"/>
                  <a:pt x="648" y="175"/>
                  <a:pt x="648" y="175"/>
                </a:cubicBezTo>
                <a:cubicBezTo>
                  <a:pt x="648" y="175"/>
                  <a:pt x="649" y="175"/>
                  <a:pt x="649" y="175"/>
                </a:cubicBezTo>
                <a:cubicBezTo>
                  <a:pt x="649" y="175"/>
                  <a:pt x="649" y="175"/>
                  <a:pt x="649" y="175"/>
                </a:cubicBezTo>
                <a:cubicBezTo>
                  <a:pt x="650" y="175"/>
                  <a:pt x="650" y="175"/>
                  <a:pt x="650" y="175"/>
                </a:cubicBezTo>
                <a:cubicBezTo>
                  <a:pt x="650" y="175"/>
                  <a:pt x="650" y="175"/>
                  <a:pt x="650" y="175"/>
                </a:cubicBezTo>
                <a:cubicBezTo>
                  <a:pt x="650" y="175"/>
                  <a:pt x="651" y="175"/>
                  <a:pt x="651" y="174"/>
                </a:cubicBezTo>
                <a:cubicBezTo>
                  <a:pt x="651" y="174"/>
                  <a:pt x="651" y="174"/>
                  <a:pt x="651" y="174"/>
                </a:cubicBezTo>
                <a:cubicBezTo>
                  <a:pt x="652" y="174"/>
                  <a:pt x="652" y="174"/>
                  <a:pt x="652" y="174"/>
                </a:cubicBezTo>
                <a:cubicBezTo>
                  <a:pt x="652" y="174"/>
                  <a:pt x="652" y="174"/>
                  <a:pt x="653" y="174"/>
                </a:cubicBezTo>
                <a:cubicBezTo>
                  <a:pt x="653" y="174"/>
                  <a:pt x="653" y="174"/>
                  <a:pt x="653" y="174"/>
                </a:cubicBezTo>
                <a:cubicBezTo>
                  <a:pt x="653" y="174"/>
                  <a:pt x="654" y="174"/>
                  <a:pt x="654" y="174"/>
                </a:cubicBezTo>
                <a:cubicBezTo>
                  <a:pt x="654" y="174"/>
                  <a:pt x="655" y="173"/>
                  <a:pt x="655" y="173"/>
                </a:cubicBezTo>
                <a:cubicBezTo>
                  <a:pt x="655" y="173"/>
                  <a:pt x="655" y="173"/>
                  <a:pt x="656" y="173"/>
                </a:cubicBezTo>
                <a:cubicBezTo>
                  <a:pt x="656" y="173"/>
                  <a:pt x="656" y="173"/>
                  <a:pt x="656" y="173"/>
                </a:cubicBezTo>
                <a:cubicBezTo>
                  <a:pt x="656" y="173"/>
                  <a:pt x="656" y="174"/>
                  <a:pt x="656" y="174"/>
                </a:cubicBezTo>
                <a:cubicBezTo>
                  <a:pt x="655" y="174"/>
                  <a:pt x="655" y="174"/>
                  <a:pt x="655" y="174"/>
                </a:cubicBezTo>
                <a:cubicBezTo>
                  <a:pt x="655" y="174"/>
                  <a:pt x="654" y="174"/>
                  <a:pt x="654" y="174"/>
                </a:cubicBezTo>
                <a:cubicBezTo>
                  <a:pt x="654" y="175"/>
                  <a:pt x="654" y="175"/>
                  <a:pt x="653" y="175"/>
                </a:cubicBezTo>
                <a:cubicBezTo>
                  <a:pt x="653" y="175"/>
                  <a:pt x="653" y="175"/>
                  <a:pt x="652" y="175"/>
                </a:cubicBezTo>
                <a:cubicBezTo>
                  <a:pt x="652" y="175"/>
                  <a:pt x="652" y="175"/>
                  <a:pt x="652" y="175"/>
                </a:cubicBezTo>
                <a:cubicBezTo>
                  <a:pt x="652" y="175"/>
                  <a:pt x="652" y="175"/>
                  <a:pt x="651" y="175"/>
                </a:cubicBezTo>
                <a:cubicBezTo>
                  <a:pt x="651" y="175"/>
                  <a:pt x="651" y="175"/>
                  <a:pt x="651" y="175"/>
                </a:cubicBezTo>
                <a:cubicBezTo>
                  <a:pt x="650" y="175"/>
                  <a:pt x="650" y="176"/>
                  <a:pt x="650" y="176"/>
                </a:cubicBezTo>
                <a:cubicBezTo>
                  <a:pt x="650" y="176"/>
                  <a:pt x="649" y="176"/>
                  <a:pt x="649" y="176"/>
                </a:cubicBezTo>
                <a:cubicBezTo>
                  <a:pt x="650" y="176"/>
                  <a:pt x="650" y="176"/>
                  <a:pt x="650" y="176"/>
                </a:cubicBezTo>
                <a:cubicBezTo>
                  <a:pt x="650" y="176"/>
                  <a:pt x="651" y="176"/>
                  <a:pt x="651" y="176"/>
                </a:cubicBezTo>
                <a:cubicBezTo>
                  <a:pt x="651" y="176"/>
                  <a:pt x="651" y="176"/>
                  <a:pt x="652" y="176"/>
                </a:cubicBezTo>
                <a:cubicBezTo>
                  <a:pt x="652" y="177"/>
                  <a:pt x="651" y="177"/>
                  <a:pt x="651" y="177"/>
                </a:cubicBezTo>
                <a:cubicBezTo>
                  <a:pt x="651" y="177"/>
                  <a:pt x="651" y="177"/>
                  <a:pt x="651" y="177"/>
                </a:cubicBezTo>
                <a:cubicBezTo>
                  <a:pt x="651" y="177"/>
                  <a:pt x="652" y="177"/>
                  <a:pt x="652" y="177"/>
                </a:cubicBezTo>
                <a:cubicBezTo>
                  <a:pt x="652" y="178"/>
                  <a:pt x="652" y="178"/>
                  <a:pt x="652" y="178"/>
                </a:cubicBezTo>
                <a:cubicBezTo>
                  <a:pt x="652" y="178"/>
                  <a:pt x="652" y="178"/>
                  <a:pt x="652" y="178"/>
                </a:cubicBezTo>
                <a:cubicBezTo>
                  <a:pt x="652" y="178"/>
                  <a:pt x="652" y="178"/>
                  <a:pt x="652" y="178"/>
                </a:cubicBezTo>
                <a:cubicBezTo>
                  <a:pt x="653" y="178"/>
                  <a:pt x="653" y="178"/>
                  <a:pt x="653" y="177"/>
                </a:cubicBezTo>
                <a:cubicBezTo>
                  <a:pt x="653" y="177"/>
                  <a:pt x="654" y="177"/>
                  <a:pt x="654" y="177"/>
                </a:cubicBezTo>
                <a:cubicBezTo>
                  <a:pt x="654" y="177"/>
                  <a:pt x="654" y="177"/>
                  <a:pt x="655" y="177"/>
                </a:cubicBezTo>
                <a:cubicBezTo>
                  <a:pt x="655" y="177"/>
                  <a:pt x="655" y="176"/>
                  <a:pt x="655" y="176"/>
                </a:cubicBezTo>
                <a:cubicBezTo>
                  <a:pt x="655" y="176"/>
                  <a:pt x="655" y="176"/>
                  <a:pt x="655" y="176"/>
                </a:cubicBezTo>
                <a:cubicBezTo>
                  <a:pt x="655" y="176"/>
                  <a:pt x="656" y="176"/>
                  <a:pt x="656" y="176"/>
                </a:cubicBezTo>
                <a:cubicBezTo>
                  <a:pt x="657" y="175"/>
                  <a:pt x="657" y="175"/>
                  <a:pt x="658" y="175"/>
                </a:cubicBezTo>
                <a:cubicBezTo>
                  <a:pt x="658" y="175"/>
                  <a:pt x="658" y="175"/>
                  <a:pt x="659" y="175"/>
                </a:cubicBezTo>
                <a:cubicBezTo>
                  <a:pt x="659" y="175"/>
                  <a:pt x="659" y="175"/>
                  <a:pt x="659" y="175"/>
                </a:cubicBezTo>
                <a:cubicBezTo>
                  <a:pt x="659" y="175"/>
                  <a:pt x="660" y="175"/>
                  <a:pt x="660" y="175"/>
                </a:cubicBezTo>
                <a:cubicBezTo>
                  <a:pt x="660" y="175"/>
                  <a:pt x="660" y="175"/>
                  <a:pt x="660" y="175"/>
                </a:cubicBezTo>
                <a:cubicBezTo>
                  <a:pt x="660" y="175"/>
                  <a:pt x="660" y="176"/>
                  <a:pt x="659" y="176"/>
                </a:cubicBezTo>
                <a:cubicBezTo>
                  <a:pt x="659" y="176"/>
                  <a:pt x="659" y="175"/>
                  <a:pt x="659" y="175"/>
                </a:cubicBezTo>
                <a:cubicBezTo>
                  <a:pt x="658" y="176"/>
                  <a:pt x="658" y="176"/>
                  <a:pt x="657" y="176"/>
                </a:cubicBezTo>
                <a:cubicBezTo>
                  <a:pt x="657" y="176"/>
                  <a:pt x="657" y="176"/>
                  <a:pt x="657" y="176"/>
                </a:cubicBezTo>
                <a:cubicBezTo>
                  <a:pt x="657" y="176"/>
                  <a:pt x="656" y="176"/>
                  <a:pt x="656" y="176"/>
                </a:cubicBezTo>
                <a:cubicBezTo>
                  <a:pt x="656" y="176"/>
                  <a:pt x="656" y="176"/>
                  <a:pt x="656" y="176"/>
                </a:cubicBezTo>
                <a:cubicBezTo>
                  <a:pt x="656" y="176"/>
                  <a:pt x="656" y="177"/>
                  <a:pt x="656" y="177"/>
                </a:cubicBezTo>
                <a:cubicBezTo>
                  <a:pt x="655" y="177"/>
                  <a:pt x="655" y="177"/>
                  <a:pt x="655" y="177"/>
                </a:cubicBezTo>
                <a:cubicBezTo>
                  <a:pt x="655" y="177"/>
                  <a:pt x="655" y="177"/>
                  <a:pt x="655" y="177"/>
                </a:cubicBezTo>
                <a:cubicBezTo>
                  <a:pt x="654" y="178"/>
                  <a:pt x="654" y="178"/>
                  <a:pt x="653" y="178"/>
                </a:cubicBezTo>
                <a:cubicBezTo>
                  <a:pt x="653" y="178"/>
                  <a:pt x="653" y="178"/>
                  <a:pt x="653" y="178"/>
                </a:cubicBezTo>
                <a:cubicBezTo>
                  <a:pt x="652" y="178"/>
                  <a:pt x="652" y="178"/>
                  <a:pt x="652" y="179"/>
                </a:cubicBezTo>
                <a:cubicBezTo>
                  <a:pt x="651" y="179"/>
                  <a:pt x="651" y="179"/>
                  <a:pt x="651" y="179"/>
                </a:cubicBezTo>
                <a:cubicBezTo>
                  <a:pt x="651" y="179"/>
                  <a:pt x="651" y="179"/>
                  <a:pt x="651" y="180"/>
                </a:cubicBezTo>
                <a:cubicBezTo>
                  <a:pt x="651" y="179"/>
                  <a:pt x="652" y="179"/>
                  <a:pt x="652" y="179"/>
                </a:cubicBezTo>
                <a:cubicBezTo>
                  <a:pt x="652" y="179"/>
                  <a:pt x="652" y="179"/>
                  <a:pt x="652" y="179"/>
                </a:cubicBezTo>
                <a:cubicBezTo>
                  <a:pt x="652" y="179"/>
                  <a:pt x="652" y="179"/>
                  <a:pt x="653" y="179"/>
                </a:cubicBezTo>
                <a:cubicBezTo>
                  <a:pt x="653" y="179"/>
                  <a:pt x="653" y="179"/>
                  <a:pt x="653" y="180"/>
                </a:cubicBezTo>
                <a:cubicBezTo>
                  <a:pt x="653" y="180"/>
                  <a:pt x="653" y="180"/>
                  <a:pt x="653" y="180"/>
                </a:cubicBezTo>
                <a:cubicBezTo>
                  <a:pt x="653" y="180"/>
                  <a:pt x="653" y="180"/>
                  <a:pt x="652" y="180"/>
                </a:cubicBezTo>
                <a:cubicBezTo>
                  <a:pt x="652" y="181"/>
                  <a:pt x="652" y="181"/>
                  <a:pt x="653" y="181"/>
                </a:cubicBezTo>
                <a:cubicBezTo>
                  <a:pt x="653" y="182"/>
                  <a:pt x="653" y="182"/>
                  <a:pt x="653" y="182"/>
                </a:cubicBezTo>
                <a:cubicBezTo>
                  <a:pt x="653" y="182"/>
                  <a:pt x="654" y="182"/>
                  <a:pt x="654" y="182"/>
                </a:cubicBezTo>
                <a:cubicBezTo>
                  <a:pt x="654" y="182"/>
                  <a:pt x="654" y="181"/>
                  <a:pt x="655" y="181"/>
                </a:cubicBezTo>
                <a:cubicBezTo>
                  <a:pt x="655" y="181"/>
                  <a:pt x="655" y="181"/>
                  <a:pt x="655" y="181"/>
                </a:cubicBezTo>
                <a:cubicBezTo>
                  <a:pt x="655" y="181"/>
                  <a:pt x="655" y="181"/>
                  <a:pt x="655" y="181"/>
                </a:cubicBezTo>
                <a:cubicBezTo>
                  <a:pt x="656" y="181"/>
                  <a:pt x="656" y="181"/>
                  <a:pt x="656" y="180"/>
                </a:cubicBezTo>
                <a:cubicBezTo>
                  <a:pt x="656" y="180"/>
                  <a:pt x="656" y="180"/>
                  <a:pt x="657" y="180"/>
                </a:cubicBezTo>
                <a:cubicBezTo>
                  <a:pt x="657" y="180"/>
                  <a:pt x="657" y="180"/>
                  <a:pt x="657" y="181"/>
                </a:cubicBezTo>
                <a:cubicBezTo>
                  <a:pt x="657" y="181"/>
                  <a:pt x="657" y="181"/>
                  <a:pt x="657" y="181"/>
                </a:cubicBezTo>
                <a:cubicBezTo>
                  <a:pt x="656" y="181"/>
                  <a:pt x="656" y="181"/>
                  <a:pt x="656" y="181"/>
                </a:cubicBezTo>
                <a:cubicBezTo>
                  <a:pt x="656" y="181"/>
                  <a:pt x="655" y="181"/>
                  <a:pt x="655" y="182"/>
                </a:cubicBezTo>
                <a:cubicBezTo>
                  <a:pt x="655" y="182"/>
                  <a:pt x="654" y="182"/>
                  <a:pt x="654" y="182"/>
                </a:cubicBezTo>
                <a:cubicBezTo>
                  <a:pt x="653" y="182"/>
                  <a:pt x="653" y="182"/>
                  <a:pt x="653" y="182"/>
                </a:cubicBezTo>
                <a:cubicBezTo>
                  <a:pt x="653" y="183"/>
                  <a:pt x="653" y="183"/>
                  <a:pt x="653" y="183"/>
                </a:cubicBezTo>
                <a:cubicBezTo>
                  <a:pt x="653" y="183"/>
                  <a:pt x="653" y="183"/>
                  <a:pt x="653" y="183"/>
                </a:cubicBezTo>
                <a:cubicBezTo>
                  <a:pt x="653" y="184"/>
                  <a:pt x="653" y="184"/>
                  <a:pt x="653" y="184"/>
                </a:cubicBezTo>
                <a:cubicBezTo>
                  <a:pt x="653" y="184"/>
                  <a:pt x="653" y="184"/>
                  <a:pt x="653" y="184"/>
                </a:cubicBezTo>
                <a:cubicBezTo>
                  <a:pt x="653" y="184"/>
                  <a:pt x="653" y="185"/>
                  <a:pt x="653" y="185"/>
                </a:cubicBezTo>
                <a:cubicBezTo>
                  <a:pt x="653" y="185"/>
                  <a:pt x="653" y="185"/>
                  <a:pt x="653" y="186"/>
                </a:cubicBezTo>
                <a:cubicBezTo>
                  <a:pt x="654" y="186"/>
                  <a:pt x="654" y="186"/>
                  <a:pt x="654" y="186"/>
                </a:cubicBezTo>
                <a:cubicBezTo>
                  <a:pt x="654" y="185"/>
                  <a:pt x="654" y="185"/>
                  <a:pt x="655" y="184"/>
                </a:cubicBezTo>
                <a:cubicBezTo>
                  <a:pt x="655" y="184"/>
                  <a:pt x="655" y="184"/>
                  <a:pt x="655" y="184"/>
                </a:cubicBezTo>
                <a:cubicBezTo>
                  <a:pt x="656" y="184"/>
                  <a:pt x="656" y="184"/>
                  <a:pt x="656" y="183"/>
                </a:cubicBezTo>
                <a:cubicBezTo>
                  <a:pt x="656" y="183"/>
                  <a:pt x="657" y="183"/>
                  <a:pt x="657" y="183"/>
                </a:cubicBezTo>
                <a:cubicBezTo>
                  <a:pt x="657" y="183"/>
                  <a:pt x="657" y="183"/>
                  <a:pt x="657" y="183"/>
                </a:cubicBezTo>
                <a:cubicBezTo>
                  <a:pt x="657" y="182"/>
                  <a:pt x="658" y="182"/>
                  <a:pt x="658" y="182"/>
                </a:cubicBezTo>
                <a:cubicBezTo>
                  <a:pt x="658" y="182"/>
                  <a:pt x="658" y="182"/>
                  <a:pt x="658" y="182"/>
                </a:cubicBezTo>
                <a:cubicBezTo>
                  <a:pt x="658" y="182"/>
                  <a:pt x="658" y="183"/>
                  <a:pt x="657" y="183"/>
                </a:cubicBezTo>
                <a:cubicBezTo>
                  <a:pt x="657" y="183"/>
                  <a:pt x="657" y="183"/>
                  <a:pt x="657" y="183"/>
                </a:cubicBezTo>
                <a:cubicBezTo>
                  <a:pt x="657" y="183"/>
                  <a:pt x="658" y="183"/>
                  <a:pt x="658" y="183"/>
                </a:cubicBezTo>
                <a:cubicBezTo>
                  <a:pt x="658" y="183"/>
                  <a:pt x="658" y="183"/>
                  <a:pt x="659" y="183"/>
                </a:cubicBezTo>
                <a:cubicBezTo>
                  <a:pt x="659" y="183"/>
                  <a:pt x="659" y="182"/>
                  <a:pt x="660" y="182"/>
                </a:cubicBezTo>
                <a:cubicBezTo>
                  <a:pt x="660" y="182"/>
                  <a:pt x="660" y="182"/>
                  <a:pt x="660" y="181"/>
                </a:cubicBezTo>
                <a:cubicBezTo>
                  <a:pt x="660" y="182"/>
                  <a:pt x="660" y="182"/>
                  <a:pt x="661" y="182"/>
                </a:cubicBezTo>
                <a:cubicBezTo>
                  <a:pt x="661" y="182"/>
                  <a:pt x="661" y="182"/>
                  <a:pt x="661" y="182"/>
                </a:cubicBezTo>
                <a:cubicBezTo>
                  <a:pt x="661" y="182"/>
                  <a:pt x="661" y="181"/>
                  <a:pt x="662" y="181"/>
                </a:cubicBezTo>
                <a:cubicBezTo>
                  <a:pt x="662" y="181"/>
                  <a:pt x="662" y="181"/>
                  <a:pt x="662" y="181"/>
                </a:cubicBezTo>
                <a:cubicBezTo>
                  <a:pt x="662" y="181"/>
                  <a:pt x="662" y="181"/>
                  <a:pt x="662" y="181"/>
                </a:cubicBezTo>
                <a:cubicBezTo>
                  <a:pt x="662" y="182"/>
                  <a:pt x="662" y="182"/>
                  <a:pt x="662" y="182"/>
                </a:cubicBezTo>
                <a:cubicBezTo>
                  <a:pt x="662" y="182"/>
                  <a:pt x="662" y="183"/>
                  <a:pt x="662" y="183"/>
                </a:cubicBezTo>
                <a:cubicBezTo>
                  <a:pt x="662" y="183"/>
                  <a:pt x="662" y="183"/>
                  <a:pt x="662" y="183"/>
                </a:cubicBezTo>
                <a:cubicBezTo>
                  <a:pt x="663" y="183"/>
                  <a:pt x="663" y="184"/>
                  <a:pt x="663" y="184"/>
                </a:cubicBezTo>
                <a:cubicBezTo>
                  <a:pt x="663" y="184"/>
                  <a:pt x="663" y="184"/>
                  <a:pt x="663" y="184"/>
                </a:cubicBezTo>
                <a:cubicBezTo>
                  <a:pt x="662" y="184"/>
                  <a:pt x="662" y="184"/>
                  <a:pt x="662" y="184"/>
                </a:cubicBezTo>
                <a:cubicBezTo>
                  <a:pt x="662" y="184"/>
                  <a:pt x="661" y="183"/>
                  <a:pt x="661" y="183"/>
                </a:cubicBezTo>
                <a:cubicBezTo>
                  <a:pt x="661" y="183"/>
                  <a:pt x="661" y="183"/>
                  <a:pt x="660" y="183"/>
                </a:cubicBezTo>
                <a:cubicBezTo>
                  <a:pt x="660" y="183"/>
                  <a:pt x="660" y="183"/>
                  <a:pt x="660" y="183"/>
                </a:cubicBezTo>
                <a:cubicBezTo>
                  <a:pt x="660" y="183"/>
                  <a:pt x="660" y="183"/>
                  <a:pt x="660" y="183"/>
                </a:cubicBezTo>
                <a:cubicBezTo>
                  <a:pt x="659" y="183"/>
                  <a:pt x="659" y="183"/>
                  <a:pt x="659" y="183"/>
                </a:cubicBezTo>
                <a:cubicBezTo>
                  <a:pt x="659" y="183"/>
                  <a:pt x="659" y="183"/>
                  <a:pt x="659" y="184"/>
                </a:cubicBezTo>
                <a:cubicBezTo>
                  <a:pt x="659" y="184"/>
                  <a:pt x="659" y="184"/>
                  <a:pt x="659" y="184"/>
                </a:cubicBezTo>
                <a:cubicBezTo>
                  <a:pt x="660" y="184"/>
                  <a:pt x="660" y="184"/>
                  <a:pt x="660" y="184"/>
                </a:cubicBezTo>
                <a:cubicBezTo>
                  <a:pt x="660" y="184"/>
                  <a:pt x="660" y="184"/>
                  <a:pt x="661" y="184"/>
                </a:cubicBezTo>
                <a:cubicBezTo>
                  <a:pt x="661" y="184"/>
                  <a:pt x="661" y="184"/>
                  <a:pt x="661" y="184"/>
                </a:cubicBezTo>
                <a:cubicBezTo>
                  <a:pt x="661" y="184"/>
                  <a:pt x="661" y="184"/>
                  <a:pt x="661" y="185"/>
                </a:cubicBezTo>
                <a:cubicBezTo>
                  <a:pt x="661" y="185"/>
                  <a:pt x="661" y="185"/>
                  <a:pt x="661" y="185"/>
                </a:cubicBezTo>
                <a:cubicBezTo>
                  <a:pt x="660" y="185"/>
                  <a:pt x="660" y="184"/>
                  <a:pt x="660" y="184"/>
                </a:cubicBezTo>
                <a:cubicBezTo>
                  <a:pt x="660" y="184"/>
                  <a:pt x="659" y="184"/>
                  <a:pt x="659" y="184"/>
                </a:cubicBezTo>
                <a:cubicBezTo>
                  <a:pt x="659" y="184"/>
                  <a:pt x="659" y="184"/>
                  <a:pt x="658" y="184"/>
                </a:cubicBezTo>
                <a:cubicBezTo>
                  <a:pt x="658" y="185"/>
                  <a:pt x="658" y="185"/>
                  <a:pt x="657" y="185"/>
                </a:cubicBezTo>
                <a:cubicBezTo>
                  <a:pt x="657" y="186"/>
                  <a:pt x="657" y="186"/>
                  <a:pt x="657" y="186"/>
                </a:cubicBezTo>
                <a:cubicBezTo>
                  <a:pt x="656" y="186"/>
                  <a:pt x="656" y="186"/>
                  <a:pt x="655" y="186"/>
                </a:cubicBezTo>
                <a:cubicBezTo>
                  <a:pt x="655" y="186"/>
                  <a:pt x="655" y="186"/>
                  <a:pt x="655" y="186"/>
                </a:cubicBezTo>
                <a:cubicBezTo>
                  <a:pt x="655" y="186"/>
                  <a:pt x="655" y="186"/>
                  <a:pt x="655" y="186"/>
                </a:cubicBezTo>
                <a:cubicBezTo>
                  <a:pt x="656" y="186"/>
                  <a:pt x="656" y="186"/>
                  <a:pt x="656" y="186"/>
                </a:cubicBezTo>
                <a:cubicBezTo>
                  <a:pt x="657" y="186"/>
                  <a:pt x="657" y="186"/>
                  <a:pt x="657" y="186"/>
                </a:cubicBezTo>
                <a:cubicBezTo>
                  <a:pt x="658" y="186"/>
                  <a:pt x="658" y="186"/>
                  <a:pt x="659" y="186"/>
                </a:cubicBezTo>
                <a:cubicBezTo>
                  <a:pt x="659" y="185"/>
                  <a:pt x="659" y="185"/>
                  <a:pt x="660" y="185"/>
                </a:cubicBezTo>
                <a:cubicBezTo>
                  <a:pt x="660" y="185"/>
                  <a:pt x="660" y="185"/>
                  <a:pt x="660" y="185"/>
                </a:cubicBezTo>
                <a:cubicBezTo>
                  <a:pt x="661" y="185"/>
                  <a:pt x="661" y="185"/>
                  <a:pt x="661" y="185"/>
                </a:cubicBezTo>
                <a:cubicBezTo>
                  <a:pt x="661" y="185"/>
                  <a:pt x="661" y="185"/>
                  <a:pt x="661" y="185"/>
                </a:cubicBezTo>
                <a:cubicBezTo>
                  <a:pt x="661" y="185"/>
                  <a:pt x="661" y="186"/>
                  <a:pt x="660" y="186"/>
                </a:cubicBezTo>
                <a:cubicBezTo>
                  <a:pt x="660" y="186"/>
                  <a:pt x="659" y="186"/>
                  <a:pt x="659" y="186"/>
                </a:cubicBezTo>
                <a:cubicBezTo>
                  <a:pt x="659" y="186"/>
                  <a:pt x="658" y="186"/>
                  <a:pt x="658" y="186"/>
                </a:cubicBezTo>
                <a:cubicBezTo>
                  <a:pt x="657" y="186"/>
                  <a:pt x="656" y="187"/>
                  <a:pt x="656" y="187"/>
                </a:cubicBezTo>
                <a:cubicBezTo>
                  <a:pt x="655" y="187"/>
                  <a:pt x="655" y="187"/>
                  <a:pt x="655" y="187"/>
                </a:cubicBezTo>
                <a:cubicBezTo>
                  <a:pt x="655" y="187"/>
                  <a:pt x="655" y="187"/>
                  <a:pt x="654" y="187"/>
                </a:cubicBezTo>
                <a:cubicBezTo>
                  <a:pt x="655" y="188"/>
                  <a:pt x="655" y="188"/>
                  <a:pt x="655" y="188"/>
                </a:cubicBezTo>
                <a:cubicBezTo>
                  <a:pt x="655" y="188"/>
                  <a:pt x="655" y="188"/>
                  <a:pt x="656" y="188"/>
                </a:cubicBezTo>
                <a:cubicBezTo>
                  <a:pt x="656" y="188"/>
                  <a:pt x="656" y="188"/>
                  <a:pt x="657" y="188"/>
                </a:cubicBezTo>
                <a:cubicBezTo>
                  <a:pt x="657" y="188"/>
                  <a:pt x="657" y="188"/>
                  <a:pt x="657" y="188"/>
                </a:cubicBezTo>
                <a:cubicBezTo>
                  <a:pt x="657" y="188"/>
                  <a:pt x="657" y="188"/>
                  <a:pt x="656" y="188"/>
                </a:cubicBezTo>
                <a:cubicBezTo>
                  <a:pt x="656" y="188"/>
                  <a:pt x="656" y="188"/>
                  <a:pt x="655" y="188"/>
                </a:cubicBezTo>
                <a:cubicBezTo>
                  <a:pt x="655" y="189"/>
                  <a:pt x="655" y="189"/>
                  <a:pt x="655" y="189"/>
                </a:cubicBezTo>
                <a:cubicBezTo>
                  <a:pt x="655" y="189"/>
                  <a:pt x="655" y="189"/>
                  <a:pt x="655" y="189"/>
                </a:cubicBezTo>
                <a:cubicBezTo>
                  <a:pt x="655" y="190"/>
                  <a:pt x="655" y="190"/>
                  <a:pt x="656" y="190"/>
                </a:cubicBezTo>
                <a:cubicBezTo>
                  <a:pt x="656" y="190"/>
                  <a:pt x="656" y="189"/>
                  <a:pt x="656" y="189"/>
                </a:cubicBezTo>
                <a:cubicBezTo>
                  <a:pt x="656" y="189"/>
                  <a:pt x="657" y="189"/>
                  <a:pt x="657" y="189"/>
                </a:cubicBezTo>
                <a:cubicBezTo>
                  <a:pt x="657" y="189"/>
                  <a:pt x="657" y="189"/>
                  <a:pt x="657" y="189"/>
                </a:cubicBezTo>
                <a:cubicBezTo>
                  <a:pt x="658" y="189"/>
                  <a:pt x="658" y="189"/>
                  <a:pt x="658" y="189"/>
                </a:cubicBezTo>
                <a:cubicBezTo>
                  <a:pt x="658" y="189"/>
                  <a:pt x="658" y="189"/>
                  <a:pt x="659" y="189"/>
                </a:cubicBezTo>
                <a:cubicBezTo>
                  <a:pt x="659" y="189"/>
                  <a:pt x="659" y="189"/>
                  <a:pt x="659" y="188"/>
                </a:cubicBezTo>
                <a:cubicBezTo>
                  <a:pt x="659" y="188"/>
                  <a:pt x="660" y="188"/>
                  <a:pt x="660" y="188"/>
                </a:cubicBezTo>
                <a:cubicBezTo>
                  <a:pt x="660" y="188"/>
                  <a:pt x="660" y="188"/>
                  <a:pt x="660" y="188"/>
                </a:cubicBezTo>
                <a:cubicBezTo>
                  <a:pt x="660" y="189"/>
                  <a:pt x="660" y="189"/>
                  <a:pt x="660" y="189"/>
                </a:cubicBezTo>
                <a:cubicBezTo>
                  <a:pt x="659" y="189"/>
                  <a:pt x="659" y="189"/>
                  <a:pt x="658" y="189"/>
                </a:cubicBezTo>
                <a:cubicBezTo>
                  <a:pt x="658" y="189"/>
                  <a:pt x="658" y="189"/>
                  <a:pt x="658" y="189"/>
                </a:cubicBezTo>
                <a:cubicBezTo>
                  <a:pt x="658" y="189"/>
                  <a:pt x="657" y="189"/>
                  <a:pt x="657" y="189"/>
                </a:cubicBezTo>
                <a:cubicBezTo>
                  <a:pt x="657" y="189"/>
                  <a:pt x="657" y="189"/>
                  <a:pt x="657" y="189"/>
                </a:cubicBezTo>
                <a:cubicBezTo>
                  <a:pt x="657" y="189"/>
                  <a:pt x="657" y="190"/>
                  <a:pt x="657" y="190"/>
                </a:cubicBezTo>
                <a:cubicBezTo>
                  <a:pt x="658" y="190"/>
                  <a:pt x="658" y="190"/>
                  <a:pt x="658" y="190"/>
                </a:cubicBezTo>
                <a:cubicBezTo>
                  <a:pt x="658" y="190"/>
                  <a:pt x="658" y="190"/>
                  <a:pt x="659" y="190"/>
                </a:cubicBezTo>
                <a:cubicBezTo>
                  <a:pt x="658" y="190"/>
                  <a:pt x="658" y="190"/>
                  <a:pt x="658" y="190"/>
                </a:cubicBezTo>
                <a:cubicBezTo>
                  <a:pt x="658" y="190"/>
                  <a:pt x="657" y="190"/>
                  <a:pt x="657" y="190"/>
                </a:cubicBezTo>
                <a:cubicBezTo>
                  <a:pt x="656" y="190"/>
                  <a:pt x="656" y="191"/>
                  <a:pt x="656" y="191"/>
                </a:cubicBezTo>
                <a:cubicBezTo>
                  <a:pt x="656" y="191"/>
                  <a:pt x="656" y="191"/>
                  <a:pt x="656" y="191"/>
                </a:cubicBezTo>
                <a:cubicBezTo>
                  <a:pt x="657" y="191"/>
                  <a:pt x="657" y="191"/>
                  <a:pt x="657" y="191"/>
                </a:cubicBezTo>
                <a:cubicBezTo>
                  <a:pt x="657" y="191"/>
                  <a:pt x="657" y="191"/>
                  <a:pt x="657" y="191"/>
                </a:cubicBezTo>
                <a:cubicBezTo>
                  <a:pt x="658" y="191"/>
                  <a:pt x="658" y="191"/>
                  <a:pt x="659" y="190"/>
                </a:cubicBezTo>
                <a:cubicBezTo>
                  <a:pt x="659" y="190"/>
                  <a:pt x="659" y="191"/>
                  <a:pt x="659" y="191"/>
                </a:cubicBezTo>
                <a:cubicBezTo>
                  <a:pt x="659" y="191"/>
                  <a:pt x="660" y="191"/>
                  <a:pt x="660" y="191"/>
                </a:cubicBezTo>
                <a:cubicBezTo>
                  <a:pt x="660" y="191"/>
                  <a:pt x="660" y="191"/>
                  <a:pt x="659" y="191"/>
                </a:cubicBezTo>
                <a:cubicBezTo>
                  <a:pt x="659" y="191"/>
                  <a:pt x="658" y="191"/>
                  <a:pt x="658" y="191"/>
                </a:cubicBezTo>
                <a:cubicBezTo>
                  <a:pt x="658" y="191"/>
                  <a:pt x="657" y="191"/>
                  <a:pt x="657" y="191"/>
                </a:cubicBezTo>
                <a:cubicBezTo>
                  <a:pt x="657" y="191"/>
                  <a:pt x="657" y="191"/>
                  <a:pt x="656" y="191"/>
                </a:cubicBezTo>
                <a:cubicBezTo>
                  <a:pt x="656" y="192"/>
                  <a:pt x="656" y="192"/>
                  <a:pt x="656" y="192"/>
                </a:cubicBezTo>
                <a:cubicBezTo>
                  <a:pt x="656" y="192"/>
                  <a:pt x="656" y="192"/>
                  <a:pt x="657" y="192"/>
                </a:cubicBezTo>
                <a:cubicBezTo>
                  <a:pt x="657" y="192"/>
                  <a:pt x="657" y="192"/>
                  <a:pt x="657" y="192"/>
                </a:cubicBezTo>
                <a:cubicBezTo>
                  <a:pt x="657" y="192"/>
                  <a:pt x="658" y="192"/>
                  <a:pt x="658" y="192"/>
                </a:cubicBezTo>
                <a:cubicBezTo>
                  <a:pt x="658" y="192"/>
                  <a:pt x="658" y="192"/>
                  <a:pt x="659" y="192"/>
                </a:cubicBezTo>
                <a:cubicBezTo>
                  <a:pt x="659" y="192"/>
                  <a:pt x="659" y="192"/>
                  <a:pt x="660" y="192"/>
                </a:cubicBezTo>
                <a:cubicBezTo>
                  <a:pt x="660" y="192"/>
                  <a:pt x="660" y="192"/>
                  <a:pt x="660" y="192"/>
                </a:cubicBezTo>
                <a:cubicBezTo>
                  <a:pt x="659" y="192"/>
                  <a:pt x="659" y="192"/>
                  <a:pt x="658" y="193"/>
                </a:cubicBezTo>
                <a:cubicBezTo>
                  <a:pt x="658" y="193"/>
                  <a:pt x="658" y="193"/>
                  <a:pt x="658" y="193"/>
                </a:cubicBezTo>
                <a:cubicBezTo>
                  <a:pt x="658" y="193"/>
                  <a:pt x="658" y="193"/>
                  <a:pt x="659" y="194"/>
                </a:cubicBezTo>
                <a:cubicBezTo>
                  <a:pt x="659" y="194"/>
                  <a:pt x="659" y="194"/>
                  <a:pt x="659" y="194"/>
                </a:cubicBezTo>
                <a:cubicBezTo>
                  <a:pt x="659" y="193"/>
                  <a:pt x="659" y="193"/>
                  <a:pt x="659" y="193"/>
                </a:cubicBezTo>
                <a:cubicBezTo>
                  <a:pt x="659" y="193"/>
                  <a:pt x="660" y="193"/>
                  <a:pt x="660" y="193"/>
                </a:cubicBezTo>
                <a:cubicBezTo>
                  <a:pt x="660" y="193"/>
                  <a:pt x="660" y="193"/>
                  <a:pt x="661" y="194"/>
                </a:cubicBezTo>
                <a:cubicBezTo>
                  <a:pt x="661" y="193"/>
                  <a:pt x="661" y="193"/>
                  <a:pt x="661" y="193"/>
                </a:cubicBezTo>
                <a:cubicBezTo>
                  <a:pt x="661" y="193"/>
                  <a:pt x="661" y="193"/>
                  <a:pt x="661" y="193"/>
                </a:cubicBezTo>
                <a:cubicBezTo>
                  <a:pt x="661" y="193"/>
                  <a:pt x="661" y="193"/>
                  <a:pt x="661" y="193"/>
                </a:cubicBezTo>
                <a:cubicBezTo>
                  <a:pt x="661" y="193"/>
                  <a:pt x="661" y="193"/>
                  <a:pt x="661" y="194"/>
                </a:cubicBezTo>
                <a:cubicBezTo>
                  <a:pt x="661" y="194"/>
                  <a:pt x="661" y="194"/>
                  <a:pt x="661" y="194"/>
                </a:cubicBezTo>
                <a:cubicBezTo>
                  <a:pt x="661" y="194"/>
                  <a:pt x="661" y="194"/>
                  <a:pt x="662" y="194"/>
                </a:cubicBezTo>
                <a:cubicBezTo>
                  <a:pt x="661" y="195"/>
                  <a:pt x="661" y="195"/>
                  <a:pt x="661" y="195"/>
                </a:cubicBezTo>
                <a:cubicBezTo>
                  <a:pt x="661" y="195"/>
                  <a:pt x="660" y="195"/>
                  <a:pt x="660" y="195"/>
                </a:cubicBezTo>
                <a:cubicBezTo>
                  <a:pt x="660" y="195"/>
                  <a:pt x="660" y="196"/>
                  <a:pt x="660" y="196"/>
                </a:cubicBezTo>
                <a:cubicBezTo>
                  <a:pt x="660" y="196"/>
                  <a:pt x="660" y="196"/>
                  <a:pt x="659" y="196"/>
                </a:cubicBezTo>
                <a:cubicBezTo>
                  <a:pt x="659" y="197"/>
                  <a:pt x="660" y="197"/>
                  <a:pt x="660" y="197"/>
                </a:cubicBezTo>
                <a:cubicBezTo>
                  <a:pt x="660" y="197"/>
                  <a:pt x="660" y="197"/>
                  <a:pt x="660" y="196"/>
                </a:cubicBezTo>
                <a:cubicBezTo>
                  <a:pt x="661" y="196"/>
                  <a:pt x="661" y="196"/>
                  <a:pt x="661" y="196"/>
                </a:cubicBezTo>
                <a:cubicBezTo>
                  <a:pt x="661" y="196"/>
                  <a:pt x="661" y="196"/>
                  <a:pt x="661" y="196"/>
                </a:cubicBezTo>
                <a:cubicBezTo>
                  <a:pt x="662" y="196"/>
                  <a:pt x="662" y="197"/>
                  <a:pt x="662" y="197"/>
                </a:cubicBezTo>
                <a:cubicBezTo>
                  <a:pt x="662" y="197"/>
                  <a:pt x="661" y="197"/>
                  <a:pt x="661" y="197"/>
                </a:cubicBezTo>
                <a:cubicBezTo>
                  <a:pt x="661" y="197"/>
                  <a:pt x="661" y="197"/>
                  <a:pt x="661" y="197"/>
                </a:cubicBezTo>
                <a:cubicBezTo>
                  <a:pt x="662" y="197"/>
                  <a:pt x="662" y="197"/>
                  <a:pt x="662" y="197"/>
                </a:cubicBezTo>
                <a:cubicBezTo>
                  <a:pt x="662" y="197"/>
                  <a:pt x="662" y="197"/>
                  <a:pt x="663" y="197"/>
                </a:cubicBezTo>
                <a:cubicBezTo>
                  <a:pt x="663" y="197"/>
                  <a:pt x="663" y="197"/>
                  <a:pt x="663" y="197"/>
                </a:cubicBezTo>
                <a:cubicBezTo>
                  <a:pt x="663" y="198"/>
                  <a:pt x="662" y="198"/>
                  <a:pt x="662" y="198"/>
                </a:cubicBezTo>
                <a:cubicBezTo>
                  <a:pt x="662" y="198"/>
                  <a:pt x="663" y="198"/>
                  <a:pt x="663" y="198"/>
                </a:cubicBezTo>
                <a:cubicBezTo>
                  <a:pt x="663" y="198"/>
                  <a:pt x="663" y="198"/>
                  <a:pt x="663" y="199"/>
                </a:cubicBezTo>
                <a:cubicBezTo>
                  <a:pt x="662" y="199"/>
                  <a:pt x="662" y="199"/>
                  <a:pt x="662" y="199"/>
                </a:cubicBezTo>
                <a:cubicBezTo>
                  <a:pt x="662" y="199"/>
                  <a:pt x="662" y="199"/>
                  <a:pt x="662" y="199"/>
                </a:cubicBezTo>
                <a:cubicBezTo>
                  <a:pt x="662" y="199"/>
                  <a:pt x="662" y="199"/>
                  <a:pt x="663" y="199"/>
                </a:cubicBezTo>
                <a:cubicBezTo>
                  <a:pt x="663" y="199"/>
                  <a:pt x="663" y="199"/>
                  <a:pt x="663" y="199"/>
                </a:cubicBezTo>
                <a:cubicBezTo>
                  <a:pt x="663" y="199"/>
                  <a:pt x="663" y="198"/>
                  <a:pt x="663" y="198"/>
                </a:cubicBezTo>
                <a:cubicBezTo>
                  <a:pt x="664" y="198"/>
                  <a:pt x="664" y="198"/>
                  <a:pt x="665" y="198"/>
                </a:cubicBezTo>
                <a:cubicBezTo>
                  <a:pt x="665" y="198"/>
                  <a:pt x="665" y="198"/>
                  <a:pt x="665" y="198"/>
                </a:cubicBezTo>
                <a:cubicBezTo>
                  <a:pt x="665" y="198"/>
                  <a:pt x="665" y="198"/>
                  <a:pt x="665" y="198"/>
                </a:cubicBezTo>
                <a:cubicBezTo>
                  <a:pt x="665" y="198"/>
                  <a:pt x="665" y="199"/>
                  <a:pt x="665" y="199"/>
                </a:cubicBezTo>
                <a:cubicBezTo>
                  <a:pt x="665" y="199"/>
                  <a:pt x="664" y="199"/>
                  <a:pt x="664" y="199"/>
                </a:cubicBezTo>
                <a:cubicBezTo>
                  <a:pt x="664" y="199"/>
                  <a:pt x="664" y="199"/>
                  <a:pt x="664" y="200"/>
                </a:cubicBezTo>
                <a:cubicBezTo>
                  <a:pt x="664" y="200"/>
                  <a:pt x="663" y="200"/>
                  <a:pt x="663" y="200"/>
                </a:cubicBezTo>
                <a:cubicBezTo>
                  <a:pt x="663" y="200"/>
                  <a:pt x="663" y="200"/>
                  <a:pt x="662" y="200"/>
                </a:cubicBezTo>
                <a:cubicBezTo>
                  <a:pt x="662" y="200"/>
                  <a:pt x="662" y="200"/>
                  <a:pt x="662" y="200"/>
                </a:cubicBezTo>
                <a:cubicBezTo>
                  <a:pt x="662" y="200"/>
                  <a:pt x="662" y="200"/>
                  <a:pt x="663" y="201"/>
                </a:cubicBezTo>
                <a:cubicBezTo>
                  <a:pt x="663" y="200"/>
                  <a:pt x="663" y="200"/>
                  <a:pt x="663" y="200"/>
                </a:cubicBezTo>
                <a:cubicBezTo>
                  <a:pt x="664" y="200"/>
                  <a:pt x="664" y="200"/>
                  <a:pt x="664" y="200"/>
                </a:cubicBezTo>
                <a:cubicBezTo>
                  <a:pt x="664" y="200"/>
                  <a:pt x="665" y="200"/>
                  <a:pt x="665" y="200"/>
                </a:cubicBezTo>
                <a:cubicBezTo>
                  <a:pt x="665" y="200"/>
                  <a:pt x="665" y="200"/>
                  <a:pt x="665" y="200"/>
                </a:cubicBezTo>
                <a:cubicBezTo>
                  <a:pt x="665" y="200"/>
                  <a:pt x="665" y="200"/>
                  <a:pt x="665" y="200"/>
                </a:cubicBezTo>
                <a:cubicBezTo>
                  <a:pt x="664" y="200"/>
                  <a:pt x="664" y="201"/>
                  <a:pt x="664" y="201"/>
                </a:cubicBezTo>
                <a:cubicBezTo>
                  <a:pt x="664" y="201"/>
                  <a:pt x="664" y="201"/>
                  <a:pt x="664" y="201"/>
                </a:cubicBezTo>
                <a:cubicBezTo>
                  <a:pt x="664" y="201"/>
                  <a:pt x="664" y="202"/>
                  <a:pt x="663" y="202"/>
                </a:cubicBezTo>
                <a:cubicBezTo>
                  <a:pt x="663" y="202"/>
                  <a:pt x="663" y="202"/>
                  <a:pt x="663" y="202"/>
                </a:cubicBezTo>
                <a:cubicBezTo>
                  <a:pt x="663" y="202"/>
                  <a:pt x="662" y="202"/>
                  <a:pt x="662" y="202"/>
                </a:cubicBezTo>
                <a:cubicBezTo>
                  <a:pt x="663" y="202"/>
                  <a:pt x="663" y="203"/>
                  <a:pt x="663" y="203"/>
                </a:cubicBezTo>
                <a:cubicBezTo>
                  <a:pt x="664" y="202"/>
                  <a:pt x="664" y="202"/>
                  <a:pt x="665" y="202"/>
                </a:cubicBezTo>
                <a:cubicBezTo>
                  <a:pt x="665" y="202"/>
                  <a:pt x="665" y="202"/>
                  <a:pt x="665" y="202"/>
                </a:cubicBezTo>
                <a:cubicBezTo>
                  <a:pt x="666" y="202"/>
                  <a:pt x="666" y="201"/>
                  <a:pt x="666" y="201"/>
                </a:cubicBezTo>
                <a:cubicBezTo>
                  <a:pt x="667" y="201"/>
                  <a:pt x="667" y="201"/>
                  <a:pt x="667" y="201"/>
                </a:cubicBezTo>
                <a:cubicBezTo>
                  <a:pt x="667" y="201"/>
                  <a:pt x="667" y="202"/>
                  <a:pt x="667" y="202"/>
                </a:cubicBezTo>
                <a:cubicBezTo>
                  <a:pt x="667" y="202"/>
                  <a:pt x="667" y="202"/>
                  <a:pt x="667" y="202"/>
                </a:cubicBezTo>
                <a:cubicBezTo>
                  <a:pt x="667" y="202"/>
                  <a:pt x="666" y="202"/>
                  <a:pt x="666" y="202"/>
                </a:cubicBezTo>
                <a:cubicBezTo>
                  <a:pt x="666" y="202"/>
                  <a:pt x="665" y="202"/>
                  <a:pt x="665" y="203"/>
                </a:cubicBezTo>
                <a:cubicBezTo>
                  <a:pt x="665" y="203"/>
                  <a:pt x="665" y="203"/>
                  <a:pt x="665" y="203"/>
                </a:cubicBezTo>
                <a:cubicBezTo>
                  <a:pt x="665" y="203"/>
                  <a:pt x="666" y="203"/>
                  <a:pt x="666" y="203"/>
                </a:cubicBezTo>
                <a:cubicBezTo>
                  <a:pt x="666" y="203"/>
                  <a:pt x="666" y="203"/>
                  <a:pt x="666" y="203"/>
                </a:cubicBezTo>
                <a:cubicBezTo>
                  <a:pt x="666" y="203"/>
                  <a:pt x="666" y="203"/>
                  <a:pt x="665" y="204"/>
                </a:cubicBezTo>
                <a:cubicBezTo>
                  <a:pt x="665" y="204"/>
                  <a:pt x="666" y="204"/>
                  <a:pt x="666" y="204"/>
                </a:cubicBezTo>
                <a:cubicBezTo>
                  <a:pt x="666" y="204"/>
                  <a:pt x="666" y="204"/>
                  <a:pt x="667" y="204"/>
                </a:cubicBezTo>
                <a:cubicBezTo>
                  <a:pt x="667" y="204"/>
                  <a:pt x="667" y="204"/>
                  <a:pt x="668" y="203"/>
                </a:cubicBezTo>
                <a:cubicBezTo>
                  <a:pt x="668" y="203"/>
                  <a:pt x="668" y="203"/>
                  <a:pt x="668" y="203"/>
                </a:cubicBezTo>
                <a:cubicBezTo>
                  <a:pt x="668" y="203"/>
                  <a:pt x="669" y="203"/>
                  <a:pt x="669" y="203"/>
                </a:cubicBezTo>
                <a:cubicBezTo>
                  <a:pt x="669" y="203"/>
                  <a:pt x="669" y="203"/>
                  <a:pt x="670" y="204"/>
                </a:cubicBezTo>
                <a:cubicBezTo>
                  <a:pt x="670" y="204"/>
                  <a:pt x="670" y="204"/>
                  <a:pt x="670" y="204"/>
                </a:cubicBezTo>
                <a:cubicBezTo>
                  <a:pt x="670" y="204"/>
                  <a:pt x="670" y="204"/>
                  <a:pt x="671" y="204"/>
                </a:cubicBezTo>
                <a:cubicBezTo>
                  <a:pt x="671" y="205"/>
                  <a:pt x="671" y="205"/>
                  <a:pt x="671" y="205"/>
                </a:cubicBezTo>
                <a:cubicBezTo>
                  <a:pt x="671" y="205"/>
                  <a:pt x="670" y="205"/>
                  <a:pt x="670" y="205"/>
                </a:cubicBezTo>
                <a:cubicBezTo>
                  <a:pt x="670" y="205"/>
                  <a:pt x="670" y="205"/>
                  <a:pt x="669" y="205"/>
                </a:cubicBezTo>
                <a:cubicBezTo>
                  <a:pt x="669" y="205"/>
                  <a:pt x="669" y="206"/>
                  <a:pt x="669" y="206"/>
                </a:cubicBezTo>
                <a:cubicBezTo>
                  <a:pt x="669" y="206"/>
                  <a:pt x="669" y="206"/>
                  <a:pt x="669" y="206"/>
                </a:cubicBezTo>
                <a:cubicBezTo>
                  <a:pt x="670" y="206"/>
                  <a:pt x="670" y="206"/>
                  <a:pt x="671" y="206"/>
                </a:cubicBezTo>
                <a:cubicBezTo>
                  <a:pt x="671" y="206"/>
                  <a:pt x="671" y="206"/>
                  <a:pt x="671" y="206"/>
                </a:cubicBezTo>
                <a:cubicBezTo>
                  <a:pt x="671" y="206"/>
                  <a:pt x="671" y="206"/>
                  <a:pt x="671" y="206"/>
                </a:cubicBezTo>
                <a:cubicBezTo>
                  <a:pt x="671" y="206"/>
                  <a:pt x="671" y="205"/>
                  <a:pt x="671" y="205"/>
                </a:cubicBezTo>
                <a:cubicBezTo>
                  <a:pt x="671" y="205"/>
                  <a:pt x="671" y="205"/>
                  <a:pt x="671" y="205"/>
                </a:cubicBezTo>
                <a:cubicBezTo>
                  <a:pt x="672" y="205"/>
                  <a:pt x="672" y="205"/>
                  <a:pt x="672" y="205"/>
                </a:cubicBezTo>
                <a:cubicBezTo>
                  <a:pt x="672" y="205"/>
                  <a:pt x="672" y="205"/>
                  <a:pt x="673" y="205"/>
                </a:cubicBezTo>
                <a:cubicBezTo>
                  <a:pt x="673" y="205"/>
                  <a:pt x="673" y="205"/>
                  <a:pt x="673" y="205"/>
                </a:cubicBezTo>
                <a:cubicBezTo>
                  <a:pt x="674" y="205"/>
                  <a:pt x="674" y="205"/>
                  <a:pt x="674" y="205"/>
                </a:cubicBezTo>
                <a:cubicBezTo>
                  <a:pt x="674" y="205"/>
                  <a:pt x="674" y="205"/>
                  <a:pt x="675" y="205"/>
                </a:cubicBezTo>
                <a:cubicBezTo>
                  <a:pt x="675" y="205"/>
                  <a:pt x="675" y="205"/>
                  <a:pt x="675" y="205"/>
                </a:cubicBezTo>
                <a:cubicBezTo>
                  <a:pt x="675" y="204"/>
                  <a:pt x="675" y="204"/>
                  <a:pt x="676" y="204"/>
                </a:cubicBezTo>
                <a:cubicBezTo>
                  <a:pt x="676" y="204"/>
                  <a:pt x="676" y="204"/>
                  <a:pt x="676" y="204"/>
                </a:cubicBezTo>
                <a:cubicBezTo>
                  <a:pt x="676" y="204"/>
                  <a:pt x="677" y="204"/>
                  <a:pt x="677" y="204"/>
                </a:cubicBezTo>
                <a:cubicBezTo>
                  <a:pt x="677" y="203"/>
                  <a:pt x="677" y="203"/>
                  <a:pt x="678" y="203"/>
                </a:cubicBezTo>
                <a:cubicBezTo>
                  <a:pt x="678" y="203"/>
                  <a:pt x="678" y="203"/>
                  <a:pt x="678" y="203"/>
                </a:cubicBezTo>
                <a:cubicBezTo>
                  <a:pt x="678" y="203"/>
                  <a:pt x="679" y="203"/>
                  <a:pt x="679" y="203"/>
                </a:cubicBezTo>
                <a:cubicBezTo>
                  <a:pt x="679" y="203"/>
                  <a:pt x="679" y="203"/>
                  <a:pt x="679" y="203"/>
                </a:cubicBezTo>
                <a:cubicBezTo>
                  <a:pt x="679" y="203"/>
                  <a:pt x="679" y="203"/>
                  <a:pt x="678" y="202"/>
                </a:cubicBezTo>
                <a:cubicBezTo>
                  <a:pt x="678" y="202"/>
                  <a:pt x="678" y="202"/>
                  <a:pt x="678" y="202"/>
                </a:cubicBezTo>
                <a:cubicBezTo>
                  <a:pt x="679" y="202"/>
                  <a:pt x="679" y="202"/>
                  <a:pt x="679" y="202"/>
                </a:cubicBezTo>
                <a:cubicBezTo>
                  <a:pt x="679" y="202"/>
                  <a:pt x="679" y="202"/>
                  <a:pt x="679" y="202"/>
                </a:cubicBezTo>
                <a:cubicBezTo>
                  <a:pt x="680" y="202"/>
                  <a:pt x="680" y="202"/>
                  <a:pt x="680" y="202"/>
                </a:cubicBezTo>
                <a:cubicBezTo>
                  <a:pt x="680" y="203"/>
                  <a:pt x="680" y="203"/>
                  <a:pt x="680" y="203"/>
                </a:cubicBezTo>
                <a:cubicBezTo>
                  <a:pt x="680" y="203"/>
                  <a:pt x="679" y="204"/>
                  <a:pt x="679" y="204"/>
                </a:cubicBezTo>
                <a:cubicBezTo>
                  <a:pt x="679" y="204"/>
                  <a:pt x="679" y="204"/>
                  <a:pt x="679" y="204"/>
                </a:cubicBezTo>
                <a:cubicBezTo>
                  <a:pt x="678" y="204"/>
                  <a:pt x="678" y="204"/>
                  <a:pt x="678" y="204"/>
                </a:cubicBezTo>
                <a:cubicBezTo>
                  <a:pt x="678" y="204"/>
                  <a:pt x="678" y="204"/>
                  <a:pt x="678" y="205"/>
                </a:cubicBezTo>
                <a:cubicBezTo>
                  <a:pt x="679" y="204"/>
                  <a:pt x="679" y="204"/>
                  <a:pt x="679" y="204"/>
                </a:cubicBezTo>
                <a:cubicBezTo>
                  <a:pt x="680" y="204"/>
                  <a:pt x="680" y="203"/>
                  <a:pt x="681" y="203"/>
                </a:cubicBezTo>
                <a:cubicBezTo>
                  <a:pt x="681" y="203"/>
                  <a:pt x="682" y="202"/>
                  <a:pt x="682" y="202"/>
                </a:cubicBezTo>
                <a:cubicBezTo>
                  <a:pt x="682" y="202"/>
                  <a:pt x="682" y="202"/>
                  <a:pt x="682" y="202"/>
                </a:cubicBezTo>
                <a:cubicBezTo>
                  <a:pt x="683" y="202"/>
                  <a:pt x="683" y="202"/>
                  <a:pt x="683" y="202"/>
                </a:cubicBezTo>
                <a:cubicBezTo>
                  <a:pt x="683" y="203"/>
                  <a:pt x="683" y="203"/>
                  <a:pt x="683" y="203"/>
                </a:cubicBezTo>
                <a:cubicBezTo>
                  <a:pt x="683" y="203"/>
                  <a:pt x="682" y="203"/>
                  <a:pt x="682" y="203"/>
                </a:cubicBezTo>
                <a:cubicBezTo>
                  <a:pt x="682" y="203"/>
                  <a:pt x="682" y="204"/>
                  <a:pt x="681" y="204"/>
                </a:cubicBezTo>
                <a:cubicBezTo>
                  <a:pt x="681" y="204"/>
                  <a:pt x="681" y="204"/>
                  <a:pt x="681" y="204"/>
                </a:cubicBezTo>
                <a:cubicBezTo>
                  <a:pt x="680" y="204"/>
                  <a:pt x="680" y="205"/>
                  <a:pt x="680" y="205"/>
                </a:cubicBezTo>
                <a:cubicBezTo>
                  <a:pt x="680" y="205"/>
                  <a:pt x="679" y="205"/>
                  <a:pt x="679" y="205"/>
                </a:cubicBezTo>
                <a:cubicBezTo>
                  <a:pt x="679" y="205"/>
                  <a:pt x="680" y="205"/>
                  <a:pt x="680" y="205"/>
                </a:cubicBezTo>
                <a:cubicBezTo>
                  <a:pt x="680" y="205"/>
                  <a:pt x="680" y="205"/>
                  <a:pt x="681" y="205"/>
                </a:cubicBezTo>
                <a:cubicBezTo>
                  <a:pt x="681" y="204"/>
                  <a:pt x="681" y="204"/>
                  <a:pt x="682" y="204"/>
                </a:cubicBezTo>
                <a:cubicBezTo>
                  <a:pt x="682" y="204"/>
                  <a:pt x="682" y="204"/>
                  <a:pt x="682" y="204"/>
                </a:cubicBezTo>
                <a:cubicBezTo>
                  <a:pt x="681" y="204"/>
                  <a:pt x="681" y="205"/>
                  <a:pt x="681" y="205"/>
                </a:cubicBezTo>
                <a:cubicBezTo>
                  <a:pt x="681" y="205"/>
                  <a:pt x="680" y="205"/>
                  <a:pt x="680" y="205"/>
                </a:cubicBezTo>
                <a:cubicBezTo>
                  <a:pt x="680" y="205"/>
                  <a:pt x="680" y="205"/>
                  <a:pt x="680" y="206"/>
                </a:cubicBezTo>
                <a:cubicBezTo>
                  <a:pt x="680" y="206"/>
                  <a:pt x="679" y="206"/>
                  <a:pt x="679" y="207"/>
                </a:cubicBezTo>
                <a:cubicBezTo>
                  <a:pt x="679" y="207"/>
                  <a:pt x="679" y="207"/>
                  <a:pt x="679" y="207"/>
                </a:cubicBezTo>
                <a:cubicBezTo>
                  <a:pt x="679" y="207"/>
                  <a:pt x="679" y="207"/>
                  <a:pt x="679" y="207"/>
                </a:cubicBezTo>
                <a:cubicBezTo>
                  <a:pt x="679" y="207"/>
                  <a:pt x="679" y="207"/>
                  <a:pt x="680" y="206"/>
                </a:cubicBezTo>
                <a:cubicBezTo>
                  <a:pt x="680" y="206"/>
                  <a:pt x="680" y="206"/>
                  <a:pt x="680" y="206"/>
                </a:cubicBezTo>
                <a:cubicBezTo>
                  <a:pt x="680" y="207"/>
                  <a:pt x="680" y="207"/>
                  <a:pt x="680" y="207"/>
                </a:cubicBezTo>
                <a:cubicBezTo>
                  <a:pt x="680" y="207"/>
                  <a:pt x="680" y="207"/>
                  <a:pt x="680" y="207"/>
                </a:cubicBezTo>
                <a:cubicBezTo>
                  <a:pt x="681" y="207"/>
                  <a:pt x="681" y="207"/>
                  <a:pt x="681" y="207"/>
                </a:cubicBezTo>
                <a:cubicBezTo>
                  <a:pt x="681" y="207"/>
                  <a:pt x="681" y="206"/>
                  <a:pt x="681" y="206"/>
                </a:cubicBezTo>
                <a:cubicBezTo>
                  <a:pt x="681" y="206"/>
                  <a:pt x="681" y="206"/>
                  <a:pt x="682" y="206"/>
                </a:cubicBezTo>
                <a:cubicBezTo>
                  <a:pt x="682" y="206"/>
                  <a:pt x="682" y="206"/>
                  <a:pt x="682" y="206"/>
                </a:cubicBezTo>
                <a:cubicBezTo>
                  <a:pt x="682" y="206"/>
                  <a:pt x="682" y="206"/>
                  <a:pt x="682" y="206"/>
                </a:cubicBezTo>
                <a:cubicBezTo>
                  <a:pt x="682" y="206"/>
                  <a:pt x="682" y="206"/>
                  <a:pt x="682" y="206"/>
                </a:cubicBezTo>
                <a:cubicBezTo>
                  <a:pt x="682" y="207"/>
                  <a:pt x="681" y="207"/>
                  <a:pt x="681" y="207"/>
                </a:cubicBezTo>
                <a:cubicBezTo>
                  <a:pt x="681" y="207"/>
                  <a:pt x="682" y="207"/>
                  <a:pt x="682" y="207"/>
                </a:cubicBezTo>
                <a:cubicBezTo>
                  <a:pt x="682" y="207"/>
                  <a:pt x="682" y="207"/>
                  <a:pt x="682" y="207"/>
                </a:cubicBezTo>
                <a:cubicBezTo>
                  <a:pt x="683" y="207"/>
                  <a:pt x="683" y="207"/>
                  <a:pt x="683" y="206"/>
                </a:cubicBezTo>
                <a:cubicBezTo>
                  <a:pt x="683" y="206"/>
                  <a:pt x="683" y="206"/>
                  <a:pt x="683" y="206"/>
                </a:cubicBezTo>
                <a:cubicBezTo>
                  <a:pt x="683" y="206"/>
                  <a:pt x="684" y="206"/>
                  <a:pt x="684" y="206"/>
                </a:cubicBezTo>
                <a:cubicBezTo>
                  <a:pt x="684" y="206"/>
                  <a:pt x="684" y="207"/>
                  <a:pt x="683" y="207"/>
                </a:cubicBezTo>
                <a:cubicBezTo>
                  <a:pt x="683" y="207"/>
                  <a:pt x="683" y="207"/>
                  <a:pt x="683" y="208"/>
                </a:cubicBezTo>
                <a:cubicBezTo>
                  <a:pt x="683" y="208"/>
                  <a:pt x="683" y="208"/>
                  <a:pt x="682" y="208"/>
                </a:cubicBezTo>
                <a:cubicBezTo>
                  <a:pt x="682" y="208"/>
                  <a:pt x="682" y="209"/>
                  <a:pt x="682" y="209"/>
                </a:cubicBezTo>
                <a:cubicBezTo>
                  <a:pt x="682" y="209"/>
                  <a:pt x="683" y="209"/>
                  <a:pt x="683" y="209"/>
                </a:cubicBezTo>
                <a:cubicBezTo>
                  <a:pt x="683" y="209"/>
                  <a:pt x="683" y="208"/>
                  <a:pt x="684" y="208"/>
                </a:cubicBezTo>
                <a:cubicBezTo>
                  <a:pt x="684" y="208"/>
                  <a:pt x="684" y="207"/>
                  <a:pt x="684" y="207"/>
                </a:cubicBezTo>
                <a:cubicBezTo>
                  <a:pt x="684" y="207"/>
                  <a:pt x="685" y="207"/>
                  <a:pt x="685" y="206"/>
                </a:cubicBezTo>
                <a:cubicBezTo>
                  <a:pt x="685" y="207"/>
                  <a:pt x="685" y="207"/>
                  <a:pt x="685" y="207"/>
                </a:cubicBezTo>
                <a:cubicBezTo>
                  <a:pt x="685" y="207"/>
                  <a:pt x="684" y="207"/>
                  <a:pt x="684" y="208"/>
                </a:cubicBezTo>
                <a:cubicBezTo>
                  <a:pt x="684" y="208"/>
                  <a:pt x="684" y="208"/>
                  <a:pt x="684" y="208"/>
                </a:cubicBezTo>
                <a:cubicBezTo>
                  <a:pt x="684" y="208"/>
                  <a:pt x="684" y="209"/>
                  <a:pt x="684" y="209"/>
                </a:cubicBezTo>
                <a:cubicBezTo>
                  <a:pt x="684" y="209"/>
                  <a:pt x="684" y="209"/>
                  <a:pt x="684" y="209"/>
                </a:cubicBezTo>
                <a:cubicBezTo>
                  <a:pt x="684" y="209"/>
                  <a:pt x="684" y="209"/>
                  <a:pt x="684" y="210"/>
                </a:cubicBezTo>
                <a:cubicBezTo>
                  <a:pt x="684" y="209"/>
                  <a:pt x="685" y="209"/>
                  <a:pt x="685" y="209"/>
                </a:cubicBezTo>
                <a:cubicBezTo>
                  <a:pt x="685" y="209"/>
                  <a:pt x="685" y="209"/>
                  <a:pt x="685" y="209"/>
                </a:cubicBezTo>
                <a:cubicBezTo>
                  <a:pt x="685" y="209"/>
                  <a:pt x="685" y="208"/>
                  <a:pt x="685" y="208"/>
                </a:cubicBezTo>
                <a:cubicBezTo>
                  <a:pt x="685" y="208"/>
                  <a:pt x="685" y="208"/>
                  <a:pt x="685" y="208"/>
                </a:cubicBezTo>
                <a:cubicBezTo>
                  <a:pt x="685" y="208"/>
                  <a:pt x="686" y="208"/>
                  <a:pt x="686" y="208"/>
                </a:cubicBezTo>
                <a:cubicBezTo>
                  <a:pt x="686" y="208"/>
                  <a:pt x="686" y="208"/>
                  <a:pt x="686" y="207"/>
                </a:cubicBezTo>
                <a:cubicBezTo>
                  <a:pt x="686" y="207"/>
                  <a:pt x="686" y="207"/>
                  <a:pt x="686" y="207"/>
                </a:cubicBezTo>
                <a:cubicBezTo>
                  <a:pt x="686" y="207"/>
                  <a:pt x="687" y="207"/>
                  <a:pt x="687" y="207"/>
                </a:cubicBezTo>
                <a:cubicBezTo>
                  <a:pt x="687" y="207"/>
                  <a:pt x="687" y="207"/>
                  <a:pt x="687" y="207"/>
                </a:cubicBezTo>
                <a:cubicBezTo>
                  <a:pt x="687" y="207"/>
                  <a:pt x="687" y="207"/>
                  <a:pt x="687" y="207"/>
                </a:cubicBezTo>
                <a:cubicBezTo>
                  <a:pt x="687" y="207"/>
                  <a:pt x="687" y="207"/>
                  <a:pt x="687" y="207"/>
                </a:cubicBezTo>
                <a:cubicBezTo>
                  <a:pt x="687" y="207"/>
                  <a:pt x="687" y="208"/>
                  <a:pt x="687" y="208"/>
                </a:cubicBezTo>
                <a:cubicBezTo>
                  <a:pt x="687" y="208"/>
                  <a:pt x="687" y="208"/>
                  <a:pt x="687" y="208"/>
                </a:cubicBezTo>
                <a:cubicBezTo>
                  <a:pt x="688" y="208"/>
                  <a:pt x="688" y="208"/>
                  <a:pt x="688" y="208"/>
                </a:cubicBezTo>
                <a:cubicBezTo>
                  <a:pt x="689" y="208"/>
                  <a:pt x="690" y="208"/>
                  <a:pt x="691" y="208"/>
                </a:cubicBezTo>
                <a:cubicBezTo>
                  <a:pt x="691" y="208"/>
                  <a:pt x="691" y="208"/>
                  <a:pt x="691" y="208"/>
                </a:cubicBezTo>
                <a:cubicBezTo>
                  <a:pt x="691" y="208"/>
                  <a:pt x="691" y="208"/>
                  <a:pt x="691" y="208"/>
                </a:cubicBezTo>
                <a:cubicBezTo>
                  <a:pt x="692" y="208"/>
                  <a:pt x="692" y="208"/>
                  <a:pt x="692" y="208"/>
                </a:cubicBezTo>
                <a:cubicBezTo>
                  <a:pt x="692" y="208"/>
                  <a:pt x="692" y="208"/>
                  <a:pt x="693" y="208"/>
                </a:cubicBezTo>
                <a:cubicBezTo>
                  <a:pt x="692" y="207"/>
                  <a:pt x="692" y="207"/>
                  <a:pt x="692" y="207"/>
                </a:cubicBezTo>
                <a:cubicBezTo>
                  <a:pt x="692" y="207"/>
                  <a:pt x="692" y="207"/>
                  <a:pt x="692" y="207"/>
                </a:cubicBezTo>
                <a:cubicBezTo>
                  <a:pt x="692" y="207"/>
                  <a:pt x="692" y="207"/>
                  <a:pt x="692" y="207"/>
                </a:cubicBezTo>
                <a:cubicBezTo>
                  <a:pt x="691" y="207"/>
                  <a:pt x="691" y="207"/>
                  <a:pt x="691" y="207"/>
                </a:cubicBezTo>
                <a:cubicBezTo>
                  <a:pt x="691" y="207"/>
                  <a:pt x="691" y="207"/>
                  <a:pt x="691" y="207"/>
                </a:cubicBezTo>
                <a:cubicBezTo>
                  <a:pt x="691" y="207"/>
                  <a:pt x="690" y="207"/>
                  <a:pt x="690" y="207"/>
                </a:cubicBezTo>
                <a:cubicBezTo>
                  <a:pt x="691" y="207"/>
                  <a:pt x="691" y="207"/>
                  <a:pt x="691" y="207"/>
                </a:cubicBezTo>
                <a:cubicBezTo>
                  <a:pt x="691" y="207"/>
                  <a:pt x="691" y="207"/>
                  <a:pt x="691" y="206"/>
                </a:cubicBezTo>
                <a:cubicBezTo>
                  <a:pt x="690" y="206"/>
                  <a:pt x="690" y="206"/>
                  <a:pt x="690" y="206"/>
                </a:cubicBezTo>
                <a:cubicBezTo>
                  <a:pt x="689" y="206"/>
                  <a:pt x="688" y="206"/>
                  <a:pt x="688" y="206"/>
                </a:cubicBezTo>
                <a:cubicBezTo>
                  <a:pt x="688" y="206"/>
                  <a:pt x="688" y="206"/>
                  <a:pt x="688" y="206"/>
                </a:cubicBezTo>
                <a:cubicBezTo>
                  <a:pt x="688" y="206"/>
                  <a:pt x="688" y="206"/>
                  <a:pt x="688" y="205"/>
                </a:cubicBezTo>
                <a:cubicBezTo>
                  <a:pt x="688" y="205"/>
                  <a:pt x="688" y="205"/>
                  <a:pt x="689" y="205"/>
                </a:cubicBezTo>
                <a:cubicBezTo>
                  <a:pt x="689" y="205"/>
                  <a:pt x="689" y="205"/>
                  <a:pt x="689" y="205"/>
                </a:cubicBezTo>
                <a:cubicBezTo>
                  <a:pt x="689" y="205"/>
                  <a:pt x="689" y="205"/>
                  <a:pt x="689" y="205"/>
                </a:cubicBezTo>
                <a:cubicBezTo>
                  <a:pt x="690" y="205"/>
                  <a:pt x="690" y="205"/>
                  <a:pt x="690" y="206"/>
                </a:cubicBezTo>
                <a:cubicBezTo>
                  <a:pt x="690" y="206"/>
                  <a:pt x="690" y="206"/>
                  <a:pt x="691" y="206"/>
                </a:cubicBezTo>
                <a:cubicBezTo>
                  <a:pt x="691" y="206"/>
                  <a:pt x="691" y="206"/>
                  <a:pt x="691" y="206"/>
                </a:cubicBezTo>
                <a:cubicBezTo>
                  <a:pt x="692" y="206"/>
                  <a:pt x="692" y="206"/>
                  <a:pt x="692" y="206"/>
                </a:cubicBezTo>
                <a:cubicBezTo>
                  <a:pt x="692" y="206"/>
                  <a:pt x="693" y="206"/>
                  <a:pt x="693" y="206"/>
                </a:cubicBezTo>
                <a:cubicBezTo>
                  <a:pt x="693" y="206"/>
                  <a:pt x="693" y="205"/>
                  <a:pt x="694" y="205"/>
                </a:cubicBezTo>
                <a:cubicBezTo>
                  <a:pt x="694" y="205"/>
                  <a:pt x="694" y="205"/>
                  <a:pt x="694" y="205"/>
                </a:cubicBezTo>
                <a:cubicBezTo>
                  <a:pt x="694" y="205"/>
                  <a:pt x="693" y="205"/>
                  <a:pt x="693" y="205"/>
                </a:cubicBezTo>
                <a:cubicBezTo>
                  <a:pt x="693" y="205"/>
                  <a:pt x="692" y="205"/>
                  <a:pt x="692" y="205"/>
                </a:cubicBezTo>
                <a:cubicBezTo>
                  <a:pt x="692" y="205"/>
                  <a:pt x="692" y="205"/>
                  <a:pt x="691" y="205"/>
                </a:cubicBezTo>
                <a:cubicBezTo>
                  <a:pt x="691" y="205"/>
                  <a:pt x="691" y="205"/>
                  <a:pt x="691" y="205"/>
                </a:cubicBezTo>
                <a:cubicBezTo>
                  <a:pt x="692" y="205"/>
                  <a:pt x="692" y="205"/>
                  <a:pt x="692" y="205"/>
                </a:cubicBezTo>
                <a:cubicBezTo>
                  <a:pt x="692" y="205"/>
                  <a:pt x="692" y="205"/>
                  <a:pt x="693" y="205"/>
                </a:cubicBezTo>
                <a:cubicBezTo>
                  <a:pt x="693" y="205"/>
                  <a:pt x="693" y="204"/>
                  <a:pt x="693" y="204"/>
                </a:cubicBezTo>
                <a:cubicBezTo>
                  <a:pt x="693" y="204"/>
                  <a:pt x="693" y="204"/>
                  <a:pt x="693" y="204"/>
                </a:cubicBezTo>
                <a:cubicBezTo>
                  <a:pt x="693" y="204"/>
                  <a:pt x="693" y="204"/>
                  <a:pt x="692" y="204"/>
                </a:cubicBezTo>
                <a:cubicBezTo>
                  <a:pt x="692" y="204"/>
                  <a:pt x="692" y="204"/>
                  <a:pt x="691" y="204"/>
                </a:cubicBezTo>
                <a:cubicBezTo>
                  <a:pt x="691" y="204"/>
                  <a:pt x="692" y="204"/>
                  <a:pt x="692" y="204"/>
                </a:cubicBezTo>
                <a:cubicBezTo>
                  <a:pt x="692" y="204"/>
                  <a:pt x="692" y="204"/>
                  <a:pt x="692" y="204"/>
                </a:cubicBezTo>
                <a:cubicBezTo>
                  <a:pt x="692" y="204"/>
                  <a:pt x="692" y="204"/>
                  <a:pt x="692" y="204"/>
                </a:cubicBezTo>
                <a:cubicBezTo>
                  <a:pt x="692" y="204"/>
                  <a:pt x="692" y="203"/>
                  <a:pt x="692" y="203"/>
                </a:cubicBezTo>
                <a:cubicBezTo>
                  <a:pt x="691" y="203"/>
                  <a:pt x="691" y="203"/>
                  <a:pt x="691" y="203"/>
                </a:cubicBezTo>
                <a:cubicBezTo>
                  <a:pt x="691" y="203"/>
                  <a:pt x="690" y="203"/>
                  <a:pt x="690" y="203"/>
                </a:cubicBezTo>
                <a:cubicBezTo>
                  <a:pt x="690" y="203"/>
                  <a:pt x="690" y="203"/>
                  <a:pt x="690" y="203"/>
                </a:cubicBezTo>
                <a:cubicBezTo>
                  <a:pt x="691" y="203"/>
                  <a:pt x="691" y="203"/>
                  <a:pt x="691" y="203"/>
                </a:cubicBezTo>
                <a:cubicBezTo>
                  <a:pt x="692" y="203"/>
                  <a:pt x="692" y="203"/>
                  <a:pt x="692" y="203"/>
                </a:cubicBezTo>
                <a:cubicBezTo>
                  <a:pt x="693" y="203"/>
                  <a:pt x="693" y="203"/>
                  <a:pt x="694" y="203"/>
                </a:cubicBezTo>
                <a:cubicBezTo>
                  <a:pt x="694" y="203"/>
                  <a:pt x="694" y="202"/>
                  <a:pt x="695" y="202"/>
                </a:cubicBezTo>
                <a:cubicBezTo>
                  <a:pt x="695" y="202"/>
                  <a:pt x="695" y="202"/>
                  <a:pt x="695" y="202"/>
                </a:cubicBezTo>
                <a:cubicBezTo>
                  <a:pt x="695" y="202"/>
                  <a:pt x="695" y="202"/>
                  <a:pt x="695" y="202"/>
                </a:cubicBezTo>
                <a:cubicBezTo>
                  <a:pt x="694" y="202"/>
                  <a:pt x="694" y="202"/>
                  <a:pt x="694" y="202"/>
                </a:cubicBezTo>
                <a:cubicBezTo>
                  <a:pt x="693" y="202"/>
                  <a:pt x="692" y="202"/>
                  <a:pt x="692" y="202"/>
                </a:cubicBezTo>
                <a:cubicBezTo>
                  <a:pt x="691" y="202"/>
                  <a:pt x="691" y="202"/>
                  <a:pt x="691" y="202"/>
                </a:cubicBezTo>
                <a:cubicBezTo>
                  <a:pt x="691" y="202"/>
                  <a:pt x="691" y="201"/>
                  <a:pt x="691" y="201"/>
                </a:cubicBezTo>
                <a:cubicBezTo>
                  <a:pt x="691" y="201"/>
                  <a:pt x="691" y="201"/>
                  <a:pt x="691" y="201"/>
                </a:cubicBezTo>
                <a:cubicBezTo>
                  <a:pt x="691" y="201"/>
                  <a:pt x="692" y="201"/>
                  <a:pt x="692" y="202"/>
                </a:cubicBezTo>
                <a:cubicBezTo>
                  <a:pt x="692" y="201"/>
                  <a:pt x="693" y="201"/>
                  <a:pt x="693" y="201"/>
                </a:cubicBezTo>
                <a:cubicBezTo>
                  <a:pt x="694" y="201"/>
                  <a:pt x="694" y="201"/>
                  <a:pt x="694" y="201"/>
                </a:cubicBezTo>
                <a:cubicBezTo>
                  <a:pt x="694" y="201"/>
                  <a:pt x="694" y="201"/>
                  <a:pt x="694" y="200"/>
                </a:cubicBezTo>
                <a:cubicBezTo>
                  <a:pt x="694" y="200"/>
                  <a:pt x="693" y="200"/>
                  <a:pt x="693" y="200"/>
                </a:cubicBezTo>
                <a:cubicBezTo>
                  <a:pt x="693" y="200"/>
                  <a:pt x="693" y="200"/>
                  <a:pt x="693" y="200"/>
                </a:cubicBezTo>
                <a:cubicBezTo>
                  <a:pt x="692" y="200"/>
                  <a:pt x="692" y="200"/>
                  <a:pt x="692" y="200"/>
                </a:cubicBezTo>
                <a:cubicBezTo>
                  <a:pt x="692" y="200"/>
                  <a:pt x="693" y="200"/>
                  <a:pt x="693" y="200"/>
                </a:cubicBezTo>
                <a:cubicBezTo>
                  <a:pt x="693" y="200"/>
                  <a:pt x="693" y="200"/>
                  <a:pt x="693" y="200"/>
                </a:cubicBezTo>
                <a:cubicBezTo>
                  <a:pt x="694" y="200"/>
                  <a:pt x="694" y="200"/>
                  <a:pt x="694" y="200"/>
                </a:cubicBezTo>
                <a:cubicBezTo>
                  <a:pt x="694" y="200"/>
                  <a:pt x="694" y="200"/>
                  <a:pt x="694" y="200"/>
                </a:cubicBezTo>
                <a:cubicBezTo>
                  <a:pt x="695" y="200"/>
                  <a:pt x="695" y="200"/>
                  <a:pt x="695" y="199"/>
                </a:cubicBezTo>
                <a:cubicBezTo>
                  <a:pt x="695" y="199"/>
                  <a:pt x="695" y="199"/>
                  <a:pt x="695" y="199"/>
                </a:cubicBezTo>
                <a:cubicBezTo>
                  <a:pt x="695" y="199"/>
                  <a:pt x="695" y="199"/>
                  <a:pt x="694" y="199"/>
                </a:cubicBezTo>
                <a:cubicBezTo>
                  <a:pt x="694" y="199"/>
                  <a:pt x="694" y="199"/>
                  <a:pt x="694" y="199"/>
                </a:cubicBezTo>
                <a:cubicBezTo>
                  <a:pt x="694" y="199"/>
                  <a:pt x="694" y="199"/>
                  <a:pt x="694" y="199"/>
                </a:cubicBezTo>
                <a:cubicBezTo>
                  <a:pt x="694" y="199"/>
                  <a:pt x="694" y="198"/>
                  <a:pt x="694" y="198"/>
                </a:cubicBezTo>
                <a:cubicBezTo>
                  <a:pt x="694" y="199"/>
                  <a:pt x="694" y="199"/>
                  <a:pt x="695" y="199"/>
                </a:cubicBezTo>
                <a:cubicBezTo>
                  <a:pt x="695" y="199"/>
                  <a:pt x="695" y="199"/>
                  <a:pt x="695" y="199"/>
                </a:cubicBezTo>
                <a:cubicBezTo>
                  <a:pt x="695" y="198"/>
                  <a:pt x="696" y="198"/>
                  <a:pt x="696" y="198"/>
                </a:cubicBezTo>
                <a:cubicBezTo>
                  <a:pt x="696" y="198"/>
                  <a:pt x="696" y="198"/>
                  <a:pt x="696" y="198"/>
                </a:cubicBezTo>
                <a:cubicBezTo>
                  <a:pt x="695" y="198"/>
                  <a:pt x="695" y="198"/>
                  <a:pt x="695" y="198"/>
                </a:cubicBezTo>
                <a:cubicBezTo>
                  <a:pt x="694" y="198"/>
                  <a:pt x="694" y="198"/>
                  <a:pt x="694" y="198"/>
                </a:cubicBezTo>
                <a:cubicBezTo>
                  <a:pt x="694" y="198"/>
                  <a:pt x="694" y="197"/>
                  <a:pt x="693" y="197"/>
                </a:cubicBezTo>
                <a:cubicBezTo>
                  <a:pt x="694" y="197"/>
                  <a:pt x="694" y="197"/>
                  <a:pt x="694" y="197"/>
                </a:cubicBezTo>
                <a:cubicBezTo>
                  <a:pt x="694" y="197"/>
                  <a:pt x="694" y="197"/>
                  <a:pt x="695" y="198"/>
                </a:cubicBezTo>
                <a:cubicBezTo>
                  <a:pt x="695" y="197"/>
                  <a:pt x="695" y="197"/>
                  <a:pt x="695" y="197"/>
                </a:cubicBezTo>
                <a:cubicBezTo>
                  <a:pt x="696" y="198"/>
                  <a:pt x="696" y="198"/>
                  <a:pt x="696" y="198"/>
                </a:cubicBezTo>
                <a:cubicBezTo>
                  <a:pt x="696" y="198"/>
                  <a:pt x="697" y="198"/>
                  <a:pt x="697" y="198"/>
                </a:cubicBezTo>
                <a:cubicBezTo>
                  <a:pt x="697" y="197"/>
                  <a:pt x="697" y="197"/>
                  <a:pt x="697" y="197"/>
                </a:cubicBezTo>
                <a:cubicBezTo>
                  <a:pt x="697" y="197"/>
                  <a:pt x="697" y="197"/>
                  <a:pt x="697" y="197"/>
                </a:cubicBezTo>
                <a:cubicBezTo>
                  <a:pt x="697" y="196"/>
                  <a:pt x="697" y="196"/>
                  <a:pt x="697" y="196"/>
                </a:cubicBezTo>
                <a:cubicBezTo>
                  <a:pt x="697" y="196"/>
                  <a:pt x="697" y="196"/>
                  <a:pt x="697" y="196"/>
                </a:cubicBezTo>
                <a:cubicBezTo>
                  <a:pt x="697" y="196"/>
                  <a:pt x="697" y="196"/>
                  <a:pt x="697" y="196"/>
                </a:cubicBezTo>
                <a:cubicBezTo>
                  <a:pt x="697" y="195"/>
                  <a:pt x="697" y="195"/>
                  <a:pt x="697" y="195"/>
                </a:cubicBezTo>
                <a:cubicBezTo>
                  <a:pt x="697" y="195"/>
                  <a:pt x="697" y="195"/>
                  <a:pt x="697" y="195"/>
                </a:cubicBezTo>
                <a:cubicBezTo>
                  <a:pt x="697" y="194"/>
                  <a:pt x="697" y="194"/>
                  <a:pt x="697" y="194"/>
                </a:cubicBezTo>
                <a:cubicBezTo>
                  <a:pt x="696" y="194"/>
                  <a:pt x="696" y="194"/>
                  <a:pt x="695" y="194"/>
                </a:cubicBezTo>
                <a:cubicBezTo>
                  <a:pt x="695" y="194"/>
                  <a:pt x="695" y="194"/>
                  <a:pt x="694" y="194"/>
                </a:cubicBezTo>
                <a:cubicBezTo>
                  <a:pt x="694" y="194"/>
                  <a:pt x="694" y="193"/>
                  <a:pt x="694" y="193"/>
                </a:cubicBezTo>
                <a:cubicBezTo>
                  <a:pt x="694" y="193"/>
                  <a:pt x="694" y="193"/>
                  <a:pt x="694" y="193"/>
                </a:cubicBezTo>
                <a:cubicBezTo>
                  <a:pt x="694" y="193"/>
                  <a:pt x="694" y="193"/>
                  <a:pt x="694" y="193"/>
                </a:cubicBezTo>
                <a:cubicBezTo>
                  <a:pt x="695" y="193"/>
                  <a:pt x="695" y="193"/>
                  <a:pt x="695" y="193"/>
                </a:cubicBezTo>
                <a:cubicBezTo>
                  <a:pt x="695" y="193"/>
                  <a:pt x="696" y="193"/>
                  <a:pt x="696" y="194"/>
                </a:cubicBezTo>
                <a:cubicBezTo>
                  <a:pt x="697" y="194"/>
                  <a:pt x="697" y="194"/>
                  <a:pt x="697" y="194"/>
                </a:cubicBezTo>
                <a:cubicBezTo>
                  <a:pt x="697" y="194"/>
                  <a:pt x="698" y="194"/>
                  <a:pt x="698" y="194"/>
                </a:cubicBezTo>
                <a:cubicBezTo>
                  <a:pt x="698" y="194"/>
                  <a:pt x="698" y="194"/>
                  <a:pt x="698" y="194"/>
                </a:cubicBezTo>
                <a:cubicBezTo>
                  <a:pt x="698" y="193"/>
                  <a:pt x="698" y="193"/>
                  <a:pt x="698" y="193"/>
                </a:cubicBezTo>
                <a:cubicBezTo>
                  <a:pt x="698" y="193"/>
                  <a:pt x="697" y="193"/>
                  <a:pt x="697" y="192"/>
                </a:cubicBezTo>
                <a:cubicBezTo>
                  <a:pt x="697" y="192"/>
                  <a:pt x="696" y="192"/>
                  <a:pt x="696" y="192"/>
                </a:cubicBezTo>
                <a:cubicBezTo>
                  <a:pt x="695" y="192"/>
                  <a:pt x="695" y="192"/>
                  <a:pt x="694" y="192"/>
                </a:cubicBezTo>
                <a:cubicBezTo>
                  <a:pt x="694" y="192"/>
                  <a:pt x="694" y="192"/>
                  <a:pt x="694" y="192"/>
                </a:cubicBezTo>
                <a:cubicBezTo>
                  <a:pt x="694" y="192"/>
                  <a:pt x="694" y="192"/>
                  <a:pt x="694" y="192"/>
                </a:cubicBezTo>
                <a:cubicBezTo>
                  <a:pt x="694" y="192"/>
                  <a:pt x="694" y="191"/>
                  <a:pt x="694" y="191"/>
                </a:cubicBezTo>
                <a:cubicBezTo>
                  <a:pt x="694" y="192"/>
                  <a:pt x="695" y="192"/>
                  <a:pt x="695" y="192"/>
                </a:cubicBezTo>
                <a:cubicBezTo>
                  <a:pt x="695" y="192"/>
                  <a:pt x="695" y="192"/>
                  <a:pt x="695" y="192"/>
                </a:cubicBezTo>
                <a:cubicBezTo>
                  <a:pt x="696" y="192"/>
                  <a:pt x="696" y="192"/>
                  <a:pt x="696" y="192"/>
                </a:cubicBezTo>
                <a:cubicBezTo>
                  <a:pt x="696" y="192"/>
                  <a:pt x="696" y="191"/>
                  <a:pt x="697" y="191"/>
                </a:cubicBezTo>
                <a:cubicBezTo>
                  <a:pt x="697" y="191"/>
                  <a:pt x="697" y="191"/>
                  <a:pt x="697" y="191"/>
                </a:cubicBezTo>
                <a:cubicBezTo>
                  <a:pt x="697" y="191"/>
                  <a:pt x="697" y="190"/>
                  <a:pt x="697" y="190"/>
                </a:cubicBezTo>
                <a:cubicBezTo>
                  <a:pt x="697" y="190"/>
                  <a:pt x="697" y="190"/>
                  <a:pt x="697" y="190"/>
                </a:cubicBezTo>
                <a:cubicBezTo>
                  <a:pt x="697" y="190"/>
                  <a:pt x="697" y="190"/>
                  <a:pt x="698" y="190"/>
                </a:cubicBezTo>
                <a:cubicBezTo>
                  <a:pt x="698" y="190"/>
                  <a:pt x="698" y="190"/>
                  <a:pt x="698" y="191"/>
                </a:cubicBezTo>
                <a:cubicBezTo>
                  <a:pt x="698" y="191"/>
                  <a:pt x="698" y="191"/>
                  <a:pt x="698" y="191"/>
                </a:cubicBezTo>
                <a:cubicBezTo>
                  <a:pt x="698" y="191"/>
                  <a:pt x="698" y="191"/>
                  <a:pt x="699" y="191"/>
                </a:cubicBezTo>
                <a:cubicBezTo>
                  <a:pt x="699" y="191"/>
                  <a:pt x="699" y="191"/>
                  <a:pt x="699" y="191"/>
                </a:cubicBezTo>
                <a:cubicBezTo>
                  <a:pt x="700" y="191"/>
                  <a:pt x="700" y="191"/>
                  <a:pt x="700" y="191"/>
                </a:cubicBezTo>
                <a:cubicBezTo>
                  <a:pt x="700" y="191"/>
                  <a:pt x="700" y="191"/>
                  <a:pt x="701" y="191"/>
                </a:cubicBezTo>
                <a:cubicBezTo>
                  <a:pt x="701" y="191"/>
                  <a:pt x="701" y="191"/>
                  <a:pt x="701" y="191"/>
                </a:cubicBezTo>
                <a:cubicBezTo>
                  <a:pt x="701" y="190"/>
                  <a:pt x="701" y="190"/>
                  <a:pt x="701" y="190"/>
                </a:cubicBezTo>
                <a:cubicBezTo>
                  <a:pt x="701" y="190"/>
                  <a:pt x="701" y="190"/>
                  <a:pt x="702" y="190"/>
                </a:cubicBezTo>
                <a:cubicBezTo>
                  <a:pt x="701" y="190"/>
                  <a:pt x="701" y="190"/>
                  <a:pt x="701" y="190"/>
                </a:cubicBezTo>
                <a:cubicBezTo>
                  <a:pt x="701" y="190"/>
                  <a:pt x="701" y="190"/>
                  <a:pt x="701" y="190"/>
                </a:cubicBezTo>
                <a:cubicBezTo>
                  <a:pt x="700" y="190"/>
                  <a:pt x="700" y="190"/>
                  <a:pt x="699" y="190"/>
                </a:cubicBezTo>
                <a:cubicBezTo>
                  <a:pt x="699" y="190"/>
                  <a:pt x="699" y="190"/>
                  <a:pt x="699" y="190"/>
                </a:cubicBezTo>
                <a:cubicBezTo>
                  <a:pt x="699" y="190"/>
                  <a:pt x="699" y="190"/>
                  <a:pt x="699" y="189"/>
                </a:cubicBezTo>
                <a:cubicBezTo>
                  <a:pt x="699" y="189"/>
                  <a:pt x="699" y="189"/>
                  <a:pt x="699" y="189"/>
                </a:cubicBezTo>
                <a:cubicBezTo>
                  <a:pt x="698" y="189"/>
                  <a:pt x="698" y="189"/>
                  <a:pt x="698" y="189"/>
                </a:cubicBezTo>
                <a:cubicBezTo>
                  <a:pt x="698" y="189"/>
                  <a:pt x="698" y="189"/>
                  <a:pt x="698" y="188"/>
                </a:cubicBezTo>
                <a:cubicBezTo>
                  <a:pt x="698" y="188"/>
                  <a:pt x="698" y="188"/>
                  <a:pt x="698" y="188"/>
                </a:cubicBezTo>
                <a:cubicBezTo>
                  <a:pt x="698" y="188"/>
                  <a:pt x="699" y="188"/>
                  <a:pt x="699" y="188"/>
                </a:cubicBezTo>
                <a:cubicBezTo>
                  <a:pt x="699" y="188"/>
                  <a:pt x="699" y="188"/>
                  <a:pt x="699" y="188"/>
                </a:cubicBezTo>
                <a:cubicBezTo>
                  <a:pt x="699" y="188"/>
                  <a:pt x="699" y="189"/>
                  <a:pt x="699" y="189"/>
                </a:cubicBezTo>
                <a:cubicBezTo>
                  <a:pt x="700" y="189"/>
                  <a:pt x="700" y="189"/>
                  <a:pt x="700" y="189"/>
                </a:cubicBezTo>
                <a:cubicBezTo>
                  <a:pt x="700" y="189"/>
                  <a:pt x="701" y="189"/>
                  <a:pt x="701" y="189"/>
                </a:cubicBezTo>
                <a:cubicBezTo>
                  <a:pt x="701" y="189"/>
                  <a:pt x="701" y="189"/>
                  <a:pt x="702" y="189"/>
                </a:cubicBezTo>
                <a:cubicBezTo>
                  <a:pt x="702" y="189"/>
                  <a:pt x="702" y="189"/>
                  <a:pt x="702" y="188"/>
                </a:cubicBezTo>
                <a:cubicBezTo>
                  <a:pt x="701" y="188"/>
                  <a:pt x="701" y="188"/>
                  <a:pt x="701" y="188"/>
                </a:cubicBezTo>
                <a:cubicBezTo>
                  <a:pt x="701" y="188"/>
                  <a:pt x="701" y="188"/>
                  <a:pt x="700" y="188"/>
                </a:cubicBezTo>
                <a:cubicBezTo>
                  <a:pt x="700" y="188"/>
                  <a:pt x="700" y="188"/>
                  <a:pt x="699" y="188"/>
                </a:cubicBezTo>
                <a:cubicBezTo>
                  <a:pt x="699" y="187"/>
                  <a:pt x="699" y="187"/>
                  <a:pt x="699" y="187"/>
                </a:cubicBezTo>
                <a:cubicBezTo>
                  <a:pt x="699" y="187"/>
                  <a:pt x="699" y="187"/>
                  <a:pt x="699" y="187"/>
                </a:cubicBezTo>
                <a:cubicBezTo>
                  <a:pt x="700" y="187"/>
                  <a:pt x="700" y="187"/>
                  <a:pt x="700" y="187"/>
                </a:cubicBezTo>
                <a:cubicBezTo>
                  <a:pt x="700" y="187"/>
                  <a:pt x="701" y="188"/>
                  <a:pt x="701" y="188"/>
                </a:cubicBezTo>
                <a:cubicBezTo>
                  <a:pt x="701" y="188"/>
                  <a:pt x="701" y="188"/>
                  <a:pt x="702" y="188"/>
                </a:cubicBezTo>
                <a:cubicBezTo>
                  <a:pt x="702" y="188"/>
                  <a:pt x="702" y="188"/>
                  <a:pt x="702" y="188"/>
                </a:cubicBezTo>
                <a:cubicBezTo>
                  <a:pt x="702" y="188"/>
                  <a:pt x="703" y="188"/>
                  <a:pt x="703" y="188"/>
                </a:cubicBezTo>
                <a:cubicBezTo>
                  <a:pt x="703" y="188"/>
                  <a:pt x="703" y="188"/>
                  <a:pt x="703" y="187"/>
                </a:cubicBezTo>
                <a:cubicBezTo>
                  <a:pt x="703" y="187"/>
                  <a:pt x="702" y="187"/>
                  <a:pt x="702" y="187"/>
                </a:cubicBezTo>
                <a:cubicBezTo>
                  <a:pt x="702" y="187"/>
                  <a:pt x="702" y="187"/>
                  <a:pt x="701" y="187"/>
                </a:cubicBezTo>
                <a:cubicBezTo>
                  <a:pt x="701" y="187"/>
                  <a:pt x="701" y="187"/>
                  <a:pt x="700" y="187"/>
                </a:cubicBezTo>
                <a:cubicBezTo>
                  <a:pt x="700" y="186"/>
                  <a:pt x="700" y="186"/>
                  <a:pt x="700" y="186"/>
                </a:cubicBezTo>
                <a:cubicBezTo>
                  <a:pt x="700" y="186"/>
                  <a:pt x="701" y="186"/>
                  <a:pt x="701" y="186"/>
                </a:cubicBezTo>
                <a:cubicBezTo>
                  <a:pt x="701" y="186"/>
                  <a:pt x="701" y="186"/>
                  <a:pt x="701" y="185"/>
                </a:cubicBezTo>
                <a:cubicBezTo>
                  <a:pt x="701" y="185"/>
                  <a:pt x="701" y="185"/>
                  <a:pt x="702" y="185"/>
                </a:cubicBezTo>
                <a:cubicBezTo>
                  <a:pt x="702" y="185"/>
                  <a:pt x="702" y="186"/>
                  <a:pt x="702" y="186"/>
                </a:cubicBezTo>
                <a:cubicBezTo>
                  <a:pt x="702" y="186"/>
                  <a:pt x="703" y="186"/>
                  <a:pt x="703" y="186"/>
                </a:cubicBezTo>
                <a:cubicBezTo>
                  <a:pt x="703" y="186"/>
                  <a:pt x="704" y="186"/>
                  <a:pt x="704" y="186"/>
                </a:cubicBezTo>
                <a:cubicBezTo>
                  <a:pt x="704" y="186"/>
                  <a:pt x="704" y="186"/>
                  <a:pt x="704" y="186"/>
                </a:cubicBezTo>
                <a:cubicBezTo>
                  <a:pt x="705" y="186"/>
                  <a:pt x="705" y="186"/>
                  <a:pt x="705" y="186"/>
                </a:cubicBezTo>
                <a:cubicBezTo>
                  <a:pt x="705" y="186"/>
                  <a:pt x="706" y="186"/>
                  <a:pt x="706" y="186"/>
                </a:cubicBezTo>
                <a:cubicBezTo>
                  <a:pt x="706" y="185"/>
                  <a:pt x="706" y="185"/>
                  <a:pt x="706" y="185"/>
                </a:cubicBezTo>
                <a:cubicBezTo>
                  <a:pt x="706" y="185"/>
                  <a:pt x="706" y="185"/>
                  <a:pt x="706" y="185"/>
                </a:cubicBezTo>
                <a:cubicBezTo>
                  <a:pt x="706" y="185"/>
                  <a:pt x="705" y="185"/>
                  <a:pt x="705" y="185"/>
                </a:cubicBezTo>
                <a:cubicBezTo>
                  <a:pt x="705" y="185"/>
                  <a:pt x="704" y="185"/>
                  <a:pt x="704" y="184"/>
                </a:cubicBezTo>
                <a:cubicBezTo>
                  <a:pt x="704" y="184"/>
                  <a:pt x="703" y="184"/>
                  <a:pt x="703" y="184"/>
                </a:cubicBezTo>
                <a:cubicBezTo>
                  <a:pt x="703" y="184"/>
                  <a:pt x="703" y="184"/>
                  <a:pt x="703" y="184"/>
                </a:cubicBezTo>
                <a:cubicBezTo>
                  <a:pt x="702" y="184"/>
                  <a:pt x="702" y="184"/>
                  <a:pt x="702" y="184"/>
                </a:cubicBezTo>
                <a:cubicBezTo>
                  <a:pt x="702" y="184"/>
                  <a:pt x="702" y="184"/>
                  <a:pt x="702" y="184"/>
                </a:cubicBezTo>
                <a:cubicBezTo>
                  <a:pt x="702" y="184"/>
                  <a:pt x="702" y="184"/>
                  <a:pt x="702" y="184"/>
                </a:cubicBezTo>
                <a:cubicBezTo>
                  <a:pt x="702" y="184"/>
                  <a:pt x="702" y="184"/>
                  <a:pt x="703" y="183"/>
                </a:cubicBezTo>
                <a:cubicBezTo>
                  <a:pt x="703" y="184"/>
                  <a:pt x="703" y="184"/>
                  <a:pt x="703" y="184"/>
                </a:cubicBezTo>
                <a:cubicBezTo>
                  <a:pt x="704" y="184"/>
                  <a:pt x="704" y="184"/>
                  <a:pt x="704" y="184"/>
                </a:cubicBezTo>
                <a:cubicBezTo>
                  <a:pt x="704" y="184"/>
                  <a:pt x="704" y="184"/>
                  <a:pt x="704" y="184"/>
                </a:cubicBezTo>
                <a:cubicBezTo>
                  <a:pt x="705" y="184"/>
                  <a:pt x="705" y="184"/>
                  <a:pt x="705" y="184"/>
                </a:cubicBezTo>
                <a:cubicBezTo>
                  <a:pt x="706" y="184"/>
                  <a:pt x="706" y="185"/>
                  <a:pt x="706" y="185"/>
                </a:cubicBezTo>
                <a:cubicBezTo>
                  <a:pt x="706" y="184"/>
                  <a:pt x="706" y="184"/>
                  <a:pt x="706" y="184"/>
                </a:cubicBezTo>
                <a:cubicBezTo>
                  <a:pt x="706" y="184"/>
                  <a:pt x="706" y="184"/>
                  <a:pt x="707" y="184"/>
                </a:cubicBezTo>
                <a:cubicBezTo>
                  <a:pt x="707" y="184"/>
                  <a:pt x="707" y="184"/>
                  <a:pt x="707" y="184"/>
                </a:cubicBezTo>
                <a:cubicBezTo>
                  <a:pt x="707" y="184"/>
                  <a:pt x="707" y="183"/>
                  <a:pt x="707" y="183"/>
                </a:cubicBezTo>
                <a:cubicBezTo>
                  <a:pt x="706" y="183"/>
                  <a:pt x="706" y="183"/>
                  <a:pt x="706" y="183"/>
                </a:cubicBezTo>
                <a:cubicBezTo>
                  <a:pt x="706" y="183"/>
                  <a:pt x="706" y="183"/>
                  <a:pt x="706" y="183"/>
                </a:cubicBezTo>
                <a:cubicBezTo>
                  <a:pt x="706" y="183"/>
                  <a:pt x="706" y="183"/>
                  <a:pt x="706" y="182"/>
                </a:cubicBezTo>
                <a:cubicBezTo>
                  <a:pt x="706" y="182"/>
                  <a:pt x="706" y="182"/>
                  <a:pt x="706" y="182"/>
                </a:cubicBezTo>
                <a:cubicBezTo>
                  <a:pt x="706" y="182"/>
                  <a:pt x="707" y="182"/>
                  <a:pt x="707" y="182"/>
                </a:cubicBezTo>
                <a:cubicBezTo>
                  <a:pt x="707" y="182"/>
                  <a:pt x="707" y="182"/>
                  <a:pt x="707" y="182"/>
                </a:cubicBezTo>
                <a:cubicBezTo>
                  <a:pt x="707" y="182"/>
                  <a:pt x="707" y="181"/>
                  <a:pt x="707" y="181"/>
                </a:cubicBezTo>
                <a:cubicBezTo>
                  <a:pt x="707" y="181"/>
                  <a:pt x="707" y="181"/>
                  <a:pt x="706" y="181"/>
                </a:cubicBezTo>
                <a:cubicBezTo>
                  <a:pt x="706" y="181"/>
                  <a:pt x="706" y="182"/>
                  <a:pt x="706" y="182"/>
                </a:cubicBezTo>
                <a:cubicBezTo>
                  <a:pt x="706" y="182"/>
                  <a:pt x="706" y="181"/>
                  <a:pt x="706" y="181"/>
                </a:cubicBezTo>
                <a:cubicBezTo>
                  <a:pt x="705" y="181"/>
                  <a:pt x="705" y="181"/>
                  <a:pt x="705" y="181"/>
                </a:cubicBezTo>
                <a:cubicBezTo>
                  <a:pt x="705" y="181"/>
                  <a:pt x="704" y="181"/>
                  <a:pt x="704" y="181"/>
                </a:cubicBezTo>
                <a:cubicBezTo>
                  <a:pt x="704" y="181"/>
                  <a:pt x="703" y="181"/>
                  <a:pt x="703" y="181"/>
                </a:cubicBezTo>
                <a:cubicBezTo>
                  <a:pt x="703" y="181"/>
                  <a:pt x="703" y="181"/>
                  <a:pt x="702" y="181"/>
                </a:cubicBezTo>
                <a:cubicBezTo>
                  <a:pt x="703" y="181"/>
                  <a:pt x="703" y="180"/>
                  <a:pt x="703" y="180"/>
                </a:cubicBezTo>
                <a:cubicBezTo>
                  <a:pt x="703" y="180"/>
                  <a:pt x="704" y="180"/>
                  <a:pt x="704" y="180"/>
                </a:cubicBezTo>
                <a:cubicBezTo>
                  <a:pt x="704" y="180"/>
                  <a:pt x="705" y="180"/>
                  <a:pt x="705" y="180"/>
                </a:cubicBezTo>
                <a:cubicBezTo>
                  <a:pt x="705" y="180"/>
                  <a:pt x="706" y="180"/>
                  <a:pt x="706" y="180"/>
                </a:cubicBezTo>
                <a:cubicBezTo>
                  <a:pt x="706" y="180"/>
                  <a:pt x="706" y="180"/>
                  <a:pt x="706" y="180"/>
                </a:cubicBezTo>
                <a:cubicBezTo>
                  <a:pt x="706" y="180"/>
                  <a:pt x="706" y="180"/>
                  <a:pt x="707" y="179"/>
                </a:cubicBezTo>
                <a:cubicBezTo>
                  <a:pt x="707" y="180"/>
                  <a:pt x="707" y="180"/>
                  <a:pt x="707" y="180"/>
                </a:cubicBezTo>
                <a:cubicBezTo>
                  <a:pt x="707" y="180"/>
                  <a:pt x="707" y="179"/>
                  <a:pt x="707" y="179"/>
                </a:cubicBezTo>
                <a:cubicBezTo>
                  <a:pt x="707" y="179"/>
                  <a:pt x="707" y="178"/>
                  <a:pt x="707" y="178"/>
                </a:cubicBezTo>
                <a:cubicBezTo>
                  <a:pt x="707" y="178"/>
                  <a:pt x="707" y="178"/>
                  <a:pt x="707" y="177"/>
                </a:cubicBezTo>
                <a:cubicBezTo>
                  <a:pt x="706" y="177"/>
                  <a:pt x="706" y="177"/>
                  <a:pt x="706" y="177"/>
                </a:cubicBezTo>
                <a:cubicBezTo>
                  <a:pt x="706" y="177"/>
                  <a:pt x="706" y="177"/>
                  <a:pt x="706" y="177"/>
                </a:cubicBezTo>
                <a:cubicBezTo>
                  <a:pt x="706" y="177"/>
                  <a:pt x="706" y="176"/>
                  <a:pt x="706" y="176"/>
                </a:cubicBezTo>
                <a:cubicBezTo>
                  <a:pt x="706" y="176"/>
                  <a:pt x="706" y="176"/>
                  <a:pt x="706" y="176"/>
                </a:cubicBezTo>
                <a:cubicBezTo>
                  <a:pt x="706" y="176"/>
                  <a:pt x="706" y="176"/>
                  <a:pt x="706" y="175"/>
                </a:cubicBezTo>
                <a:cubicBezTo>
                  <a:pt x="706" y="175"/>
                  <a:pt x="706" y="175"/>
                  <a:pt x="706" y="175"/>
                </a:cubicBezTo>
                <a:cubicBezTo>
                  <a:pt x="706" y="175"/>
                  <a:pt x="706" y="175"/>
                  <a:pt x="706" y="175"/>
                </a:cubicBezTo>
                <a:cubicBezTo>
                  <a:pt x="706" y="175"/>
                  <a:pt x="706" y="175"/>
                  <a:pt x="706" y="175"/>
                </a:cubicBezTo>
                <a:cubicBezTo>
                  <a:pt x="706" y="175"/>
                  <a:pt x="706" y="175"/>
                  <a:pt x="706" y="175"/>
                </a:cubicBezTo>
                <a:cubicBezTo>
                  <a:pt x="707" y="175"/>
                  <a:pt x="707" y="175"/>
                  <a:pt x="707" y="175"/>
                </a:cubicBezTo>
                <a:cubicBezTo>
                  <a:pt x="707" y="175"/>
                  <a:pt x="707" y="175"/>
                  <a:pt x="707" y="175"/>
                </a:cubicBezTo>
                <a:cubicBezTo>
                  <a:pt x="708" y="175"/>
                  <a:pt x="708" y="175"/>
                  <a:pt x="708" y="175"/>
                </a:cubicBezTo>
                <a:cubicBezTo>
                  <a:pt x="708" y="175"/>
                  <a:pt x="708" y="175"/>
                  <a:pt x="708" y="175"/>
                </a:cubicBezTo>
                <a:cubicBezTo>
                  <a:pt x="709" y="175"/>
                  <a:pt x="709" y="175"/>
                  <a:pt x="709" y="176"/>
                </a:cubicBezTo>
                <a:cubicBezTo>
                  <a:pt x="709" y="176"/>
                  <a:pt x="709" y="176"/>
                  <a:pt x="709" y="176"/>
                </a:cubicBezTo>
                <a:cubicBezTo>
                  <a:pt x="710" y="176"/>
                  <a:pt x="710" y="176"/>
                  <a:pt x="710" y="176"/>
                </a:cubicBezTo>
                <a:cubicBezTo>
                  <a:pt x="710" y="175"/>
                  <a:pt x="711" y="175"/>
                  <a:pt x="711" y="175"/>
                </a:cubicBezTo>
                <a:cubicBezTo>
                  <a:pt x="711" y="174"/>
                  <a:pt x="711" y="174"/>
                  <a:pt x="711" y="174"/>
                </a:cubicBezTo>
                <a:cubicBezTo>
                  <a:pt x="711" y="174"/>
                  <a:pt x="711" y="173"/>
                  <a:pt x="711" y="173"/>
                </a:cubicBezTo>
                <a:cubicBezTo>
                  <a:pt x="711" y="173"/>
                  <a:pt x="711" y="173"/>
                  <a:pt x="711" y="173"/>
                </a:cubicBezTo>
                <a:cubicBezTo>
                  <a:pt x="711" y="173"/>
                  <a:pt x="711" y="172"/>
                  <a:pt x="711" y="172"/>
                </a:cubicBezTo>
                <a:cubicBezTo>
                  <a:pt x="711" y="172"/>
                  <a:pt x="711" y="172"/>
                  <a:pt x="711" y="172"/>
                </a:cubicBezTo>
                <a:cubicBezTo>
                  <a:pt x="711" y="172"/>
                  <a:pt x="712" y="172"/>
                  <a:pt x="712" y="172"/>
                </a:cubicBezTo>
                <a:cubicBezTo>
                  <a:pt x="712" y="172"/>
                  <a:pt x="712" y="172"/>
                  <a:pt x="712" y="172"/>
                </a:cubicBezTo>
                <a:cubicBezTo>
                  <a:pt x="712" y="172"/>
                  <a:pt x="712" y="172"/>
                  <a:pt x="712" y="172"/>
                </a:cubicBezTo>
                <a:cubicBezTo>
                  <a:pt x="713" y="172"/>
                  <a:pt x="713" y="172"/>
                  <a:pt x="713" y="172"/>
                </a:cubicBezTo>
                <a:cubicBezTo>
                  <a:pt x="713" y="172"/>
                  <a:pt x="713" y="172"/>
                  <a:pt x="713" y="172"/>
                </a:cubicBezTo>
                <a:cubicBezTo>
                  <a:pt x="714" y="172"/>
                  <a:pt x="714" y="172"/>
                  <a:pt x="714" y="172"/>
                </a:cubicBezTo>
                <a:cubicBezTo>
                  <a:pt x="714" y="172"/>
                  <a:pt x="714" y="172"/>
                  <a:pt x="715" y="172"/>
                </a:cubicBezTo>
                <a:cubicBezTo>
                  <a:pt x="715" y="172"/>
                  <a:pt x="714" y="172"/>
                  <a:pt x="714" y="172"/>
                </a:cubicBezTo>
                <a:cubicBezTo>
                  <a:pt x="714" y="171"/>
                  <a:pt x="715" y="171"/>
                  <a:pt x="715" y="171"/>
                </a:cubicBezTo>
                <a:cubicBezTo>
                  <a:pt x="715" y="171"/>
                  <a:pt x="715" y="171"/>
                  <a:pt x="715" y="171"/>
                </a:cubicBezTo>
                <a:cubicBezTo>
                  <a:pt x="715" y="171"/>
                  <a:pt x="715" y="171"/>
                  <a:pt x="715" y="172"/>
                </a:cubicBezTo>
                <a:cubicBezTo>
                  <a:pt x="715" y="172"/>
                  <a:pt x="716" y="172"/>
                  <a:pt x="716" y="172"/>
                </a:cubicBezTo>
                <a:cubicBezTo>
                  <a:pt x="716" y="172"/>
                  <a:pt x="716" y="172"/>
                  <a:pt x="716" y="172"/>
                </a:cubicBezTo>
                <a:cubicBezTo>
                  <a:pt x="716" y="172"/>
                  <a:pt x="717" y="172"/>
                  <a:pt x="717" y="172"/>
                </a:cubicBezTo>
                <a:cubicBezTo>
                  <a:pt x="717" y="172"/>
                  <a:pt x="717" y="172"/>
                  <a:pt x="717" y="172"/>
                </a:cubicBezTo>
                <a:cubicBezTo>
                  <a:pt x="718" y="171"/>
                  <a:pt x="718" y="171"/>
                  <a:pt x="718" y="171"/>
                </a:cubicBezTo>
                <a:cubicBezTo>
                  <a:pt x="718" y="171"/>
                  <a:pt x="718" y="171"/>
                  <a:pt x="718" y="172"/>
                </a:cubicBezTo>
                <a:cubicBezTo>
                  <a:pt x="719" y="172"/>
                  <a:pt x="719" y="172"/>
                  <a:pt x="719" y="172"/>
                </a:cubicBezTo>
                <a:cubicBezTo>
                  <a:pt x="719" y="171"/>
                  <a:pt x="720" y="171"/>
                  <a:pt x="720" y="171"/>
                </a:cubicBezTo>
                <a:cubicBezTo>
                  <a:pt x="720" y="171"/>
                  <a:pt x="720" y="171"/>
                  <a:pt x="720" y="171"/>
                </a:cubicBezTo>
                <a:cubicBezTo>
                  <a:pt x="720" y="171"/>
                  <a:pt x="720" y="171"/>
                  <a:pt x="720" y="171"/>
                </a:cubicBezTo>
                <a:cubicBezTo>
                  <a:pt x="720" y="170"/>
                  <a:pt x="720" y="170"/>
                  <a:pt x="720" y="170"/>
                </a:cubicBezTo>
                <a:cubicBezTo>
                  <a:pt x="720" y="170"/>
                  <a:pt x="720" y="170"/>
                  <a:pt x="720" y="170"/>
                </a:cubicBezTo>
                <a:cubicBezTo>
                  <a:pt x="719" y="170"/>
                  <a:pt x="719" y="169"/>
                  <a:pt x="719" y="169"/>
                </a:cubicBezTo>
                <a:cubicBezTo>
                  <a:pt x="719" y="169"/>
                  <a:pt x="719" y="169"/>
                  <a:pt x="719" y="169"/>
                </a:cubicBezTo>
                <a:cubicBezTo>
                  <a:pt x="719" y="169"/>
                  <a:pt x="719" y="168"/>
                  <a:pt x="719" y="168"/>
                </a:cubicBezTo>
                <a:cubicBezTo>
                  <a:pt x="719" y="168"/>
                  <a:pt x="720" y="168"/>
                  <a:pt x="720" y="168"/>
                </a:cubicBezTo>
                <a:cubicBezTo>
                  <a:pt x="720" y="169"/>
                  <a:pt x="720" y="169"/>
                  <a:pt x="720" y="169"/>
                </a:cubicBezTo>
                <a:cubicBezTo>
                  <a:pt x="720" y="169"/>
                  <a:pt x="720" y="169"/>
                  <a:pt x="720" y="169"/>
                </a:cubicBezTo>
                <a:cubicBezTo>
                  <a:pt x="721" y="169"/>
                  <a:pt x="721" y="168"/>
                  <a:pt x="721" y="168"/>
                </a:cubicBezTo>
                <a:cubicBezTo>
                  <a:pt x="721" y="168"/>
                  <a:pt x="721" y="168"/>
                  <a:pt x="721" y="168"/>
                </a:cubicBezTo>
                <a:cubicBezTo>
                  <a:pt x="721" y="168"/>
                  <a:pt x="722" y="167"/>
                  <a:pt x="722" y="167"/>
                </a:cubicBezTo>
                <a:cubicBezTo>
                  <a:pt x="722" y="167"/>
                  <a:pt x="722" y="167"/>
                  <a:pt x="722" y="167"/>
                </a:cubicBezTo>
                <a:cubicBezTo>
                  <a:pt x="722" y="167"/>
                  <a:pt x="721" y="167"/>
                  <a:pt x="721" y="166"/>
                </a:cubicBezTo>
                <a:cubicBezTo>
                  <a:pt x="721" y="166"/>
                  <a:pt x="721" y="166"/>
                  <a:pt x="721" y="166"/>
                </a:cubicBezTo>
                <a:cubicBezTo>
                  <a:pt x="721" y="166"/>
                  <a:pt x="721" y="166"/>
                  <a:pt x="721" y="166"/>
                </a:cubicBezTo>
                <a:cubicBezTo>
                  <a:pt x="721" y="166"/>
                  <a:pt x="722" y="166"/>
                  <a:pt x="722" y="165"/>
                </a:cubicBezTo>
                <a:cubicBezTo>
                  <a:pt x="722" y="166"/>
                  <a:pt x="722" y="166"/>
                  <a:pt x="722" y="166"/>
                </a:cubicBezTo>
                <a:cubicBezTo>
                  <a:pt x="722" y="166"/>
                  <a:pt x="722" y="166"/>
                  <a:pt x="722" y="166"/>
                </a:cubicBezTo>
                <a:cubicBezTo>
                  <a:pt x="722" y="166"/>
                  <a:pt x="723" y="166"/>
                  <a:pt x="723" y="166"/>
                </a:cubicBezTo>
                <a:cubicBezTo>
                  <a:pt x="723" y="166"/>
                  <a:pt x="723" y="166"/>
                  <a:pt x="724" y="166"/>
                </a:cubicBezTo>
                <a:cubicBezTo>
                  <a:pt x="724" y="166"/>
                  <a:pt x="724" y="166"/>
                  <a:pt x="724" y="166"/>
                </a:cubicBezTo>
                <a:cubicBezTo>
                  <a:pt x="724" y="166"/>
                  <a:pt x="724" y="167"/>
                  <a:pt x="724" y="167"/>
                </a:cubicBezTo>
                <a:cubicBezTo>
                  <a:pt x="723" y="167"/>
                  <a:pt x="723" y="167"/>
                  <a:pt x="723" y="167"/>
                </a:cubicBezTo>
                <a:cubicBezTo>
                  <a:pt x="723" y="168"/>
                  <a:pt x="723" y="168"/>
                  <a:pt x="723" y="168"/>
                </a:cubicBezTo>
                <a:cubicBezTo>
                  <a:pt x="723" y="168"/>
                  <a:pt x="723" y="168"/>
                  <a:pt x="723" y="169"/>
                </a:cubicBezTo>
                <a:cubicBezTo>
                  <a:pt x="723" y="169"/>
                  <a:pt x="724" y="169"/>
                  <a:pt x="724" y="169"/>
                </a:cubicBezTo>
                <a:cubicBezTo>
                  <a:pt x="724" y="169"/>
                  <a:pt x="724" y="169"/>
                  <a:pt x="724" y="169"/>
                </a:cubicBezTo>
                <a:cubicBezTo>
                  <a:pt x="725" y="169"/>
                  <a:pt x="725" y="169"/>
                  <a:pt x="725" y="169"/>
                </a:cubicBezTo>
                <a:cubicBezTo>
                  <a:pt x="725" y="169"/>
                  <a:pt x="725" y="169"/>
                  <a:pt x="725" y="169"/>
                </a:cubicBezTo>
                <a:cubicBezTo>
                  <a:pt x="725" y="168"/>
                  <a:pt x="725" y="168"/>
                  <a:pt x="725" y="168"/>
                </a:cubicBezTo>
                <a:cubicBezTo>
                  <a:pt x="725" y="168"/>
                  <a:pt x="725" y="168"/>
                  <a:pt x="725" y="167"/>
                </a:cubicBezTo>
                <a:cubicBezTo>
                  <a:pt x="725" y="167"/>
                  <a:pt x="725" y="167"/>
                  <a:pt x="725" y="167"/>
                </a:cubicBezTo>
                <a:cubicBezTo>
                  <a:pt x="725" y="167"/>
                  <a:pt x="725" y="167"/>
                  <a:pt x="726" y="168"/>
                </a:cubicBezTo>
                <a:cubicBezTo>
                  <a:pt x="725" y="168"/>
                  <a:pt x="725" y="168"/>
                  <a:pt x="725" y="168"/>
                </a:cubicBezTo>
                <a:cubicBezTo>
                  <a:pt x="725" y="168"/>
                  <a:pt x="725" y="168"/>
                  <a:pt x="725" y="169"/>
                </a:cubicBezTo>
                <a:cubicBezTo>
                  <a:pt x="725" y="169"/>
                  <a:pt x="726" y="169"/>
                  <a:pt x="726" y="169"/>
                </a:cubicBezTo>
                <a:cubicBezTo>
                  <a:pt x="726" y="169"/>
                  <a:pt x="726" y="169"/>
                  <a:pt x="727" y="169"/>
                </a:cubicBezTo>
                <a:cubicBezTo>
                  <a:pt x="727" y="169"/>
                  <a:pt x="727" y="169"/>
                  <a:pt x="727" y="169"/>
                </a:cubicBezTo>
                <a:cubicBezTo>
                  <a:pt x="728" y="169"/>
                  <a:pt x="728" y="169"/>
                  <a:pt x="728" y="169"/>
                </a:cubicBezTo>
                <a:cubicBezTo>
                  <a:pt x="728" y="169"/>
                  <a:pt x="728" y="168"/>
                  <a:pt x="728" y="168"/>
                </a:cubicBezTo>
                <a:cubicBezTo>
                  <a:pt x="728" y="168"/>
                  <a:pt x="728" y="168"/>
                  <a:pt x="728" y="168"/>
                </a:cubicBezTo>
                <a:cubicBezTo>
                  <a:pt x="728" y="168"/>
                  <a:pt x="728" y="168"/>
                  <a:pt x="728" y="168"/>
                </a:cubicBezTo>
                <a:cubicBezTo>
                  <a:pt x="729" y="168"/>
                  <a:pt x="729" y="168"/>
                  <a:pt x="729" y="168"/>
                </a:cubicBezTo>
                <a:cubicBezTo>
                  <a:pt x="729" y="168"/>
                  <a:pt x="729" y="168"/>
                  <a:pt x="729" y="168"/>
                </a:cubicBezTo>
                <a:cubicBezTo>
                  <a:pt x="729" y="168"/>
                  <a:pt x="729" y="168"/>
                  <a:pt x="729" y="168"/>
                </a:cubicBezTo>
                <a:cubicBezTo>
                  <a:pt x="729" y="168"/>
                  <a:pt x="729" y="168"/>
                  <a:pt x="729" y="168"/>
                </a:cubicBezTo>
                <a:cubicBezTo>
                  <a:pt x="729" y="168"/>
                  <a:pt x="729" y="169"/>
                  <a:pt x="730" y="169"/>
                </a:cubicBezTo>
                <a:cubicBezTo>
                  <a:pt x="730" y="169"/>
                  <a:pt x="730" y="168"/>
                  <a:pt x="730" y="168"/>
                </a:cubicBezTo>
                <a:cubicBezTo>
                  <a:pt x="731" y="168"/>
                  <a:pt x="731" y="168"/>
                  <a:pt x="731" y="168"/>
                </a:cubicBezTo>
                <a:cubicBezTo>
                  <a:pt x="732" y="168"/>
                  <a:pt x="732" y="167"/>
                  <a:pt x="732" y="167"/>
                </a:cubicBezTo>
                <a:cubicBezTo>
                  <a:pt x="733" y="167"/>
                  <a:pt x="733" y="167"/>
                  <a:pt x="733" y="167"/>
                </a:cubicBezTo>
                <a:cubicBezTo>
                  <a:pt x="733" y="167"/>
                  <a:pt x="733" y="167"/>
                  <a:pt x="733" y="167"/>
                </a:cubicBezTo>
                <a:cubicBezTo>
                  <a:pt x="733" y="166"/>
                  <a:pt x="733" y="166"/>
                  <a:pt x="733" y="166"/>
                </a:cubicBezTo>
                <a:cubicBezTo>
                  <a:pt x="733" y="166"/>
                  <a:pt x="733" y="166"/>
                  <a:pt x="733" y="166"/>
                </a:cubicBezTo>
                <a:cubicBezTo>
                  <a:pt x="733" y="166"/>
                  <a:pt x="733" y="166"/>
                  <a:pt x="732" y="166"/>
                </a:cubicBezTo>
                <a:cubicBezTo>
                  <a:pt x="732" y="165"/>
                  <a:pt x="732" y="165"/>
                  <a:pt x="732" y="165"/>
                </a:cubicBezTo>
                <a:cubicBezTo>
                  <a:pt x="732" y="165"/>
                  <a:pt x="732" y="165"/>
                  <a:pt x="732" y="165"/>
                </a:cubicBezTo>
                <a:cubicBezTo>
                  <a:pt x="732" y="165"/>
                  <a:pt x="732" y="165"/>
                  <a:pt x="733" y="165"/>
                </a:cubicBezTo>
                <a:cubicBezTo>
                  <a:pt x="733" y="165"/>
                  <a:pt x="733" y="165"/>
                  <a:pt x="733" y="165"/>
                </a:cubicBezTo>
                <a:cubicBezTo>
                  <a:pt x="733" y="165"/>
                  <a:pt x="734" y="166"/>
                  <a:pt x="734" y="166"/>
                </a:cubicBezTo>
                <a:cubicBezTo>
                  <a:pt x="734" y="166"/>
                  <a:pt x="734" y="166"/>
                  <a:pt x="735" y="166"/>
                </a:cubicBezTo>
                <a:cubicBezTo>
                  <a:pt x="735" y="165"/>
                  <a:pt x="735" y="165"/>
                  <a:pt x="735" y="165"/>
                </a:cubicBezTo>
                <a:cubicBezTo>
                  <a:pt x="735" y="165"/>
                  <a:pt x="735" y="165"/>
                  <a:pt x="735" y="165"/>
                </a:cubicBezTo>
                <a:cubicBezTo>
                  <a:pt x="735" y="165"/>
                  <a:pt x="735" y="165"/>
                  <a:pt x="735" y="165"/>
                </a:cubicBezTo>
                <a:cubicBezTo>
                  <a:pt x="735" y="165"/>
                  <a:pt x="735" y="166"/>
                  <a:pt x="736" y="166"/>
                </a:cubicBezTo>
                <a:cubicBezTo>
                  <a:pt x="736" y="166"/>
                  <a:pt x="736" y="166"/>
                  <a:pt x="736" y="166"/>
                </a:cubicBezTo>
                <a:cubicBezTo>
                  <a:pt x="736" y="166"/>
                  <a:pt x="736" y="166"/>
                  <a:pt x="736" y="166"/>
                </a:cubicBezTo>
                <a:cubicBezTo>
                  <a:pt x="737" y="165"/>
                  <a:pt x="737" y="165"/>
                  <a:pt x="738" y="165"/>
                </a:cubicBezTo>
                <a:cubicBezTo>
                  <a:pt x="738" y="164"/>
                  <a:pt x="738" y="164"/>
                  <a:pt x="738" y="164"/>
                </a:cubicBezTo>
                <a:cubicBezTo>
                  <a:pt x="738" y="164"/>
                  <a:pt x="738" y="164"/>
                  <a:pt x="738" y="164"/>
                </a:cubicBezTo>
                <a:cubicBezTo>
                  <a:pt x="738" y="164"/>
                  <a:pt x="738" y="164"/>
                  <a:pt x="738" y="164"/>
                </a:cubicBezTo>
                <a:cubicBezTo>
                  <a:pt x="738" y="163"/>
                  <a:pt x="738" y="163"/>
                  <a:pt x="738" y="163"/>
                </a:cubicBezTo>
                <a:cubicBezTo>
                  <a:pt x="738" y="163"/>
                  <a:pt x="739" y="163"/>
                  <a:pt x="739" y="163"/>
                </a:cubicBezTo>
                <a:cubicBezTo>
                  <a:pt x="739" y="163"/>
                  <a:pt x="739" y="163"/>
                  <a:pt x="739" y="163"/>
                </a:cubicBezTo>
                <a:cubicBezTo>
                  <a:pt x="739" y="163"/>
                  <a:pt x="739" y="164"/>
                  <a:pt x="739" y="164"/>
                </a:cubicBezTo>
                <a:cubicBezTo>
                  <a:pt x="739" y="164"/>
                  <a:pt x="739" y="164"/>
                  <a:pt x="739" y="164"/>
                </a:cubicBezTo>
                <a:cubicBezTo>
                  <a:pt x="739" y="164"/>
                  <a:pt x="739" y="164"/>
                  <a:pt x="740" y="163"/>
                </a:cubicBezTo>
                <a:cubicBezTo>
                  <a:pt x="740" y="163"/>
                  <a:pt x="740" y="163"/>
                  <a:pt x="740" y="163"/>
                </a:cubicBezTo>
                <a:cubicBezTo>
                  <a:pt x="740" y="163"/>
                  <a:pt x="741" y="162"/>
                  <a:pt x="741" y="162"/>
                </a:cubicBezTo>
                <a:cubicBezTo>
                  <a:pt x="741" y="162"/>
                  <a:pt x="741" y="162"/>
                  <a:pt x="740" y="162"/>
                </a:cubicBezTo>
                <a:cubicBezTo>
                  <a:pt x="740" y="162"/>
                  <a:pt x="740" y="161"/>
                  <a:pt x="740" y="161"/>
                </a:cubicBezTo>
                <a:cubicBezTo>
                  <a:pt x="741" y="161"/>
                  <a:pt x="741" y="161"/>
                  <a:pt x="742" y="160"/>
                </a:cubicBezTo>
                <a:cubicBezTo>
                  <a:pt x="742" y="160"/>
                  <a:pt x="742" y="160"/>
                  <a:pt x="743" y="160"/>
                </a:cubicBezTo>
                <a:cubicBezTo>
                  <a:pt x="743" y="160"/>
                  <a:pt x="743" y="160"/>
                  <a:pt x="743" y="159"/>
                </a:cubicBezTo>
                <a:cubicBezTo>
                  <a:pt x="743" y="159"/>
                  <a:pt x="743" y="159"/>
                  <a:pt x="743" y="159"/>
                </a:cubicBezTo>
                <a:cubicBezTo>
                  <a:pt x="743" y="159"/>
                  <a:pt x="743" y="159"/>
                  <a:pt x="743" y="159"/>
                </a:cubicBezTo>
                <a:cubicBezTo>
                  <a:pt x="743" y="159"/>
                  <a:pt x="743" y="159"/>
                  <a:pt x="743" y="159"/>
                </a:cubicBezTo>
                <a:cubicBezTo>
                  <a:pt x="743" y="159"/>
                  <a:pt x="743" y="159"/>
                  <a:pt x="743" y="159"/>
                </a:cubicBezTo>
                <a:cubicBezTo>
                  <a:pt x="743" y="159"/>
                  <a:pt x="744" y="159"/>
                  <a:pt x="744" y="159"/>
                </a:cubicBezTo>
                <a:cubicBezTo>
                  <a:pt x="744" y="159"/>
                  <a:pt x="744" y="159"/>
                  <a:pt x="744" y="159"/>
                </a:cubicBezTo>
                <a:cubicBezTo>
                  <a:pt x="744" y="159"/>
                  <a:pt x="744" y="159"/>
                  <a:pt x="744" y="158"/>
                </a:cubicBezTo>
                <a:cubicBezTo>
                  <a:pt x="744" y="158"/>
                  <a:pt x="744" y="158"/>
                  <a:pt x="744" y="158"/>
                </a:cubicBezTo>
                <a:cubicBezTo>
                  <a:pt x="744" y="158"/>
                  <a:pt x="744" y="158"/>
                  <a:pt x="744" y="158"/>
                </a:cubicBezTo>
                <a:cubicBezTo>
                  <a:pt x="744" y="158"/>
                  <a:pt x="744" y="158"/>
                  <a:pt x="744" y="158"/>
                </a:cubicBezTo>
                <a:cubicBezTo>
                  <a:pt x="744" y="158"/>
                  <a:pt x="745" y="158"/>
                  <a:pt x="745" y="158"/>
                </a:cubicBezTo>
                <a:cubicBezTo>
                  <a:pt x="745" y="158"/>
                  <a:pt x="745" y="158"/>
                  <a:pt x="745" y="158"/>
                </a:cubicBezTo>
                <a:cubicBezTo>
                  <a:pt x="745" y="158"/>
                  <a:pt x="745" y="158"/>
                  <a:pt x="745" y="157"/>
                </a:cubicBezTo>
                <a:cubicBezTo>
                  <a:pt x="745" y="157"/>
                  <a:pt x="745" y="157"/>
                  <a:pt x="745" y="157"/>
                </a:cubicBezTo>
                <a:cubicBezTo>
                  <a:pt x="745" y="157"/>
                  <a:pt x="745" y="157"/>
                  <a:pt x="746" y="157"/>
                </a:cubicBezTo>
                <a:cubicBezTo>
                  <a:pt x="746" y="157"/>
                  <a:pt x="746" y="157"/>
                  <a:pt x="746" y="156"/>
                </a:cubicBezTo>
                <a:cubicBezTo>
                  <a:pt x="746" y="156"/>
                  <a:pt x="746" y="156"/>
                  <a:pt x="746" y="156"/>
                </a:cubicBezTo>
                <a:cubicBezTo>
                  <a:pt x="746" y="156"/>
                  <a:pt x="746" y="156"/>
                  <a:pt x="746" y="156"/>
                </a:cubicBezTo>
                <a:cubicBezTo>
                  <a:pt x="746" y="156"/>
                  <a:pt x="746" y="156"/>
                  <a:pt x="746" y="156"/>
                </a:cubicBezTo>
                <a:cubicBezTo>
                  <a:pt x="747" y="156"/>
                  <a:pt x="747" y="156"/>
                  <a:pt x="747" y="156"/>
                </a:cubicBezTo>
                <a:cubicBezTo>
                  <a:pt x="747" y="156"/>
                  <a:pt x="747" y="155"/>
                  <a:pt x="748" y="155"/>
                </a:cubicBezTo>
                <a:cubicBezTo>
                  <a:pt x="748" y="155"/>
                  <a:pt x="748" y="155"/>
                  <a:pt x="748" y="155"/>
                </a:cubicBezTo>
                <a:cubicBezTo>
                  <a:pt x="749" y="155"/>
                  <a:pt x="749" y="154"/>
                  <a:pt x="749" y="154"/>
                </a:cubicBezTo>
                <a:cubicBezTo>
                  <a:pt x="749" y="154"/>
                  <a:pt x="749" y="154"/>
                  <a:pt x="750" y="154"/>
                </a:cubicBezTo>
                <a:cubicBezTo>
                  <a:pt x="750" y="154"/>
                  <a:pt x="750" y="154"/>
                  <a:pt x="750" y="154"/>
                </a:cubicBezTo>
                <a:cubicBezTo>
                  <a:pt x="750" y="154"/>
                  <a:pt x="750" y="154"/>
                  <a:pt x="751" y="154"/>
                </a:cubicBezTo>
                <a:cubicBezTo>
                  <a:pt x="751" y="154"/>
                  <a:pt x="751" y="154"/>
                  <a:pt x="751" y="154"/>
                </a:cubicBezTo>
                <a:cubicBezTo>
                  <a:pt x="751" y="153"/>
                  <a:pt x="751" y="153"/>
                  <a:pt x="751" y="153"/>
                </a:cubicBezTo>
                <a:cubicBezTo>
                  <a:pt x="751" y="152"/>
                  <a:pt x="751" y="152"/>
                  <a:pt x="751" y="152"/>
                </a:cubicBezTo>
                <a:cubicBezTo>
                  <a:pt x="751" y="152"/>
                  <a:pt x="751" y="152"/>
                  <a:pt x="750" y="152"/>
                </a:cubicBezTo>
                <a:cubicBezTo>
                  <a:pt x="750" y="152"/>
                  <a:pt x="750" y="152"/>
                  <a:pt x="750" y="152"/>
                </a:cubicBezTo>
                <a:cubicBezTo>
                  <a:pt x="750" y="152"/>
                  <a:pt x="750" y="152"/>
                  <a:pt x="750" y="151"/>
                </a:cubicBezTo>
                <a:cubicBezTo>
                  <a:pt x="750" y="151"/>
                  <a:pt x="750" y="151"/>
                  <a:pt x="750" y="151"/>
                </a:cubicBezTo>
                <a:cubicBezTo>
                  <a:pt x="750" y="151"/>
                  <a:pt x="750" y="150"/>
                  <a:pt x="750" y="150"/>
                </a:cubicBezTo>
                <a:cubicBezTo>
                  <a:pt x="750" y="150"/>
                  <a:pt x="750" y="150"/>
                  <a:pt x="749" y="150"/>
                </a:cubicBezTo>
                <a:cubicBezTo>
                  <a:pt x="749" y="150"/>
                  <a:pt x="749" y="150"/>
                  <a:pt x="749" y="149"/>
                </a:cubicBezTo>
                <a:cubicBezTo>
                  <a:pt x="749" y="149"/>
                  <a:pt x="749" y="149"/>
                  <a:pt x="749" y="149"/>
                </a:cubicBezTo>
                <a:cubicBezTo>
                  <a:pt x="749" y="149"/>
                  <a:pt x="749" y="149"/>
                  <a:pt x="749" y="149"/>
                </a:cubicBezTo>
                <a:cubicBezTo>
                  <a:pt x="749" y="149"/>
                  <a:pt x="749" y="149"/>
                  <a:pt x="749" y="148"/>
                </a:cubicBezTo>
                <a:cubicBezTo>
                  <a:pt x="749" y="149"/>
                  <a:pt x="749" y="149"/>
                  <a:pt x="750" y="149"/>
                </a:cubicBezTo>
                <a:cubicBezTo>
                  <a:pt x="750" y="149"/>
                  <a:pt x="750" y="149"/>
                  <a:pt x="750" y="149"/>
                </a:cubicBezTo>
                <a:cubicBezTo>
                  <a:pt x="750" y="149"/>
                  <a:pt x="750" y="150"/>
                  <a:pt x="751" y="150"/>
                </a:cubicBezTo>
                <a:cubicBezTo>
                  <a:pt x="751" y="150"/>
                  <a:pt x="751" y="150"/>
                  <a:pt x="751" y="150"/>
                </a:cubicBezTo>
                <a:cubicBezTo>
                  <a:pt x="751" y="150"/>
                  <a:pt x="751" y="151"/>
                  <a:pt x="751" y="151"/>
                </a:cubicBezTo>
                <a:cubicBezTo>
                  <a:pt x="751" y="151"/>
                  <a:pt x="752" y="151"/>
                  <a:pt x="752" y="151"/>
                </a:cubicBezTo>
                <a:cubicBezTo>
                  <a:pt x="752" y="151"/>
                  <a:pt x="752" y="151"/>
                  <a:pt x="752" y="151"/>
                </a:cubicBezTo>
                <a:cubicBezTo>
                  <a:pt x="752" y="151"/>
                  <a:pt x="752" y="152"/>
                  <a:pt x="752" y="152"/>
                </a:cubicBezTo>
                <a:cubicBezTo>
                  <a:pt x="752" y="152"/>
                  <a:pt x="752" y="152"/>
                  <a:pt x="753" y="152"/>
                </a:cubicBezTo>
                <a:cubicBezTo>
                  <a:pt x="753" y="152"/>
                  <a:pt x="753" y="152"/>
                  <a:pt x="753" y="153"/>
                </a:cubicBezTo>
                <a:cubicBezTo>
                  <a:pt x="754" y="153"/>
                  <a:pt x="754" y="153"/>
                  <a:pt x="754" y="153"/>
                </a:cubicBezTo>
                <a:cubicBezTo>
                  <a:pt x="754" y="152"/>
                  <a:pt x="754" y="152"/>
                  <a:pt x="754" y="152"/>
                </a:cubicBezTo>
                <a:cubicBezTo>
                  <a:pt x="754" y="152"/>
                  <a:pt x="754" y="152"/>
                  <a:pt x="754" y="152"/>
                </a:cubicBezTo>
                <a:cubicBezTo>
                  <a:pt x="755" y="152"/>
                  <a:pt x="755" y="152"/>
                  <a:pt x="755" y="152"/>
                </a:cubicBezTo>
                <a:cubicBezTo>
                  <a:pt x="755" y="152"/>
                  <a:pt x="755" y="152"/>
                  <a:pt x="755" y="152"/>
                </a:cubicBezTo>
                <a:cubicBezTo>
                  <a:pt x="756" y="152"/>
                  <a:pt x="756" y="152"/>
                  <a:pt x="756" y="152"/>
                </a:cubicBezTo>
                <a:cubicBezTo>
                  <a:pt x="757" y="152"/>
                  <a:pt x="757" y="152"/>
                  <a:pt x="757" y="152"/>
                </a:cubicBezTo>
                <a:cubicBezTo>
                  <a:pt x="757" y="152"/>
                  <a:pt x="758" y="152"/>
                  <a:pt x="758" y="152"/>
                </a:cubicBezTo>
                <a:cubicBezTo>
                  <a:pt x="758" y="152"/>
                  <a:pt x="758" y="152"/>
                  <a:pt x="758" y="152"/>
                </a:cubicBezTo>
                <a:cubicBezTo>
                  <a:pt x="758" y="152"/>
                  <a:pt x="758" y="152"/>
                  <a:pt x="759" y="152"/>
                </a:cubicBezTo>
                <a:cubicBezTo>
                  <a:pt x="759" y="152"/>
                  <a:pt x="759" y="151"/>
                  <a:pt x="759" y="151"/>
                </a:cubicBezTo>
                <a:cubicBezTo>
                  <a:pt x="759" y="151"/>
                  <a:pt x="759" y="151"/>
                  <a:pt x="759" y="151"/>
                </a:cubicBezTo>
                <a:cubicBezTo>
                  <a:pt x="760" y="151"/>
                  <a:pt x="760" y="151"/>
                  <a:pt x="760" y="151"/>
                </a:cubicBezTo>
                <a:cubicBezTo>
                  <a:pt x="760" y="151"/>
                  <a:pt x="760" y="151"/>
                  <a:pt x="760" y="150"/>
                </a:cubicBezTo>
                <a:cubicBezTo>
                  <a:pt x="760" y="150"/>
                  <a:pt x="760" y="150"/>
                  <a:pt x="761" y="150"/>
                </a:cubicBezTo>
                <a:cubicBezTo>
                  <a:pt x="761" y="150"/>
                  <a:pt x="761" y="150"/>
                  <a:pt x="761" y="150"/>
                </a:cubicBezTo>
                <a:cubicBezTo>
                  <a:pt x="761" y="151"/>
                  <a:pt x="762" y="151"/>
                  <a:pt x="762" y="151"/>
                </a:cubicBezTo>
                <a:cubicBezTo>
                  <a:pt x="762" y="151"/>
                  <a:pt x="762" y="151"/>
                  <a:pt x="763" y="151"/>
                </a:cubicBezTo>
                <a:cubicBezTo>
                  <a:pt x="763" y="151"/>
                  <a:pt x="763" y="151"/>
                  <a:pt x="763" y="151"/>
                </a:cubicBezTo>
                <a:cubicBezTo>
                  <a:pt x="763" y="151"/>
                  <a:pt x="763" y="151"/>
                  <a:pt x="763" y="151"/>
                </a:cubicBezTo>
                <a:cubicBezTo>
                  <a:pt x="764" y="151"/>
                  <a:pt x="764" y="151"/>
                  <a:pt x="764" y="151"/>
                </a:cubicBezTo>
                <a:cubicBezTo>
                  <a:pt x="764" y="151"/>
                  <a:pt x="764" y="150"/>
                  <a:pt x="764" y="150"/>
                </a:cubicBezTo>
                <a:cubicBezTo>
                  <a:pt x="764" y="150"/>
                  <a:pt x="764" y="150"/>
                  <a:pt x="764" y="150"/>
                </a:cubicBezTo>
                <a:cubicBezTo>
                  <a:pt x="765" y="150"/>
                  <a:pt x="765" y="150"/>
                  <a:pt x="765" y="150"/>
                </a:cubicBezTo>
                <a:cubicBezTo>
                  <a:pt x="765" y="150"/>
                  <a:pt x="765" y="150"/>
                  <a:pt x="765" y="150"/>
                </a:cubicBezTo>
                <a:cubicBezTo>
                  <a:pt x="765" y="150"/>
                  <a:pt x="765" y="150"/>
                  <a:pt x="765" y="150"/>
                </a:cubicBezTo>
                <a:cubicBezTo>
                  <a:pt x="765" y="150"/>
                  <a:pt x="766" y="150"/>
                  <a:pt x="766" y="150"/>
                </a:cubicBezTo>
                <a:cubicBezTo>
                  <a:pt x="766" y="150"/>
                  <a:pt x="766" y="150"/>
                  <a:pt x="766" y="150"/>
                </a:cubicBezTo>
                <a:cubicBezTo>
                  <a:pt x="766" y="150"/>
                  <a:pt x="766" y="150"/>
                  <a:pt x="767" y="150"/>
                </a:cubicBezTo>
                <a:cubicBezTo>
                  <a:pt x="767" y="150"/>
                  <a:pt x="767" y="150"/>
                  <a:pt x="767" y="149"/>
                </a:cubicBezTo>
                <a:cubicBezTo>
                  <a:pt x="767" y="149"/>
                  <a:pt x="767" y="149"/>
                  <a:pt x="767" y="149"/>
                </a:cubicBezTo>
                <a:cubicBezTo>
                  <a:pt x="767" y="149"/>
                  <a:pt x="767" y="149"/>
                  <a:pt x="767" y="149"/>
                </a:cubicBezTo>
                <a:cubicBezTo>
                  <a:pt x="768" y="149"/>
                  <a:pt x="768" y="149"/>
                  <a:pt x="768" y="149"/>
                </a:cubicBezTo>
                <a:cubicBezTo>
                  <a:pt x="768" y="149"/>
                  <a:pt x="769" y="149"/>
                  <a:pt x="769" y="149"/>
                </a:cubicBezTo>
                <a:cubicBezTo>
                  <a:pt x="769" y="149"/>
                  <a:pt x="769" y="149"/>
                  <a:pt x="769" y="148"/>
                </a:cubicBezTo>
                <a:cubicBezTo>
                  <a:pt x="769" y="148"/>
                  <a:pt x="769" y="148"/>
                  <a:pt x="769" y="148"/>
                </a:cubicBezTo>
                <a:cubicBezTo>
                  <a:pt x="769" y="149"/>
                  <a:pt x="769" y="149"/>
                  <a:pt x="769" y="149"/>
                </a:cubicBezTo>
                <a:cubicBezTo>
                  <a:pt x="769" y="149"/>
                  <a:pt x="769" y="149"/>
                  <a:pt x="770" y="149"/>
                </a:cubicBezTo>
                <a:cubicBezTo>
                  <a:pt x="770" y="149"/>
                  <a:pt x="770" y="149"/>
                  <a:pt x="770" y="148"/>
                </a:cubicBezTo>
                <a:cubicBezTo>
                  <a:pt x="770" y="148"/>
                  <a:pt x="770" y="148"/>
                  <a:pt x="770" y="148"/>
                </a:cubicBezTo>
                <a:cubicBezTo>
                  <a:pt x="770" y="148"/>
                  <a:pt x="771" y="148"/>
                  <a:pt x="771" y="148"/>
                </a:cubicBezTo>
                <a:cubicBezTo>
                  <a:pt x="771" y="148"/>
                  <a:pt x="771" y="148"/>
                  <a:pt x="771" y="148"/>
                </a:cubicBezTo>
                <a:cubicBezTo>
                  <a:pt x="771" y="148"/>
                  <a:pt x="772" y="148"/>
                  <a:pt x="772" y="148"/>
                </a:cubicBezTo>
                <a:cubicBezTo>
                  <a:pt x="772" y="148"/>
                  <a:pt x="772" y="148"/>
                  <a:pt x="772" y="148"/>
                </a:cubicBezTo>
                <a:cubicBezTo>
                  <a:pt x="772" y="148"/>
                  <a:pt x="772" y="148"/>
                  <a:pt x="773" y="148"/>
                </a:cubicBezTo>
                <a:cubicBezTo>
                  <a:pt x="773" y="148"/>
                  <a:pt x="773" y="148"/>
                  <a:pt x="773" y="148"/>
                </a:cubicBezTo>
                <a:cubicBezTo>
                  <a:pt x="773" y="148"/>
                  <a:pt x="773" y="148"/>
                  <a:pt x="773" y="148"/>
                </a:cubicBezTo>
                <a:cubicBezTo>
                  <a:pt x="774" y="148"/>
                  <a:pt x="774" y="148"/>
                  <a:pt x="774" y="148"/>
                </a:cubicBezTo>
                <a:cubicBezTo>
                  <a:pt x="774" y="148"/>
                  <a:pt x="774" y="148"/>
                  <a:pt x="774" y="147"/>
                </a:cubicBezTo>
                <a:cubicBezTo>
                  <a:pt x="775" y="147"/>
                  <a:pt x="775" y="147"/>
                  <a:pt x="775" y="147"/>
                </a:cubicBezTo>
                <a:cubicBezTo>
                  <a:pt x="775" y="147"/>
                  <a:pt x="775" y="147"/>
                  <a:pt x="776" y="147"/>
                </a:cubicBezTo>
                <a:cubicBezTo>
                  <a:pt x="776" y="147"/>
                  <a:pt x="776" y="147"/>
                  <a:pt x="777" y="147"/>
                </a:cubicBezTo>
                <a:cubicBezTo>
                  <a:pt x="777" y="147"/>
                  <a:pt x="777" y="147"/>
                  <a:pt x="777" y="147"/>
                </a:cubicBezTo>
                <a:cubicBezTo>
                  <a:pt x="777" y="147"/>
                  <a:pt x="778" y="147"/>
                  <a:pt x="778" y="147"/>
                </a:cubicBezTo>
                <a:cubicBezTo>
                  <a:pt x="778" y="147"/>
                  <a:pt x="778" y="147"/>
                  <a:pt x="778" y="147"/>
                </a:cubicBezTo>
                <a:cubicBezTo>
                  <a:pt x="778" y="147"/>
                  <a:pt x="778" y="147"/>
                  <a:pt x="778" y="146"/>
                </a:cubicBezTo>
                <a:cubicBezTo>
                  <a:pt x="779" y="146"/>
                  <a:pt x="779" y="146"/>
                  <a:pt x="779" y="146"/>
                </a:cubicBezTo>
                <a:cubicBezTo>
                  <a:pt x="779" y="146"/>
                  <a:pt x="780" y="146"/>
                  <a:pt x="780" y="146"/>
                </a:cubicBezTo>
                <a:cubicBezTo>
                  <a:pt x="780" y="146"/>
                  <a:pt x="780" y="146"/>
                  <a:pt x="780" y="146"/>
                </a:cubicBezTo>
                <a:cubicBezTo>
                  <a:pt x="781" y="145"/>
                  <a:pt x="781" y="145"/>
                  <a:pt x="781" y="145"/>
                </a:cubicBezTo>
                <a:cubicBezTo>
                  <a:pt x="782" y="145"/>
                  <a:pt x="782" y="145"/>
                  <a:pt x="782" y="145"/>
                </a:cubicBezTo>
                <a:cubicBezTo>
                  <a:pt x="782" y="145"/>
                  <a:pt x="782" y="145"/>
                  <a:pt x="782" y="145"/>
                </a:cubicBezTo>
                <a:cubicBezTo>
                  <a:pt x="782" y="145"/>
                  <a:pt x="782" y="144"/>
                  <a:pt x="782" y="144"/>
                </a:cubicBezTo>
                <a:cubicBezTo>
                  <a:pt x="782" y="144"/>
                  <a:pt x="782" y="144"/>
                  <a:pt x="782" y="144"/>
                </a:cubicBezTo>
                <a:cubicBezTo>
                  <a:pt x="782" y="144"/>
                  <a:pt x="782" y="144"/>
                  <a:pt x="782" y="144"/>
                </a:cubicBezTo>
                <a:cubicBezTo>
                  <a:pt x="782" y="144"/>
                  <a:pt x="782" y="144"/>
                  <a:pt x="783" y="144"/>
                </a:cubicBezTo>
                <a:cubicBezTo>
                  <a:pt x="783" y="144"/>
                  <a:pt x="783" y="144"/>
                  <a:pt x="783" y="144"/>
                </a:cubicBezTo>
                <a:cubicBezTo>
                  <a:pt x="783" y="144"/>
                  <a:pt x="783" y="144"/>
                  <a:pt x="783" y="144"/>
                </a:cubicBezTo>
                <a:cubicBezTo>
                  <a:pt x="784" y="144"/>
                  <a:pt x="784" y="144"/>
                  <a:pt x="785" y="144"/>
                </a:cubicBezTo>
                <a:cubicBezTo>
                  <a:pt x="785" y="144"/>
                  <a:pt x="785" y="143"/>
                  <a:pt x="785" y="143"/>
                </a:cubicBezTo>
                <a:cubicBezTo>
                  <a:pt x="784" y="143"/>
                  <a:pt x="784" y="143"/>
                  <a:pt x="784" y="143"/>
                </a:cubicBezTo>
                <a:close/>
                <a:moveTo>
                  <a:pt x="700" y="192"/>
                </a:moveTo>
                <a:cubicBezTo>
                  <a:pt x="700" y="192"/>
                  <a:pt x="700" y="192"/>
                  <a:pt x="699" y="191"/>
                </a:cubicBezTo>
                <a:cubicBezTo>
                  <a:pt x="699" y="192"/>
                  <a:pt x="699" y="192"/>
                  <a:pt x="698" y="192"/>
                </a:cubicBezTo>
                <a:cubicBezTo>
                  <a:pt x="698" y="192"/>
                  <a:pt x="698" y="191"/>
                  <a:pt x="698" y="191"/>
                </a:cubicBezTo>
                <a:cubicBezTo>
                  <a:pt x="698" y="191"/>
                  <a:pt x="697" y="192"/>
                  <a:pt x="697" y="192"/>
                </a:cubicBezTo>
                <a:cubicBezTo>
                  <a:pt x="697" y="192"/>
                  <a:pt x="698" y="192"/>
                  <a:pt x="698" y="192"/>
                </a:cubicBezTo>
                <a:cubicBezTo>
                  <a:pt x="698" y="192"/>
                  <a:pt x="698" y="192"/>
                  <a:pt x="698" y="192"/>
                </a:cubicBezTo>
                <a:cubicBezTo>
                  <a:pt x="698" y="192"/>
                  <a:pt x="699" y="192"/>
                  <a:pt x="699" y="192"/>
                </a:cubicBezTo>
                <a:cubicBezTo>
                  <a:pt x="699" y="192"/>
                  <a:pt x="699" y="192"/>
                  <a:pt x="700" y="192"/>
                </a:cubicBezTo>
                <a:cubicBezTo>
                  <a:pt x="700" y="192"/>
                  <a:pt x="700" y="192"/>
                  <a:pt x="700" y="192"/>
                </a:cubicBezTo>
                <a:close/>
                <a:moveTo>
                  <a:pt x="708" y="177"/>
                </a:moveTo>
                <a:cubicBezTo>
                  <a:pt x="708" y="177"/>
                  <a:pt x="708" y="177"/>
                  <a:pt x="708" y="177"/>
                </a:cubicBezTo>
                <a:cubicBezTo>
                  <a:pt x="708" y="177"/>
                  <a:pt x="707" y="177"/>
                  <a:pt x="707" y="176"/>
                </a:cubicBezTo>
                <a:cubicBezTo>
                  <a:pt x="707" y="177"/>
                  <a:pt x="707" y="177"/>
                  <a:pt x="707" y="177"/>
                </a:cubicBezTo>
                <a:cubicBezTo>
                  <a:pt x="707" y="177"/>
                  <a:pt x="707" y="177"/>
                  <a:pt x="707" y="177"/>
                </a:cubicBezTo>
                <a:cubicBezTo>
                  <a:pt x="708" y="177"/>
                  <a:pt x="708" y="178"/>
                  <a:pt x="708" y="178"/>
                </a:cubicBezTo>
                <a:cubicBezTo>
                  <a:pt x="708" y="178"/>
                  <a:pt x="708" y="178"/>
                  <a:pt x="708" y="179"/>
                </a:cubicBezTo>
                <a:cubicBezTo>
                  <a:pt x="708" y="179"/>
                  <a:pt x="708" y="179"/>
                  <a:pt x="708" y="179"/>
                </a:cubicBezTo>
                <a:cubicBezTo>
                  <a:pt x="709" y="179"/>
                  <a:pt x="709" y="179"/>
                  <a:pt x="709" y="179"/>
                </a:cubicBezTo>
                <a:cubicBezTo>
                  <a:pt x="709" y="179"/>
                  <a:pt x="709" y="179"/>
                  <a:pt x="709" y="178"/>
                </a:cubicBezTo>
                <a:cubicBezTo>
                  <a:pt x="709" y="178"/>
                  <a:pt x="709" y="178"/>
                  <a:pt x="709" y="178"/>
                </a:cubicBezTo>
                <a:cubicBezTo>
                  <a:pt x="709" y="178"/>
                  <a:pt x="708" y="177"/>
                  <a:pt x="708" y="177"/>
                </a:cubicBezTo>
                <a:close/>
                <a:moveTo>
                  <a:pt x="702" y="190"/>
                </a:moveTo>
                <a:cubicBezTo>
                  <a:pt x="702" y="190"/>
                  <a:pt x="702" y="190"/>
                  <a:pt x="702" y="190"/>
                </a:cubicBezTo>
                <a:cubicBezTo>
                  <a:pt x="702" y="190"/>
                  <a:pt x="702" y="190"/>
                  <a:pt x="702" y="191"/>
                </a:cubicBezTo>
                <a:cubicBezTo>
                  <a:pt x="702" y="190"/>
                  <a:pt x="702" y="190"/>
                  <a:pt x="702" y="190"/>
                </a:cubicBezTo>
                <a:cubicBezTo>
                  <a:pt x="702" y="190"/>
                  <a:pt x="702" y="190"/>
                  <a:pt x="702" y="190"/>
                </a:cubicBezTo>
                <a:close/>
                <a:moveTo>
                  <a:pt x="703" y="187"/>
                </a:moveTo>
                <a:cubicBezTo>
                  <a:pt x="703" y="186"/>
                  <a:pt x="702" y="186"/>
                  <a:pt x="702" y="186"/>
                </a:cubicBezTo>
                <a:cubicBezTo>
                  <a:pt x="702" y="186"/>
                  <a:pt x="702" y="186"/>
                  <a:pt x="701" y="186"/>
                </a:cubicBezTo>
                <a:cubicBezTo>
                  <a:pt x="701" y="186"/>
                  <a:pt x="701" y="186"/>
                  <a:pt x="701" y="186"/>
                </a:cubicBezTo>
                <a:cubicBezTo>
                  <a:pt x="701" y="186"/>
                  <a:pt x="701" y="186"/>
                  <a:pt x="701" y="186"/>
                </a:cubicBezTo>
                <a:cubicBezTo>
                  <a:pt x="701" y="186"/>
                  <a:pt x="702" y="187"/>
                  <a:pt x="702" y="187"/>
                </a:cubicBezTo>
                <a:cubicBezTo>
                  <a:pt x="702" y="187"/>
                  <a:pt x="703" y="187"/>
                  <a:pt x="703" y="187"/>
                </a:cubicBezTo>
                <a:cubicBezTo>
                  <a:pt x="703" y="187"/>
                  <a:pt x="703" y="187"/>
                  <a:pt x="703" y="187"/>
                </a:cubicBezTo>
                <a:cubicBezTo>
                  <a:pt x="703" y="187"/>
                  <a:pt x="704" y="187"/>
                  <a:pt x="704" y="187"/>
                </a:cubicBezTo>
                <a:cubicBezTo>
                  <a:pt x="704" y="187"/>
                  <a:pt x="703" y="187"/>
                  <a:pt x="703" y="187"/>
                </a:cubicBezTo>
                <a:close/>
                <a:moveTo>
                  <a:pt x="713" y="174"/>
                </a:moveTo>
                <a:cubicBezTo>
                  <a:pt x="713" y="174"/>
                  <a:pt x="713" y="174"/>
                  <a:pt x="713" y="174"/>
                </a:cubicBezTo>
                <a:cubicBezTo>
                  <a:pt x="712" y="174"/>
                  <a:pt x="712" y="174"/>
                  <a:pt x="712" y="174"/>
                </a:cubicBezTo>
                <a:cubicBezTo>
                  <a:pt x="712" y="174"/>
                  <a:pt x="712" y="174"/>
                  <a:pt x="712" y="174"/>
                </a:cubicBezTo>
                <a:cubicBezTo>
                  <a:pt x="713" y="174"/>
                  <a:pt x="713" y="174"/>
                  <a:pt x="713" y="174"/>
                </a:cubicBezTo>
                <a:cubicBezTo>
                  <a:pt x="713" y="174"/>
                  <a:pt x="713" y="174"/>
                  <a:pt x="713" y="174"/>
                </a:cubicBezTo>
                <a:close/>
                <a:moveTo>
                  <a:pt x="698" y="195"/>
                </a:moveTo>
                <a:cubicBezTo>
                  <a:pt x="698" y="195"/>
                  <a:pt x="698" y="195"/>
                  <a:pt x="698" y="196"/>
                </a:cubicBezTo>
                <a:cubicBezTo>
                  <a:pt x="698" y="195"/>
                  <a:pt x="698" y="195"/>
                  <a:pt x="698" y="195"/>
                </a:cubicBezTo>
                <a:cubicBezTo>
                  <a:pt x="698" y="195"/>
                  <a:pt x="698" y="195"/>
                  <a:pt x="698" y="195"/>
                </a:cubicBezTo>
                <a:close/>
                <a:moveTo>
                  <a:pt x="699" y="193"/>
                </a:moveTo>
                <a:cubicBezTo>
                  <a:pt x="699" y="193"/>
                  <a:pt x="699" y="193"/>
                  <a:pt x="699" y="193"/>
                </a:cubicBezTo>
                <a:cubicBezTo>
                  <a:pt x="699" y="193"/>
                  <a:pt x="699" y="193"/>
                  <a:pt x="699" y="193"/>
                </a:cubicBezTo>
                <a:cubicBezTo>
                  <a:pt x="699" y="193"/>
                  <a:pt x="699" y="193"/>
                  <a:pt x="699" y="193"/>
                </a:cubicBezTo>
                <a:cubicBezTo>
                  <a:pt x="699" y="193"/>
                  <a:pt x="699" y="193"/>
                  <a:pt x="699" y="193"/>
                </a:cubicBezTo>
                <a:cubicBezTo>
                  <a:pt x="699" y="193"/>
                  <a:pt x="699" y="193"/>
                  <a:pt x="699" y="193"/>
                </a:cubicBezTo>
                <a:close/>
                <a:moveTo>
                  <a:pt x="668" y="207"/>
                </a:moveTo>
                <a:cubicBezTo>
                  <a:pt x="668" y="207"/>
                  <a:pt x="668" y="207"/>
                  <a:pt x="668" y="207"/>
                </a:cubicBezTo>
                <a:cubicBezTo>
                  <a:pt x="669" y="207"/>
                  <a:pt x="669" y="207"/>
                  <a:pt x="669" y="207"/>
                </a:cubicBezTo>
                <a:cubicBezTo>
                  <a:pt x="669" y="207"/>
                  <a:pt x="669" y="206"/>
                  <a:pt x="669" y="206"/>
                </a:cubicBezTo>
                <a:cubicBezTo>
                  <a:pt x="668" y="206"/>
                  <a:pt x="668" y="206"/>
                  <a:pt x="668" y="206"/>
                </a:cubicBezTo>
                <a:cubicBezTo>
                  <a:pt x="668" y="206"/>
                  <a:pt x="667" y="206"/>
                  <a:pt x="667" y="207"/>
                </a:cubicBezTo>
                <a:cubicBezTo>
                  <a:pt x="667" y="207"/>
                  <a:pt x="667" y="207"/>
                  <a:pt x="667" y="207"/>
                </a:cubicBezTo>
                <a:cubicBezTo>
                  <a:pt x="668" y="207"/>
                  <a:pt x="668" y="207"/>
                  <a:pt x="668" y="207"/>
                </a:cubicBezTo>
                <a:close/>
                <a:moveTo>
                  <a:pt x="649" y="178"/>
                </a:moveTo>
                <a:cubicBezTo>
                  <a:pt x="649" y="178"/>
                  <a:pt x="650" y="178"/>
                  <a:pt x="650" y="178"/>
                </a:cubicBezTo>
                <a:cubicBezTo>
                  <a:pt x="650" y="178"/>
                  <a:pt x="650" y="178"/>
                  <a:pt x="651" y="178"/>
                </a:cubicBezTo>
                <a:cubicBezTo>
                  <a:pt x="651" y="178"/>
                  <a:pt x="650" y="178"/>
                  <a:pt x="650" y="178"/>
                </a:cubicBezTo>
                <a:cubicBezTo>
                  <a:pt x="650" y="178"/>
                  <a:pt x="650" y="178"/>
                  <a:pt x="650" y="178"/>
                </a:cubicBezTo>
                <a:cubicBezTo>
                  <a:pt x="650" y="178"/>
                  <a:pt x="650" y="178"/>
                  <a:pt x="650" y="178"/>
                </a:cubicBezTo>
                <a:cubicBezTo>
                  <a:pt x="650" y="178"/>
                  <a:pt x="649" y="178"/>
                  <a:pt x="649" y="178"/>
                </a:cubicBezTo>
                <a:close/>
                <a:moveTo>
                  <a:pt x="650" y="177"/>
                </a:moveTo>
                <a:cubicBezTo>
                  <a:pt x="649" y="177"/>
                  <a:pt x="649" y="177"/>
                  <a:pt x="649" y="177"/>
                </a:cubicBezTo>
                <a:cubicBezTo>
                  <a:pt x="649" y="177"/>
                  <a:pt x="649" y="177"/>
                  <a:pt x="649" y="177"/>
                </a:cubicBezTo>
                <a:cubicBezTo>
                  <a:pt x="650" y="177"/>
                  <a:pt x="650" y="177"/>
                  <a:pt x="650" y="177"/>
                </a:cubicBezTo>
                <a:cubicBezTo>
                  <a:pt x="650" y="177"/>
                  <a:pt x="650" y="177"/>
                  <a:pt x="650" y="177"/>
                </a:cubicBezTo>
                <a:cubicBezTo>
                  <a:pt x="650" y="177"/>
                  <a:pt x="650" y="177"/>
                  <a:pt x="650" y="177"/>
                </a:cubicBezTo>
                <a:close/>
                <a:moveTo>
                  <a:pt x="674" y="205"/>
                </a:moveTo>
                <a:cubicBezTo>
                  <a:pt x="674" y="205"/>
                  <a:pt x="674" y="205"/>
                  <a:pt x="674" y="205"/>
                </a:cubicBezTo>
                <a:cubicBezTo>
                  <a:pt x="674" y="205"/>
                  <a:pt x="673" y="205"/>
                  <a:pt x="673" y="205"/>
                </a:cubicBezTo>
                <a:cubicBezTo>
                  <a:pt x="673" y="205"/>
                  <a:pt x="673" y="206"/>
                  <a:pt x="674" y="206"/>
                </a:cubicBezTo>
                <a:cubicBezTo>
                  <a:pt x="674" y="206"/>
                  <a:pt x="674" y="206"/>
                  <a:pt x="674" y="206"/>
                </a:cubicBezTo>
                <a:cubicBezTo>
                  <a:pt x="674" y="205"/>
                  <a:pt x="674" y="205"/>
                  <a:pt x="674" y="205"/>
                </a:cubicBezTo>
                <a:close/>
                <a:moveTo>
                  <a:pt x="687" y="211"/>
                </a:moveTo>
                <a:cubicBezTo>
                  <a:pt x="687" y="211"/>
                  <a:pt x="687" y="211"/>
                  <a:pt x="688" y="211"/>
                </a:cubicBezTo>
                <a:cubicBezTo>
                  <a:pt x="688" y="211"/>
                  <a:pt x="688" y="211"/>
                  <a:pt x="688" y="211"/>
                </a:cubicBezTo>
                <a:cubicBezTo>
                  <a:pt x="688" y="210"/>
                  <a:pt x="688" y="210"/>
                  <a:pt x="689" y="210"/>
                </a:cubicBezTo>
                <a:cubicBezTo>
                  <a:pt x="688" y="210"/>
                  <a:pt x="688" y="210"/>
                  <a:pt x="688" y="210"/>
                </a:cubicBezTo>
                <a:cubicBezTo>
                  <a:pt x="688" y="210"/>
                  <a:pt x="688" y="210"/>
                  <a:pt x="687" y="210"/>
                </a:cubicBezTo>
                <a:cubicBezTo>
                  <a:pt x="687" y="210"/>
                  <a:pt x="687" y="211"/>
                  <a:pt x="687" y="211"/>
                </a:cubicBezTo>
                <a:cubicBezTo>
                  <a:pt x="687" y="211"/>
                  <a:pt x="687" y="211"/>
                  <a:pt x="687" y="211"/>
                </a:cubicBezTo>
                <a:close/>
                <a:moveTo>
                  <a:pt x="694" y="203"/>
                </a:moveTo>
                <a:cubicBezTo>
                  <a:pt x="694" y="203"/>
                  <a:pt x="694" y="203"/>
                  <a:pt x="694" y="203"/>
                </a:cubicBezTo>
                <a:cubicBezTo>
                  <a:pt x="693" y="203"/>
                  <a:pt x="693" y="203"/>
                  <a:pt x="693" y="203"/>
                </a:cubicBezTo>
                <a:cubicBezTo>
                  <a:pt x="693" y="203"/>
                  <a:pt x="694" y="204"/>
                  <a:pt x="694" y="204"/>
                </a:cubicBezTo>
                <a:cubicBezTo>
                  <a:pt x="694" y="204"/>
                  <a:pt x="694" y="203"/>
                  <a:pt x="694" y="203"/>
                </a:cubicBezTo>
                <a:cubicBezTo>
                  <a:pt x="694" y="203"/>
                  <a:pt x="694" y="203"/>
                  <a:pt x="694" y="203"/>
                </a:cubicBezTo>
                <a:close/>
                <a:moveTo>
                  <a:pt x="677" y="205"/>
                </a:moveTo>
                <a:cubicBezTo>
                  <a:pt x="677" y="205"/>
                  <a:pt x="677" y="205"/>
                  <a:pt x="677" y="205"/>
                </a:cubicBezTo>
                <a:cubicBezTo>
                  <a:pt x="677" y="205"/>
                  <a:pt x="676" y="205"/>
                  <a:pt x="676" y="205"/>
                </a:cubicBezTo>
                <a:cubicBezTo>
                  <a:pt x="676" y="205"/>
                  <a:pt x="676" y="205"/>
                  <a:pt x="676" y="205"/>
                </a:cubicBezTo>
                <a:cubicBezTo>
                  <a:pt x="676" y="205"/>
                  <a:pt x="676" y="205"/>
                  <a:pt x="676" y="205"/>
                </a:cubicBezTo>
                <a:cubicBezTo>
                  <a:pt x="676" y="205"/>
                  <a:pt x="676" y="205"/>
                  <a:pt x="676" y="205"/>
                </a:cubicBezTo>
                <a:cubicBezTo>
                  <a:pt x="677" y="205"/>
                  <a:pt x="677" y="205"/>
                  <a:pt x="677" y="205"/>
                </a:cubicBezTo>
                <a:close/>
                <a:moveTo>
                  <a:pt x="689" y="209"/>
                </a:moveTo>
                <a:cubicBezTo>
                  <a:pt x="689" y="209"/>
                  <a:pt x="690" y="209"/>
                  <a:pt x="690" y="209"/>
                </a:cubicBezTo>
                <a:cubicBezTo>
                  <a:pt x="689" y="209"/>
                  <a:pt x="689" y="208"/>
                  <a:pt x="688" y="208"/>
                </a:cubicBezTo>
                <a:cubicBezTo>
                  <a:pt x="688" y="208"/>
                  <a:pt x="688" y="208"/>
                  <a:pt x="687" y="208"/>
                </a:cubicBezTo>
                <a:cubicBezTo>
                  <a:pt x="687" y="208"/>
                  <a:pt x="687" y="209"/>
                  <a:pt x="687" y="209"/>
                </a:cubicBezTo>
                <a:cubicBezTo>
                  <a:pt x="688" y="209"/>
                  <a:pt x="688" y="209"/>
                  <a:pt x="689" y="209"/>
                </a:cubicBezTo>
                <a:cubicBezTo>
                  <a:pt x="689" y="209"/>
                  <a:pt x="689" y="209"/>
                  <a:pt x="689" y="209"/>
                </a:cubicBezTo>
                <a:close/>
                <a:moveTo>
                  <a:pt x="681" y="209"/>
                </a:moveTo>
                <a:cubicBezTo>
                  <a:pt x="681" y="209"/>
                  <a:pt x="681" y="209"/>
                  <a:pt x="681" y="209"/>
                </a:cubicBezTo>
                <a:cubicBezTo>
                  <a:pt x="681" y="209"/>
                  <a:pt x="681" y="209"/>
                  <a:pt x="681" y="208"/>
                </a:cubicBezTo>
                <a:cubicBezTo>
                  <a:pt x="681" y="208"/>
                  <a:pt x="681" y="208"/>
                  <a:pt x="681" y="208"/>
                </a:cubicBezTo>
                <a:cubicBezTo>
                  <a:pt x="681" y="208"/>
                  <a:pt x="681" y="208"/>
                  <a:pt x="681" y="208"/>
                </a:cubicBezTo>
                <a:cubicBezTo>
                  <a:pt x="681" y="208"/>
                  <a:pt x="681" y="208"/>
                  <a:pt x="681" y="208"/>
                </a:cubicBezTo>
                <a:cubicBezTo>
                  <a:pt x="680" y="208"/>
                  <a:pt x="680" y="209"/>
                  <a:pt x="680" y="209"/>
                </a:cubicBezTo>
                <a:cubicBezTo>
                  <a:pt x="680" y="209"/>
                  <a:pt x="680" y="209"/>
                  <a:pt x="680" y="209"/>
                </a:cubicBezTo>
                <a:cubicBezTo>
                  <a:pt x="681" y="209"/>
                  <a:pt x="681" y="209"/>
                  <a:pt x="681" y="209"/>
                </a:cubicBezTo>
                <a:close/>
                <a:moveTo>
                  <a:pt x="664" y="139"/>
                </a:moveTo>
                <a:cubicBezTo>
                  <a:pt x="664" y="139"/>
                  <a:pt x="664" y="140"/>
                  <a:pt x="664" y="140"/>
                </a:cubicBezTo>
                <a:cubicBezTo>
                  <a:pt x="664" y="139"/>
                  <a:pt x="664" y="139"/>
                  <a:pt x="664" y="139"/>
                </a:cubicBezTo>
                <a:cubicBezTo>
                  <a:pt x="664" y="139"/>
                  <a:pt x="664" y="139"/>
                  <a:pt x="664" y="139"/>
                </a:cubicBezTo>
                <a:cubicBezTo>
                  <a:pt x="664" y="139"/>
                  <a:pt x="663" y="139"/>
                  <a:pt x="663" y="139"/>
                </a:cubicBezTo>
                <a:cubicBezTo>
                  <a:pt x="663" y="139"/>
                  <a:pt x="664" y="139"/>
                  <a:pt x="664" y="139"/>
                </a:cubicBezTo>
                <a:close/>
                <a:moveTo>
                  <a:pt x="810" y="84"/>
                </a:moveTo>
                <a:cubicBezTo>
                  <a:pt x="810" y="83"/>
                  <a:pt x="810" y="83"/>
                  <a:pt x="811" y="83"/>
                </a:cubicBezTo>
                <a:cubicBezTo>
                  <a:pt x="810" y="83"/>
                  <a:pt x="810" y="83"/>
                  <a:pt x="810" y="83"/>
                </a:cubicBezTo>
                <a:cubicBezTo>
                  <a:pt x="810" y="83"/>
                  <a:pt x="809" y="83"/>
                  <a:pt x="809" y="83"/>
                </a:cubicBezTo>
                <a:cubicBezTo>
                  <a:pt x="809" y="83"/>
                  <a:pt x="809" y="83"/>
                  <a:pt x="809" y="83"/>
                </a:cubicBezTo>
                <a:cubicBezTo>
                  <a:pt x="809" y="83"/>
                  <a:pt x="808" y="83"/>
                  <a:pt x="808" y="83"/>
                </a:cubicBezTo>
                <a:cubicBezTo>
                  <a:pt x="809" y="83"/>
                  <a:pt x="809" y="84"/>
                  <a:pt x="809" y="84"/>
                </a:cubicBezTo>
                <a:cubicBezTo>
                  <a:pt x="809" y="84"/>
                  <a:pt x="810" y="84"/>
                  <a:pt x="810" y="84"/>
                </a:cubicBezTo>
                <a:close/>
                <a:moveTo>
                  <a:pt x="804" y="112"/>
                </a:moveTo>
                <a:cubicBezTo>
                  <a:pt x="804" y="112"/>
                  <a:pt x="804" y="112"/>
                  <a:pt x="804" y="112"/>
                </a:cubicBezTo>
                <a:cubicBezTo>
                  <a:pt x="804" y="112"/>
                  <a:pt x="805" y="112"/>
                  <a:pt x="805" y="112"/>
                </a:cubicBezTo>
                <a:cubicBezTo>
                  <a:pt x="805" y="112"/>
                  <a:pt x="805" y="112"/>
                  <a:pt x="805" y="111"/>
                </a:cubicBezTo>
                <a:cubicBezTo>
                  <a:pt x="804" y="111"/>
                  <a:pt x="804" y="112"/>
                  <a:pt x="804" y="112"/>
                </a:cubicBezTo>
                <a:cubicBezTo>
                  <a:pt x="804" y="112"/>
                  <a:pt x="804" y="112"/>
                  <a:pt x="804" y="112"/>
                </a:cubicBezTo>
                <a:close/>
                <a:moveTo>
                  <a:pt x="810" y="96"/>
                </a:moveTo>
                <a:cubicBezTo>
                  <a:pt x="810" y="96"/>
                  <a:pt x="809" y="96"/>
                  <a:pt x="809" y="96"/>
                </a:cubicBezTo>
                <a:cubicBezTo>
                  <a:pt x="809" y="96"/>
                  <a:pt x="809" y="97"/>
                  <a:pt x="809" y="97"/>
                </a:cubicBezTo>
                <a:cubicBezTo>
                  <a:pt x="810" y="97"/>
                  <a:pt x="810" y="97"/>
                  <a:pt x="810" y="98"/>
                </a:cubicBezTo>
                <a:cubicBezTo>
                  <a:pt x="810" y="98"/>
                  <a:pt x="810" y="98"/>
                  <a:pt x="811" y="98"/>
                </a:cubicBezTo>
                <a:cubicBezTo>
                  <a:pt x="811" y="98"/>
                  <a:pt x="811" y="98"/>
                  <a:pt x="811" y="98"/>
                </a:cubicBezTo>
                <a:cubicBezTo>
                  <a:pt x="811" y="98"/>
                  <a:pt x="811" y="97"/>
                  <a:pt x="811" y="97"/>
                </a:cubicBezTo>
                <a:cubicBezTo>
                  <a:pt x="812" y="97"/>
                  <a:pt x="812" y="97"/>
                  <a:pt x="812" y="97"/>
                </a:cubicBezTo>
                <a:cubicBezTo>
                  <a:pt x="812" y="96"/>
                  <a:pt x="812" y="96"/>
                  <a:pt x="812" y="96"/>
                </a:cubicBezTo>
                <a:cubicBezTo>
                  <a:pt x="811" y="96"/>
                  <a:pt x="811" y="96"/>
                  <a:pt x="810" y="96"/>
                </a:cubicBezTo>
                <a:cubicBezTo>
                  <a:pt x="810" y="96"/>
                  <a:pt x="810" y="96"/>
                  <a:pt x="810" y="96"/>
                </a:cubicBezTo>
                <a:close/>
                <a:moveTo>
                  <a:pt x="805" y="101"/>
                </a:moveTo>
                <a:cubicBezTo>
                  <a:pt x="805" y="101"/>
                  <a:pt x="804" y="101"/>
                  <a:pt x="804" y="101"/>
                </a:cubicBezTo>
                <a:cubicBezTo>
                  <a:pt x="803" y="101"/>
                  <a:pt x="803" y="102"/>
                  <a:pt x="803" y="102"/>
                </a:cubicBezTo>
                <a:cubicBezTo>
                  <a:pt x="803" y="102"/>
                  <a:pt x="803" y="102"/>
                  <a:pt x="803" y="103"/>
                </a:cubicBezTo>
                <a:cubicBezTo>
                  <a:pt x="803" y="103"/>
                  <a:pt x="804" y="103"/>
                  <a:pt x="804" y="103"/>
                </a:cubicBezTo>
                <a:cubicBezTo>
                  <a:pt x="804" y="103"/>
                  <a:pt x="804" y="103"/>
                  <a:pt x="805" y="103"/>
                </a:cubicBezTo>
                <a:cubicBezTo>
                  <a:pt x="805" y="103"/>
                  <a:pt x="806" y="103"/>
                  <a:pt x="806" y="104"/>
                </a:cubicBezTo>
                <a:cubicBezTo>
                  <a:pt x="806" y="104"/>
                  <a:pt x="806" y="103"/>
                  <a:pt x="807" y="103"/>
                </a:cubicBezTo>
                <a:cubicBezTo>
                  <a:pt x="807" y="103"/>
                  <a:pt x="808" y="103"/>
                  <a:pt x="808" y="103"/>
                </a:cubicBezTo>
                <a:cubicBezTo>
                  <a:pt x="808" y="103"/>
                  <a:pt x="809" y="103"/>
                  <a:pt x="809" y="103"/>
                </a:cubicBezTo>
                <a:cubicBezTo>
                  <a:pt x="809" y="103"/>
                  <a:pt x="809" y="103"/>
                  <a:pt x="809" y="102"/>
                </a:cubicBezTo>
                <a:cubicBezTo>
                  <a:pt x="809" y="102"/>
                  <a:pt x="809" y="102"/>
                  <a:pt x="810" y="102"/>
                </a:cubicBezTo>
                <a:cubicBezTo>
                  <a:pt x="810" y="102"/>
                  <a:pt x="809" y="101"/>
                  <a:pt x="809" y="101"/>
                </a:cubicBezTo>
                <a:cubicBezTo>
                  <a:pt x="809" y="101"/>
                  <a:pt x="808" y="100"/>
                  <a:pt x="807" y="100"/>
                </a:cubicBezTo>
                <a:cubicBezTo>
                  <a:pt x="806" y="100"/>
                  <a:pt x="806" y="100"/>
                  <a:pt x="805" y="101"/>
                </a:cubicBezTo>
                <a:close/>
                <a:moveTo>
                  <a:pt x="816" y="99"/>
                </a:moveTo>
                <a:cubicBezTo>
                  <a:pt x="815" y="99"/>
                  <a:pt x="815" y="99"/>
                  <a:pt x="815" y="99"/>
                </a:cubicBezTo>
                <a:cubicBezTo>
                  <a:pt x="815" y="99"/>
                  <a:pt x="815" y="99"/>
                  <a:pt x="815" y="99"/>
                </a:cubicBezTo>
                <a:cubicBezTo>
                  <a:pt x="815" y="99"/>
                  <a:pt x="815" y="99"/>
                  <a:pt x="816" y="99"/>
                </a:cubicBezTo>
                <a:cubicBezTo>
                  <a:pt x="816" y="99"/>
                  <a:pt x="816" y="99"/>
                  <a:pt x="816" y="99"/>
                </a:cubicBezTo>
                <a:cubicBezTo>
                  <a:pt x="816" y="99"/>
                  <a:pt x="816" y="99"/>
                  <a:pt x="816" y="98"/>
                </a:cubicBezTo>
                <a:cubicBezTo>
                  <a:pt x="816" y="98"/>
                  <a:pt x="816" y="98"/>
                  <a:pt x="816" y="99"/>
                </a:cubicBezTo>
                <a:close/>
                <a:moveTo>
                  <a:pt x="807" y="82"/>
                </a:moveTo>
                <a:cubicBezTo>
                  <a:pt x="807" y="82"/>
                  <a:pt x="807" y="82"/>
                  <a:pt x="807" y="82"/>
                </a:cubicBezTo>
                <a:cubicBezTo>
                  <a:pt x="807" y="82"/>
                  <a:pt x="808" y="82"/>
                  <a:pt x="808" y="82"/>
                </a:cubicBezTo>
                <a:cubicBezTo>
                  <a:pt x="808" y="82"/>
                  <a:pt x="808" y="82"/>
                  <a:pt x="808" y="82"/>
                </a:cubicBezTo>
                <a:cubicBezTo>
                  <a:pt x="808" y="82"/>
                  <a:pt x="808" y="82"/>
                  <a:pt x="808" y="82"/>
                </a:cubicBezTo>
                <a:cubicBezTo>
                  <a:pt x="808" y="82"/>
                  <a:pt x="808" y="82"/>
                  <a:pt x="807" y="82"/>
                </a:cubicBezTo>
                <a:close/>
                <a:moveTo>
                  <a:pt x="819" y="65"/>
                </a:moveTo>
                <a:cubicBezTo>
                  <a:pt x="819" y="65"/>
                  <a:pt x="819" y="65"/>
                  <a:pt x="819" y="65"/>
                </a:cubicBezTo>
                <a:cubicBezTo>
                  <a:pt x="819" y="65"/>
                  <a:pt x="819" y="65"/>
                  <a:pt x="819" y="65"/>
                </a:cubicBezTo>
                <a:cubicBezTo>
                  <a:pt x="819" y="65"/>
                  <a:pt x="819" y="65"/>
                  <a:pt x="819" y="65"/>
                </a:cubicBezTo>
                <a:cubicBezTo>
                  <a:pt x="819" y="65"/>
                  <a:pt x="819" y="65"/>
                  <a:pt x="819" y="65"/>
                </a:cubicBezTo>
                <a:cubicBezTo>
                  <a:pt x="819" y="65"/>
                  <a:pt x="819" y="65"/>
                  <a:pt x="819" y="65"/>
                </a:cubicBezTo>
                <a:close/>
                <a:moveTo>
                  <a:pt x="817" y="95"/>
                </a:moveTo>
                <a:cubicBezTo>
                  <a:pt x="817" y="95"/>
                  <a:pt x="818" y="96"/>
                  <a:pt x="818" y="96"/>
                </a:cubicBezTo>
                <a:cubicBezTo>
                  <a:pt x="818" y="96"/>
                  <a:pt x="819" y="96"/>
                  <a:pt x="819" y="96"/>
                </a:cubicBezTo>
                <a:cubicBezTo>
                  <a:pt x="820" y="96"/>
                  <a:pt x="820" y="95"/>
                  <a:pt x="821" y="95"/>
                </a:cubicBezTo>
                <a:cubicBezTo>
                  <a:pt x="821" y="95"/>
                  <a:pt x="821" y="95"/>
                  <a:pt x="821" y="95"/>
                </a:cubicBezTo>
                <a:cubicBezTo>
                  <a:pt x="821" y="95"/>
                  <a:pt x="821" y="96"/>
                  <a:pt x="821" y="96"/>
                </a:cubicBezTo>
                <a:cubicBezTo>
                  <a:pt x="822" y="96"/>
                  <a:pt x="822" y="96"/>
                  <a:pt x="822" y="96"/>
                </a:cubicBezTo>
                <a:cubicBezTo>
                  <a:pt x="822" y="96"/>
                  <a:pt x="822" y="95"/>
                  <a:pt x="823" y="95"/>
                </a:cubicBezTo>
                <a:cubicBezTo>
                  <a:pt x="823" y="95"/>
                  <a:pt x="823" y="95"/>
                  <a:pt x="823" y="95"/>
                </a:cubicBezTo>
                <a:cubicBezTo>
                  <a:pt x="823" y="95"/>
                  <a:pt x="823" y="94"/>
                  <a:pt x="823" y="94"/>
                </a:cubicBezTo>
                <a:cubicBezTo>
                  <a:pt x="823" y="94"/>
                  <a:pt x="823" y="94"/>
                  <a:pt x="822" y="94"/>
                </a:cubicBezTo>
                <a:cubicBezTo>
                  <a:pt x="822" y="94"/>
                  <a:pt x="822" y="94"/>
                  <a:pt x="822" y="94"/>
                </a:cubicBezTo>
                <a:cubicBezTo>
                  <a:pt x="822" y="94"/>
                  <a:pt x="822" y="94"/>
                  <a:pt x="822" y="94"/>
                </a:cubicBezTo>
                <a:cubicBezTo>
                  <a:pt x="822" y="94"/>
                  <a:pt x="822" y="94"/>
                  <a:pt x="821" y="94"/>
                </a:cubicBezTo>
                <a:cubicBezTo>
                  <a:pt x="821" y="94"/>
                  <a:pt x="821" y="94"/>
                  <a:pt x="820" y="94"/>
                </a:cubicBezTo>
                <a:cubicBezTo>
                  <a:pt x="820" y="93"/>
                  <a:pt x="821" y="93"/>
                  <a:pt x="821" y="93"/>
                </a:cubicBezTo>
                <a:cubicBezTo>
                  <a:pt x="820" y="93"/>
                  <a:pt x="820" y="93"/>
                  <a:pt x="820" y="93"/>
                </a:cubicBezTo>
                <a:cubicBezTo>
                  <a:pt x="820" y="92"/>
                  <a:pt x="820" y="92"/>
                  <a:pt x="820" y="92"/>
                </a:cubicBezTo>
                <a:cubicBezTo>
                  <a:pt x="820" y="92"/>
                  <a:pt x="821" y="92"/>
                  <a:pt x="821" y="92"/>
                </a:cubicBezTo>
                <a:cubicBezTo>
                  <a:pt x="821" y="92"/>
                  <a:pt x="821" y="92"/>
                  <a:pt x="821" y="92"/>
                </a:cubicBezTo>
                <a:cubicBezTo>
                  <a:pt x="821" y="92"/>
                  <a:pt x="820" y="91"/>
                  <a:pt x="820" y="91"/>
                </a:cubicBezTo>
                <a:cubicBezTo>
                  <a:pt x="820" y="92"/>
                  <a:pt x="819" y="92"/>
                  <a:pt x="819" y="92"/>
                </a:cubicBezTo>
                <a:cubicBezTo>
                  <a:pt x="819" y="92"/>
                  <a:pt x="818" y="92"/>
                  <a:pt x="818" y="92"/>
                </a:cubicBezTo>
                <a:cubicBezTo>
                  <a:pt x="818" y="92"/>
                  <a:pt x="818" y="92"/>
                  <a:pt x="818" y="92"/>
                </a:cubicBezTo>
                <a:cubicBezTo>
                  <a:pt x="817" y="92"/>
                  <a:pt x="817" y="92"/>
                  <a:pt x="817" y="92"/>
                </a:cubicBezTo>
                <a:cubicBezTo>
                  <a:pt x="817" y="93"/>
                  <a:pt x="817" y="93"/>
                  <a:pt x="817" y="94"/>
                </a:cubicBezTo>
                <a:cubicBezTo>
                  <a:pt x="817" y="94"/>
                  <a:pt x="817" y="94"/>
                  <a:pt x="817" y="95"/>
                </a:cubicBezTo>
                <a:cubicBezTo>
                  <a:pt x="817" y="95"/>
                  <a:pt x="817" y="95"/>
                  <a:pt x="817" y="95"/>
                </a:cubicBezTo>
                <a:close/>
                <a:moveTo>
                  <a:pt x="819" y="66"/>
                </a:moveTo>
                <a:cubicBezTo>
                  <a:pt x="819" y="67"/>
                  <a:pt x="818" y="67"/>
                  <a:pt x="818" y="67"/>
                </a:cubicBezTo>
                <a:cubicBezTo>
                  <a:pt x="818" y="68"/>
                  <a:pt x="818" y="68"/>
                  <a:pt x="818" y="68"/>
                </a:cubicBezTo>
                <a:cubicBezTo>
                  <a:pt x="819" y="68"/>
                  <a:pt x="819" y="67"/>
                  <a:pt x="819" y="67"/>
                </a:cubicBezTo>
                <a:cubicBezTo>
                  <a:pt x="819" y="67"/>
                  <a:pt x="819" y="67"/>
                  <a:pt x="819" y="67"/>
                </a:cubicBezTo>
                <a:cubicBezTo>
                  <a:pt x="819" y="67"/>
                  <a:pt x="819" y="66"/>
                  <a:pt x="819" y="66"/>
                </a:cubicBezTo>
                <a:cubicBezTo>
                  <a:pt x="819" y="66"/>
                  <a:pt x="819" y="66"/>
                  <a:pt x="819" y="66"/>
                </a:cubicBezTo>
                <a:close/>
                <a:moveTo>
                  <a:pt x="815" y="69"/>
                </a:moveTo>
                <a:cubicBezTo>
                  <a:pt x="815" y="69"/>
                  <a:pt x="814" y="69"/>
                  <a:pt x="814" y="69"/>
                </a:cubicBezTo>
                <a:cubicBezTo>
                  <a:pt x="814" y="69"/>
                  <a:pt x="814" y="69"/>
                  <a:pt x="814" y="69"/>
                </a:cubicBezTo>
                <a:cubicBezTo>
                  <a:pt x="814" y="69"/>
                  <a:pt x="815" y="70"/>
                  <a:pt x="815" y="70"/>
                </a:cubicBezTo>
                <a:cubicBezTo>
                  <a:pt x="815" y="70"/>
                  <a:pt x="816" y="70"/>
                  <a:pt x="816" y="70"/>
                </a:cubicBezTo>
                <a:cubicBezTo>
                  <a:pt x="816" y="70"/>
                  <a:pt x="816" y="70"/>
                  <a:pt x="817" y="70"/>
                </a:cubicBezTo>
                <a:cubicBezTo>
                  <a:pt x="817" y="70"/>
                  <a:pt x="817" y="70"/>
                  <a:pt x="817" y="70"/>
                </a:cubicBezTo>
                <a:cubicBezTo>
                  <a:pt x="816" y="70"/>
                  <a:pt x="816" y="70"/>
                  <a:pt x="816" y="70"/>
                </a:cubicBezTo>
                <a:cubicBezTo>
                  <a:pt x="815" y="69"/>
                  <a:pt x="815" y="69"/>
                  <a:pt x="815" y="69"/>
                </a:cubicBezTo>
                <a:close/>
                <a:moveTo>
                  <a:pt x="798" y="117"/>
                </a:moveTo>
                <a:cubicBezTo>
                  <a:pt x="798" y="117"/>
                  <a:pt x="798" y="117"/>
                  <a:pt x="798" y="117"/>
                </a:cubicBezTo>
                <a:cubicBezTo>
                  <a:pt x="799" y="117"/>
                  <a:pt x="799" y="117"/>
                  <a:pt x="799" y="117"/>
                </a:cubicBezTo>
                <a:cubicBezTo>
                  <a:pt x="800" y="117"/>
                  <a:pt x="800" y="117"/>
                  <a:pt x="800" y="117"/>
                </a:cubicBezTo>
                <a:cubicBezTo>
                  <a:pt x="801" y="117"/>
                  <a:pt x="801" y="117"/>
                  <a:pt x="801" y="117"/>
                </a:cubicBezTo>
                <a:cubicBezTo>
                  <a:pt x="801" y="117"/>
                  <a:pt x="801" y="117"/>
                  <a:pt x="801" y="117"/>
                </a:cubicBezTo>
                <a:cubicBezTo>
                  <a:pt x="801" y="117"/>
                  <a:pt x="801" y="117"/>
                  <a:pt x="801" y="116"/>
                </a:cubicBezTo>
                <a:cubicBezTo>
                  <a:pt x="800" y="116"/>
                  <a:pt x="799" y="116"/>
                  <a:pt x="798" y="116"/>
                </a:cubicBezTo>
                <a:cubicBezTo>
                  <a:pt x="797" y="116"/>
                  <a:pt x="797" y="115"/>
                  <a:pt x="797" y="115"/>
                </a:cubicBezTo>
                <a:cubicBezTo>
                  <a:pt x="796" y="115"/>
                  <a:pt x="796" y="115"/>
                  <a:pt x="796" y="115"/>
                </a:cubicBezTo>
                <a:cubicBezTo>
                  <a:pt x="796" y="115"/>
                  <a:pt x="795" y="115"/>
                  <a:pt x="795" y="115"/>
                </a:cubicBezTo>
                <a:cubicBezTo>
                  <a:pt x="795" y="115"/>
                  <a:pt x="794" y="114"/>
                  <a:pt x="794" y="114"/>
                </a:cubicBezTo>
                <a:cubicBezTo>
                  <a:pt x="793" y="114"/>
                  <a:pt x="793" y="114"/>
                  <a:pt x="793" y="114"/>
                </a:cubicBezTo>
                <a:cubicBezTo>
                  <a:pt x="792" y="114"/>
                  <a:pt x="792" y="114"/>
                  <a:pt x="792" y="114"/>
                </a:cubicBezTo>
                <a:cubicBezTo>
                  <a:pt x="792" y="114"/>
                  <a:pt x="791" y="114"/>
                  <a:pt x="791" y="114"/>
                </a:cubicBezTo>
                <a:cubicBezTo>
                  <a:pt x="791" y="114"/>
                  <a:pt x="791" y="114"/>
                  <a:pt x="790" y="115"/>
                </a:cubicBezTo>
                <a:cubicBezTo>
                  <a:pt x="790" y="115"/>
                  <a:pt x="790" y="115"/>
                  <a:pt x="790" y="115"/>
                </a:cubicBezTo>
                <a:cubicBezTo>
                  <a:pt x="791" y="115"/>
                  <a:pt x="791" y="115"/>
                  <a:pt x="791" y="115"/>
                </a:cubicBezTo>
                <a:cubicBezTo>
                  <a:pt x="791" y="115"/>
                  <a:pt x="791" y="116"/>
                  <a:pt x="791" y="116"/>
                </a:cubicBezTo>
                <a:cubicBezTo>
                  <a:pt x="791" y="116"/>
                  <a:pt x="791" y="116"/>
                  <a:pt x="792" y="117"/>
                </a:cubicBezTo>
                <a:cubicBezTo>
                  <a:pt x="792" y="117"/>
                  <a:pt x="792" y="117"/>
                  <a:pt x="792" y="117"/>
                </a:cubicBezTo>
                <a:cubicBezTo>
                  <a:pt x="793" y="117"/>
                  <a:pt x="793" y="118"/>
                  <a:pt x="794" y="118"/>
                </a:cubicBezTo>
                <a:cubicBezTo>
                  <a:pt x="794" y="118"/>
                  <a:pt x="795" y="118"/>
                  <a:pt x="795" y="118"/>
                </a:cubicBezTo>
                <a:cubicBezTo>
                  <a:pt x="795" y="118"/>
                  <a:pt x="796" y="119"/>
                  <a:pt x="796" y="119"/>
                </a:cubicBezTo>
                <a:cubicBezTo>
                  <a:pt x="796" y="119"/>
                  <a:pt x="797" y="119"/>
                  <a:pt x="797" y="119"/>
                </a:cubicBezTo>
                <a:cubicBezTo>
                  <a:pt x="797" y="119"/>
                  <a:pt x="798" y="119"/>
                  <a:pt x="798" y="119"/>
                </a:cubicBezTo>
                <a:cubicBezTo>
                  <a:pt x="798" y="119"/>
                  <a:pt x="798" y="119"/>
                  <a:pt x="798" y="119"/>
                </a:cubicBezTo>
                <a:cubicBezTo>
                  <a:pt x="799" y="120"/>
                  <a:pt x="799" y="120"/>
                  <a:pt x="799" y="120"/>
                </a:cubicBezTo>
                <a:cubicBezTo>
                  <a:pt x="799" y="120"/>
                  <a:pt x="800" y="119"/>
                  <a:pt x="800" y="119"/>
                </a:cubicBezTo>
                <a:cubicBezTo>
                  <a:pt x="800" y="119"/>
                  <a:pt x="800" y="119"/>
                  <a:pt x="800" y="119"/>
                </a:cubicBezTo>
                <a:cubicBezTo>
                  <a:pt x="800" y="119"/>
                  <a:pt x="800" y="119"/>
                  <a:pt x="800" y="119"/>
                </a:cubicBezTo>
                <a:cubicBezTo>
                  <a:pt x="800" y="118"/>
                  <a:pt x="800" y="118"/>
                  <a:pt x="799" y="118"/>
                </a:cubicBezTo>
                <a:cubicBezTo>
                  <a:pt x="799" y="118"/>
                  <a:pt x="798" y="118"/>
                  <a:pt x="798" y="118"/>
                </a:cubicBezTo>
                <a:cubicBezTo>
                  <a:pt x="798" y="118"/>
                  <a:pt x="798" y="118"/>
                  <a:pt x="798" y="118"/>
                </a:cubicBezTo>
                <a:cubicBezTo>
                  <a:pt x="797" y="118"/>
                  <a:pt x="797" y="117"/>
                  <a:pt x="797" y="117"/>
                </a:cubicBezTo>
                <a:cubicBezTo>
                  <a:pt x="797" y="117"/>
                  <a:pt x="797" y="117"/>
                  <a:pt x="797" y="117"/>
                </a:cubicBezTo>
                <a:cubicBezTo>
                  <a:pt x="797" y="117"/>
                  <a:pt x="797" y="117"/>
                  <a:pt x="798" y="117"/>
                </a:cubicBezTo>
                <a:close/>
                <a:moveTo>
                  <a:pt x="802" y="114"/>
                </a:moveTo>
                <a:cubicBezTo>
                  <a:pt x="801" y="113"/>
                  <a:pt x="801" y="113"/>
                  <a:pt x="800" y="113"/>
                </a:cubicBezTo>
                <a:cubicBezTo>
                  <a:pt x="800" y="113"/>
                  <a:pt x="800" y="113"/>
                  <a:pt x="799" y="113"/>
                </a:cubicBezTo>
                <a:cubicBezTo>
                  <a:pt x="799" y="113"/>
                  <a:pt x="798" y="113"/>
                  <a:pt x="798" y="113"/>
                </a:cubicBezTo>
                <a:cubicBezTo>
                  <a:pt x="797" y="113"/>
                  <a:pt x="797" y="113"/>
                  <a:pt x="797" y="113"/>
                </a:cubicBezTo>
                <a:cubicBezTo>
                  <a:pt x="796" y="113"/>
                  <a:pt x="795" y="113"/>
                  <a:pt x="795" y="113"/>
                </a:cubicBezTo>
                <a:cubicBezTo>
                  <a:pt x="794" y="113"/>
                  <a:pt x="794" y="113"/>
                  <a:pt x="793" y="113"/>
                </a:cubicBezTo>
                <a:cubicBezTo>
                  <a:pt x="793" y="113"/>
                  <a:pt x="792" y="113"/>
                  <a:pt x="792" y="113"/>
                </a:cubicBezTo>
                <a:cubicBezTo>
                  <a:pt x="791" y="113"/>
                  <a:pt x="791" y="113"/>
                  <a:pt x="791" y="113"/>
                </a:cubicBezTo>
                <a:cubicBezTo>
                  <a:pt x="791" y="113"/>
                  <a:pt x="790" y="114"/>
                  <a:pt x="790" y="114"/>
                </a:cubicBezTo>
                <a:cubicBezTo>
                  <a:pt x="790" y="114"/>
                  <a:pt x="791" y="114"/>
                  <a:pt x="791" y="114"/>
                </a:cubicBezTo>
                <a:cubicBezTo>
                  <a:pt x="792" y="114"/>
                  <a:pt x="792" y="114"/>
                  <a:pt x="793" y="114"/>
                </a:cubicBezTo>
                <a:cubicBezTo>
                  <a:pt x="793" y="114"/>
                  <a:pt x="794" y="114"/>
                  <a:pt x="794" y="114"/>
                </a:cubicBezTo>
                <a:cubicBezTo>
                  <a:pt x="794" y="114"/>
                  <a:pt x="795" y="114"/>
                  <a:pt x="795" y="114"/>
                </a:cubicBezTo>
                <a:cubicBezTo>
                  <a:pt x="796" y="114"/>
                  <a:pt x="796" y="114"/>
                  <a:pt x="797" y="114"/>
                </a:cubicBezTo>
                <a:cubicBezTo>
                  <a:pt x="797" y="114"/>
                  <a:pt x="797" y="114"/>
                  <a:pt x="798" y="114"/>
                </a:cubicBezTo>
                <a:cubicBezTo>
                  <a:pt x="798" y="114"/>
                  <a:pt x="798" y="114"/>
                  <a:pt x="798" y="115"/>
                </a:cubicBezTo>
                <a:cubicBezTo>
                  <a:pt x="798" y="115"/>
                  <a:pt x="798" y="115"/>
                  <a:pt x="798" y="115"/>
                </a:cubicBezTo>
                <a:cubicBezTo>
                  <a:pt x="798" y="115"/>
                  <a:pt x="799" y="115"/>
                  <a:pt x="799" y="115"/>
                </a:cubicBezTo>
                <a:cubicBezTo>
                  <a:pt x="799" y="115"/>
                  <a:pt x="800" y="115"/>
                  <a:pt x="800" y="115"/>
                </a:cubicBezTo>
                <a:cubicBezTo>
                  <a:pt x="800" y="115"/>
                  <a:pt x="801" y="115"/>
                  <a:pt x="801" y="115"/>
                </a:cubicBezTo>
                <a:cubicBezTo>
                  <a:pt x="801" y="115"/>
                  <a:pt x="801" y="115"/>
                  <a:pt x="802" y="115"/>
                </a:cubicBezTo>
                <a:cubicBezTo>
                  <a:pt x="802" y="115"/>
                  <a:pt x="802" y="115"/>
                  <a:pt x="802" y="115"/>
                </a:cubicBezTo>
                <a:cubicBezTo>
                  <a:pt x="801" y="114"/>
                  <a:pt x="801" y="114"/>
                  <a:pt x="801" y="114"/>
                </a:cubicBezTo>
                <a:cubicBezTo>
                  <a:pt x="801" y="114"/>
                  <a:pt x="801" y="114"/>
                  <a:pt x="801" y="114"/>
                </a:cubicBezTo>
                <a:cubicBezTo>
                  <a:pt x="802" y="114"/>
                  <a:pt x="802" y="114"/>
                  <a:pt x="802" y="114"/>
                </a:cubicBezTo>
                <a:close/>
                <a:moveTo>
                  <a:pt x="785" y="129"/>
                </a:moveTo>
                <a:cubicBezTo>
                  <a:pt x="785" y="129"/>
                  <a:pt x="785" y="129"/>
                  <a:pt x="785" y="129"/>
                </a:cubicBezTo>
                <a:cubicBezTo>
                  <a:pt x="785" y="129"/>
                  <a:pt x="785" y="129"/>
                  <a:pt x="784" y="129"/>
                </a:cubicBezTo>
                <a:cubicBezTo>
                  <a:pt x="784" y="129"/>
                  <a:pt x="784" y="129"/>
                  <a:pt x="784" y="130"/>
                </a:cubicBezTo>
                <a:cubicBezTo>
                  <a:pt x="785" y="130"/>
                  <a:pt x="785" y="130"/>
                  <a:pt x="785" y="130"/>
                </a:cubicBezTo>
                <a:cubicBezTo>
                  <a:pt x="785" y="130"/>
                  <a:pt x="785" y="130"/>
                  <a:pt x="785" y="130"/>
                </a:cubicBezTo>
                <a:cubicBezTo>
                  <a:pt x="785" y="129"/>
                  <a:pt x="785" y="129"/>
                  <a:pt x="785" y="129"/>
                </a:cubicBezTo>
                <a:close/>
                <a:moveTo>
                  <a:pt x="780" y="134"/>
                </a:moveTo>
                <a:cubicBezTo>
                  <a:pt x="780" y="134"/>
                  <a:pt x="780" y="134"/>
                  <a:pt x="780" y="135"/>
                </a:cubicBezTo>
                <a:cubicBezTo>
                  <a:pt x="780" y="134"/>
                  <a:pt x="781" y="134"/>
                  <a:pt x="781" y="134"/>
                </a:cubicBezTo>
                <a:cubicBezTo>
                  <a:pt x="781" y="134"/>
                  <a:pt x="781" y="134"/>
                  <a:pt x="781" y="134"/>
                </a:cubicBezTo>
                <a:cubicBezTo>
                  <a:pt x="781" y="134"/>
                  <a:pt x="780" y="134"/>
                  <a:pt x="780" y="134"/>
                </a:cubicBezTo>
                <a:cubicBezTo>
                  <a:pt x="780" y="134"/>
                  <a:pt x="779" y="134"/>
                  <a:pt x="780" y="134"/>
                </a:cubicBezTo>
                <a:close/>
                <a:moveTo>
                  <a:pt x="792" y="140"/>
                </a:moveTo>
                <a:cubicBezTo>
                  <a:pt x="792" y="140"/>
                  <a:pt x="793" y="140"/>
                  <a:pt x="793" y="140"/>
                </a:cubicBezTo>
                <a:cubicBezTo>
                  <a:pt x="793" y="140"/>
                  <a:pt x="793" y="140"/>
                  <a:pt x="793" y="139"/>
                </a:cubicBezTo>
                <a:cubicBezTo>
                  <a:pt x="793" y="139"/>
                  <a:pt x="793" y="139"/>
                  <a:pt x="793" y="139"/>
                </a:cubicBezTo>
                <a:cubicBezTo>
                  <a:pt x="793" y="139"/>
                  <a:pt x="793" y="139"/>
                  <a:pt x="792" y="139"/>
                </a:cubicBezTo>
                <a:cubicBezTo>
                  <a:pt x="792" y="140"/>
                  <a:pt x="792" y="140"/>
                  <a:pt x="792" y="140"/>
                </a:cubicBezTo>
                <a:close/>
                <a:moveTo>
                  <a:pt x="775" y="132"/>
                </a:moveTo>
                <a:cubicBezTo>
                  <a:pt x="775" y="132"/>
                  <a:pt x="775" y="131"/>
                  <a:pt x="775" y="131"/>
                </a:cubicBezTo>
                <a:cubicBezTo>
                  <a:pt x="775" y="131"/>
                  <a:pt x="775" y="131"/>
                  <a:pt x="775" y="131"/>
                </a:cubicBezTo>
                <a:cubicBezTo>
                  <a:pt x="774" y="132"/>
                  <a:pt x="774" y="132"/>
                  <a:pt x="774" y="132"/>
                </a:cubicBezTo>
                <a:cubicBezTo>
                  <a:pt x="774" y="132"/>
                  <a:pt x="774" y="132"/>
                  <a:pt x="774" y="132"/>
                </a:cubicBezTo>
                <a:cubicBezTo>
                  <a:pt x="775" y="132"/>
                  <a:pt x="775" y="132"/>
                  <a:pt x="775" y="132"/>
                </a:cubicBezTo>
                <a:close/>
                <a:moveTo>
                  <a:pt x="783" y="133"/>
                </a:moveTo>
                <a:cubicBezTo>
                  <a:pt x="783" y="133"/>
                  <a:pt x="784" y="133"/>
                  <a:pt x="784" y="133"/>
                </a:cubicBezTo>
                <a:cubicBezTo>
                  <a:pt x="784" y="133"/>
                  <a:pt x="785" y="133"/>
                  <a:pt x="785" y="133"/>
                </a:cubicBezTo>
                <a:cubicBezTo>
                  <a:pt x="785" y="132"/>
                  <a:pt x="785" y="131"/>
                  <a:pt x="785" y="131"/>
                </a:cubicBezTo>
                <a:cubicBezTo>
                  <a:pt x="785" y="130"/>
                  <a:pt x="785" y="130"/>
                  <a:pt x="784" y="130"/>
                </a:cubicBezTo>
                <a:cubicBezTo>
                  <a:pt x="784" y="130"/>
                  <a:pt x="784" y="130"/>
                  <a:pt x="784" y="130"/>
                </a:cubicBezTo>
                <a:cubicBezTo>
                  <a:pt x="783" y="130"/>
                  <a:pt x="783" y="130"/>
                  <a:pt x="783" y="130"/>
                </a:cubicBezTo>
                <a:cubicBezTo>
                  <a:pt x="782" y="130"/>
                  <a:pt x="781" y="130"/>
                  <a:pt x="779" y="131"/>
                </a:cubicBezTo>
                <a:cubicBezTo>
                  <a:pt x="778" y="131"/>
                  <a:pt x="777" y="131"/>
                  <a:pt x="776" y="131"/>
                </a:cubicBezTo>
                <a:cubicBezTo>
                  <a:pt x="776" y="132"/>
                  <a:pt x="776" y="132"/>
                  <a:pt x="775" y="132"/>
                </a:cubicBezTo>
                <a:cubicBezTo>
                  <a:pt x="775" y="132"/>
                  <a:pt x="775" y="132"/>
                  <a:pt x="774" y="132"/>
                </a:cubicBezTo>
                <a:cubicBezTo>
                  <a:pt x="774" y="133"/>
                  <a:pt x="774" y="133"/>
                  <a:pt x="774" y="133"/>
                </a:cubicBezTo>
                <a:cubicBezTo>
                  <a:pt x="773" y="133"/>
                  <a:pt x="773" y="133"/>
                  <a:pt x="773" y="134"/>
                </a:cubicBezTo>
                <a:cubicBezTo>
                  <a:pt x="772" y="134"/>
                  <a:pt x="772" y="134"/>
                  <a:pt x="772" y="134"/>
                </a:cubicBezTo>
                <a:cubicBezTo>
                  <a:pt x="772" y="134"/>
                  <a:pt x="772" y="134"/>
                  <a:pt x="772" y="135"/>
                </a:cubicBezTo>
                <a:cubicBezTo>
                  <a:pt x="772" y="135"/>
                  <a:pt x="772" y="135"/>
                  <a:pt x="772" y="135"/>
                </a:cubicBezTo>
                <a:cubicBezTo>
                  <a:pt x="773" y="135"/>
                  <a:pt x="773" y="135"/>
                  <a:pt x="774" y="135"/>
                </a:cubicBezTo>
                <a:cubicBezTo>
                  <a:pt x="774" y="134"/>
                  <a:pt x="775" y="134"/>
                  <a:pt x="776" y="134"/>
                </a:cubicBezTo>
                <a:cubicBezTo>
                  <a:pt x="777" y="134"/>
                  <a:pt x="778" y="134"/>
                  <a:pt x="779" y="134"/>
                </a:cubicBezTo>
                <a:cubicBezTo>
                  <a:pt x="779" y="134"/>
                  <a:pt x="779" y="134"/>
                  <a:pt x="779" y="134"/>
                </a:cubicBezTo>
                <a:cubicBezTo>
                  <a:pt x="780" y="134"/>
                  <a:pt x="780" y="133"/>
                  <a:pt x="781" y="133"/>
                </a:cubicBezTo>
                <a:cubicBezTo>
                  <a:pt x="781" y="134"/>
                  <a:pt x="781" y="134"/>
                  <a:pt x="782" y="134"/>
                </a:cubicBezTo>
                <a:cubicBezTo>
                  <a:pt x="782" y="134"/>
                  <a:pt x="783" y="133"/>
                  <a:pt x="783" y="133"/>
                </a:cubicBezTo>
                <a:close/>
                <a:moveTo>
                  <a:pt x="787" y="114"/>
                </a:moveTo>
                <a:cubicBezTo>
                  <a:pt x="787" y="115"/>
                  <a:pt x="787" y="115"/>
                  <a:pt x="787" y="115"/>
                </a:cubicBezTo>
                <a:cubicBezTo>
                  <a:pt x="787" y="115"/>
                  <a:pt x="788" y="115"/>
                  <a:pt x="788" y="115"/>
                </a:cubicBezTo>
                <a:cubicBezTo>
                  <a:pt x="788" y="115"/>
                  <a:pt x="788" y="115"/>
                  <a:pt x="788" y="115"/>
                </a:cubicBezTo>
                <a:cubicBezTo>
                  <a:pt x="788" y="115"/>
                  <a:pt x="788" y="115"/>
                  <a:pt x="788" y="114"/>
                </a:cubicBezTo>
                <a:cubicBezTo>
                  <a:pt x="788" y="114"/>
                  <a:pt x="788" y="114"/>
                  <a:pt x="789" y="114"/>
                </a:cubicBezTo>
                <a:cubicBezTo>
                  <a:pt x="788" y="114"/>
                  <a:pt x="788" y="114"/>
                  <a:pt x="787" y="114"/>
                </a:cubicBezTo>
                <a:close/>
                <a:moveTo>
                  <a:pt x="818" y="81"/>
                </a:moveTo>
                <a:cubicBezTo>
                  <a:pt x="818" y="81"/>
                  <a:pt x="818" y="81"/>
                  <a:pt x="818" y="81"/>
                </a:cubicBezTo>
                <a:cubicBezTo>
                  <a:pt x="817" y="81"/>
                  <a:pt x="817" y="81"/>
                  <a:pt x="817" y="81"/>
                </a:cubicBezTo>
                <a:cubicBezTo>
                  <a:pt x="817" y="81"/>
                  <a:pt x="817" y="81"/>
                  <a:pt x="817" y="81"/>
                </a:cubicBezTo>
                <a:cubicBezTo>
                  <a:pt x="817" y="81"/>
                  <a:pt x="817" y="82"/>
                  <a:pt x="818" y="82"/>
                </a:cubicBezTo>
                <a:cubicBezTo>
                  <a:pt x="818" y="82"/>
                  <a:pt x="818" y="82"/>
                  <a:pt x="818" y="82"/>
                </a:cubicBezTo>
                <a:cubicBezTo>
                  <a:pt x="818" y="82"/>
                  <a:pt x="817" y="82"/>
                  <a:pt x="817" y="82"/>
                </a:cubicBezTo>
                <a:cubicBezTo>
                  <a:pt x="817" y="83"/>
                  <a:pt x="817" y="83"/>
                  <a:pt x="817" y="83"/>
                </a:cubicBezTo>
                <a:cubicBezTo>
                  <a:pt x="817" y="84"/>
                  <a:pt x="818" y="84"/>
                  <a:pt x="818" y="84"/>
                </a:cubicBezTo>
                <a:cubicBezTo>
                  <a:pt x="818" y="85"/>
                  <a:pt x="818" y="85"/>
                  <a:pt x="818" y="85"/>
                </a:cubicBezTo>
                <a:cubicBezTo>
                  <a:pt x="818" y="86"/>
                  <a:pt x="818" y="86"/>
                  <a:pt x="818" y="86"/>
                </a:cubicBezTo>
                <a:cubicBezTo>
                  <a:pt x="818" y="86"/>
                  <a:pt x="818" y="87"/>
                  <a:pt x="818" y="87"/>
                </a:cubicBezTo>
                <a:cubicBezTo>
                  <a:pt x="818" y="87"/>
                  <a:pt x="818" y="87"/>
                  <a:pt x="818" y="87"/>
                </a:cubicBezTo>
                <a:cubicBezTo>
                  <a:pt x="818" y="87"/>
                  <a:pt x="819" y="87"/>
                  <a:pt x="819" y="87"/>
                </a:cubicBezTo>
                <a:cubicBezTo>
                  <a:pt x="819" y="87"/>
                  <a:pt x="819" y="86"/>
                  <a:pt x="819" y="86"/>
                </a:cubicBezTo>
                <a:cubicBezTo>
                  <a:pt x="819" y="86"/>
                  <a:pt x="819" y="86"/>
                  <a:pt x="819" y="85"/>
                </a:cubicBezTo>
                <a:cubicBezTo>
                  <a:pt x="819" y="85"/>
                  <a:pt x="819" y="85"/>
                  <a:pt x="819" y="84"/>
                </a:cubicBezTo>
                <a:cubicBezTo>
                  <a:pt x="819" y="84"/>
                  <a:pt x="819" y="84"/>
                  <a:pt x="818" y="84"/>
                </a:cubicBezTo>
                <a:cubicBezTo>
                  <a:pt x="818" y="83"/>
                  <a:pt x="818" y="83"/>
                  <a:pt x="818" y="82"/>
                </a:cubicBezTo>
                <a:cubicBezTo>
                  <a:pt x="818" y="82"/>
                  <a:pt x="818" y="82"/>
                  <a:pt x="818" y="81"/>
                </a:cubicBezTo>
                <a:cubicBezTo>
                  <a:pt x="818" y="81"/>
                  <a:pt x="818" y="81"/>
                  <a:pt x="818" y="81"/>
                </a:cubicBezTo>
                <a:close/>
                <a:moveTo>
                  <a:pt x="785" y="111"/>
                </a:moveTo>
                <a:cubicBezTo>
                  <a:pt x="786" y="112"/>
                  <a:pt x="786" y="112"/>
                  <a:pt x="786" y="112"/>
                </a:cubicBezTo>
                <a:cubicBezTo>
                  <a:pt x="787" y="112"/>
                  <a:pt x="787" y="112"/>
                  <a:pt x="788" y="112"/>
                </a:cubicBezTo>
                <a:cubicBezTo>
                  <a:pt x="788" y="112"/>
                  <a:pt x="789" y="112"/>
                  <a:pt x="789" y="113"/>
                </a:cubicBezTo>
                <a:cubicBezTo>
                  <a:pt x="790" y="113"/>
                  <a:pt x="790" y="113"/>
                  <a:pt x="791" y="113"/>
                </a:cubicBezTo>
                <a:cubicBezTo>
                  <a:pt x="791" y="113"/>
                  <a:pt x="792" y="113"/>
                  <a:pt x="793" y="113"/>
                </a:cubicBezTo>
                <a:cubicBezTo>
                  <a:pt x="794" y="113"/>
                  <a:pt x="795" y="113"/>
                  <a:pt x="796" y="112"/>
                </a:cubicBezTo>
                <a:cubicBezTo>
                  <a:pt x="797" y="112"/>
                  <a:pt x="797" y="112"/>
                  <a:pt x="798" y="112"/>
                </a:cubicBezTo>
                <a:cubicBezTo>
                  <a:pt x="798" y="112"/>
                  <a:pt x="798" y="112"/>
                  <a:pt x="798" y="112"/>
                </a:cubicBezTo>
                <a:cubicBezTo>
                  <a:pt x="797" y="112"/>
                  <a:pt x="797" y="112"/>
                  <a:pt x="796" y="112"/>
                </a:cubicBezTo>
                <a:cubicBezTo>
                  <a:pt x="796" y="112"/>
                  <a:pt x="795" y="112"/>
                  <a:pt x="794" y="112"/>
                </a:cubicBezTo>
                <a:cubicBezTo>
                  <a:pt x="793" y="112"/>
                  <a:pt x="793" y="112"/>
                  <a:pt x="792" y="112"/>
                </a:cubicBezTo>
                <a:cubicBezTo>
                  <a:pt x="792" y="112"/>
                  <a:pt x="791" y="112"/>
                  <a:pt x="791" y="111"/>
                </a:cubicBezTo>
                <a:cubicBezTo>
                  <a:pt x="790" y="111"/>
                  <a:pt x="790" y="111"/>
                  <a:pt x="790" y="111"/>
                </a:cubicBezTo>
                <a:cubicBezTo>
                  <a:pt x="789" y="111"/>
                  <a:pt x="789" y="111"/>
                  <a:pt x="789" y="111"/>
                </a:cubicBezTo>
                <a:cubicBezTo>
                  <a:pt x="789" y="111"/>
                  <a:pt x="789" y="111"/>
                  <a:pt x="790" y="111"/>
                </a:cubicBezTo>
                <a:cubicBezTo>
                  <a:pt x="790" y="111"/>
                  <a:pt x="790" y="111"/>
                  <a:pt x="790" y="111"/>
                </a:cubicBezTo>
                <a:cubicBezTo>
                  <a:pt x="791" y="111"/>
                  <a:pt x="792" y="111"/>
                  <a:pt x="792" y="111"/>
                </a:cubicBezTo>
                <a:cubicBezTo>
                  <a:pt x="793" y="111"/>
                  <a:pt x="794" y="111"/>
                  <a:pt x="794" y="111"/>
                </a:cubicBezTo>
                <a:cubicBezTo>
                  <a:pt x="795" y="111"/>
                  <a:pt x="795" y="111"/>
                  <a:pt x="795" y="111"/>
                </a:cubicBezTo>
                <a:cubicBezTo>
                  <a:pt x="795" y="111"/>
                  <a:pt x="795" y="111"/>
                  <a:pt x="794" y="111"/>
                </a:cubicBezTo>
                <a:cubicBezTo>
                  <a:pt x="794" y="111"/>
                  <a:pt x="793" y="110"/>
                  <a:pt x="792" y="110"/>
                </a:cubicBezTo>
                <a:cubicBezTo>
                  <a:pt x="791" y="110"/>
                  <a:pt x="789" y="110"/>
                  <a:pt x="788" y="110"/>
                </a:cubicBezTo>
                <a:cubicBezTo>
                  <a:pt x="788" y="110"/>
                  <a:pt x="788" y="110"/>
                  <a:pt x="787" y="110"/>
                </a:cubicBezTo>
                <a:cubicBezTo>
                  <a:pt x="787" y="110"/>
                  <a:pt x="787" y="110"/>
                  <a:pt x="787" y="111"/>
                </a:cubicBezTo>
                <a:cubicBezTo>
                  <a:pt x="787" y="111"/>
                  <a:pt x="786" y="111"/>
                  <a:pt x="786" y="111"/>
                </a:cubicBezTo>
                <a:cubicBezTo>
                  <a:pt x="786" y="111"/>
                  <a:pt x="785" y="111"/>
                  <a:pt x="785" y="111"/>
                </a:cubicBezTo>
                <a:close/>
                <a:moveTo>
                  <a:pt x="650" y="119"/>
                </a:moveTo>
                <a:cubicBezTo>
                  <a:pt x="650" y="119"/>
                  <a:pt x="651" y="119"/>
                  <a:pt x="651" y="119"/>
                </a:cubicBezTo>
                <a:cubicBezTo>
                  <a:pt x="651" y="119"/>
                  <a:pt x="651" y="119"/>
                  <a:pt x="651" y="118"/>
                </a:cubicBezTo>
                <a:cubicBezTo>
                  <a:pt x="651" y="119"/>
                  <a:pt x="651" y="119"/>
                  <a:pt x="650" y="119"/>
                </a:cubicBezTo>
                <a:cubicBezTo>
                  <a:pt x="650" y="119"/>
                  <a:pt x="650" y="119"/>
                  <a:pt x="650" y="119"/>
                </a:cubicBezTo>
                <a:close/>
                <a:moveTo>
                  <a:pt x="651" y="118"/>
                </a:moveTo>
                <a:cubicBezTo>
                  <a:pt x="651" y="118"/>
                  <a:pt x="651" y="118"/>
                  <a:pt x="651" y="118"/>
                </a:cubicBezTo>
                <a:cubicBezTo>
                  <a:pt x="651" y="118"/>
                  <a:pt x="651" y="118"/>
                  <a:pt x="651" y="118"/>
                </a:cubicBezTo>
                <a:cubicBezTo>
                  <a:pt x="651" y="118"/>
                  <a:pt x="651" y="118"/>
                  <a:pt x="651" y="118"/>
                </a:cubicBezTo>
                <a:cubicBezTo>
                  <a:pt x="651" y="118"/>
                  <a:pt x="651" y="118"/>
                  <a:pt x="651" y="118"/>
                </a:cubicBezTo>
                <a:close/>
                <a:moveTo>
                  <a:pt x="824" y="70"/>
                </a:moveTo>
                <a:cubicBezTo>
                  <a:pt x="824" y="70"/>
                  <a:pt x="824" y="69"/>
                  <a:pt x="824" y="69"/>
                </a:cubicBezTo>
                <a:cubicBezTo>
                  <a:pt x="823" y="69"/>
                  <a:pt x="823" y="70"/>
                  <a:pt x="823" y="70"/>
                </a:cubicBezTo>
                <a:cubicBezTo>
                  <a:pt x="823" y="70"/>
                  <a:pt x="823" y="71"/>
                  <a:pt x="823" y="71"/>
                </a:cubicBezTo>
                <a:cubicBezTo>
                  <a:pt x="822" y="71"/>
                  <a:pt x="822" y="71"/>
                  <a:pt x="822" y="72"/>
                </a:cubicBezTo>
                <a:cubicBezTo>
                  <a:pt x="822" y="72"/>
                  <a:pt x="822" y="72"/>
                  <a:pt x="822" y="72"/>
                </a:cubicBezTo>
                <a:cubicBezTo>
                  <a:pt x="822" y="72"/>
                  <a:pt x="823" y="72"/>
                  <a:pt x="823" y="72"/>
                </a:cubicBezTo>
                <a:cubicBezTo>
                  <a:pt x="823" y="72"/>
                  <a:pt x="823" y="72"/>
                  <a:pt x="823" y="71"/>
                </a:cubicBezTo>
                <a:cubicBezTo>
                  <a:pt x="823" y="71"/>
                  <a:pt x="823" y="71"/>
                  <a:pt x="823" y="71"/>
                </a:cubicBezTo>
                <a:cubicBezTo>
                  <a:pt x="823" y="71"/>
                  <a:pt x="823" y="71"/>
                  <a:pt x="823" y="70"/>
                </a:cubicBezTo>
                <a:cubicBezTo>
                  <a:pt x="824" y="70"/>
                  <a:pt x="824" y="70"/>
                  <a:pt x="824" y="70"/>
                </a:cubicBezTo>
                <a:close/>
                <a:moveTo>
                  <a:pt x="652" y="112"/>
                </a:moveTo>
                <a:cubicBezTo>
                  <a:pt x="651" y="112"/>
                  <a:pt x="651" y="112"/>
                  <a:pt x="650" y="112"/>
                </a:cubicBezTo>
                <a:cubicBezTo>
                  <a:pt x="650" y="112"/>
                  <a:pt x="650" y="112"/>
                  <a:pt x="650" y="112"/>
                </a:cubicBezTo>
                <a:cubicBezTo>
                  <a:pt x="650" y="112"/>
                  <a:pt x="650" y="112"/>
                  <a:pt x="650" y="112"/>
                </a:cubicBezTo>
                <a:cubicBezTo>
                  <a:pt x="650" y="112"/>
                  <a:pt x="650" y="112"/>
                  <a:pt x="650" y="113"/>
                </a:cubicBezTo>
                <a:cubicBezTo>
                  <a:pt x="650" y="113"/>
                  <a:pt x="651" y="113"/>
                  <a:pt x="651" y="112"/>
                </a:cubicBezTo>
                <a:cubicBezTo>
                  <a:pt x="651" y="113"/>
                  <a:pt x="651" y="113"/>
                  <a:pt x="651" y="113"/>
                </a:cubicBezTo>
                <a:cubicBezTo>
                  <a:pt x="652" y="113"/>
                  <a:pt x="652" y="113"/>
                  <a:pt x="652" y="112"/>
                </a:cubicBezTo>
                <a:cubicBezTo>
                  <a:pt x="652" y="112"/>
                  <a:pt x="652" y="112"/>
                  <a:pt x="652" y="112"/>
                </a:cubicBezTo>
                <a:close/>
                <a:moveTo>
                  <a:pt x="653" y="120"/>
                </a:moveTo>
                <a:cubicBezTo>
                  <a:pt x="653" y="120"/>
                  <a:pt x="653" y="120"/>
                  <a:pt x="652" y="120"/>
                </a:cubicBezTo>
                <a:cubicBezTo>
                  <a:pt x="652" y="120"/>
                  <a:pt x="652" y="120"/>
                  <a:pt x="652" y="120"/>
                </a:cubicBezTo>
                <a:cubicBezTo>
                  <a:pt x="652" y="120"/>
                  <a:pt x="652" y="121"/>
                  <a:pt x="652" y="121"/>
                </a:cubicBezTo>
                <a:cubicBezTo>
                  <a:pt x="652" y="121"/>
                  <a:pt x="653" y="120"/>
                  <a:pt x="653" y="120"/>
                </a:cubicBezTo>
                <a:cubicBezTo>
                  <a:pt x="653" y="120"/>
                  <a:pt x="653" y="120"/>
                  <a:pt x="653" y="120"/>
                </a:cubicBezTo>
                <a:close/>
                <a:moveTo>
                  <a:pt x="649" y="114"/>
                </a:moveTo>
                <a:cubicBezTo>
                  <a:pt x="649" y="114"/>
                  <a:pt x="649" y="114"/>
                  <a:pt x="649" y="114"/>
                </a:cubicBezTo>
                <a:cubicBezTo>
                  <a:pt x="649" y="114"/>
                  <a:pt x="649" y="114"/>
                  <a:pt x="649" y="114"/>
                </a:cubicBezTo>
                <a:cubicBezTo>
                  <a:pt x="649" y="114"/>
                  <a:pt x="650" y="114"/>
                  <a:pt x="650" y="114"/>
                </a:cubicBezTo>
                <a:cubicBezTo>
                  <a:pt x="650" y="114"/>
                  <a:pt x="650" y="114"/>
                  <a:pt x="651" y="114"/>
                </a:cubicBezTo>
                <a:cubicBezTo>
                  <a:pt x="650" y="114"/>
                  <a:pt x="650" y="114"/>
                  <a:pt x="649" y="114"/>
                </a:cubicBezTo>
                <a:cubicBezTo>
                  <a:pt x="649" y="114"/>
                  <a:pt x="649" y="114"/>
                  <a:pt x="649" y="114"/>
                </a:cubicBezTo>
                <a:close/>
                <a:moveTo>
                  <a:pt x="650" y="120"/>
                </a:moveTo>
                <a:cubicBezTo>
                  <a:pt x="650" y="120"/>
                  <a:pt x="650" y="120"/>
                  <a:pt x="650" y="120"/>
                </a:cubicBezTo>
                <a:cubicBezTo>
                  <a:pt x="651" y="120"/>
                  <a:pt x="651" y="120"/>
                  <a:pt x="651" y="120"/>
                </a:cubicBezTo>
                <a:cubicBezTo>
                  <a:pt x="651" y="120"/>
                  <a:pt x="651" y="120"/>
                  <a:pt x="651" y="120"/>
                </a:cubicBezTo>
                <a:cubicBezTo>
                  <a:pt x="651" y="120"/>
                  <a:pt x="651" y="120"/>
                  <a:pt x="651" y="120"/>
                </a:cubicBezTo>
                <a:cubicBezTo>
                  <a:pt x="651" y="120"/>
                  <a:pt x="650" y="120"/>
                  <a:pt x="650" y="120"/>
                </a:cubicBezTo>
                <a:close/>
                <a:moveTo>
                  <a:pt x="654" y="123"/>
                </a:moveTo>
                <a:cubicBezTo>
                  <a:pt x="654" y="123"/>
                  <a:pt x="654" y="123"/>
                  <a:pt x="654" y="123"/>
                </a:cubicBezTo>
                <a:cubicBezTo>
                  <a:pt x="653" y="123"/>
                  <a:pt x="653" y="123"/>
                  <a:pt x="653" y="123"/>
                </a:cubicBezTo>
                <a:cubicBezTo>
                  <a:pt x="653" y="123"/>
                  <a:pt x="653" y="123"/>
                  <a:pt x="653" y="123"/>
                </a:cubicBezTo>
                <a:cubicBezTo>
                  <a:pt x="653" y="123"/>
                  <a:pt x="653" y="123"/>
                  <a:pt x="654" y="123"/>
                </a:cubicBezTo>
                <a:close/>
                <a:moveTo>
                  <a:pt x="652" y="124"/>
                </a:moveTo>
                <a:cubicBezTo>
                  <a:pt x="652" y="124"/>
                  <a:pt x="652" y="124"/>
                  <a:pt x="652" y="124"/>
                </a:cubicBezTo>
                <a:cubicBezTo>
                  <a:pt x="652" y="124"/>
                  <a:pt x="653" y="124"/>
                  <a:pt x="653" y="124"/>
                </a:cubicBezTo>
                <a:cubicBezTo>
                  <a:pt x="653" y="124"/>
                  <a:pt x="653" y="124"/>
                  <a:pt x="653" y="124"/>
                </a:cubicBezTo>
                <a:cubicBezTo>
                  <a:pt x="652" y="124"/>
                  <a:pt x="652" y="124"/>
                  <a:pt x="652" y="124"/>
                </a:cubicBezTo>
                <a:close/>
                <a:moveTo>
                  <a:pt x="650" y="124"/>
                </a:moveTo>
                <a:cubicBezTo>
                  <a:pt x="650" y="125"/>
                  <a:pt x="650" y="125"/>
                  <a:pt x="650" y="125"/>
                </a:cubicBezTo>
                <a:cubicBezTo>
                  <a:pt x="650" y="125"/>
                  <a:pt x="650" y="125"/>
                  <a:pt x="651" y="125"/>
                </a:cubicBezTo>
                <a:cubicBezTo>
                  <a:pt x="651" y="125"/>
                  <a:pt x="651" y="125"/>
                  <a:pt x="651" y="124"/>
                </a:cubicBezTo>
                <a:cubicBezTo>
                  <a:pt x="651" y="124"/>
                  <a:pt x="651" y="124"/>
                  <a:pt x="651" y="124"/>
                </a:cubicBezTo>
                <a:cubicBezTo>
                  <a:pt x="650" y="124"/>
                  <a:pt x="650" y="124"/>
                  <a:pt x="650" y="124"/>
                </a:cubicBezTo>
                <a:close/>
                <a:moveTo>
                  <a:pt x="651" y="116"/>
                </a:moveTo>
                <a:cubicBezTo>
                  <a:pt x="651" y="116"/>
                  <a:pt x="651" y="116"/>
                  <a:pt x="651" y="116"/>
                </a:cubicBezTo>
                <a:cubicBezTo>
                  <a:pt x="651" y="116"/>
                  <a:pt x="651" y="116"/>
                  <a:pt x="651" y="116"/>
                </a:cubicBezTo>
                <a:cubicBezTo>
                  <a:pt x="651" y="116"/>
                  <a:pt x="651" y="117"/>
                  <a:pt x="651" y="117"/>
                </a:cubicBezTo>
                <a:cubicBezTo>
                  <a:pt x="651" y="117"/>
                  <a:pt x="651" y="117"/>
                  <a:pt x="651" y="117"/>
                </a:cubicBezTo>
                <a:cubicBezTo>
                  <a:pt x="651" y="117"/>
                  <a:pt x="651" y="117"/>
                  <a:pt x="651" y="117"/>
                </a:cubicBezTo>
                <a:cubicBezTo>
                  <a:pt x="651" y="116"/>
                  <a:pt x="651" y="116"/>
                  <a:pt x="651" y="116"/>
                </a:cubicBezTo>
                <a:close/>
                <a:moveTo>
                  <a:pt x="649" y="118"/>
                </a:moveTo>
                <a:cubicBezTo>
                  <a:pt x="649" y="118"/>
                  <a:pt x="649" y="118"/>
                  <a:pt x="649" y="118"/>
                </a:cubicBezTo>
                <a:cubicBezTo>
                  <a:pt x="649" y="118"/>
                  <a:pt x="649" y="118"/>
                  <a:pt x="649" y="118"/>
                </a:cubicBezTo>
                <a:cubicBezTo>
                  <a:pt x="649" y="118"/>
                  <a:pt x="649" y="118"/>
                  <a:pt x="649" y="118"/>
                </a:cubicBezTo>
                <a:cubicBezTo>
                  <a:pt x="649" y="118"/>
                  <a:pt x="649" y="118"/>
                  <a:pt x="649" y="118"/>
                </a:cubicBezTo>
                <a:close/>
                <a:moveTo>
                  <a:pt x="820" y="44"/>
                </a:moveTo>
                <a:cubicBezTo>
                  <a:pt x="819" y="45"/>
                  <a:pt x="819" y="45"/>
                  <a:pt x="819" y="45"/>
                </a:cubicBezTo>
                <a:cubicBezTo>
                  <a:pt x="819" y="46"/>
                  <a:pt x="819" y="46"/>
                  <a:pt x="819" y="46"/>
                </a:cubicBezTo>
                <a:cubicBezTo>
                  <a:pt x="819" y="46"/>
                  <a:pt x="820" y="46"/>
                  <a:pt x="820" y="46"/>
                </a:cubicBezTo>
                <a:cubicBezTo>
                  <a:pt x="820" y="46"/>
                  <a:pt x="820" y="46"/>
                  <a:pt x="820" y="46"/>
                </a:cubicBezTo>
                <a:cubicBezTo>
                  <a:pt x="821" y="46"/>
                  <a:pt x="821" y="46"/>
                  <a:pt x="822" y="46"/>
                </a:cubicBezTo>
                <a:cubicBezTo>
                  <a:pt x="822" y="45"/>
                  <a:pt x="822" y="45"/>
                  <a:pt x="822" y="45"/>
                </a:cubicBezTo>
                <a:cubicBezTo>
                  <a:pt x="822" y="45"/>
                  <a:pt x="822" y="44"/>
                  <a:pt x="822" y="44"/>
                </a:cubicBezTo>
                <a:cubicBezTo>
                  <a:pt x="822" y="44"/>
                  <a:pt x="822" y="44"/>
                  <a:pt x="822" y="44"/>
                </a:cubicBezTo>
                <a:cubicBezTo>
                  <a:pt x="821" y="44"/>
                  <a:pt x="820" y="44"/>
                  <a:pt x="820" y="44"/>
                </a:cubicBezTo>
                <a:close/>
                <a:moveTo>
                  <a:pt x="825" y="54"/>
                </a:moveTo>
                <a:cubicBezTo>
                  <a:pt x="825" y="55"/>
                  <a:pt x="825" y="55"/>
                  <a:pt x="825" y="55"/>
                </a:cubicBezTo>
                <a:cubicBezTo>
                  <a:pt x="824" y="55"/>
                  <a:pt x="824" y="55"/>
                  <a:pt x="824" y="55"/>
                </a:cubicBezTo>
                <a:cubicBezTo>
                  <a:pt x="824" y="56"/>
                  <a:pt x="824" y="56"/>
                  <a:pt x="824" y="57"/>
                </a:cubicBezTo>
                <a:cubicBezTo>
                  <a:pt x="824" y="57"/>
                  <a:pt x="824" y="57"/>
                  <a:pt x="824" y="57"/>
                </a:cubicBezTo>
                <a:cubicBezTo>
                  <a:pt x="824" y="57"/>
                  <a:pt x="824" y="57"/>
                  <a:pt x="824" y="57"/>
                </a:cubicBezTo>
                <a:cubicBezTo>
                  <a:pt x="825" y="57"/>
                  <a:pt x="825" y="57"/>
                  <a:pt x="825" y="57"/>
                </a:cubicBezTo>
                <a:cubicBezTo>
                  <a:pt x="825" y="57"/>
                  <a:pt x="826" y="56"/>
                  <a:pt x="826" y="56"/>
                </a:cubicBezTo>
                <a:cubicBezTo>
                  <a:pt x="826" y="56"/>
                  <a:pt x="826" y="55"/>
                  <a:pt x="826" y="55"/>
                </a:cubicBezTo>
                <a:cubicBezTo>
                  <a:pt x="826" y="55"/>
                  <a:pt x="826" y="55"/>
                  <a:pt x="826" y="55"/>
                </a:cubicBezTo>
                <a:cubicBezTo>
                  <a:pt x="826" y="55"/>
                  <a:pt x="825" y="55"/>
                  <a:pt x="825" y="54"/>
                </a:cubicBezTo>
                <a:close/>
                <a:moveTo>
                  <a:pt x="653" y="117"/>
                </a:moveTo>
                <a:cubicBezTo>
                  <a:pt x="653" y="117"/>
                  <a:pt x="653" y="117"/>
                  <a:pt x="652" y="117"/>
                </a:cubicBezTo>
                <a:cubicBezTo>
                  <a:pt x="652" y="117"/>
                  <a:pt x="653" y="118"/>
                  <a:pt x="653" y="118"/>
                </a:cubicBezTo>
                <a:cubicBezTo>
                  <a:pt x="653" y="118"/>
                  <a:pt x="653" y="118"/>
                  <a:pt x="653" y="118"/>
                </a:cubicBezTo>
                <a:cubicBezTo>
                  <a:pt x="653" y="118"/>
                  <a:pt x="653" y="117"/>
                  <a:pt x="653" y="117"/>
                </a:cubicBezTo>
                <a:close/>
                <a:moveTo>
                  <a:pt x="603" y="80"/>
                </a:moveTo>
                <a:cubicBezTo>
                  <a:pt x="604" y="80"/>
                  <a:pt x="604" y="80"/>
                  <a:pt x="604" y="80"/>
                </a:cubicBezTo>
                <a:cubicBezTo>
                  <a:pt x="605" y="80"/>
                  <a:pt x="605" y="80"/>
                  <a:pt x="605" y="80"/>
                </a:cubicBezTo>
                <a:cubicBezTo>
                  <a:pt x="605" y="80"/>
                  <a:pt x="605" y="80"/>
                  <a:pt x="605" y="79"/>
                </a:cubicBezTo>
                <a:cubicBezTo>
                  <a:pt x="604" y="79"/>
                  <a:pt x="604" y="79"/>
                  <a:pt x="604" y="79"/>
                </a:cubicBezTo>
                <a:cubicBezTo>
                  <a:pt x="604" y="79"/>
                  <a:pt x="603" y="79"/>
                  <a:pt x="603" y="79"/>
                </a:cubicBezTo>
                <a:cubicBezTo>
                  <a:pt x="602" y="79"/>
                  <a:pt x="602" y="79"/>
                  <a:pt x="602" y="79"/>
                </a:cubicBezTo>
                <a:cubicBezTo>
                  <a:pt x="602" y="79"/>
                  <a:pt x="601" y="79"/>
                  <a:pt x="601" y="79"/>
                </a:cubicBezTo>
                <a:cubicBezTo>
                  <a:pt x="601" y="79"/>
                  <a:pt x="601" y="79"/>
                  <a:pt x="601" y="80"/>
                </a:cubicBezTo>
                <a:cubicBezTo>
                  <a:pt x="601" y="80"/>
                  <a:pt x="601" y="80"/>
                  <a:pt x="602" y="80"/>
                </a:cubicBezTo>
                <a:cubicBezTo>
                  <a:pt x="602" y="80"/>
                  <a:pt x="603" y="80"/>
                  <a:pt x="603" y="80"/>
                </a:cubicBezTo>
                <a:close/>
                <a:moveTo>
                  <a:pt x="649" y="123"/>
                </a:moveTo>
                <a:cubicBezTo>
                  <a:pt x="649" y="123"/>
                  <a:pt x="649" y="123"/>
                  <a:pt x="650" y="123"/>
                </a:cubicBezTo>
                <a:cubicBezTo>
                  <a:pt x="650" y="123"/>
                  <a:pt x="650" y="122"/>
                  <a:pt x="650" y="122"/>
                </a:cubicBezTo>
                <a:cubicBezTo>
                  <a:pt x="650" y="122"/>
                  <a:pt x="650" y="122"/>
                  <a:pt x="650" y="122"/>
                </a:cubicBezTo>
                <a:cubicBezTo>
                  <a:pt x="650" y="122"/>
                  <a:pt x="649" y="122"/>
                  <a:pt x="649" y="122"/>
                </a:cubicBezTo>
                <a:cubicBezTo>
                  <a:pt x="649" y="123"/>
                  <a:pt x="649" y="123"/>
                  <a:pt x="648" y="123"/>
                </a:cubicBezTo>
                <a:cubicBezTo>
                  <a:pt x="649" y="123"/>
                  <a:pt x="649" y="123"/>
                  <a:pt x="649" y="123"/>
                </a:cubicBezTo>
                <a:close/>
                <a:moveTo>
                  <a:pt x="646" y="104"/>
                </a:moveTo>
                <a:cubicBezTo>
                  <a:pt x="646" y="104"/>
                  <a:pt x="646" y="104"/>
                  <a:pt x="646" y="104"/>
                </a:cubicBezTo>
                <a:cubicBezTo>
                  <a:pt x="646" y="104"/>
                  <a:pt x="646" y="104"/>
                  <a:pt x="647" y="104"/>
                </a:cubicBezTo>
                <a:cubicBezTo>
                  <a:pt x="647" y="104"/>
                  <a:pt x="647" y="104"/>
                  <a:pt x="647" y="104"/>
                </a:cubicBezTo>
                <a:cubicBezTo>
                  <a:pt x="647" y="104"/>
                  <a:pt x="647" y="104"/>
                  <a:pt x="647" y="103"/>
                </a:cubicBezTo>
                <a:cubicBezTo>
                  <a:pt x="646" y="104"/>
                  <a:pt x="646" y="104"/>
                  <a:pt x="646" y="104"/>
                </a:cubicBezTo>
                <a:close/>
                <a:moveTo>
                  <a:pt x="652" y="127"/>
                </a:moveTo>
                <a:cubicBezTo>
                  <a:pt x="652" y="127"/>
                  <a:pt x="652" y="127"/>
                  <a:pt x="652" y="126"/>
                </a:cubicBezTo>
                <a:cubicBezTo>
                  <a:pt x="652" y="126"/>
                  <a:pt x="652" y="126"/>
                  <a:pt x="651" y="126"/>
                </a:cubicBezTo>
                <a:cubicBezTo>
                  <a:pt x="651" y="126"/>
                  <a:pt x="651" y="126"/>
                  <a:pt x="651" y="127"/>
                </a:cubicBezTo>
                <a:cubicBezTo>
                  <a:pt x="650" y="127"/>
                  <a:pt x="650" y="127"/>
                  <a:pt x="650" y="127"/>
                </a:cubicBezTo>
                <a:cubicBezTo>
                  <a:pt x="650" y="127"/>
                  <a:pt x="650" y="127"/>
                  <a:pt x="649" y="127"/>
                </a:cubicBezTo>
                <a:cubicBezTo>
                  <a:pt x="649" y="127"/>
                  <a:pt x="649" y="128"/>
                  <a:pt x="649" y="128"/>
                </a:cubicBezTo>
                <a:cubicBezTo>
                  <a:pt x="649" y="128"/>
                  <a:pt x="649" y="128"/>
                  <a:pt x="649" y="128"/>
                </a:cubicBezTo>
                <a:cubicBezTo>
                  <a:pt x="649" y="128"/>
                  <a:pt x="650" y="128"/>
                  <a:pt x="650" y="128"/>
                </a:cubicBezTo>
                <a:cubicBezTo>
                  <a:pt x="650" y="128"/>
                  <a:pt x="650" y="127"/>
                  <a:pt x="651" y="127"/>
                </a:cubicBezTo>
                <a:cubicBezTo>
                  <a:pt x="651" y="127"/>
                  <a:pt x="651" y="127"/>
                  <a:pt x="652" y="127"/>
                </a:cubicBezTo>
                <a:close/>
                <a:moveTo>
                  <a:pt x="648" y="130"/>
                </a:moveTo>
                <a:cubicBezTo>
                  <a:pt x="649" y="130"/>
                  <a:pt x="649" y="130"/>
                  <a:pt x="649" y="130"/>
                </a:cubicBezTo>
                <a:cubicBezTo>
                  <a:pt x="649" y="130"/>
                  <a:pt x="649" y="130"/>
                  <a:pt x="649" y="130"/>
                </a:cubicBezTo>
                <a:cubicBezTo>
                  <a:pt x="650" y="130"/>
                  <a:pt x="650" y="130"/>
                  <a:pt x="650" y="130"/>
                </a:cubicBezTo>
                <a:cubicBezTo>
                  <a:pt x="650" y="130"/>
                  <a:pt x="649" y="130"/>
                  <a:pt x="649" y="130"/>
                </a:cubicBezTo>
                <a:cubicBezTo>
                  <a:pt x="649" y="130"/>
                  <a:pt x="649" y="130"/>
                  <a:pt x="648" y="130"/>
                </a:cubicBezTo>
                <a:close/>
                <a:moveTo>
                  <a:pt x="599" y="168"/>
                </a:moveTo>
                <a:cubicBezTo>
                  <a:pt x="599" y="168"/>
                  <a:pt x="599" y="167"/>
                  <a:pt x="599" y="167"/>
                </a:cubicBezTo>
                <a:cubicBezTo>
                  <a:pt x="599" y="167"/>
                  <a:pt x="598" y="167"/>
                  <a:pt x="598" y="167"/>
                </a:cubicBezTo>
                <a:cubicBezTo>
                  <a:pt x="598" y="167"/>
                  <a:pt x="597" y="167"/>
                  <a:pt x="597" y="167"/>
                </a:cubicBezTo>
                <a:cubicBezTo>
                  <a:pt x="597" y="167"/>
                  <a:pt x="597" y="167"/>
                  <a:pt x="596" y="168"/>
                </a:cubicBezTo>
                <a:cubicBezTo>
                  <a:pt x="596" y="168"/>
                  <a:pt x="596" y="167"/>
                  <a:pt x="596" y="167"/>
                </a:cubicBezTo>
                <a:cubicBezTo>
                  <a:pt x="596" y="168"/>
                  <a:pt x="596" y="168"/>
                  <a:pt x="596" y="168"/>
                </a:cubicBezTo>
                <a:cubicBezTo>
                  <a:pt x="595" y="168"/>
                  <a:pt x="595" y="168"/>
                  <a:pt x="595" y="168"/>
                </a:cubicBezTo>
                <a:cubicBezTo>
                  <a:pt x="595" y="167"/>
                  <a:pt x="595" y="167"/>
                  <a:pt x="596" y="167"/>
                </a:cubicBezTo>
                <a:cubicBezTo>
                  <a:pt x="596" y="167"/>
                  <a:pt x="596" y="167"/>
                  <a:pt x="596" y="166"/>
                </a:cubicBezTo>
                <a:cubicBezTo>
                  <a:pt x="596" y="166"/>
                  <a:pt x="596" y="166"/>
                  <a:pt x="597" y="166"/>
                </a:cubicBezTo>
                <a:cubicBezTo>
                  <a:pt x="597" y="166"/>
                  <a:pt x="597" y="166"/>
                  <a:pt x="597" y="166"/>
                </a:cubicBezTo>
                <a:cubicBezTo>
                  <a:pt x="597" y="165"/>
                  <a:pt x="597" y="165"/>
                  <a:pt x="597" y="165"/>
                </a:cubicBezTo>
                <a:cubicBezTo>
                  <a:pt x="597" y="165"/>
                  <a:pt x="597" y="165"/>
                  <a:pt x="597" y="165"/>
                </a:cubicBezTo>
                <a:cubicBezTo>
                  <a:pt x="597" y="165"/>
                  <a:pt x="596" y="165"/>
                  <a:pt x="596" y="165"/>
                </a:cubicBezTo>
                <a:cubicBezTo>
                  <a:pt x="596" y="165"/>
                  <a:pt x="595" y="166"/>
                  <a:pt x="595" y="166"/>
                </a:cubicBezTo>
                <a:cubicBezTo>
                  <a:pt x="595" y="166"/>
                  <a:pt x="594" y="166"/>
                  <a:pt x="594" y="167"/>
                </a:cubicBezTo>
                <a:cubicBezTo>
                  <a:pt x="594" y="167"/>
                  <a:pt x="594" y="167"/>
                  <a:pt x="594" y="167"/>
                </a:cubicBezTo>
                <a:cubicBezTo>
                  <a:pt x="594" y="167"/>
                  <a:pt x="594" y="168"/>
                  <a:pt x="594" y="168"/>
                </a:cubicBezTo>
                <a:cubicBezTo>
                  <a:pt x="594" y="168"/>
                  <a:pt x="594" y="168"/>
                  <a:pt x="594" y="168"/>
                </a:cubicBezTo>
                <a:cubicBezTo>
                  <a:pt x="594" y="168"/>
                  <a:pt x="594" y="168"/>
                  <a:pt x="593" y="169"/>
                </a:cubicBezTo>
                <a:cubicBezTo>
                  <a:pt x="593" y="168"/>
                  <a:pt x="593" y="168"/>
                  <a:pt x="593" y="168"/>
                </a:cubicBezTo>
                <a:cubicBezTo>
                  <a:pt x="593" y="168"/>
                  <a:pt x="593" y="168"/>
                  <a:pt x="593" y="167"/>
                </a:cubicBezTo>
                <a:cubicBezTo>
                  <a:pt x="593" y="167"/>
                  <a:pt x="593" y="167"/>
                  <a:pt x="593" y="167"/>
                </a:cubicBezTo>
                <a:cubicBezTo>
                  <a:pt x="594" y="166"/>
                  <a:pt x="594" y="166"/>
                  <a:pt x="594" y="166"/>
                </a:cubicBezTo>
                <a:cubicBezTo>
                  <a:pt x="594" y="165"/>
                  <a:pt x="594" y="165"/>
                  <a:pt x="595" y="165"/>
                </a:cubicBezTo>
                <a:cubicBezTo>
                  <a:pt x="594" y="165"/>
                  <a:pt x="594" y="165"/>
                  <a:pt x="594" y="165"/>
                </a:cubicBezTo>
                <a:cubicBezTo>
                  <a:pt x="594" y="165"/>
                  <a:pt x="594" y="165"/>
                  <a:pt x="593" y="165"/>
                </a:cubicBezTo>
                <a:cubicBezTo>
                  <a:pt x="593" y="166"/>
                  <a:pt x="593" y="166"/>
                  <a:pt x="593" y="166"/>
                </a:cubicBezTo>
                <a:cubicBezTo>
                  <a:pt x="593" y="166"/>
                  <a:pt x="593" y="166"/>
                  <a:pt x="593" y="166"/>
                </a:cubicBezTo>
                <a:cubicBezTo>
                  <a:pt x="593" y="166"/>
                  <a:pt x="593" y="167"/>
                  <a:pt x="592" y="167"/>
                </a:cubicBezTo>
                <a:cubicBezTo>
                  <a:pt x="592" y="167"/>
                  <a:pt x="592" y="167"/>
                  <a:pt x="592" y="167"/>
                </a:cubicBezTo>
                <a:cubicBezTo>
                  <a:pt x="592" y="167"/>
                  <a:pt x="592" y="168"/>
                  <a:pt x="592" y="168"/>
                </a:cubicBezTo>
                <a:cubicBezTo>
                  <a:pt x="592" y="168"/>
                  <a:pt x="592" y="168"/>
                  <a:pt x="591" y="169"/>
                </a:cubicBezTo>
                <a:cubicBezTo>
                  <a:pt x="591" y="169"/>
                  <a:pt x="591" y="169"/>
                  <a:pt x="591" y="169"/>
                </a:cubicBezTo>
                <a:cubicBezTo>
                  <a:pt x="591" y="169"/>
                  <a:pt x="591" y="169"/>
                  <a:pt x="591" y="168"/>
                </a:cubicBezTo>
                <a:cubicBezTo>
                  <a:pt x="591" y="168"/>
                  <a:pt x="591" y="168"/>
                  <a:pt x="591" y="168"/>
                </a:cubicBezTo>
                <a:cubicBezTo>
                  <a:pt x="591" y="167"/>
                  <a:pt x="592" y="167"/>
                  <a:pt x="592" y="166"/>
                </a:cubicBezTo>
                <a:cubicBezTo>
                  <a:pt x="592" y="166"/>
                  <a:pt x="592" y="166"/>
                  <a:pt x="592" y="166"/>
                </a:cubicBezTo>
                <a:cubicBezTo>
                  <a:pt x="592" y="166"/>
                  <a:pt x="592" y="166"/>
                  <a:pt x="592" y="165"/>
                </a:cubicBezTo>
                <a:cubicBezTo>
                  <a:pt x="592" y="165"/>
                  <a:pt x="591" y="166"/>
                  <a:pt x="591" y="166"/>
                </a:cubicBezTo>
                <a:cubicBezTo>
                  <a:pt x="591" y="166"/>
                  <a:pt x="591" y="166"/>
                  <a:pt x="591" y="166"/>
                </a:cubicBezTo>
                <a:cubicBezTo>
                  <a:pt x="591" y="166"/>
                  <a:pt x="591" y="167"/>
                  <a:pt x="591" y="167"/>
                </a:cubicBezTo>
                <a:cubicBezTo>
                  <a:pt x="590" y="167"/>
                  <a:pt x="590" y="167"/>
                  <a:pt x="590" y="167"/>
                </a:cubicBezTo>
                <a:cubicBezTo>
                  <a:pt x="590" y="167"/>
                  <a:pt x="590" y="167"/>
                  <a:pt x="590" y="167"/>
                </a:cubicBezTo>
                <a:cubicBezTo>
                  <a:pt x="590" y="166"/>
                  <a:pt x="590" y="166"/>
                  <a:pt x="590" y="166"/>
                </a:cubicBezTo>
                <a:cubicBezTo>
                  <a:pt x="590" y="166"/>
                  <a:pt x="591" y="165"/>
                  <a:pt x="591" y="165"/>
                </a:cubicBezTo>
                <a:cubicBezTo>
                  <a:pt x="590" y="165"/>
                  <a:pt x="590" y="165"/>
                  <a:pt x="590" y="165"/>
                </a:cubicBezTo>
                <a:cubicBezTo>
                  <a:pt x="590" y="165"/>
                  <a:pt x="589" y="165"/>
                  <a:pt x="589" y="165"/>
                </a:cubicBezTo>
                <a:cubicBezTo>
                  <a:pt x="589" y="165"/>
                  <a:pt x="589" y="165"/>
                  <a:pt x="589" y="165"/>
                </a:cubicBezTo>
                <a:cubicBezTo>
                  <a:pt x="589" y="164"/>
                  <a:pt x="589" y="164"/>
                  <a:pt x="589" y="164"/>
                </a:cubicBezTo>
                <a:cubicBezTo>
                  <a:pt x="588" y="164"/>
                  <a:pt x="588" y="164"/>
                  <a:pt x="587" y="165"/>
                </a:cubicBezTo>
                <a:cubicBezTo>
                  <a:pt x="587" y="165"/>
                  <a:pt x="587" y="165"/>
                  <a:pt x="587" y="165"/>
                </a:cubicBezTo>
                <a:cubicBezTo>
                  <a:pt x="587" y="165"/>
                  <a:pt x="587" y="165"/>
                  <a:pt x="587" y="164"/>
                </a:cubicBezTo>
                <a:cubicBezTo>
                  <a:pt x="587" y="164"/>
                  <a:pt x="588" y="164"/>
                  <a:pt x="588" y="164"/>
                </a:cubicBezTo>
                <a:cubicBezTo>
                  <a:pt x="587" y="164"/>
                  <a:pt x="587" y="164"/>
                  <a:pt x="587" y="164"/>
                </a:cubicBezTo>
                <a:cubicBezTo>
                  <a:pt x="586" y="164"/>
                  <a:pt x="586" y="164"/>
                  <a:pt x="585" y="164"/>
                </a:cubicBezTo>
                <a:cubicBezTo>
                  <a:pt x="585" y="165"/>
                  <a:pt x="585" y="165"/>
                  <a:pt x="585" y="165"/>
                </a:cubicBezTo>
                <a:cubicBezTo>
                  <a:pt x="585" y="165"/>
                  <a:pt x="585" y="165"/>
                  <a:pt x="585" y="164"/>
                </a:cubicBezTo>
                <a:cubicBezTo>
                  <a:pt x="585" y="164"/>
                  <a:pt x="586" y="164"/>
                  <a:pt x="586" y="164"/>
                </a:cubicBezTo>
                <a:cubicBezTo>
                  <a:pt x="587" y="164"/>
                  <a:pt x="587" y="163"/>
                  <a:pt x="588" y="163"/>
                </a:cubicBezTo>
                <a:cubicBezTo>
                  <a:pt x="588" y="163"/>
                  <a:pt x="588" y="163"/>
                  <a:pt x="588" y="163"/>
                </a:cubicBezTo>
                <a:cubicBezTo>
                  <a:pt x="589" y="163"/>
                  <a:pt x="589" y="163"/>
                  <a:pt x="589" y="163"/>
                </a:cubicBezTo>
                <a:cubicBezTo>
                  <a:pt x="589" y="163"/>
                  <a:pt x="589" y="163"/>
                  <a:pt x="589" y="163"/>
                </a:cubicBezTo>
                <a:cubicBezTo>
                  <a:pt x="590" y="163"/>
                  <a:pt x="590" y="163"/>
                  <a:pt x="590" y="162"/>
                </a:cubicBezTo>
                <a:cubicBezTo>
                  <a:pt x="589" y="163"/>
                  <a:pt x="589" y="163"/>
                  <a:pt x="589" y="163"/>
                </a:cubicBezTo>
                <a:cubicBezTo>
                  <a:pt x="588" y="163"/>
                  <a:pt x="588" y="163"/>
                  <a:pt x="588" y="163"/>
                </a:cubicBezTo>
                <a:cubicBezTo>
                  <a:pt x="587" y="163"/>
                  <a:pt x="587" y="163"/>
                  <a:pt x="587" y="162"/>
                </a:cubicBezTo>
                <a:cubicBezTo>
                  <a:pt x="586" y="163"/>
                  <a:pt x="586" y="163"/>
                  <a:pt x="586" y="163"/>
                </a:cubicBezTo>
                <a:cubicBezTo>
                  <a:pt x="586" y="163"/>
                  <a:pt x="586" y="163"/>
                  <a:pt x="586" y="163"/>
                </a:cubicBezTo>
                <a:cubicBezTo>
                  <a:pt x="586" y="163"/>
                  <a:pt x="585" y="163"/>
                  <a:pt x="585" y="163"/>
                </a:cubicBezTo>
                <a:cubicBezTo>
                  <a:pt x="585" y="163"/>
                  <a:pt x="585" y="163"/>
                  <a:pt x="585" y="163"/>
                </a:cubicBezTo>
                <a:cubicBezTo>
                  <a:pt x="585" y="163"/>
                  <a:pt x="585" y="163"/>
                  <a:pt x="585" y="163"/>
                </a:cubicBezTo>
                <a:cubicBezTo>
                  <a:pt x="585" y="163"/>
                  <a:pt x="586" y="163"/>
                  <a:pt x="586" y="162"/>
                </a:cubicBezTo>
                <a:cubicBezTo>
                  <a:pt x="585" y="162"/>
                  <a:pt x="585" y="163"/>
                  <a:pt x="585" y="163"/>
                </a:cubicBezTo>
                <a:cubicBezTo>
                  <a:pt x="585" y="163"/>
                  <a:pt x="585" y="163"/>
                  <a:pt x="584" y="163"/>
                </a:cubicBezTo>
                <a:cubicBezTo>
                  <a:pt x="584" y="163"/>
                  <a:pt x="584" y="163"/>
                  <a:pt x="584" y="163"/>
                </a:cubicBezTo>
                <a:cubicBezTo>
                  <a:pt x="584" y="163"/>
                  <a:pt x="584" y="163"/>
                  <a:pt x="584" y="163"/>
                </a:cubicBezTo>
                <a:cubicBezTo>
                  <a:pt x="584" y="163"/>
                  <a:pt x="584" y="163"/>
                  <a:pt x="583" y="162"/>
                </a:cubicBezTo>
                <a:cubicBezTo>
                  <a:pt x="583" y="162"/>
                  <a:pt x="583" y="162"/>
                  <a:pt x="583" y="162"/>
                </a:cubicBezTo>
                <a:cubicBezTo>
                  <a:pt x="583" y="162"/>
                  <a:pt x="583" y="163"/>
                  <a:pt x="583" y="163"/>
                </a:cubicBezTo>
                <a:cubicBezTo>
                  <a:pt x="582" y="163"/>
                  <a:pt x="582" y="162"/>
                  <a:pt x="582" y="162"/>
                </a:cubicBezTo>
                <a:cubicBezTo>
                  <a:pt x="582" y="162"/>
                  <a:pt x="582" y="162"/>
                  <a:pt x="581" y="162"/>
                </a:cubicBezTo>
                <a:cubicBezTo>
                  <a:pt x="581" y="162"/>
                  <a:pt x="581" y="162"/>
                  <a:pt x="581" y="162"/>
                </a:cubicBezTo>
                <a:cubicBezTo>
                  <a:pt x="581" y="162"/>
                  <a:pt x="581" y="162"/>
                  <a:pt x="581" y="162"/>
                </a:cubicBezTo>
                <a:cubicBezTo>
                  <a:pt x="581" y="162"/>
                  <a:pt x="582" y="162"/>
                  <a:pt x="582" y="162"/>
                </a:cubicBezTo>
                <a:cubicBezTo>
                  <a:pt x="582" y="162"/>
                  <a:pt x="583" y="162"/>
                  <a:pt x="584" y="162"/>
                </a:cubicBezTo>
                <a:cubicBezTo>
                  <a:pt x="584" y="162"/>
                  <a:pt x="584" y="162"/>
                  <a:pt x="584" y="162"/>
                </a:cubicBezTo>
                <a:cubicBezTo>
                  <a:pt x="584" y="162"/>
                  <a:pt x="584" y="162"/>
                  <a:pt x="584" y="161"/>
                </a:cubicBezTo>
                <a:cubicBezTo>
                  <a:pt x="583" y="161"/>
                  <a:pt x="582" y="161"/>
                  <a:pt x="581" y="161"/>
                </a:cubicBezTo>
                <a:cubicBezTo>
                  <a:pt x="580" y="161"/>
                  <a:pt x="580" y="161"/>
                  <a:pt x="579" y="161"/>
                </a:cubicBezTo>
                <a:cubicBezTo>
                  <a:pt x="579" y="161"/>
                  <a:pt x="579" y="161"/>
                  <a:pt x="579" y="161"/>
                </a:cubicBezTo>
                <a:cubicBezTo>
                  <a:pt x="579" y="161"/>
                  <a:pt x="580" y="161"/>
                  <a:pt x="580" y="161"/>
                </a:cubicBezTo>
                <a:cubicBezTo>
                  <a:pt x="581" y="161"/>
                  <a:pt x="581" y="161"/>
                  <a:pt x="582" y="161"/>
                </a:cubicBezTo>
                <a:cubicBezTo>
                  <a:pt x="583" y="161"/>
                  <a:pt x="583" y="161"/>
                  <a:pt x="583" y="161"/>
                </a:cubicBezTo>
                <a:cubicBezTo>
                  <a:pt x="584" y="161"/>
                  <a:pt x="585" y="160"/>
                  <a:pt x="586" y="160"/>
                </a:cubicBezTo>
                <a:cubicBezTo>
                  <a:pt x="586" y="160"/>
                  <a:pt x="586" y="160"/>
                  <a:pt x="586" y="160"/>
                </a:cubicBezTo>
                <a:cubicBezTo>
                  <a:pt x="586" y="160"/>
                  <a:pt x="586" y="160"/>
                  <a:pt x="586" y="160"/>
                </a:cubicBezTo>
                <a:cubicBezTo>
                  <a:pt x="586" y="160"/>
                  <a:pt x="586" y="160"/>
                  <a:pt x="586" y="160"/>
                </a:cubicBezTo>
                <a:cubicBezTo>
                  <a:pt x="586" y="160"/>
                  <a:pt x="586" y="159"/>
                  <a:pt x="585" y="159"/>
                </a:cubicBezTo>
                <a:cubicBezTo>
                  <a:pt x="585" y="159"/>
                  <a:pt x="585" y="159"/>
                  <a:pt x="584" y="159"/>
                </a:cubicBezTo>
                <a:cubicBezTo>
                  <a:pt x="584" y="159"/>
                  <a:pt x="584" y="159"/>
                  <a:pt x="584" y="159"/>
                </a:cubicBezTo>
                <a:cubicBezTo>
                  <a:pt x="584" y="159"/>
                  <a:pt x="584" y="159"/>
                  <a:pt x="584" y="159"/>
                </a:cubicBezTo>
                <a:cubicBezTo>
                  <a:pt x="584" y="159"/>
                  <a:pt x="584" y="159"/>
                  <a:pt x="584" y="159"/>
                </a:cubicBezTo>
                <a:cubicBezTo>
                  <a:pt x="585" y="159"/>
                  <a:pt x="585" y="159"/>
                  <a:pt x="585" y="159"/>
                </a:cubicBezTo>
                <a:cubicBezTo>
                  <a:pt x="585" y="159"/>
                  <a:pt x="585" y="159"/>
                  <a:pt x="585" y="159"/>
                </a:cubicBezTo>
                <a:cubicBezTo>
                  <a:pt x="585" y="159"/>
                  <a:pt x="586" y="159"/>
                  <a:pt x="586" y="159"/>
                </a:cubicBezTo>
                <a:cubicBezTo>
                  <a:pt x="586" y="159"/>
                  <a:pt x="587" y="159"/>
                  <a:pt x="587" y="159"/>
                </a:cubicBezTo>
                <a:cubicBezTo>
                  <a:pt x="587" y="158"/>
                  <a:pt x="587" y="158"/>
                  <a:pt x="587" y="158"/>
                </a:cubicBezTo>
                <a:cubicBezTo>
                  <a:pt x="587" y="158"/>
                  <a:pt x="587" y="158"/>
                  <a:pt x="587" y="158"/>
                </a:cubicBezTo>
                <a:cubicBezTo>
                  <a:pt x="587" y="158"/>
                  <a:pt x="586" y="158"/>
                  <a:pt x="586" y="158"/>
                </a:cubicBezTo>
                <a:cubicBezTo>
                  <a:pt x="586" y="158"/>
                  <a:pt x="586" y="158"/>
                  <a:pt x="586" y="158"/>
                </a:cubicBezTo>
                <a:cubicBezTo>
                  <a:pt x="586" y="158"/>
                  <a:pt x="586" y="158"/>
                  <a:pt x="585" y="157"/>
                </a:cubicBezTo>
                <a:cubicBezTo>
                  <a:pt x="585" y="158"/>
                  <a:pt x="585" y="158"/>
                  <a:pt x="585" y="158"/>
                </a:cubicBezTo>
                <a:cubicBezTo>
                  <a:pt x="584" y="158"/>
                  <a:pt x="584" y="158"/>
                  <a:pt x="584" y="158"/>
                </a:cubicBezTo>
                <a:cubicBezTo>
                  <a:pt x="583" y="158"/>
                  <a:pt x="583" y="158"/>
                  <a:pt x="582" y="158"/>
                </a:cubicBezTo>
                <a:cubicBezTo>
                  <a:pt x="582" y="159"/>
                  <a:pt x="582" y="159"/>
                  <a:pt x="582" y="159"/>
                </a:cubicBezTo>
                <a:cubicBezTo>
                  <a:pt x="582" y="159"/>
                  <a:pt x="582" y="159"/>
                  <a:pt x="582" y="159"/>
                </a:cubicBezTo>
                <a:cubicBezTo>
                  <a:pt x="582" y="159"/>
                  <a:pt x="581" y="159"/>
                  <a:pt x="581" y="159"/>
                </a:cubicBezTo>
                <a:cubicBezTo>
                  <a:pt x="582" y="158"/>
                  <a:pt x="582" y="158"/>
                  <a:pt x="582" y="158"/>
                </a:cubicBezTo>
                <a:cubicBezTo>
                  <a:pt x="583" y="158"/>
                  <a:pt x="583" y="158"/>
                  <a:pt x="584" y="158"/>
                </a:cubicBezTo>
                <a:cubicBezTo>
                  <a:pt x="584" y="158"/>
                  <a:pt x="584" y="158"/>
                  <a:pt x="584" y="157"/>
                </a:cubicBezTo>
                <a:cubicBezTo>
                  <a:pt x="584" y="157"/>
                  <a:pt x="585" y="157"/>
                  <a:pt x="585" y="157"/>
                </a:cubicBezTo>
                <a:cubicBezTo>
                  <a:pt x="585" y="157"/>
                  <a:pt x="586" y="157"/>
                  <a:pt x="586" y="157"/>
                </a:cubicBezTo>
                <a:cubicBezTo>
                  <a:pt x="585" y="157"/>
                  <a:pt x="585" y="157"/>
                  <a:pt x="585" y="157"/>
                </a:cubicBezTo>
                <a:cubicBezTo>
                  <a:pt x="584" y="157"/>
                  <a:pt x="584" y="157"/>
                  <a:pt x="584" y="157"/>
                </a:cubicBezTo>
                <a:cubicBezTo>
                  <a:pt x="583" y="157"/>
                  <a:pt x="583" y="157"/>
                  <a:pt x="583" y="157"/>
                </a:cubicBezTo>
                <a:cubicBezTo>
                  <a:pt x="583" y="157"/>
                  <a:pt x="584" y="157"/>
                  <a:pt x="584" y="157"/>
                </a:cubicBezTo>
                <a:cubicBezTo>
                  <a:pt x="584" y="157"/>
                  <a:pt x="585" y="156"/>
                  <a:pt x="585" y="156"/>
                </a:cubicBezTo>
                <a:cubicBezTo>
                  <a:pt x="585" y="156"/>
                  <a:pt x="586" y="156"/>
                  <a:pt x="586" y="156"/>
                </a:cubicBezTo>
                <a:cubicBezTo>
                  <a:pt x="586" y="156"/>
                  <a:pt x="586" y="156"/>
                  <a:pt x="586" y="156"/>
                </a:cubicBezTo>
                <a:cubicBezTo>
                  <a:pt x="587" y="156"/>
                  <a:pt x="587" y="157"/>
                  <a:pt x="588" y="157"/>
                </a:cubicBezTo>
                <a:cubicBezTo>
                  <a:pt x="588" y="157"/>
                  <a:pt x="588" y="157"/>
                  <a:pt x="589" y="157"/>
                </a:cubicBezTo>
                <a:cubicBezTo>
                  <a:pt x="589" y="157"/>
                  <a:pt x="589" y="157"/>
                  <a:pt x="589" y="157"/>
                </a:cubicBezTo>
                <a:cubicBezTo>
                  <a:pt x="589" y="157"/>
                  <a:pt x="589" y="157"/>
                  <a:pt x="590" y="157"/>
                </a:cubicBezTo>
                <a:cubicBezTo>
                  <a:pt x="590" y="157"/>
                  <a:pt x="590" y="157"/>
                  <a:pt x="590" y="157"/>
                </a:cubicBezTo>
                <a:cubicBezTo>
                  <a:pt x="590" y="157"/>
                  <a:pt x="590" y="157"/>
                  <a:pt x="591" y="157"/>
                </a:cubicBezTo>
                <a:cubicBezTo>
                  <a:pt x="591" y="156"/>
                  <a:pt x="591" y="156"/>
                  <a:pt x="591" y="156"/>
                </a:cubicBezTo>
                <a:cubicBezTo>
                  <a:pt x="591" y="157"/>
                  <a:pt x="591" y="157"/>
                  <a:pt x="592" y="157"/>
                </a:cubicBezTo>
                <a:cubicBezTo>
                  <a:pt x="592" y="157"/>
                  <a:pt x="592" y="157"/>
                  <a:pt x="592" y="157"/>
                </a:cubicBezTo>
                <a:cubicBezTo>
                  <a:pt x="593" y="157"/>
                  <a:pt x="593" y="157"/>
                  <a:pt x="593" y="156"/>
                </a:cubicBezTo>
                <a:cubicBezTo>
                  <a:pt x="593" y="156"/>
                  <a:pt x="593" y="156"/>
                  <a:pt x="593" y="156"/>
                </a:cubicBezTo>
                <a:cubicBezTo>
                  <a:pt x="592" y="155"/>
                  <a:pt x="592" y="155"/>
                  <a:pt x="592" y="155"/>
                </a:cubicBezTo>
                <a:cubicBezTo>
                  <a:pt x="592" y="155"/>
                  <a:pt x="592" y="155"/>
                  <a:pt x="592" y="155"/>
                </a:cubicBezTo>
                <a:cubicBezTo>
                  <a:pt x="591" y="155"/>
                  <a:pt x="591" y="155"/>
                  <a:pt x="591" y="155"/>
                </a:cubicBezTo>
                <a:cubicBezTo>
                  <a:pt x="590" y="155"/>
                  <a:pt x="590" y="154"/>
                  <a:pt x="590" y="154"/>
                </a:cubicBezTo>
                <a:cubicBezTo>
                  <a:pt x="589" y="154"/>
                  <a:pt x="589" y="154"/>
                  <a:pt x="589" y="154"/>
                </a:cubicBezTo>
                <a:cubicBezTo>
                  <a:pt x="589" y="154"/>
                  <a:pt x="589" y="154"/>
                  <a:pt x="588" y="155"/>
                </a:cubicBezTo>
                <a:cubicBezTo>
                  <a:pt x="588" y="155"/>
                  <a:pt x="588" y="155"/>
                  <a:pt x="588" y="155"/>
                </a:cubicBezTo>
                <a:cubicBezTo>
                  <a:pt x="587" y="155"/>
                  <a:pt x="587" y="155"/>
                  <a:pt x="587" y="155"/>
                </a:cubicBezTo>
                <a:cubicBezTo>
                  <a:pt x="586" y="154"/>
                  <a:pt x="586" y="154"/>
                  <a:pt x="585" y="154"/>
                </a:cubicBezTo>
                <a:cubicBezTo>
                  <a:pt x="585" y="154"/>
                  <a:pt x="584" y="154"/>
                  <a:pt x="584" y="154"/>
                </a:cubicBezTo>
                <a:cubicBezTo>
                  <a:pt x="583" y="154"/>
                  <a:pt x="583" y="154"/>
                  <a:pt x="582" y="155"/>
                </a:cubicBezTo>
                <a:cubicBezTo>
                  <a:pt x="582" y="155"/>
                  <a:pt x="582" y="155"/>
                  <a:pt x="581" y="155"/>
                </a:cubicBezTo>
                <a:cubicBezTo>
                  <a:pt x="582" y="154"/>
                  <a:pt x="582" y="154"/>
                  <a:pt x="583" y="154"/>
                </a:cubicBezTo>
                <a:cubicBezTo>
                  <a:pt x="583" y="154"/>
                  <a:pt x="583" y="154"/>
                  <a:pt x="584" y="154"/>
                </a:cubicBezTo>
                <a:cubicBezTo>
                  <a:pt x="584" y="153"/>
                  <a:pt x="584" y="153"/>
                  <a:pt x="585" y="153"/>
                </a:cubicBezTo>
                <a:cubicBezTo>
                  <a:pt x="585" y="153"/>
                  <a:pt x="585" y="153"/>
                  <a:pt x="585" y="153"/>
                </a:cubicBezTo>
                <a:cubicBezTo>
                  <a:pt x="585" y="153"/>
                  <a:pt x="585" y="153"/>
                  <a:pt x="586" y="153"/>
                </a:cubicBezTo>
                <a:cubicBezTo>
                  <a:pt x="586" y="153"/>
                  <a:pt x="586" y="153"/>
                  <a:pt x="586" y="153"/>
                </a:cubicBezTo>
                <a:cubicBezTo>
                  <a:pt x="587" y="153"/>
                  <a:pt x="587" y="152"/>
                  <a:pt x="587" y="152"/>
                </a:cubicBezTo>
                <a:cubicBezTo>
                  <a:pt x="588" y="152"/>
                  <a:pt x="588" y="152"/>
                  <a:pt x="589" y="152"/>
                </a:cubicBezTo>
                <a:cubicBezTo>
                  <a:pt x="589" y="152"/>
                  <a:pt x="589" y="152"/>
                  <a:pt x="590" y="152"/>
                </a:cubicBezTo>
                <a:cubicBezTo>
                  <a:pt x="590" y="152"/>
                  <a:pt x="591" y="152"/>
                  <a:pt x="591" y="152"/>
                </a:cubicBezTo>
                <a:cubicBezTo>
                  <a:pt x="591" y="152"/>
                  <a:pt x="591" y="152"/>
                  <a:pt x="591" y="152"/>
                </a:cubicBezTo>
                <a:cubicBezTo>
                  <a:pt x="591" y="151"/>
                  <a:pt x="591" y="151"/>
                  <a:pt x="591" y="151"/>
                </a:cubicBezTo>
                <a:cubicBezTo>
                  <a:pt x="591" y="151"/>
                  <a:pt x="591" y="151"/>
                  <a:pt x="591" y="151"/>
                </a:cubicBezTo>
                <a:cubicBezTo>
                  <a:pt x="591" y="150"/>
                  <a:pt x="590" y="150"/>
                  <a:pt x="590" y="150"/>
                </a:cubicBezTo>
                <a:cubicBezTo>
                  <a:pt x="590" y="149"/>
                  <a:pt x="589" y="149"/>
                  <a:pt x="589" y="148"/>
                </a:cubicBezTo>
                <a:cubicBezTo>
                  <a:pt x="589" y="148"/>
                  <a:pt x="589" y="148"/>
                  <a:pt x="588" y="148"/>
                </a:cubicBezTo>
                <a:cubicBezTo>
                  <a:pt x="588" y="148"/>
                  <a:pt x="588" y="148"/>
                  <a:pt x="588" y="148"/>
                </a:cubicBezTo>
                <a:cubicBezTo>
                  <a:pt x="588" y="148"/>
                  <a:pt x="588" y="148"/>
                  <a:pt x="588" y="148"/>
                </a:cubicBezTo>
                <a:cubicBezTo>
                  <a:pt x="587" y="148"/>
                  <a:pt x="587" y="148"/>
                  <a:pt x="587" y="148"/>
                </a:cubicBezTo>
                <a:cubicBezTo>
                  <a:pt x="587" y="148"/>
                  <a:pt x="587" y="148"/>
                  <a:pt x="587" y="148"/>
                </a:cubicBezTo>
                <a:cubicBezTo>
                  <a:pt x="587" y="149"/>
                  <a:pt x="587" y="149"/>
                  <a:pt x="586" y="149"/>
                </a:cubicBezTo>
                <a:cubicBezTo>
                  <a:pt x="587" y="149"/>
                  <a:pt x="587" y="149"/>
                  <a:pt x="587" y="149"/>
                </a:cubicBezTo>
                <a:cubicBezTo>
                  <a:pt x="587" y="149"/>
                  <a:pt x="587" y="150"/>
                  <a:pt x="587" y="150"/>
                </a:cubicBezTo>
                <a:cubicBezTo>
                  <a:pt x="587" y="150"/>
                  <a:pt x="587" y="150"/>
                  <a:pt x="587" y="150"/>
                </a:cubicBezTo>
                <a:cubicBezTo>
                  <a:pt x="586" y="150"/>
                  <a:pt x="586" y="150"/>
                  <a:pt x="586" y="151"/>
                </a:cubicBezTo>
                <a:cubicBezTo>
                  <a:pt x="585" y="151"/>
                  <a:pt x="585" y="151"/>
                  <a:pt x="585" y="151"/>
                </a:cubicBezTo>
                <a:cubicBezTo>
                  <a:pt x="585" y="151"/>
                  <a:pt x="584" y="151"/>
                  <a:pt x="584" y="151"/>
                </a:cubicBezTo>
                <a:cubicBezTo>
                  <a:pt x="584" y="151"/>
                  <a:pt x="583" y="151"/>
                  <a:pt x="583" y="151"/>
                </a:cubicBezTo>
                <a:cubicBezTo>
                  <a:pt x="583" y="151"/>
                  <a:pt x="582" y="152"/>
                  <a:pt x="582" y="152"/>
                </a:cubicBezTo>
                <a:cubicBezTo>
                  <a:pt x="582" y="152"/>
                  <a:pt x="582" y="152"/>
                  <a:pt x="582" y="152"/>
                </a:cubicBezTo>
                <a:cubicBezTo>
                  <a:pt x="581" y="153"/>
                  <a:pt x="581" y="153"/>
                  <a:pt x="581" y="153"/>
                </a:cubicBezTo>
                <a:cubicBezTo>
                  <a:pt x="580" y="153"/>
                  <a:pt x="580" y="153"/>
                  <a:pt x="580" y="153"/>
                </a:cubicBezTo>
                <a:cubicBezTo>
                  <a:pt x="580" y="153"/>
                  <a:pt x="579" y="153"/>
                  <a:pt x="579" y="153"/>
                </a:cubicBezTo>
                <a:cubicBezTo>
                  <a:pt x="579" y="153"/>
                  <a:pt x="578" y="153"/>
                  <a:pt x="578" y="154"/>
                </a:cubicBezTo>
                <a:cubicBezTo>
                  <a:pt x="578" y="154"/>
                  <a:pt x="578" y="154"/>
                  <a:pt x="578" y="154"/>
                </a:cubicBezTo>
                <a:cubicBezTo>
                  <a:pt x="578" y="154"/>
                  <a:pt x="578" y="153"/>
                  <a:pt x="578" y="153"/>
                </a:cubicBezTo>
                <a:cubicBezTo>
                  <a:pt x="579" y="153"/>
                  <a:pt x="579" y="153"/>
                  <a:pt x="579" y="153"/>
                </a:cubicBezTo>
                <a:cubicBezTo>
                  <a:pt x="579" y="153"/>
                  <a:pt x="580" y="153"/>
                  <a:pt x="580" y="153"/>
                </a:cubicBezTo>
                <a:cubicBezTo>
                  <a:pt x="580" y="153"/>
                  <a:pt x="581" y="153"/>
                  <a:pt x="581" y="152"/>
                </a:cubicBezTo>
                <a:cubicBezTo>
                  <a:pt x="581" y="152"/>
                  <a:pt x="581" y="152"/>
                  <a:pt x="581" y="152"/>
                </a:cubicBezTo>
                <a:cubicBezTo>
                  <a:pt x="582" y="152"/>
                  <a:pt x="582" y="151"/>
                  <a:pt x="582" y="151"/>
                </a:cubicBezTo>
                <a:cubicBezTo>
                  <a:pt x="582" y="151"/>
                  <a:pt x="583" y="151"/>
                  <a:pt x="583" y="151"/>
                </a:cubicBezTo>
                <a:cubicBezTo>
                  <a:pt x="583" y="151"/>
                  <a:pt x="583" y="151"/>
                  <a:pt x="584" y="151"/>
                </a:cubicBezTo>
                <a:cubicBezTo>
                  <a:pt x="584" y="150"/>
                  <a:pt x="584" y="150"/>
                  <a:pt x="584" y="150"/>
                </a:cubicBezTo>
                <a:cubicBezTo>
                  <a:pt x="584" y="150"/>
                  <a:pt x="584" y="150"/>
                  <a:pt x="584" y="149"/>
                </a:cubicBezTo>
                <a:cubicBezTo>
                  <a:pt x="584" y="149"/>
                  <a:pt x="584" y="149"/>
                  <a:pt x="584" y="149"/>
                </a:cubicBezTo>
                <a:cubicBezTo>
                  <a:pt x="584" y="149"/>
                  <a:pt x="584" y="149"/>
                  <a:pt x="584" y="149"/>
                </a:cubicBezTo>
                <a:cubicBezTo>
                  <a:pt x="583" y="149"/>
                  <a:pt x="583" y="149"/>
                  <a:pt x="583" y="150"/>
                </a:cubicBezTo>
                <a:cubicBezTo>
                  <a:pt x="583" y="150"/>
                  <a:pt x="582" y="150"/>
                  <a:pt x="582" y="150"/>
                </a:cubicBezTo>
                <a:cubicBezTo>
                  <a:pt x="582" y="150"/>
                  <a:pt x="581" y="150"/>
                  <a:pt x="581" y="150"/>
                </a:cubicBezTo>
                <a:cubicBezTo>
                  <a:pt x="580" y="150"/>
                  <a:pt x="580" y="151"/>
                  <a:pt x="579" y="151"/>
                </a:cubicBezTo>
                <a:cubicBezTo>
                  <a:pt x="579" y="151"/>
                  <a:pt x="579" y="152"/>
                  <a:pt x="578" y="152"/>
                </a:cubicBezTo>
                <a:cubicBezTo>
                  <a:pt x="578" y="152"/>
                  <a:pt x="577" y="152"/>
                  <a:pt x="576" y="153"/>
                </a:cubicBezTo>
                <a:cubicBezTo>
                  <a:pt x="576" y="152"/>
                  <a:pt x="577" y="152"/>
                  <a:pt x="577" y="152"/>
                </a:cubicBezTo>
                <a:cubicBezTo>
                  <a:pt x="577" y="152"/>
                  <a:pt x="578" y="152"/>
                  <a:pt x="578" y="152"/>
                </a:cubicBezTo>
                <a:cubicBezTo>
                  <a:pt x="578" y="152"/>
                  <a:pt x="578" y="151"/>
                  <a:pt x="578" y="151"/>
                </a:cubicBezTo>
                <a:cubicBezTo>
                  <a:pt x="578" y="151"/>
                  <a:pt x="578" y="151"/>
                  <a:pt x="578" y="151"/>
                </a:cubicBezTo>
                <a:cubicBezTo>
                  <a:pt x="577" y="151"/>
                  <a:pt x="577" y="151"/>
                  <a:pt x="577" y="151"/>
                </a:cubicBezTo>
                <a:cubicBezTo>
                  <a:pt x="577" y="151"/>
                  <a:pt x="578" y="151"/>
                  <a:pt x="578" y="150"/>
                </a:cubicBezTo>
                <a:cubicBezTo>
                  <a:pt x="578" y="150"/>
                  <a:pt x="579" y="150"/>
                  <a:pt x="579" y="150"/>
                </a:cubicBezTo>
                <a:cubicBezTo>
                  <a:pt x="580" y="150"/>
                  <a:pt x="580" y="150"/>
                  <a:pt x="581" y="149"/>
                </a:cubicBezTo>
                <a:cubicBezTo>
                  <a:pt x="581" y="149"/>
                  <a:pt x="581" y="149"/>
                  <a:pt x="582" y="149"/>
                </a:cubicBezTo>
                <a:cubicBezTo>
                  <a:pt x="582" y="149"/>
                  <a:pt x="582" y="149"/>
                  <a:pt x="583" y="149"/>
                </a:cubicBezTo>
                <a:cubicBezTo>
                  <a:pt x="583" y="149"/>
                  <a:pt x="584" y="148"/>
                  <a:pt x="584" y="148"/>
                </a:cubicBezTo>
                <a:cubicBezTo>
                  <a:pt x="585" y="148"/>
                  <a:pt x="585" y="148"/>
                  <a:pt x="585" y="148"/>
                </a:cubicBezTo>
                <a:cubicBezTo>
                  <a:pt x="585" y="148"/>
                  <a:pt x="585" y="147"/>
                  <a:pt x="585" y="147"/>
                </a:cubicBezTo>
                <a:cubicBezTo>
                  <a:pt x="585" y="147"/>
                  <a:pt x="586" y="147"/>
                  <a:pt x="586" y="147"/>
                </a:cubicBezTo>
                <a:cubicBezTo>
                  <a:pt x="586" y="147"/>
                  <a:pt x="586" y="147"/>
                  <a:pt x="586" y="147"/>
                </a:cubicBezTo>
                <a:cubicBezTo>
                  <a:pt x="586" y="147"/>
                  <a:pt x="586" y="147"/>
                  <a:pt x="586" y="147"/>
                </a:cubicBezTo>
                <a:cubicBezTo>
                  <a:pt x="586" y="147"/>
                  <a:pt x="587" y="147"/>
                  <a:pt x="587" y="147"/>
                </a:cubicBezTo>
                <a:cubicBezTo>
                  <a:pt x="587" y="147"/>
                  <a:pt x="587" y="147"/>
                  <a:pt x="588" y="147"/>
                </a:cubicBezTo>
                <a:cubicBezTo>
                  <a:pt x="588" y="146"/>
                  <a:pt x="588" y="146"/>
                  <a:pt x="588" y="146"/>
                </a:cubicBezTo>
                <a:cubicBezTo>
                  <a:pt x="588" y="146"/>
                  <a:pt x="588" y="146"/>
                  <a:pt x="588" y="146"/>
                </a:cubicBezTo>
                <a:cubicBezTo>
                  <a:pt x="587" y="146"/>
                  <a:pt x="587" y="146"/>
                  <a:pt x="587" y="145"/>
                </a:cubicBezTo>
                <a:cubicBezTo>
                  <a:pt x="586" y="145"/>
                  <a:pt x="586" y="145"/>
                  <a:pt x="586" y="145"/>
                </a:cubicBezTo>
                <a:cubicBezTo>
                  <a:pt x="585" y="145"/>
                  <a:pt x="585" y="145"/>
                  <a:pt x="584" y="144"/>
                </a:cubicBezTo>
                <a:cubicBezTo>
                  <a:pt x="584" y="144"/>
                  <a:pt x="584" y="144"/>
                  <a:pt x="584" y="144"/>
                </a:cubicBezTo>
                <a:cubicBezTo>
                  <a:pt x="584" y="144"/>
                  <a:pt x="583" y="144"/>
                  <a:pt x="583" y="144"/>
                </a:cubicBezTo>
                <a:cubicBezTo>
                  <a:pt x="583" y="144"/>
                  <a:pt x="582" y="144"/>
                  <a:pt x="582" y="144"/>
                </a:cubicBezTo>
                <a:cubicBezTo>
                  <a:pt x="582" y="144"/>
                  <a:pt x="582" y="145"/>
                  <a:pt x="582" y="145"/>
                </a:cubicBezTo>
                <a:cubicBezTo>
                  <a:pt x="581" y="145"/>
                  <a:pt x="581" y="145"/>
                  <a:pt x="581" y="145"/>
                </a:cubicBezTo>
                <a:cubicBezTo>
                  <a:pt x="581" y="145"/>
                  <a:pt x="580" y="146"/>
                  <a:pt x="580" y="146"/>
                </a:cubicBezTo>
                <a:cubicBezTo>
                  <a:pt x="580" y="146"/>
                  <a:pt x="579" y="146"/>
                  <a:pt x="579" y="146"/>
                </a:cubicBezTo>
                <a:cubicBezTo>
                  <a:pt x="579" y="146"/>
                  <a:pt x="578" y="147"/>
                  <a:pt x="578" y="147"/>
                </a:cubicBezTo>
                <a:cubicBezTo>
                  <a:pt x="578" y="147"/>
                  <a:pt x="578" y="147"/>
                  <a:pt x="578" y="147"/>
                </a:cubicBezTo>
                <a:cubicBezTo>
                  <a:pt x="578" y="146"/>
                  <a:pt x="578" y="146"/>
                  <a:pt x="578" y="146"/>
                </a:cubicBezTo>
                <a:cubicBezTo>
                  <a:pt x="578" y="146"/>
                  <a:pt x="578" y="146"/>
                  <a:pt x="579" y="146"/>
                </a:cubicBezTo>
                <a:cubicBezTo>
                  <a:pt x="579" y="145"/>
                  <a:pt x="579" y="145"/>
                  <a:pt x="580" y="145"/>
                </a:cubicBezTo>
                <a:cubicBezTo>
                  <a:pt x="580" y="145"/>
                  <a:pt x="580" y="145"/>
                  <a:pt x="581" y="144"/>
                </a:cubicBezTo>
                <a:cubicBezTo>
                  <a:pt x="581" y="144"/>
                  <a:pt x="581" y="144"/>
                  <a:pt x="581" y="144"/>
                </a:cubicBezTo>
                <a:cubicBezTo>
                  <a:pt x="581" y="144"/>
                  <a:pt x="581" y="144"/>
                  <a:pt x="581" y="144"/>
                </a:cubicBezTo>
                <a:cubicBezTo>
                  <a:pt x="581" y="144"/>
                  <a:pt x="580" y="144"/>
                  <a:pt x="580" y="144"/>
                </a:cubicBezTo>
                <a:cubicBezTo>
                  <a:pt x="580" y="144"/>
                  <a:pt x="579" y="144"/>
                  <a:pt x="579" y="145"/>
                </a:cubicBezTo>
                <a:cubicBezTo>
                  <a:pt x="578" y="145"/>
                  <a:pt x="578" y="145"/>
                  <a:pt x="577" y="146"/>
                </a:cubicBezTo>
                <a:cubicBezTo>
                  <a:pt x="577" y="146"/>
                  <a:pt x="577" y="146"/>
                  <a:pt x="577" y="146"/>
                </a:cubicBezTo>
                <a:cubicBezTo>
                  <a:pt x="576" y="146"/>
                  <a:pt x="576" y="146"/>
                  <a:pt x="576" y="146"/>
                </a:cubicBezTo>
                <a:cubicBezTo>
                  <a:pt x="576" y="146"/>
                  <a:pt x="576" y="147"/>
                  <a:pt x="576" y="147"/>
                </a:cubicBezTo>
                <a:cubicBezTo>
                  <a:pt x="576" y="147"/>
                  <a:pt x="576" y="148"/>
                  <a:pt x="576" y="148"/>
                </a:cubicBezTo>
                <a:cubicBezTo>
                  <a:pt x="575" y="149"/>
                  <a:pt x="574" y="149"/>
                  <a:pt x="574" y="150"/>
                </a:cubicBezTo>
                <a:cubicBezTo>
                  <a:pt x="573" y="150"/>
                  <a:pt x="573" y="150"/>
                  <a:pt x="572" y="151"/>
                </a:cubicBezTo>
                <a:cubicBezTo>
                  <a:pt x="572" y="151"/>
                  <a:pt x="572" y="150"/>
                  <a:pt x="572" y="150"/>
                </a:cubicBezTo>
                <a:cubicBezTo>
                  <a:pt x="572" y="150"/>
                  <a:pt x="573" y="150"/>
                  <a:pt x="573" y="150"/>
                </a:cubicBezTo>
                <a:cubicBezTo>
                  <a:pt x="573" y="149"/>
                  <a:pt x="574" y="149"/>
                  <a:pt x="574" y="149"/>
                </a:cubicBezTo>
                <a:cubicBezTo>
                  <a:pt x="574" y="148"/>
                  <a:pt x="574" y="148"/>
                  <a:pt x="575" y="148"/>
                </a:cubicBezTo>
                <a:cubicBezTo>
                  <a:pt x="575" y="147"/>
                  <a:pt x="575" y="147"/>
                  <a:pt x="575" y="147"/>
                </a:cubicBezTo>
                <a:cubicBezTo>
                  <a:pt x="575" y="147"/>
                  <a:pt x="575" y="147"/>
                  <a:pt x="575" y="147"/>
                </a:cubicBezTo>
                <a:cubicBezTo>
                  <a:pt x="575" y="147"/>
                  <a:pt x="575" y="147"/>
                  <a:pt x="574" y="147"/>
                </a:cubicBezTo>
                <a:cubicBezTo>
                  <a:pt x="574" y="147"/>
                  <a:pt x="574" y="147"/>
                  <a:pt x="574" y="147"/>
                </a:cubicBezTo>
                <a:cubicBezTo>
                  <a:pt x="574" y="147"/>
                  <a:pt x="574" y="147"/>
                  <a:pt x="574" y="147"/>
                </a:cubicBezTo>
                <a:cubicBezTo>
                  <a:pt x="573" y="147"/>
                  <a:pt x="573" y="148"/>
                  <a:pt x="573" y="148"/>
                </a:cubicBezTo>
                <a:cubicBezTo>
                  <a:pt x="573" y="149"/>
                  <a:pt x="572" y="149"/>
                  <a:pt x="572" y="149"/>
                </a:cubicBezTo>
                <a:cubicBezTo>
                  <a:pt x="572" y="149"/>
                  <a:pt x="571" y="149"/>
                  <a:pt x="571" y="149"/>
                </a:cubicBezTo>
                <a:cubicBezTo>
                  <a:pt x="571" y="149"/>
                  <a:pt x="571" y="149"/>
                  <a:pt x="571" y="149"/>
                </a:cubicBezTo>
                <a:cubicBezTo>
                  <a:pt x="571" y="149"/>
                  <a:pt x="571" y="149"/>
                  <a:pt x="571" y="149"/>
                </a:cubicBezTo>
                <a:cubicBezTo>
                  <a:pt x="572" y="148"/>
                  <a:pt x="572" y="148"/>
                  <a:pt x="572" y="148"/>
                </a:cubicBezTo>
                <a:cubicBezTo>
                  <a:pt x="572" y="148"/>
                  <a:pt x="572" y="147"/>
                  <a:pt x="572" y="147"/>
                </a:cubicBezTo>
                <a:cubicBezTo>
                  <a:pt x="573" y="147"/>
                  <a:pt x="573" y="147"/>
                  <a:pt x="573" y="147"/>
                </a:cubicBezTo>
                <a:cubicBezTo>
                  <a:pt x="573" y="147"/>
                  <a:pt x="573" y="147"/>
                  <a:pt x="574" y="146"/>
                </a:cubicBezTo>
                <a:cubicBezTo>
                  <a:pt x="574" y="146"/>
                  <a:pt x="574" y="147"/>
                  <a:pt x="574" y="147"/>
                </a:cubicBezTo>
                <a:cubicBezTo>
                  <a:pt x="575" y="146"/>
                  <a:pt x="575" y="146"/>
                  <a:pt x="575" y="146"/>
                </a:cubicBezTo>
                <a:cubicBezTo>
                  <a:pt x="575" y="146"/>
                  <a:pt x="575" y="146"/>
                  <a:pt x="576" y="146"/>
                </a:cubicBezTo>
                <a:cubicBezTo>
                  <a:pt x="576" y="146"/>
                  <a:pt x="576" y="146"/>
                  <a:pt x="576" y="145"/>
                </a:cubicBezTo>
                <a:cubicBezTo>
                  <a:pt x="577" y="145"/>
                  <a:pt x="577" y="145"/>
                  <a:pt x="577" y="145"/>
                </a:cubicBezTo>
                <a:cubicBezTo>
                  <a:pt x="578" y="145"/>
                  <a:pt x="578" y="144"/>
                  <a:pt x="578" y="144"/>
                </a:cubicBezTo>
                <a:cubicBezTo>
                  <a:pt x="578" y="144"/>
                  <a:pt x="579" y="143"/>
                  <a:pt x="579" y="143"/>
                </a:cubicBezTo>
                <a:cubicBezTo>
                  <a:pt x="579" y="143"/>
                  <a:pt x="578" y="143"/>
                  <a:pt x="578" y="143"/>
                </a:cubicBezTo>
                <a:cubicBezTo>
                  <a:pt x="578" y="142"/>
                  <a:pt x="578" y="142"/>
                  <a:pt x="578" y="142"/>
                </a:cubicBezTo>
                <a:cubicBezTo>
                  <a:pt x="578" y="142"/>
                  <a:pt x="578" y="142"/>
                  <a:pt x="578" y="142"/>
                </a:cubicBezTo>
                <a:cubicBezTo>
                  <a:pt x="577" y="142"/>
                  <a:pt x="577" y="143"/>
                  <a:pt x="576" y="143"/>
                </a:cubicBezTo>
                <a:cubicBezTo>
                  <a:pt x="576" y="143"/>
                  <a:pt x="576" y="143"/>
                  <a:pt x="576" y="143"/>
                </a:cubicBezTo>
                <a:cubicBezTo>
                  <a:pt x="576" y="144"/>
                  <a:pt x="576" y="144"/>
                  <a:pt x="576" y="144"/>
                </a:cubicBezTo>
                <a:cubicBezTo>
                  <a:pt x="576" y="144"/>
                  <a:pt x="576" y="145"/>
                  <a:pt x="576" y="145"/>
                </a:cubicBezTo>
                <a:cubicBezTo>
                  <a:pt x="576" y="145"/>
                  <a:pt x="576" y="145"/>
                  <a:pt x="575" y="145"/>
                </a:cubicBezTo>
                <a:cubicBezTo>
                  <a:pt x="576" y="145"/>
                  <a:pt x="576" y="145"/>
                  <a:pt x="576" y="145"/>
                </a:cubicBezTo>
                <a:cubicBezTo>
                  <a:pt x="576" y="145"/>
                  <a:pt x="575" y="145"/>
                  <a:pt x="575" y="145"/>
                </a:cubicBezTo>
                <a:cubicBezTo>
                  <a:pt x="575" y="144"/>
                  <a:pt x="575" y="144"/>
                  <a:pt x="575" y="144"/>
                </a:cubicBezTo>
                <a:cubicBezTo>
                  <a:pt x="574" y="144"/>
                  <a:pt x="574" y="144"/>
                  <a:pt x="574" y="145"/>
                </a:cubicBezTo>
                <a:cubicBezTo>
                  <a:pt x="573" y="145"/>
                  <a:pt x="573" y="145"/>
                  <a:pt x="573" y="145"/>
                </a:cubicBezTo>
                <a:cubicBezTo>
                  <a:pt x="572" y="145"/>
                  <a:pt x="572" y="145"/>
                  <a:pt x="572" y="145"/>
                </a:cubicBezTo>
                <a:cubicBezTo>
                  <a:pt x="571" y="145"/>
                  <a:pt x="571" y="146"/>
                  <a:pt x="571" y="146"/>
                </a:cubicBezTo>
                <a:cubicBezTo>
                  <a:pt x="570" y="146"/>
                  <a:pt x="570" y="146"/>
                  <a:pt x="570" y="146"/>
                </a:cubicBezTo>
                <a:cubicBezTo>
                  <a:pt x="569" y="146"/>
                  <a:pt x="569" y="146"/>
                  <a:pt x="568" y="146"/>
                </a:cubicBezTo>
                <a:cubicBezTo>
                  <a:pt x="569" y="146"/>
                  <a:pt x="569" y="146"/>
                  <a:pt x="569" y="146"/>
                </a:cubicBezTo>
                <a:cubicBezTo>
                  <a:pt x="570" y="146"/>
                  <a:pt x="570" y="146"/>
                  <a:pt x="570" y="145"/>
                </a:cubicBezTo>
                <a:cubicBezTo>
                  <a:pt x="570" y="145"/>
                  <a:pt x="571" y="145"/>
                  <a:pt x="571" y="145"/>
                </a:cubicBezTo>
                <a:cubicBezTo>
                  <a:pt x="571" y="145"/>
                  <a:pt x="571" y="144"/>
                  <a:pt x="571" y="144"/>
                </a:cubicBezTo>
                <a:cubicBezTo>
                  <a:pt x="570" y="144"/>
                  <a:pt x="570" y="144"/>
                  <a:pt x="570" y="144"/>
                </a:cubicBezTo>
                <a:cubicBezTo>
                  <a:pt x="570" y="145"/>
                  <a:pt x="569" y="145"/>
                  <a:pt x="569" y="145"/>
                </a:cubicBezTo>
                <a:cubicBezTo>
                  <a:pt x="569" y="145"/>
                  <a:pt x="569" y="144"/>
                  <a:pt x="569" y="144"/>
                </a:cubicBezTo>
                <a:cubicBezTo>
                  <a:pt x="569" y="144"/>
                  <a:pt x="570" y="144"/>
                  <a:pt x="570" y="144"/>
                </a:cubicBezTo>
                <a:cubicBezTo>
                  <a:pt x="570" y="144"/>
                  <a:pt x="570" y="144"/>
                  <a:pt x="571" y="144"/>
                </a:cubicBezTo>
                <a:cubicBezTo>
                  <a:pt x="571" y="143"/>
                  <a:pt x="571" y="143"/>
                  <a:pt x="571" y="143"/>
                </a:cubicBezTo>
                <a:cubicBezTo>
                  <a:pt x="571" y="143"/>
                  <a:pt x="572" y="143"/>
                  <a:pt x="572" y="143"/>
                </a:cubicBezTo>
                <a:cubicBezTo>
                  <a:pt x="572" y="142"/>
                  <a:pt x="572" y="142"/>
                  <a:pt x="572" y="142"/>
                </a:cubicBezTo>
                <a:cubicBezTo>
                  <a:pt x="572" y="142"/>
                  <a:pt x="573" y="142"/>
                  <a:pt x="573" y="142"/>
                </a:cubicBezTo>
                <a:cubicBezTo>
                  <a:pt x="573" y="142"/>
                  <a:pt x="573" y="142"/>
                  <a:pt x="574" y="142"/>
                </a:cubicBezTo>
                <a:cubicBezTo>
                  <a:pt x="574" y="142"/>
                  <a:pt x="574" y="143"/>
                  <a:pt x="575" y="143"/>
                </a:cubicBezTo>
                <a:cubicBezTo>
                  <a:pt x="575" y="143"/>
                  <a:pt x="575" y="143"/>
                  <a:pt x="575" y="142"/>
                </a:cubicBezTo>
                <a:cubicBezTo>
                  <a:pt x="576" y="142"/>
                  <a:pt x="576" y="142"/>
                  <a:pt x="576" y="141"/>
                </a:cubicBezTo>
                <a:cubicBezTo>
                  <a:pt x="577" y="141"/>
                  <a:pt x="577" y="141"/>
                  <a:pt x="577" y="141"/>
                </a:cubicBezTo>
                <a:cubicBezTo>
                  <a:pt x="577" y="141"/>
                  <a:pt x="577" y="141"/>
                  <a:pt x="577" y="141"/>
                </a:cubicBezTo>
                <a:cubicBezTo>
                  <a:pt x="576" y="140"/>
                  <a:pt x="576" y="140"/>
                  <a:pt x="576" y="140"/>
                </a:cubicBezTo>
                <a:cubicBezTo>
                  <a:pt x="575" y="140"/>
                  <a:pt x="575" y="140"/>
                  <a:pt x="575" y="139"/>
                </a:cubicBezTo>
                <a:cubicBezTo>
                  <a:pt x="575" y="139"/>
                  <a:pt x="575" y="139"/>
                  <a:pt x="575" y="139"/>
                </a:cubicBezTo>
                <a:cubicBezTo>
                  <a:pt x="574" y="139"/>
                  <a:pt x="574" y="138"/>
                  <a:pt x="574" y="138"/>
                </a:cubicBezTo>
                <a:cubicBezTo>
                  <a:pt x="573" y="138"/>
                  <a:pt x="573" y="138"/>
                  <a:pt x="573" y="138"/>
                </a:cubicBezTo>
                <a:cubicBezTo>
                  <a:pt x="572" y="138"/>
                  <a:pt x="572" y="137"/>
                  <a:pt x="572" y="137"/>
                </a:cubicBezTo>
                <a:cubicBezTo>
                  <a:pt x="572" y="137"/>
                  <a:pt x="571" y="137"/>
                  <a:pt x="571" y="137"/>
                </a:cubicBezTo>
                <a:cubicBezTo>
                  <a:pt x="571" y="138"/>
                  <a:pt x="571" y="138"/>
                  <a:pt x="571" y="138"/>
                </a:cubicBezTo>
                <a:cubicBezTo>
                  <a:pt x="571" y="138"/>
                  <a:pt x="571" y="138"/>
                  <a:pt x="571" y="138"/>
                </a:cubicBezTo>
                <a:cubicBezTo>
                  <a:pt x="571" y="139"/>
                  <a:pt x="571" y="139"/>
                  <a:pt x="570" y="139"/>
                </a:cubicBezTo>
                <a:cubicBezTo>
                  <a:pt x="570" y="139"/>
                  <a:pt x="570" y="139"/>
                  <a:pt x="570" y="139"/>
                </a:cubicBezTo>
                <a:cubicBezTo>
                  <a:pt x="570" y="139"/>
                  <a:pt x="570" y="140"/>
                  <a:pt x="570" y="140"/>
                </a:cubicBezTo>
                <a:cubicBezTo>
                  <a:pt x="570" y="140"/>
                  <a:pt x="570" y="140"/>
                  <a:pt x="569" y="140"/>
                </a:cubicBezTo>
                <a:cubicBezTo>
                  <a:pt x="569" y="140"/>
                  <a:pt x="569" y="141"/>
                  <a:pt x="569" y="141"/>
                </a:cubicBezTo>
                <a:cubicBezTo>
                  <a:pt x="569" y="141"/>
                  <a:pt x="569" y="141"/>
                  <a:pt x="569" y="142"/>
                </a:cubicBezTo>
                <a:cubicBezTo>
                  <a:pt x="569" y="142"/>
                  <a:pt x="568" y="142"/>
                  <a:pt x="568" y="142"/>
                </a:cubicBezTo>
                <a:cubicBezTo>
                  <a:pt x="568" y="142"/>
                  <a:pt x="568" y="143"/>
                  <a:pt x="567" y="143"/>
                </a:cubicBezTo>
                <a:cubicBezTo>
                  <a:pt x="567" y="143"/>
                  <a:pt x="567" y="143"/>
                  <a:pt x="567" y="144"/>
                </a:cubicBezTo>
                <a:cubicBezTo>
                  <a:pt x="567" y="144"/>
                  <a:pt x="567" y="144"/>
                  <a:pt x="567" y="144"/>
                </a:cubicBezTo>
                <a:cubicBezTo>
                  <a:pt x="567" y="144"/>
                  <a:pt x="567" y="144"/>
                  <a:pt x="566" y="144"/>
                </a:cubicBezTo>
                <a:cubicBezTo>
                  <a:pt x="566" y="144"/>
                  <a:pt x="566" y="143"/>
                  <a:pt x="567" y="143"/>
                </a:cubicBezTo>
                <a:cubicBezTo>
                  <a:pt x="567" y="143"/>
                  <a:pt x="567" y="142"/>
                  <a:pt x="567" y="142"/>
                </a:cubicBezTo>
                <a:cubicBezTo>
                  <a:pt x="568" y="142"/>
                  <a:pt x="568" y="142"/>
                  <a:pt x="568" y="142"/>
                </a:cubicBezTo>
                <a:cubicBezTo>
                  <a:pt x="568" y="142"/>
                  <a:pt x="568" y="141"/>
                  <a:pt x="568" y="141"/>
                </a:cubicBezTo>
                <a:cubicBezTo>
                  <a:pt x="568" y="141"/>
                  <a:pt x="568" y="141"/>
                  <a:pt x="568" y="141"/>
                </a:cubicBezTo>
                <a:cubicBezTo>
                  <a:pt x="568" y="141"/>
                  <a:pt x="567" y="141"/>
                  <a:pt x="567" y="141"/>
                </a:cubicBezTo>
                <a:cubicBezTo>
                  <a:pt x="567" y="141"/>
                  <a:pt x="567" y="141"/>
                  <a:pt x="566" y="141"/>
                </a:cubicBezTo>
                <a:cubicBezTo>
                  <a:pt x="566" y="142"/>
                  <a:pt x="566" y="142"/>
                  <a:pt x="565" y="143"/>
                </a:cubicBezTo>
                <a:cubicBezTo>
                  <a:pt x="565" y="143"/>
                  <a:pt x="565" y="143"/>
                  <a:pt x="565" y="143"/>
                </a:cubicBezTo>
                <a:cubicBezTo>
                  <a:pt x="564" y="143"/>
                  <a:pt x="564" y="144"/>
                  <a:pt x="564" y="144"/>
                </a:cubicBezTo>
                <a:cubicBezTo>
                  <a:pt x="564" y="144"/>
                  <a:pt x="564" y="144"/>
                  <a:pt x="564" y="144"/>
                </a:cubicBezTo>
                <a:cubicBezTo>
                  <a:pt x="564" y="143"/>
                  <a:pt x="564" y="143"/>
                  <a:pt x="564" y="143"/>
                </a:cubicBezTo>
                <a:cubicBezTo>
                  <a:pt x="564" y="143"/>
                  <a:pt x="565" y="142"/>
                  <a:pt x="565" y="142"/>
                </a:cubicBezTo>
                <a:cubicBezTo>
                  <a:pt x="565" y="142"/>
                  <a:pt x="565" y="142"/>
                  <a:pt x="565" y="141"/>
                </a:cubicBezTo>
                <a:cubicBezTo>
                  <a:pt x="565" y="141"/>
                  <a:pt x="566" y="141"/>
                  <a:pt x="566" y="140"/>
                </a:cubicBezTo>
                <a:cubicBezTo>
                  <a:pt x="566" y="140"/>
                  <a:pt x="567" y="140"/>
                  <a:pt x="567" y="140"/>
                </a:cubicBezTo>
                <a:cubicBezTo>
                  <a:pt x="567" y="140"/>
                  <a:pt x="567" y="140"/>
                  <a:pt x="566" y="139"/>
                </a:cubicBezTo>
                <a:cubicBezTo>
                  <a:pt x="566" y="139"/>
                  <a:pt x="566" y="139"/>
                  <a:pt x="566" y="139"/>
                </a:cubicBezTo>
                <a:cubicBezTo>
                  <a:pt x="566" y="139"/>
                  <a:pt x="566" y="139"/>
                  <a:pt x="565" y="140"/>
                </a:cubicBezTo>
                <a:cubicBezTo>
                  <a:pt x="565" y="140"/>
                  <a:pt x="564" y="140"/>
                  <a:pt x="564" y="141"/>
                </a:cubicBezTo>
                <a:cubicBezTo>
                  <a:pt x="564" y="141"/>
                  <a:pt x="564" y="141"/>
                  <a:pt x="564" y="141"/>
                </a:cubicBezTo>
                <a:cubicBezTo>
                  <a:pt x="564" y="142"/>
                  <a:pt x="563" y="142"/>
                  <a:pt x="563" y="142"/>
                </a:cubicBezTo>
                <a:cubicBezTo>
                  <a:pt x="563" y="142"/>
                  <a:pt x="563" y="142"/>
                  <a:pt x="563" y="142"/>
                </a:cubicBezTo>
                <a:cubicBezTo>
                  <a:pt x="563" y="142"/>
                  <a:pt x="563" y="142"/>
                  <a:pt x="563" y="141"/>
                </a:cubicBezTo>
                <a:cubicBezTo>
                  <a:pt x="563" y="141"/>
                  <a:pt x="563" y="141"/>
                  <a:pt x="563" y="141"/>
                </a:cubicBezTo>
                <a:cubicBezTo>
                  <a:pt x="563" y="141"/>
                  <a:pt x="563" y="141"/>
                  <a:pt x="563" y="141"/>
                </a:cubicBezTo>
                <a:cubicBezTo>
                  <a:pt x="563" y="141"/>
                  <a:pt x="563" y="140"/>
                  <a:pt x="563" y="140"/>
                </a:cubicBezTo>
                <a:cubicBezTo>
                  <a:pt x="563" y="140"/>
                  <a:pt x="563" y="140"/>
                  <a:pt x="564" y="140"/>
                </a:cubicBezTo>
                <a:cubicBezTo>
                  <a:pt x="564" y="140"/>
                  <a:pt x="565" y="139"/>
                  <a:pt x="565" y="139"/>
                </a:cubicBezTo>
                <a:cubicBezTo>
                  <a:pt x="566" y="138"/>
                  <a:pt x="566" y="138"/>
                  <a:pt x="567" y="138"/>
                </a:cubicBezTo>
                <a:cubicBezTo>
                  <a:pt x="567" y="137"/>
                  <a:pt x="567" y="137"/>
                  <a:pt x="567" y="137"/>
                </a:cubicBezTo>
                <a:cubicBezTo>
                  <a:pt x="567" y="137"/>
                  <a:pt x="566" y="137"/>
                  <a:pt x="566" y="137"/>
                </a:cubicBezTo>
                <a:cubicBezTo>
                  <a:pt x="566" y="137"/>
                  <a:pt x="565" y="138"/>
                  <a:pt x="565" y="138"/>
                </a:cubicBezTo>
                <a:cubicBezTo>
                  <a:pt x="565" y="138"/>
                  <a:pt x="565" y="138"/>
                  <a:pt x="565" y="139"/>
                </a:cubicBezTo>
                <a:cubicBezTo>
                  <a:pt x="564" y="139"/>
                  <a:pt x="564" y="139"/>
                  <a:pt x="564" y="139"/>
                </a:cubicBezTo>
                <a:cubicBezTo>
                  <a:pt x="564" y="139"/>
                  <a:pt x="564" y="139"/>
                  <a:pt x="564" y="139"/>
                </a:cubicBezTo>
                <a:cubicBezTo>
                  <a:pt x="564" y="139"/>
                  <a:pt x="564" y="139"/>
                  <a:pt x="563" y="138"/>
                </a:cubicBezTo>
                <a:cubicBezTo>
                  <a:pt x="563" y="139"/>
                  <a:pt x="562" y="139"/>
                  <a:pt x="562" y="140"/>
                </a:cubicBezTo>
                <a:cubicBezTo>
                  <a:pt x="562" y="140"/>
                  <a:pt x="561" y="140"/>
                  <a:pt x="561" y="140"/>
                </a:cubicBezTo>
                <a:cubicBezTo>
                  <a:pt x="561" y="141"/>
                  <a:pt x="561" y="141"/>
                  <a:pt x="561" y="142"/>
                </a:cubicBezTo>
                <a:cubicBezTo>
                  <a:pt x="560" y="142"/>
                  <a:pt x="560" y="142"/>
                  <a:pt x="559" y="142"/>
                </a:cubicBezTo>
                <a:cubicBezTo>
                  <a:pt x="559" y="143"/>
                  <a:pt x="559" y="143"/>
                  <a:pt x="559" y="143"/>
                </a:cubicBezTo>
                <a:cubicBezTo>
                  <a:pt x="559" y="142"/>
                  <a:pt x="559" y="142"/>
                  <a:pt x="559" y="142"/>
                </a:cubicBezTo>
                <a:cubicBezTo>
                  <a:pt x="560" y="142"/>
                  <a:pt x="560" y="141"/>
                  <a:pt x="560" y="141"/>
                </a:cubicBezTo>
                <a:cubicBezTo>
                  <a:pt x="561" y="141"/>
                  <a:pt x="561" y="141"/>
                  <a:pt x="561" y="140"/>
                </a:cubicBezTo>
                <a:cubicBezTo>
                  <a:pt x="561" y="140"/>
                  <a:pt x="561" y="140"/>
                  <a:pt x="560" y="140"/>
                </a:cubicBezTo>
                <a:cubicBezTo>
                  <a:pt x="560" y="140"/>
                  <a:pt x="560" y="140"/>
                  <a:pt x="560" y="140"/>
                </a:cubicBezTo>
                <a:cubicBezTo>
                  <a:pt x="560" y="140"/>
                  <a:pt x="560" y="140"/>
                  <a:pt x="561" y="140"/>
                </a:cubicBezTo>
                <a:cubicBezTo>
                  <a:pt x="561" y="140"/>
                  <a:pt x="561" y="139"/>
                  <a:pt x="562" y="139"/>
                </a:cubicBezTo>
                <a:cubicBezTo>
                  <a:pt x="562" y="139"/>
                  <a:pt x="562" y="139"/>
                  <a:pt x="562" y="139"/>
                </a:cubicBezTo>
                <a:cubicBezTo>
                  <a:pt x="562" y="139"/>
                  <a:pt x="562" y="139"/>
                  <a:pt x="562" y="139"/>
                </a:cubicBezTo>
                <a:cubicBezTo>
                  <a:pt x="562" y="139"/>
                  <a:pt x="562" y="139"/>
                  <a:pt x="561" y="139"/>
                </a:cubicBezTo>
                <a:cubicBezTo>
                  <a:pt x="561" y="139"/>
                  <a:pt x="561" y="139"/>
                  <a:pt x="560" y="139"/>
                </a:cubicBezTo>
                <a:cubicBezTo>
                  <a:pt x="560" y="140"/>
                  <a:pt x="560" y="140"/>
                  <a:pt x="560" y="140"/>
                </a:cubicBezTo>
                <a:cubicBezTo>
                  <a:pt x="559" y="140"/>
                  <a:pt x="559" y="140"/>
                  <a:pt x="559" y="140"/>
                </a:cubicBezTo>
                <a:cubicBezTo>
                  <a:pt x="559" y="140"/>
                  <a:pt x="560" y="139"/>
                  <a:pt x="561" y="139"/>
                </a:cubicBezTo>
                <a:cubicBezTo>
                  <a:pt x="561" y="139"/>
                  <a:pt x="560" y="139"/>
                  <a:pt x="560" y="139"/>
                </a:cubicBezTo>
                <a:cubicBezTo>
                  <a:pt x="560" y="139"/>
                  <a:pt x="560" y="139"/>
                  <a:pt x="559" y="139"/>
                </a:cubicBezTo>
                <a:cubicBezTo>
                  <a:pt x="559" y="139"/>
                  <a:pt x="559" y="138"/>
                  <a:pt x="560" y="138"/>
                </a:cubicBezTo>
                <a:cubicBezTo>
                  <a:pt x="560" y="138"/>
                  <a:pt x="560" y="138"/>
                  <a:pt x="561" y="138"/>
                </a:cubicBezTo>
                <a:cubicBezTo>
                  <a:pt x="561" y="138"/>
                  <a:pt x="561" y="138"/>
                  <a:pt x="561" y="138"/>
                </a:cubicBezTo>
                <a:cubicBezTo>
                  <a:pt x="562" y="138"/>
                  <a:pt x="562" y="138"/>
                  <a:pt x="562" y="138"/>
                </a:cubicBezTo>
                <a:cubicBezTo>
                  <a:pt x="563" y="138"/>
                  <a:pt x="563" y="137"/>
                  <a:pt x="563" y="137"/>
                </a:cubicBezTo>
                <a:cubicBezTo>
                  <a:pt x="563" y="137"/>
                  <a:pt x="564" y="137"/>
                  <a:pt x="564" y="136"/>
                </a:cubicBezTo>
                <a:cubicBezTo>
                  <a:pt x="564" y="136"/>
                  <a:pt x="564" y="136"/>
                  <a:pt x="564" y="136"/>
                </a:cubicBezTo>
                <a:cubicBezTo>
                  <a:pt x="564" y="136"/>
                  <a:pt x="564" y="136"/>
                  <a:pt x="564" y="135"/>
                </a:cubicBezTo>
                <a:cubicBezTo>
                  <a:pt x="564" y="135"/>
                  <a:pt x="564" y="135"/>
                  <a:pt x="564" y="135"/>
                </a:cubicBezTo>
                <a:cubicBezTo>
                  <a:pt x="564" y="135"/>
                  <a:pt x="564" y="135"/>
                  <a:pt x="563" y="135"/>
                </a:cubicBezTo>
                <a:cubicBezTo>
                  <a:pt x="563" y="135"/>
                  <a:pt x="563" y="135"/>
                  <a:pt x="563" y="135"/>
                </a:cubicBezTo>
                <a:cubicBezTo>
                  <a:pt x="562" y="135"/>
                  <a:pt x="562" y="135"/>
                  <a:pt x="562" y="135"/>
                </a:cubicBezTo>
                <a:cubicBezTo>
                  <a:pt x="561" y="135"/>
                  <a:pt x="561" y="135"/>
                  <a:pt x="560" y="136"/>
                </a:cubicBezTo>
                <a:cubicBezTo>
                  <a:pt x="560" y="136"/>
                  <a:pt x="560" y="136"/>
                  <a:pt x="559" y="136"/>
                </a:cubicBezTo>
                <a:cubicBezTo>
                  <a:pt x="559" y="137"/>
                  <a:pt x="559" y="137"/>
                  <a:pt x="558" y="137"/>
                </a:cubicBezTo>
                <a:cubicBezTo>
                  <a:pt x="558" y="138"/>
                  <a:pt x="557" y="138"/>
                  <a:pt x="556" y="139"/>
                </a:cubicBezTo>
                <a:cubicBezTo>
                  <a:pt x="556" y="139"/>
                  <a:pt x="556" y="139"/>
                  <a:pt x="556" y="139"/>
                </a:cubicBezTo>
                <a:cubicBezTo>
                  <a:pt x="556" y="139"/>
                  <a:pt x="556" y="139"/>
                  <a:pt x="556" y="139"/>
                </a:cubicBezTo>
                <a:cubicBezTo>
                  <a:pt x="556" y="138"/>
                  <a:pt x="556" y="138"/>
                  <a:pt x="557" y="138"/>
                </a:cubicBezTo>
                <a:cubicBezTo>
                  <a:pt x="557" y="138"/>
                  <a:pt x="557" y="138"/>
                  <a:pt x="557" y="138"/>
                </a:cubicBezTo>
                <a:cubicBezTo>
                  <a:pt x="558" y="137"/>
                  <a:pt x="558" y="137"/>
                  <a:pt x="558" y="136"/>
                </a:cubicBezTo>
                <a:cubicBezTo>
                  <a:pt x="559" y="136"/>
                  <a:pt x="559" y="136"/>
                  <a:pt x="560" y="136"/>
                </a:cubicBezTo>
                <a:cubicBezTo>
                  <a:pt x="560" y="135"/>
                  <a:pt x="560" y="135"/>
                  <a:pt x="560" y="135"/>
                </a:cubicBezTo>
                <a:cubicBezTo>
                  <a:pt x="560" y="135"/>
                  <a:pt x="560" y="135"/>
                  <a:pt x="560" y="135"/>
                </a:cubicBezTo>
                <a:cubicBezTo>
                  <a:pt x="559" y="135"/>
                  <a:pt x="559" y="135"/>
                  <a:pt x="558" y="135"/>
                </a:cubicBezTo>
                <a:cubicBezTo>
                  <a:pt x="557" y="135"/>
                  <a:pt x="557" y="136"/>
                  <a:pt x="556" y="136"/>
                </a:cubicBezTo>
                <a:cubicBezTo>
                  <a:pt x="557" y="136"/>
                  <a:pt x="557" y="135"/>
                  <a:pt x="558" y="135"/>
                </a:cubicBezTo>
                <a:cubicBezTo>
                  <a:pt x="558" y="135"/>
                  <a:pt x="559" y="134"/>
                  <a:pt x="559" y="134"/>
                </a:cubicBezTo>
                <a:cubicBezTo>
                  <a:pt x="560" y="134"/>
                  <a:pt x="560" y="134"/>
                  <a:pt x="560" y="134"/>
                </a:cubicBezTo>
                <a:cubicBezTo>
                  <a:pt x="561" y="134"/>
                  <a:pt x="561" y="134"/>
                  <a:pt x="561" y="134"/>
                </a:cubicBezTo>
                <a:cubicBezTo>
                  <a:pt x="562" y="134"/>
                  <a:pt x="562" y="134"/>
                  <a:pt x="562" y="133"/>
                </a:cubicBezTo>
                <a:cubicBezTo>
                  <a:pt x="562" y="133"/>
                  <a:pt x="562" y="133"/>
                  <a:pt x="562" y="133"/>
                </a:cubicBezTo>
                <a:cubicBezTo>
                  <a:pt x="562" y="133"/>
                  <a:pt x="562" y="133"/>
                  <a:pt x="562" y="132"/>
                </a:cubicBezTo>
                <a:cubicBezTo>
                  <a:pt x="562" y="132"/>
                  <a:pt x="562" y="132"/>
                  <a:pt x="562" y="132"/>
                </a:cubicBezTo>
                <a:cubicBezTo>
                  <a:pt x="562" y="132"/>
                  <a:pt x="562" y="132"/>
                  <a:pt x="561" y="132"/>
                </a:cubicBezTo>
                <a:cubicBezTo>
                  <a:pt x="561" y="131"/>
                  <a:pt x="561" y="131"/>
                  <a:pt x="560" y="131"/>
                </a:cubicBezTo>
                <a:cubicBezTo>
                  <a:pt x="560" y="131"/>
                  <a:pt x="560" y="131"/>
                  <a:pt x="560" y="131"/>
                </a:cubicBezTo>
                <a:cubicBezTo>
                  <a:pt x="559" y="131"/>
                  <a:pt x="559" y="131"/>
                  <a:pt x="559" y="131"/>
                </a:cubicBezTo>
                <a:cubicBezTo>
                  <a:pt x="559" y="131"/>
                  <a:pt x="559" y="131"/>
                  <a:pt x="558" y="131"/>
                </a:cubicBezTo>
                <a:cubicBezTo>
                  <a:pt x="558" y="131"/>
                  <a:pt x="558" y="131"/>
                  <a:pt x="558" y="131"/>
                </a:cubicBezTo>
                <a:cubicBezTo>
                  <a:pt x="558" y="131"/>
                  <a:pt x="558" y="131"/>
                  <a:pt x="558" y="131"/>
                </a:cubicBezTo>
                <a:cubicBezTo>
                  <a:pt x="557" y="131"/>
                  <a:pt x="557" y="131"/>
                  <a:pt x="557" y="131"/>
                </a:cubicBezTo>
                <a:cubicBezTo>
                  <a:pt x="556" y="131"/>
                  <a:pt x="556" y="131"/>
                  <a:pt x="556" y="131"/>
                </a:cubicBezTo>
                <a:cubicBezTo>
                  <a:pt x="556" y="130"/>
                  <a:pt x="556" y="130"/>
                  <a:pt x="556" y="130"/>
                </a:cubicBezTo>
                <a:cubicBezTo>
                  <a:pt x="555" y="130"/>
                  <a:pt x="554" y="130"/>
                  <a:pt x="554" y="130"/>
                </a:cubicBezTo>
                <a:cubicBezTo>
                  <a:pt x="554" y="130"/>
                  <a:pt x="554" y="130"/>
                  <a:pt x="553" y="130"/>
                </a:cubicBezTo>
                <a:cubicBezTo>
                  <a:pt x="553" y="130"/>
                  <a:pt x="553" y="130"/>
                  <a:pt x="553" y="130"/>
                </a:cubicBezTo>
                <a:cubicBezTo>
                  <a:pt x="552" y="130"/>
                  <a:pt x="552" y="130"/>
                  <a:pt x="551" y="130"/>
                </a:cubicBezTo>
                <a:cubicBezTo>
                  <a:pt x="551" y="130"/>
                  <a:pt x="550" y="130"/>
                  <a:pt x="550" y="131"/>
                </a:cubicBezTo>
                <a:cubicBezTo>
                  <a:pt x="549" y="131"/>
                  <a:pt x="549" y="131"/>
                  <a:pt x="549" y="131"/>
                </a:cubicBezTo>
                <a:cubicBezTo>
                  <a:pt x="548" y="132"/>
                  <a:pt x="548" y="132"/>
                  <a:pt x="547" y="132"/>
                </a:cubicBezTo>
                <a:cubicBezTo>
                  <a:pt x="547" y="132"/>
                  <a:pt x="547" y="133"/>
                  <a:pt x="546" y="133"/>
                </a:cubicBezTo>
                <a:cubicBezTo>
                  <a:pt x="547" y="133"/>
                  <a:pt x="547" y="133"/>
                  <a:pt x="547" y="133"/>
                </a:cubicBezTo>
                <a:cubicBezTo>
                  <a:pt x="547" y="133"/>
                  <a:pt x="547" y="133"/>
                  <a:pt x="548" y="133"/>
                </a:cubicBezTo>
                <a:cubicBezTo>
                  <a:pt x="548" y="134"/>
                  <a:pt x="549" y="134"/>
                  <a:pt x="550" y="134"/>
                </a:cubicBezTo>
                <a:cubicBezTo>
                  <a:pt x="550" y="134"/>
                  <a:pt x="550" y="134"/>
                  <a:pt x="550" y="134"/>
                </a:cubicBezTo>
                <a:cubicBezTo>
                  <a:pt x="551" y="134"/>
                  <a:pt x="551" y="134"/>
                  <a:pt x="551" y="134"/>
                </a:cubicBezTo>
                <a:cubicBezTo>
                  <a:pt x="552" y="134"/>
                  <a:pt x="552" y="135"/>
                  <a:pt x="552" y="135"/>
                </a:cubicBezTo>
                <a:cubicBezTo>
                  <a:pt x="552" y="135"/>
                  <a:pt x="552" y="135"/>
                  <a:pt x="551" y="135"/>
                </a:cubicBezTo>
                <a:cubicBezTo>
                  <a:pt x="551" y="135"/>
                  <a:pt x="551" y="135"/>
                  <a:pt x="551" y="135"/>
                </a:cubicBezTo>
                <a:cubicBezTo>
                  <a:pt x="550" y="135"/>
                  <a:pt x="550" y="135"/>
                  <a:pt x="549" y="135"/>
                </a:cubicBezTo>
                <a:cubicBezTo>
                  <a:pt x="549" y="135"/>
                  <a:pt x="549" y="135"/>
                  <a:pt x="549" y="135"/>
                </a:cubicBezTo>
                <a:cubicBezTo>
                  <a:pt x="548" y="134"/>
                  <a:pt x="548" y="134"/>
                  <a:pt x="547" y="134"/>
                </a:cubicBezTo>
                <a:cubicBezTo>
                  <a:pt x="547" y="134"/>
                  <a:pt x="546" y="134"/>
                  <a:pt x="546" y="134"/>
                </a:cubicBezTo>
                <a:cubicBezTo>
                  <a:pt x="546" y="134"/>
                  <a:pt x="546" y="134"/>
                  <a:pt x="545" y="135"/>
                </a:cubicBezTo>
                <a:cubicBezTo>
                  <a:pt x="546" y="134"/>
                  <a:pt x="546" y="134"/>
                  <a:pt x="546" y="134"/>
                </a:cubicBezTo>
                <a:cubicBezTo>
                  <a:pt x="546" y="134"/>
                  <a:pt x="546" y="133"/>
                  <a:pt x="546" y="133"/>
                </a:cubicBezTo>
                <a:cubicBezTo>
                  <a:pt x="545" y="133"/>
                  <a:pt x="545" y="133"/>
                  <a:pt x="545" y="133"/>
                </a:cubicBezTo>
                <a:cubicBezTo>
                  <a:pt x="544" y="133"/>
                  <a:pt x="544" y="133"/>
                  <a:pt x="544" y="133"/>
                </a:cubicBezTo>
                <a:cubicBezTo>
                  <a:pt x="544" y="134"/>
                  <a:pt x="544" y="134"/>
                  <a:pt x="544" y="135"/>
                </a:cubicBezTo>
                <a:cubicBezTo>
                  <a:pt x="545" y="135"/>
                  <a:pt x="545" y="135"/>
                  <a:pt x="545" y="135"/>
                </a:cubicBezTo>
                <a:cubicBezTo>
                  <a:pt x="545" y="135"/>
                  <a:pt x="545" y="136"/>
                  <a:pt x="546" y="136"/>
                </a:cubicBezTo>
                <a:cubicBezTo>
                  <a:pt x="545" y="136"/>
                  <a:pt x="545" y="136"/>
                  <a:pt x="545" y="137"/>
                </a:cubicBezTo>
                <a:cubicBezTo>
                  <a:pt x="545" y="136"/>
                  <a:pt x="545" y="136"/>
                  <a:pt x="545" y="136"/>
                </a:cubicBezTo>
                <a:cubicBezTo>
                  <a:pt x="545" y="136"/>
                  <a:pt x="545" y="135"/>
                  <a:pt x="544" y="135"/>
                </a:cubicBezTo>
                <a:cubicBezTo>
                  <a:pt x="544" y="135"/>
                  <a:pt x="544" y="136"/>
                  <a:pt x="543" y="136"/>
                </a:cubicBezTo>
                <a:cubicBezTo>
                  <a:pt x="543" y="136"/>
                  <a:pt x="543" y="137"/>
                  <a:pt x="543" y="137"/>
                </a:cubicBezTo>
                <a:cubicBezTo>
                  <a:pt x="543" y="137"/>
                  <a:pt x="544" y="137"/>
                  <a:pt x="544" y="137"/>
                </a:cubicBezTo>
                <a:cubicBezTo>
                  <a:pt x="544" y="137"/>
                  <a:pt x="543" y="138"/>
                  <a:pt x="543" y="138"/>
                </a:cubicBezTo>
                <a:cubicBezTo>
                  <a:pt x="543" y="138"/>
                  <a:pt x="542" y="138"/>
                  <a:pt x="542" y="138"/>
                </a:cubicBezTo>
                <a:cubicBezTo>
                  <a:pt x="542" y="138"/>
                  <a:pt x="541" y="138"/>
                  <a:pt x="541" y="138"/>
                </a:cubicBezTo>
                <a:cubicBezTo>
                  <a:pt x="541" y="137"/>
                  <a:pt x="541" y="137"/>
                  <a:pt x="541" y="137"/>
                </a:cubicBezTo>
                <a:cubicBezTo>
                  <a:pt x="542" y="137"/>
                  <a:pt x="542" y="137"/>
                  <a:pt x="542" y="136"/>
                </a:cubicBezTo>
                <a:cubicBezTo>
                  <a:pt x="543" y="136"/>
                  <a:pt x="543" y="135"/>
                  <a:pt x="543" y="135"/>
                </a:cubicBezTo>
                <a:cubicBezTo>
                  <a:pt x="544" y="135"/>
                  <a:pt x="544" y="134"/>
                  <a:pt x="544" y="134"/>
                </a:cubicBezTo>
                <a:cubicBezTo>
                  <a:pt x="543" y="134"/>
                  <a:pt x="543" y="134"/>
                  <a:pt x="543" y="134"/>
                </a:cubicBezTo>
                <a:cubicBezTo>
                  <a:pt x="543" y="134"/>
                  <a:pt x="543" y="133"/>
                  <a:pt x="542" y="133"/>
                </a:cubicBezTo>
                <a:cubicBezTo>
                  <a:pt x="542" y="133"/>
                  <a:pt x="542" y="134"/>
                  <a:pt x="541" y="134"/>
                </a:cubicBezTo>
                <a:cubicBezTo>
                  <a:pt x="541" y="134"/>
                  <a:pt x="541" y="134"/>
                  <a:pt x="541" y="135"/>
                </a:cubicBezTo>
                <a:cubicBezTo>
                  <a:pt x="541" y="135"/>
                  <a:pt x="540" y="134"/>
                  <a:pt x="540" y="134"/>
                </a:cubicBezTo>
                <a:cubicBezTo>
                  <a:pt x="540" y="134"/>
                  <a:pt x="540" y="134"/>
                  <a:pt x="540" y="134"/>
                </a:cubicBezTo>
                <a:cubicBezTo>
                  <a:pt x="540" y="134"/>
                  <a:pt x="540" y="134"/>
                  <a:pt x="539" y="134"/>
                </a:cubicBezTo>
                <a:cubicBezTo>
                  <a:pt x="539" y="134"/>
                  <a:pt x="539" y="134"/>
                  <a:pt x="539" y="134"/>
                </a:cubicBezTo>
                <a:cubicBezTo>
                  <a:pt x="539" y="134"/>
                  <a:pt x="539" y="134"/>
                  <a:pt x="539" y="134"/>
                </a:cubicBezTo>
                <a:cubicBezTo>
                  <a:pt x="539" y="135"/>
                  <a:pt x="539" y="135"/>
                  <a:pt x="539" y="135"/>
                </a:cubicBezTo>
                <a:cubicBezTo>
                  <a:pt x="539" y="135"/>
                  <a:pt x="539" y="136"/>
                  <a:pt x="539" y="136"/>
                </a:cubicBezTo>
                <a:cubicBezTo>
                  <a:pt x="539" y="136"/>
                  <a:pt x="539" y="136"/>
                  <a:pt x="539" y="136"/>
                </a:cubicBezTo>
                <a:cubicBezTo>
                  <a:pt x="538" y="136"/>
                  <a:pt x="538" y="135"/>
                  <a:pt x="538" y="135"/>
                </a:cubicBezTo>
                <a:cubicBezTo>
                  <a:pt x="538" y="135"/>
                  <a:pt x="538" y="135"/>
                  <a:pt x="538" y="135"/>
                </a:cubicBezTo>
                <a:cubicBezTo>
                  <a:pt x="538" y="135"/>
                  <a:pt x="538" y="135"/>
                  <a:pt x="538" y="135"/>
                </a:cubicBezTo>
                <a:cubicBezTo>
                  <a:pt x="537" y="136"/>
                  <a:pt x="537" y="136"/>
                  <a:pt x="537" y="136"/>
                </a:cubicBezTo>
                <a:cubicBezTo>
                  <a:pt x="537" y="136"/>
                  <a:pt x="537" y="136"/>
                  <a:pt x="537" y="136"/>
                </a:cubicBezTo>
                <a:cubicBezTo>
                  <a:pt x="536" y="137"/>
                  <a:pt x="536" y="137"/>
                  <a:pt x="536" y="137"/>
                </a:cubicBezTo>
                <a:cubicBezTo>
                  <a:pt x="536" y="137"/>
                  <a:pt x="536" y="138"/>
                  <a:pt x="535" y="138"/>
                </a:cubicBezTo>
                <a:cubicBezTo>
                  <a:pt x="535" y="138"/>
                  <a:pt x="535" y="138"/>
                  <a:pt x="535" y="138"/>
                </a:cubicBezTo>
                <a:cubicBezTo>
                  <a:pt x="535" y="138"/>
                  <a:pt x="534" y="138"/>
                  <a:pt x="534" y="138"/>
                </a:cubicBezTo>
                <a:cubicBezTo>
                  <a:pt x="534" y="138"/>
                  <a:pt x="535" y="138"/>
                  <a:pt x="535" y="138"/>
                </a:cubicBezTo>
                <a:cubicBezTo>
                  <a:pt x="535" y="138"/>
                  <a:pt x="535" y="137"/>
                  <a:pt x="535" y="137"/>
                </a:cubicBezTo>
                <a:cubicBezTo>
                  <a:pt x="535" y="137"/>
                  <a:pt x="534" y="137"/>
                  <a:pt x="534" y="137"/>
                </a:cubicBezTo>
                <a:cubicBezTo>
                  <a:pt x="534" y="137"/>
                  <a:pt x="534" y="137"/>
                  <a:pt x="534" y="137"/>
                </a:cubicBezTo>
                <a:cubicBezTo>
                  <a:pt x="534" y="137"/>
                  <a:pt x="534" y="137"/>
                  <a:pt x="534" y="137"/>
                </a:cubicBezTo>
                <a:cubicBezTo>
                  <a:pt x="534" y="137"/>
                  <a:pt x="534" y="137"/>
                  <a:pt x="534" y="136"/>
                </a:cubicBezTo>
                <a:cubicBezTo>
                  <a:pt x="535" y="136"/>
                  <a:pt x="535" y="137"/>
                  <a:pt x="535" y="137"/>
                </a:cubicBezTo>
                <a:cubicBezTo>
                  <a:pt x="535" y="136"/>
                  <a:pt x="535" y="136"/>
                  <a:pt x="535" y="136"/>
                </a:cubicBezTo>
                <a:cubicBezTo>
                  <a:pt x="535" y="136"/>
                  <a:pt x="535" y="136"/>
                  <a:pt x="535" y="136"/>
                </a:cubicBezTo>
                <a:cubicBezTo>
                  <a:pt x="535" y="136"/>
                  <a:pt x="535" y="136"/>
                  <a:pt x="535" y="136"/>
                </a:cubicBezTo>
                <a:cubicBezTo>
                  <a:pt x="535" y="135"/>
                  <a:pt x="536" y="135"/>
                  <a:pt x="536" y="135"/>
                </a:cubicBezTo>
                <a:cubicBezTo>
                  <a:pt x="536" y="135"/>
                  <a:pt x="537" y="134"/>
                  <a:pt x="537" y="134"/>
                </a:cubicBezTo>
                <a:cubicBezTo>
                  <a:pt x="537" y="134"/>
                  <a:pt x="537" y="133"/>
                  <a:pt x="538" y="133"/>
                </a:cubicBezTo>
                <a:cubicBezTo>
                  <a:pt x="538" y="133"/>
                  <a:pt x="538" y="133"/>
                  <a:pt x="538" y="132"/>
                </a:cubicBezTo>
                <a:cubicBezTo>
                  <a:pt x="538" y="132"/>
                  <a:pt x="538" y="133"/>
                  <a:pt x="538" y="133"/>
                </a:cubicBezTo>
                <a:cubicBezTo>
                  <a:pt x="537" y="133"/>
                  <a:pt x="537" y="133"/>
                  <a:pt x="537" y="133"/>
                </a:cubicBezTo>
                <a:cubicBezTo>
                  <a:pt x="537" y="133"/>
                  <a:pt x="536" y="133"/>
                  <a:pt x="536" y="134"/>
                </a:cubicBezTo>
                <a:cubicBezTo>
                  <a:pt x="535" y="134"/>
                  <a:pt x="535" y="134"/>
                  <a:pt x="535" y="135"/>
                </a:cubicBezTo>
                <a:cubicBezTo>
                  <a:pt x="534" y="135"/>
                  <a:pt x="534" y="135"/>
                  <a:pt x="534" y="135"/>
                </a:cubicBezTo>
                <a:cubicBezTo>
                  <a:pt x="534" y="135"/>
                  <a:pt x="534" y="134"/>
                  <a:pt x="535" y="134"/>
                </a:cubicBezTo>
                <a:cubicBezTo>
                  <a:pt x="535" y="134"/>
                  <a:pt x="535" y="134"/>
                  <a:pt x="535" y="133"/>
                </a:cubicBezTo>
                <a:cubicBezTo>
                  <a:pt x="535" y="133"/>
                  <a:pt x="536" y="133"/>
                  <a:pt x="536" y="133"/>
                </a:cubicBezTo>
                <a:cubicBezTo>
                  <a:pt x="536" y="133"/>
                  <a:pt x="536" y="133"/>
                  <a:pt x="537" y="132"/>
                </a:cubicBezTo>
                <a:cubicBezTo>
                  <a:pt x="537" y="132"/>
                  <a:pt x="537" y="132"/>
                  <a:pt x="537" y="132"/>
                </a:cubicBezTo>
                <a:cubicBezTo>
                  <a:pt x="538" y="132"/>
                  <a:pt x="538" y="132"/>
                  <a:pt x="538" y="131"/>
                </a:cubicBezTo>
                <a:cubicBezTo>
                  <a:pt x="539" y="131"/>
                  <a:pt x="539" y="131"/>
                  <a:pt x="539" y="131"/>
                </a:cubicBezTo>
                <a:cubicBezTo>
                  <a:pt x="539" y="130"/>
                  <a:pt x="539" y="130"/>
                  <a:pt x="539" y="130"/>
                </a:cubicBezTo>
                <a:cubicBezTo>
                  <a:pt x="539" y="130"/>
                  <a:pt x="538" y="130"/>
                  <a:pt x="538" y="130"/>
                </a:cubicBezTo>
                <a:cubicBezTo>
                  <a:pt x="538" y="130"/>
                  <a:pt x="538" y="129"/>
                  <a:pt x="538" y="129"/>
                </a:cubicBezTo>
                <a:cubicBezTo>
                  <a:pt x="538" y="129"/>
                  <a:pt x="538" y="129"/>
                  <a:pt x="538" y="129"/>
                </a:cubicBezTo>
                <a:cubicBezTo>
                  <a:pt x="538" y="128"/>
                  <a:pt x="539" y="128"/>
                  <a:pt x="539" y="127"/>
                </a:cubicBezTo>
                <a:cubicBezTo>
                  <a:pt x="539" y="127"/>
                  <a:pt x="539" y="127"/>
                  <a:pt x="540" y="127"/>
                </a:cubicBezTo>
                <a:cubicBezTo>
                  <a:pt x="539" y="127"/>
                  <a:pt x="539" y="126"/>
                  <a:pt x="539" y="126"/>
                </a:cubicBezTo>
                <a:cubicBezTo>
                  <a:pt x="539" y="126"/>
                  <a:pt x="538" y="126"/>
                  <a:pt x="538" y="126"/>
                </a:cubicBezTo>
                <a:cubicBezTo>
                  <a:pt x="538" y="126"/>
                  <a:pt x="538" y="126"/>
                  <a:pt x="537" y="126"/>
                </a:cubicBezTo>
                <a:cubicBezTo>
                  <a:pt x="538" y="126"/>
                  <a:pt x="538" y="125"/>
                  <a:pt x="538" y="125"/>
                </a:cubicBezTo>
                <a:cubicBezTo>
                  <a:pt x="538" y="125"/>
                  <a:pt x="539" y="124"/>
                  <a:pt x="539" y="124"/>
                </a:cubicBezTo>
                <a:cubicBezTo>
                  <a:pt x="539" y="124"/>
                  <a:pt x="539" y="124"/>
                  <a:pt x="539" y="124"/>
                </a:cubicBezTo>
                <a:cubicBezTo>
                  <a:pt x="539" y="123"/>
                  <a:pt x="539" y="123"/>
                  <a:pt x="539" y="122"/>
                </a:cubicBezTo>
                <a:cubicBezTo>
                  <a:pt x="539" y="122"/>
                  <a:pt x="539" y="122"/>
                  <a:pt x="539" y="122"/>
                </a:cubicBezTo>
                <a:cubicBezTo>
                  <a:pt x="539" y="122"/>
                  <a:pt x="539" y="121"/>
                  <a:pt x="539" y="121"/>
                </a:cubicBezTo>
                <a:cubicBezTo>
                  <a:pt x="538" y="121"/>
                  <a:pt x="538" y="121"/>
                  <a:pt x="537" y="121"/>
                </a:cubicBezTo>
                <a:cubicBezTo>
                  <a:pt x="536" y="121"/>
                  <a:pt x="536" y="122"/>
                  <a:pt x="535" y="122"/>
                </a:cubicBezTo>
                <a:cubicBezTo>
                  <a:pt x="534" y="122"/>
                  <a:pt x="534" y="122"/>
                  <a:pt x="533" y="122"/>
                </a:cubicBezTo>
                <a:cubicBezTo>
                  <a:pt x="533" y="122"/>
                  <a:pt x="532" y="122"/>
                  <a:pt x="532" y="123"/>
                </a:cubicBezTo>
                <a:cubicBezTo>
                  <a:pt x="532" y="123"/>
                  <a:pt x="531" y="123"/>
                  <a:pt x="531" y="123"/>
                </a:cubicBezTo>
                <a:cubicBezTo>
                  <a:pt x="530" y="123"/>
                  <a:pt x="530" y="123"/>
                  <a:pt x="529" y="124"/>
                </a:cubicBezTo>
                <a:cubicBezTo>
                  <a:pt x="528" y="124"/>
                  <a:pt x="527" y="124"/>
                  <a:pt x="526" y="125"/>
                </a:cubicBezTo>
                <a:cubicBezTo>
                  <a:pt x="526" y="125"/>
                  <a:pt x="526" y="125"/>
                  <a:pt x="526" y="125"/>
                </a:cubicBezTo>
                <a:cubicBezTo>
                  <a:pt x="526" y="125"/>
                  <a:pt x="527" y="126"/>
                  <a:pt x="527" y="126"/>
                </a:cubicBezTo>
                <a:cubicBezTo>
                  <a:pt x="527" y="126"/>
                  <a:pt x="527" y="126"/>
                  <a:pt x="527" y="126"/>
                </a:cubicBezTo>
                <a:cubicBezTo>
                  <a:pt x="527" y="127"/>
                  <a:pt x="527" y="127"/>
                  <a:pt x="527" y="127"/>
                </a:cubicBezTo>
                <a:cubicBezTo>
                  <a:pt x="527" y="127"/>
                  <a:pt x="527" y="126"/>
                  <a:pt x="526" y="126"/>
                </a:cubicBezTo>
                <a:cubicBezTo>
                  <a:pt x="526" y="126"/>
                  <a:pt x="526" y="126"/>
                  <a:pt x="526" y="126"/>
                </a:cubicBezTo>
                <a:cubicBezTo>
                  <a:pt x="525" y="126"/>
                  <a:pt x="525" y="125"/>
                  <a:pt x="525" y="125"/>
                </a:cubicBezTo>
                <a:cubicBezTo>
                  <a:pt x="524" y="125"/>
                  <a:pt x="524" y="125"/>
                  <a:pt x="524" y="126"/>
                </a:cubicBezTo>
                <a:cubicBezTo>
                  <a:pt x="523" y="126"/>
                  <a:pt x="523" y="126"/>
                  <a:pt x="523" y="126"/>
                </a:cubicBezTo>
                <a:cubicBezTo>
                  <a:pt x="523" y="126"/>
                  <a:pt x="523" y="127"/>
                  <a:pt x="523" y="127"/>
                </a:cubicBezTo>
                <a:cubicBezTo>
                  <a:pt x="523" y="127"/>
                  <a:pt x="523" y="127"/>
                  <a:pt x="523" y="127"/>
                </a:cubicBezTo>
                <a:cubicBezTo>
                  <a:pt x="523" y="127"/>
                  <a:pt x="523" y="127"/>
                  <a:pt x="522" y="127"/>
                </a:cubicBezTo>
                <a:cubicBezTo>
                  <a:pt x="522" y="126"/>
                  <a:pt x="522" y="126"/>
                  <a:pt x="522" y="126"/>
                </a:cubicBezTo>
                <a:cubicBezTo>
                  <a:pt x="522" y="126"/>
                  <a:pt x="522" y="126"/>
                  <a:pt x="522" y="126"/>
                </a:cubicBezTo>
                <a:cubicBezTo>
                  <a:pt x="521" y="126"/>
                  <a:pt x="521" y="126"/>
                  <a:pt x="520" y="127"/>
                </a:cubicBezTo>
                <a:cubicBezTo>
                  <a:pt x="520" y="127"/>
                  <a:pt x="520" y="127"/>
                  <a:pt x="520" y="127"/>
                </a:cubicBezTo>
                <a:cubicBezTo>
                  <a:pt x="520" y="127"/>
                  <a:pt x="520" y="128"/>
                  <a:pt x="520" y="128"/>
                </a:cubicBezTo>
                <a:cubicBezTo>
                  <a:pt x="521" y="128"/>
                  <a:pt x="521" y="128"/>
                  <a:pt x="522" y="128"/>
                </a:cubicBezTo>
                <a:cubicBezTo>
                  <a:pt x="522" y="128"/>
                  <a:pt x="522" y="129"/>
                  <a:pt x="523" y="129"/>
                </a:cubicBezTo>
                <a:cubicBezTo>
                  <a:pt x="523" y="129"/>
                  <a:pt x="524" y="129"/>
                  <a:pt x="524" y="129"/>
                </a:cubicBezTo>
                <a:cubicBezTo>
                  <a:pt x="524" y="129"/>
                  <a:pt x="524" y="129"/>
                  <a:pt x="524" y="129"/>
                </a:cubicBezTo>
                <a:cubicBezTo>
                  <a:pt x="523" y="129"/>
                  <a:pt x="523" y="129"/>
                  <a:pt x="522" y="129"/>
                </a:cubicBezTo>
                <a:cubicBezTo>
                  <a:pt x="521" y="129"/>
                  <a:pt x="521" y="128"/>
                  <a:pt x="520" y="128"/>
                </a:cubicBezTo>
                <a:cubicBezTo>
                  <a:pt x="520" y="128"/>
                  <a:pt x="520" y="128"/>
                  <a:pt x="519" y="128"/>
                </a:cubicBezTo>
                <a:cubicBezTo>
                  <a:pt x="519" y="128"/>
                  <a:pt x="519" y="129"/>
                  <a:pt x="519" y="129"/>
                </a:cubicBezTo>
                <a:cubicBezTo>
                  <a:pt x="519" y="129"/>
                  <a:pt x="518" y="129"/>
                  <a:pt x="517" y="129"/>
                </a:cubicBezTo>
                <a:cubicBezTo>
                  <a:pt x="517" y="129"/>
                  <a:pt x="517" y="129"/>
                  <a:pt x="517" y="129"/>
                </a:cubicBezTo>
                <a:cubicBezTo>
                  <a:pt x="517" y="129"/>
                  <a:pt x="517" y="130"/>
                  <a:pt x="517" y="130"/>
                </a:cubicBezTo>
                <a:cubicBezTo>
                  <a:pt x="518" y="130"/>
                  <a:pt x="518" y="129"/>
                  <a:pt x="519" y="129"/>
                </a:cubicBezTo>
                <a:cubicBezTo>
                  <a:pt x="519" y="129"/>
                  <a:pt x="519" y="130"/>
                  <a:pt x="519" y="130"/>
                </a:cubicBezTo>
                <a:cubicBezTo>
                  <a:pt x="519" y="130"/>
                  <a:pt x="519" y="130"/>
                  <a:pt x="520" y="130"/>
                </a:cubicBezTo>
                <a:cubicBezTo>
                  <a:pt x="520" y="130"/>
                  <a:pt x="521" y="131"/>
                  <a:pt x="521" y="131"/>
                </a:cubicBezTo>
                <a:cubicBezTo>
                  <a:pt x="521" y="131"/>
                  <a:pt x="522" y="131"/>
                  <a:pt x="522" y="131"/>
                </a:cubicBezTo>
                <a:cubicBezTo>
                  <a:pt x="522" y="131"/>
                  <a:pt x="522" y="131"/>
                  <a:pt x="523" y="131"/>
                </a:cubicBezTo>
                <a:cubicBezTo>
                  <a:pt x="522" y="131"/>
                  <a:pt x="522" y="132"/>
                  <a:pt x="522" y="132"/>
                </a:cubicBezTo>
                <a:cubicBezTo>
                  <a:pt x="521" y="131"/>
                  <a:pt x="521" y="131"/>
                  <a:pt x="521" y="131"/>
                </a:cubicBezTo>
                <a:cubicBezTo>
                  <a:pt x="520" y="131"/>
                  <a:pt x="520" y="131"/>
                  <a:pt x="519" y="131"/>
                </a:cubicBezTo>
                <a:cubicBezTo>
                  <a:pt x="519" y="131"/>
                  <a:pt x="519" y="131"/>
                  <a:pt x="519" y="130"/>
                </a:cubicBezTo>
                <a:cubicBezTo>
                  <a:pt x="518" y="130"/>
                  <a:pt x="518" y="130"/>
                  <a:pt x="518" y="130"/>
                </a:cubicBezTo>
                <a:cubicBezTo>
                  <a:pt x="517" y="130"/>
                  <a:pt x="517" y="130"/>
                  <a:pt x="516" y="130"/>
                </a:cubicBezTo>
                <a:cubicBezTo>
                  <a:pt x="516" y="130"/>
                  <a:pt x="516" y="131"/>
                  <a:pt x="515" y="131"/>
                </a:cubicBezTo>
                <a:cubicBezTo>
                  <a:pt x="515" y="131"/>
                  <a:pt x="515" y="131"/>
                  <a:pt x="515" y="132"/>
                </a:cubicBezTo>
                <a:cubicBezTo>
                  <a:pt x="515" y="132"/>
                  <a:pt x="515" y="132"/>
                  <a:pt x="515" y="133"/>
                </a:cubicBezTo>
                <a:cubicBezTo>
                  <a:pt x="515" y="133"/>
                  <a:pt x="515" y="133"/>
                  <a:pt x="515" y="134"/>
                </a:cubicBezTo>
                <a:cubicBezTo>
                  <a:pt x="515" y="134"/>
                  <a:pt x="515" y="134"/>
                  <a:pt x="516" y="134"/>
                </a:cubicBezTo>
                <a:cubicBezTo>
                  <a:pt x="515" y="134"/>
                  <a:pt x="515" y="135"/>
                  <a:pt x="514" y="135"/>
                </a:cubicBezTo>
                <a:cubicBezTo>
                  <a:pt x="514" y="135"/>
                  <a:pt x="514" y="135"/>
                  <a:pt x="514" y="135"/>
                </a:cubicBezTo>
                <a:cubicBezTo>
                  <a:pt x="515" y="135"/>
                  <a:pt x="515" y="135"/>
                  <a:pt x="515" y="135"/>
                </a:cubicBezTo>
                <a:cubicBezTo>
                  <a:pt x="515" y="136"/>
                  <a:pt x="515" y="136"/>
                  <a:pt x="516" y="136"/>
                </a:cubicBezTo>
                <a:cubicBezTo>
                  <a:pt x="516" y="136"/>
                  <a:pt x="516" y="136"/>
                  <a:pt x="516" y="136"/>
                </a:cubicBezTo>
                <a:cubicBezTo>
                  <a:pt x="517" y="135"/>
                  <a:pt x="518" y="135"/>
                  <a:pt x="518" y="135"/>
                </a:cubicBezTo>
                <a:cubicBezTo>
                  <a:pt x="518" y="135"/>
                  <a:pt x="519" y="135"/>
                  <a:pt x="519" y="135"/>
                </a:cubicBezTo>
                <a:cubicBezTo>
                  <a:pt x="519" y="135"/>
                  <a:pt x="519" y="135"/>
                  <a:pt x="519" y="135"/>
                </a:cubicBezTo>
                <a:cubicBezTo>
                  <a:pt x="519" y="135"/>
                  <a:pt x="519" y="135"/>
                  <a:pt x="518" y="135"/>
                </a:cubicBezTo>
                <a:cubicBezTo>
                  <a:pt x="518" y="135"/>
                  <a:pt x="518" y="136"/>
                  <a:pt x="518" y="136"/>
                </a:cubicBezTo>
                <a:cubicBezTo>
                  <a:pt x="518" y="136"/>
                  <a:pt x="518" y="136"/>
                  <a:pt x="518" y="136"/>
                </a:cubicBezTo>
                <a:cubicBezTo>
                  <a:pt x="518" y="136"/>
                  <a:pt x="518" y="136"/>
                  <a:pt x="517" y="136"/>
                </a:cubicBezTo>
                <a:cubicBezTo>
                  <a:pt x="517" y="136"/>
                  <a:pt x="517" y="137"/>
                  <a:pt x="517" y="137"/>
                </a:cubicBezTo>
                <a:cubicBezTo>
                  <a:pt x="517" y="137"/>
                  <a:pt x="517" y="137"/>
                  <a:pt x="517" y="138"/>
                </a:cubicBezTo>
                <a:cubicBezTo>
                  <a:pt x="517" y="138"/>
                  <a:pt x="516" y="138"/>
                  <a:pt x="516" y="138"/>
                </a:cubicBezTo>
                <a:cubicBezTo>
                  <a:pt x="516" y="138"/>
                  <a:pt x="516" y="138"/>
                  <a:pt x="516" y="138"/>
                </a:cubicBezTo>
                <a:cubicBezTo>
                  <a:pt x="516" y="138"/>
                  <a:pt x="516" y="138"/>
                  <a:pt x="516" y="138"/>
                </a:cubicBezTo>
                <a:cubicBezTo>
                  <a:pt x="516" y="137"/>
                  <a:pt x="515" y="137"/>
                  <a:pt x="515" y="137"/>
                </a:cubicBezTo>
                <a:cubicBezTo>
                  <a:pt x="515" y="137"/>
                  <a:pt x="514" y="137"/>
                  <a:pt x="514" y="137"/>
                </a:cubicBezTo>
                <a:cubicBezTo>
                  <a:pt x="514" y="137"/>
                  <a:pt x="514" y="137"/>
                  <a:pt x="514" y="138"/>
                </a:cubicBezTo>
                <a:cubicBezTo>
                  <a:pt x="514" y="138"/>
                  <a:pt x="514" y="138"/>
                  <a:pt x="514" y="138"/>
                </a:cubicBezTo>
                <a:cubicBezTo>
                  <a:pt x="514" y="138"/>
                  <a:pt x="514" y="138"/>
                  <a:pt x="513" y="139"/>
                </a:cubicBezTo>
                <a:cubicBezTo>
                  <a:pt x="513" y="139"/>
                  <a:pt x="513" y="139"/>
                  <a:pt x="512" y="139"/>
                </a:cubicBezTo>
                <a:cubicBezTo>
                  <a:pt x="512" y="139"/>
                  <a:pt x="512" y="139"/>
                  <a:pt x="512" y="140"/>
                </a:cubicBezTo>
                <a:cubicBezTo>
                  <a:pt x="512" y="139"/>
                  <a:pt x="511" y="139"/>
                  <a:pt x="511" y="139"/>
                </a:cubicBezTo>
                <a:cubicBezTo>
                  <a:pt x="511" y="139"/>
                  <a:pt x="511" y="139"/>
                  <a:pt x="511" y="139"/>
                </a:cubicBezTo>
                <a:cubicBezTo>
                  <a:pt x="511" y="140"/>
                  <a:pt x="511" y="140"/>
                  <a:pt x="511" y="140"/>
                </a:cubicBezTo>
                <a:cubicBezTo>
                  <a:pt x="511" y="140"/>
                  <a:pt x="512" y="141"/>
                  <a:pt x="512" y="141"/>
                </a:cubicBezTo>
                <a:cubicBezTo>
                  <a:pt x="512" y="141"/>
                  <a:pt x="512" y="141"/>
                  <a:pt x="512" y="142"/>
                </a:cubicBezTo>
                <a:cubicBezTo>
                  <a:pt x="512" y="142"/>
                  <a:pt x="512" y="142"/>
                  <a:pt x="512" y="142"/>
                </a:cubicBezTo>
                <a:cubicBezTo>
                  <a:pt x="513" y="142"/>
                  <a:pt x="513" y="142"/>
                  <a:pt x="513" y="143"/>
                </a:cubicBezTo>
                <a:cubicBezTo>
                  <a:pt x="513" y="143"/>
                  <a:pt x="513" y="143"/>
                  <a:pt x="514" y="143"/>
                </a:cubicBezTo>
                <a:cubicBezTo>
                  <a:pt x="514" y="143"/>
                  <a:pt x="514" y="143"/>
                  <a:pt x="514" y="143"/>
                </a:cubicBezTo>
                <a:cubicBezTo>
                  <a:pt x="514" y="143"/>
                  <a:pt x="514" y="143"/>
                  <a:pt x="514" y="143"/>
                </a:cubicBezTo>
                <a:cubicBezTo>
                  <a:pt x="514" y="143"/>
                  <a:pt x="514" y="144"/>
                  <a:pt x="515" y="144"/>
                </a:cubicBezTo>
                <a:cubicBezTo>
                  <a:pt x="515" y="144"/>
                  <a:pt x="515" y="144"/>
                  <a:pt x="515" y="144"/>
                </a:cubicBezTo>
                <a:cubicBezTo>
                  <a:pt x="514" y="145"/>
                  <a:pt x="514" y="145"/>
                  <a:pt x="514" y="145"/>
                </a:cubicBezTo>
                <a:cubicBezTo>
                  <a:pt x="514" y="145"/>
                  <a:pt x="514" y="145"/>
                  <a:pt x="514" y="146"/>
                </a:cubicBezTo>
                <a:cubicBezTo>
                  <a:pt x="513" y="146"/>
                  <a:pt x="513" y="146"/>
                  <a:pt x="513" y="147"/>
                </a:cubicBezTo>
                <a:cubicBezTo>
                  <a:pt x="513" y="147"/>
                  <a:pt x="513" y="147"/>
                  <a:pt x="513" y="147"/>
                </a:cubicBezTo>
                <a:cubicBezTo>
                  <a:pt x="513" y="148"/>
                  <a:pt x="512" y="148"/>
                  <a:pt x="512" y="149"/>
                </a:cubicBezTo>
                <a:cubicBezTo>
                  <a:pt x="512" y="149"/>
                  <a:pt x="512" y="149"/>
                  <a:pt x="512" y="149"/>
                </a:cubicBezTo>
                <a:cubicBezTo>
                  <a:pt x="512" y="150"/>
                  <a:pt x="511" y="150"/>
                  <a:pt x="511" y="151"/>
                </a:cubicBezTo>
                <a:cubicBezTo>
                  <a:pt x="511" y="150"/>
                  <a:pt x="511" y="150"/>
                  <a:pt x="511" y="150"/>
                </a:cubicBezTo>
                <a:cubicBezTo>
                  <a:pt x="511" y="150"/>
                  <a:pt x="511" y="150"/>
                  <a:pt x="511" y="149"/>
                </a:cubicBezTo>
                <a:cubicBezTo>
                  <a:pt x="511" y="149"/>
                  <a:pt x="511" y="149"/>
                  <a:pt x="511" y="148"/>
                </a:cubicBezTo>
                <a:cubicBezTo>
                  <a:pt x="511" y="148"/>
                  <a:pt x="512" y="148"/>
                  <a:pt x="512" y="148"/>
                </a:cubicBezTo>
                <a:cubicBezTo>
                  <a:pt x="512" y="148"/>
                  <a:pt x="512" y="147"/>
                  <a:pt x="512" y="147"/>
                </a:cubicBezTo>
                <a:cubicBezTo>
                  <a:pt x="511" y="147"/>
                  <a:pt x="511" y="148"/>
                  <a:pt x="511" y="148"/>
                </a:cubicBezTo>
                <a:cubicBezTo>
                  <a:pt x="511" y="148"/>
                  <a:pt x="511" y="148"/>
                  <a:pt x="511" y="148"/>
                </a:cubicBezTo>
                <a:cubicBezTo>
                  <a:pt x="510" y="148"/>
                  <a:pt x="510" y="148"/>
                  <a:pt x="510" y="147"/>
                </a:cubicBezTo>
                <a:cubicBezTo>
                  <a:pt x="510" y="147"/>
                  <a:pt x="509" y="147"/>
                  <a:pt x="509" y="147"/>
                </a:cubicBezTo>
                <a:cubicBezTo>
                  <a:pt x="509" y="147"/>
                  <a:pt x="510" y="147"/>
                  <a:pt x="510" y="147"/>
                </a:cubicBezTo>
                <a:cubicBezTo>
                  <a:pt x="510" y="147"/>
                  <a:pt x="510" y="147"/>
                  <a:pt x="510" y="147"/>
                </a:cubicBezTo>
                <a:cubicBezTo>
                  <a:pt x="511" y="147"/>
                  <a:pt x="511" y="147"/>
                  <a:pt x="511" y="147"/>
                </a:cubicBezTo>
                <a:cubicBezTo>
                  <a:pt x="511" y="146"/>
                  <a:pt x="511" y="146"/>
                  <a:pt x="511" y="146"/>
                </a:cubicBezTo>
                <a:cubicBezTo>
                  <a:pt x="511" y="146"/>
                  <a:pt x="512" y="146"/>
                  <a:pt x="512" y="146"/>
                </a:cubicBezTo>
                <a:cubicBezTo>
                  <a:pt x="512" y="146"/>
                  <a:pt x="512" y="146"/>
                  <a:pt x="512" y="147"/>
                </a:cubicBezTo>
                <a:cubicBezTo>
                  <a:pt x="512" y="146"/>
                  <a:pt x="512" y="146"/>
                  <a:pt x="513" y="146"/>
                </a:cubicBezTo>
                <a:cubicBezTo>
                  <a:pt x="513" y="146"/>
                  <a:pt x="512" y="145"/>
                  <a:pt x="512" y="145"/>
                </a:cubicBezTo>
                <a:cubicBezTo>
                  <a:pt x="512" y="145"/>
                  <a:pt x="512" y="145"/>
                  <a:pt x="511" y="145"/>
                </a:cubicBezTo>
                <a:cubicBezTo>
                  <a:pt x="511" y="145"/>
                  <a:pt x="511" y="145"/>
                  <a:pt x="511" y="145"/>
                </a:cubicBezTo>
                <a:cubicBezTo>
                  <a:pt x="511" y="144"/>
                  <a:pt x="510" y="144"/>
                  <a:pt x="510" y="144"/>
                </a:cubicBezTo>
                <a:cubicBezTo>
                  <a:pt x="510" y="144"/>
                  <a:pt x="510" y="143"/>
                  <a:pt x="510" y="143"/>
                </a:cubicBezTo>
                <a:cubicBezTo>
                  <a:pt x="509" y="143"/>
                  <a:pt x="509" y="143"/>
                  <a:pt x="509" y="143"/>
                </a:cubicBezTo>
                <a:cubicBezTo>
                  <a:pt x="509" y="142"/>
                  <a:pt x="509" y="142"/>
                  <a:pt x="508" y="142"/>
                </a:cubicBezTo>
                <a:cubicBezTo>
                  <a:pt x="508" y="142"/>
                  <a:pt x="508" y="141"/>
                  <a:pt x="508" y="141"/>
                </a:cubicBezTo>
                <a:cubicBezTo>
                  <a:pt x="508" y="141"/>
                  <a:pt x="508" y="141"/>
                  <a:pt x="508" y="141"/>
                </a:cubicBezTo>
                <a:cubicBezTo>
                  <a:pt x="508" y="141"/>
                  <a:pt x="508" y="140"/>
                  <a:pt x="508" y="140"/>
                </a:cubicBezTo>
                <a:cubicBezTo>
                  <a:pt x="508" y="140"/>
                  <a:pt x="509" y="140"/>
                  <a:pt x="509" y="139"/>
                </a:cubicBezTo>
                <a:cubicBezTo>
                  <a:pt x="509" y="139"/>
                  <a:pt x="509" y="139"/>
                  <a:pt x="509" y="138"/>
                </a:cubicBezTo>
                <a:cubicBezTo>
                  <a:pt x="509" y="138"/>
                  <a:pt x="509" y="138"/>
                  <a:pt x="510" y="138"/>
                </a:cubicBezTo>
                <a:cubicBezTo>
                  <a:pt x="510" y="137"/>
                  <a:pt x="510" y="137"/>
                  <a:pt x="510" y="137"/>
                </a:cubicBezTo>
                <a:cubicBezTo>
                  <a:pt x="511" y="136"/>
                  <a:pt x="511" y="136"/>
                  <a:pt x="511" y="136"/>
                </a:cubicBezTo>
                <a:cubicBezTo>
                  <a:pt x="511" y="136"/>
                  <a:pt x="511" y="136"/>
                  <a:pt x="511" y="135"/>
                </a:cubicBezTo>
                <a:cubicBezTo>
                  <a:pt x="511" y="135"/>
                  <a:pt x="511" y="135"/>
                  <a:pt x="510" y="135"/>
                </a:cubicBezTo>
                <a:cubicBezTo>
                  <a:pt x="510" y="135"/>
                  <a:pt x="510" y="135"/>
                  <a:pt x="510" y="135"/>
                </a:cubicBezTo>
                <a:cubicBezTo>
                  <a:pt x="510" y="134"/>
                  <a:pt x="510" y="134"/>
                  <a:pt x="510" y="134"/>
                </a:cubicBezTo>
                <a:cubicBezTo>
                  <a:pt x="510" y="133"/>
                  <a:pt x="510" y="133"/>
                  <a:pt x="510" y="132"/>
                </a:cubicBezTo>
                <a:cubicBezTo>
                  <a:pt x="511" y="132"/>
                  <a:pt x="511" y="132"/>
                  <a:pt x="511" y="132"/>
                </a:cubicBezTo>
                <a:cubicBezTo>
                  <a:pt x="512" y="131"/>
                  <a:pt x="512" y="131"/>
                  <a:pt x="513" y="131"/>
                </a:cubicBezTo>
                <a:cubicBezTo>
                  <a:pt x="513" y="130"/>
                  <a:pt x="514" y="129"/>
                  <a:pt x="514" y="129"/>
                </a:cubicBezTo>
                <a:cubicBezTo>
                  <a:pt x="515" y="128"/>
                  <a:pt x="516" y="127"/>
                  <a:pt x="516" y="127"/>
                </a:cubicBezTo>
                <a:cubicBezTo>
                  <a:pt x="517" y="127"/>
                  <a:pt x="517" y="127"/>
                  <a:pt x="517" y="126"/>
                </a:cubicBezTo>
                <a:cubicBezTo>
                  <a:pt x="518" y="126"/>
                  <a:pt x="518" y="126"/>
                  <a:pt x="518" y="125"/>
                </a:cubicBezTo>
                <a:cubicBezTo>
                  <a:pt x="518" y="125"/>
                  <a:pt x="518" y="125"/>
                  <a:pt x="519" y="125"/>
                </a:cubicBezTo>
                <a:cubicBezTo>
                  <a:pt x="519" y="125"/>
                  <a:pt x="519" y="125"/>
                  <a:pt x="520" y="124"/>
                </a:cubicBezTo>
                <a:cubicBezTo>
                  <a:pt x="520" y="124"/>
                  <a:pt x="521" y="124"/>
                  <a:pt x="522" y="124"/>
                </a:cubicBezTo>
                <a:cubicBezTo>
                  <a:pt x="522" y="123"/>
                  <a:pt x="523" y="123"/>
                  <a:pt x="523" y="123"/>
                </a:cubicBezTo>
                <a:cubicBezTo>
                  <a:pt x="523" y="123"/>
                  <a:pt x="523" y="122"/>
                  <a:pt x="523" y="122"/>
                </a:cubicBezTo>
                <a:cubicBezTo>
                  <a:pt x="523" y="122"/>
                  <a:pt x="523" y="122"/>
                  <a:pt x="523" y="122"/>
                </a:cubicBezTo>
                <a:cubicBezTo>
                  <a:pt x="522" y="122"/>
                  <a:pt x="521" y="122"/>
                  <a:pt x="520" y="122"/>
                </a:cubicBezTo>
                <a:cubicBezTo>
                  <a:pt x="520" y="122"/>
                  <a:pt x="519" y="121"/>
                  <a:pt x="519" y="121"/>
                </a:cubicBezTo>
                <a:cubicBezTo>
                  <a:pt x="518" y="122"/>
                  <a:pt x="518" y="122"/>
                  <a:pt x="517" y="122"/>
                </a:cubicBezTo>
                <a:cubicBezTo>
                  <a:pt x="517" y="122"/>
                  <a:pt x="517" y="122"/>
                  <a:pt x="516" y="122"/>
                </a:cubicBezTo>
                <a:cubicBezTo>
                  <a:pt x="516" y="122"/>
                  <a:pt x="516" y="122"/>
                  <a:pt x="515" y="122"/>
                </a:cubicBezTo>
                <a:cubicBezTo>
                  <a:pt x="515" y="122"/>
                  <a:pt x="514" y="122"/>
                  <a:pt x="514" y="122"/>
                </a:cubicBezTo>
                <a:cubicBezTo>
                  <a:pt x="514" y="122"/>
                  <a:pt x="513" y="123"/>
                  <a:pt x="513" y="123"/>
                </a:cubicBezTo>
                <a:cubicBezTo>
                  <a:pt x="512" y="123"/>
                  <a:pt x="512" y="123"/>
                  <a:pt x="511" y="123"/>
                </a:cubicBezTo>
                <a:cubicBezTo>
                  <a:pt x="510" y="124"/>
                  <a:pt x="509" y="124"/>
                  <a:pt x="508" y="125"/>
                </a:cubicBezTo>
                <a:cubicBezTo>
                  <a:pt x="507" y="125"/>
                  <a:pt x="507" y="126"/>
                  <a:pt x="506" y="126"/>
                </a:cubicBezTo>
                <a:cubicBezTo>
                  <a:pt x="505" y="126"/>
                  <a:pt x="505" y="127"/>
                  <a:pt x="504" y="127"/>
                </a:cubicBezTo>
                <a:cubicBezTo>
                  <a:pt x="504" y="127"/>
                  <a:pt x="504" y="128"/>
                  <a:pt x="504" y="128"/>
                </a:cubicBezTo>
                <a:cubicBezTo>
                  <a:pt x="504" y="128"/>
                  <a:pt x="504" y="128"/>
                  <a:pt x="505" y="128"/>
                </a:cubicBezTo>
                <a:cubicBezTo>
                  <a:pt x="504" y="128"/>
                  <a:pt x="504" y="128"/>
                  <a:pt x="504" y="128"/>
                </a:cubicBezTo>
                <a:cubicBezTo>
                  <a:pt x="504" y="128"/>
                  <a:pt x="503" y="128"/>
                  <a:pt x="503" y="129"/>
                </a:cubicBezTo>
                <a:cubicBezTo>
                  <a:pt x="503" y="129"/>
                  <a:pt x="503" y="129"/>
                  <a:pt x="502" y="129"/>
                </a:cubicBezTo>
                <a:cubicBezTo>
                  <a:pt x="502" y="129"/>
                  <a:pt x="502" y="130"/>
                  <a:pt x="501" y="130"/>
                </a:cubicBezTo>
                <a:cubicBezTo>
                  <a:pt x="501" y="130"/>
                  <a:pt x="501" y="130"/>
                  <a:pt x="500" y="131"/>
                </a:cubicBezTo>
                <a:cubicBezTo>
                  <a:pt x="500" y="131"/>
                  <a:pt x="501" y="131"/>
                  <a:pt x="501" y="131"/>
                </a:cubicBezTo>
                <a:cubicBezTo>
                  <a:pt x="500" y="131"/>
                  <a:pt x="500" y="131"/>
                  <a:pt x="500" y="131"/>
                </a:cubicBezTo>
                <a:cubicBezTo>
                  <a:pt x="499" y="132"/>
                  <a:pt x="499" y="133"/>
                  <a:pt x="499" y="133"/>
                </a:cubicBezTo>
                <a:cubicBezTo>
                  <a:pt x="499" y="133"/>
                  <a:pt x="499" y="133"/>
                  <a:pt x="499" y="133"/>
                </a:cubicBezTo>
                <a:cubicBezTo>
                  <a:pt x="499" y="134"/>
                  <a:pt x="499" y="134"/>
                  <a:pt x="499" y="134"/>
                </a:cubicBezTo>
                <a:cubicBezTo>
                  <a:pt x="498" y="134"/>
                  <a:pt x="498" y="134"/>
                  <a:pt x="498" y="134"/>
                </a:cubicBezTo>
                <a:cubicBezTo>
                  <a:pt x="498" y="134"/>
                  <a:pt x="498" y="134"/>
                  <a:pt x="498" y="134"/>
                </a:cubicBezTo>
                <a:cubicBezTo>
                  <a:pt x="497" y="134"/>
                  <a:pt x="497" y="135"/>
                  <a:pt x="497" y="135"/>
                </a:cubicBezTo>
                <a:cubicBezTo>
                  <a:pt x="497" y="135"/>
                  <a:pt x="497" y="135"/>
                  <a:pt x="497" y="135"/>
                </a:cubicBezTo>
                <a:cubicBezTo>
                  <a:pt x="497" y="135"/>
                  <a:pt x="496" y="135"/>
                  <a:pt x="496" y="135"/>
                </a:cubicBezTo>
                <a:cubicBezTo>
                  <a:pt x="496" y="135"/>
                  <a:pt x="496" y="136"/>
                  <a:pt x="495" y="136"/>
                </a:cubicBezTo>
                <a:cubicBezTo>
                  <a:pt x="495" y="136"/>
                  <a:pt x="495" y="136"/>
                  <a:pt x="495" y="136"/>
                </a:cubicBezTo>
                <a:cubicBezTo>
                  <a:pt x="495" y="137"/>
                  <a:pt x="495" y="137"/>
                  <a:pt x="494" y="138"/>
                </a:cubicBezTo>
                <a:cubicBezTo>
                  <a:pt x="494" y="138"/>
                  <a:pt x="494" y="139"/>
                  <a:pt x="493" y="139"/>
                </a:cubicBezTo>
                <a:cubicBezTo>
                  <a:pt x="493" y="139"/>
                  <a:pt x="494" y="139"/>
                  <a:pt x="494" y="140"/>
                </a:cubicBezTo>
                <a:cubicBezTo>
                  <a:pt x="494" y="139"/>
                  <a:pt x="494" y="139"/>
                  <a:pt x="494" y="139"/>
                </a:cubicBezTo>
                <a:cubicBezTo>
                  <a:pt x="494" y="139"/>
                  <a:pt x="494" y="139"/>
                  <a:pt x="495" y="139"/>
                </a:cubicBezTo>
                <a:cubicBezTo>
                  <a:pt x="494" y="139"/>
                  <a:pt x="494" y="140"/>
                  <a:pt x="494" y="140"/>
                </a:cubicBezTo>
                <a:cubicBezTo>
                  <a:pt x="494" y="140"/>
                  <a:pt x="494" y="140"/>
                  <a:pt x="493" y="140"/>
                </a:cubicBezTo>
                <a:cubicBezTo>
                  <a:pt x="493" y="140"/>
                  <a:pt x="493" y="141"/>
                  <a:pt x="492" y="141"/>
                </a:cubicBezTo>
                <a:cubicBezTo>
                  <a:pt x="492" y="141"/>
                  <a:pt x="492" y="141"/>
                  <a:pt x="492" y="142"/>
                </a:cubicBezTo>
                <a:cubicBezTo>
                  <a:pt x="492" y="142"/>
                  <a:pt x="491" y="142"/>
                  <a:pt x="491" y="142"/>
                </a:cubicBezTo>
                <a:cubicBezTo>
                  <a:pt x="491" y="142"/>
                  <a:pt x="491" y="142"/>
                  <a:pt x="491" y="143"/>
                </a:cubicBezTo>
                <a:cubicBezTo>
                  <a:pt x="491" y="143"/>
                  <a:pt x="491" y="143"/>
                  <a:pt x="491" y="144"/>
                </a:cubicBezTo>
                <a:cubicBezTo>
                  <a:pt x="491" y="144"/>
                  <a:pt x="491" y="144"/>
                  <a:pt x="491" y="145"/>
                </a:cubicBezTo>
                <a:cubicBezTo>
                  <a:pt x="490" y="145"/>
                  <a:pt x="490" y="145"/>
                  <a:pt x="490" y="145"/>
                </a:cubicBezTo>
                <a:cubicBezTo>
                  <a:pt x="490" y="145"/>
                  <a:pt x="490" y="145"/>
                  <a:pt x="490" y="146"/>
                </a:cubicBezTo>
                <a:cubicBezTo>
                  <a:pt x="490" y="146"/>
                  <a:pt x="490" y="146"/>
                  <a:pt x="490" y="146"/>
                </a:cubicBezTo>
                <a:cubicBezTo>
                  <a:pt x="490" y="146"/>
                  <a:pt x="489" y="147"/>
                  <a:pt x="489" y="147"/>
                </a:cubicBezTo>
                <a:cubicBezTo>
                  <a:pt x="489" y="147"/>
                  <a:pt x="489" y="148"/>
                  <a:pt x="489" y="148"/>
                </a:cubicBezTo>
                <a:cubicBezTo>
                  <a:pt x="489" y="148"/>
                  <a:pt x="489" y="148"/>
                  <a:pt x="490" y="149"/>
                </a:cubicBezTo>
                <a:cubicBezTo>
                  <a:pt x="490" y="149"/>
                  <a:pt x="491" y="149"/>
                  <a:pt x="492" y="149"/>
                </a:cubicBezTo>
                <a:cubicBezTo>
                  <a:pt x="492" y="149"/>
                  <a:pt x="493" y="149"/>
                  <a:pt x="493" y="149"/>
                </a:cubicBezTo>
                <a:cubicBezTo>
                  <a:pt x="493" y="149"/>
                  <a:pt x="494" y="149"/>
                  <a:pt x="494" y="149"/>
                </a:cubicBezTo>
                <a:cubicBezTo>
                  <a:pt x="495" y="149"/>
                  <a:pt x="495" y="149"/>
                  <a:pt x="495" y="149"/>
                </a:cubicBezTo>
                <a:cubicBezTo>
                  <a:pt x="496" y="149"/>
                  <a:pt x="496" y="149"/>
                  <a:pt x="497" y="149"/>
                </a:cubicBezTo>
                <a:cubicBezTo>
                  <a:pt x="497" y="149"/>
                  <a:pt x="498" y="149"/>
                  <a:pt x="498" y="148"/>
                </a:cubicBezTo>
                <a:cubicBezTo>
                  <a:pt x="498" y="149"/>
                  <a:pt x="499" y="149"/>
                  <a:pt x="499" y="149"/>
                </a:cubicBezTo>
                <a:cubicBezTo>
                  <a:pt x="499" y="149"/>
                  <a:pt x="500" y="150"/>
                  <a:pt x="500" y="150"/>
                </a:cubicBezTo>
                <a:cubicBezTo>
                  <a:pt x="500" y="150"/>
                  <a:pt x="500" y="150"/>
                  <a:pt x="501" y="150"/>
                </a:cubicBezTo>
                <a:cubicBezTo>
                  <a:pt x="501" y="150"/>
                  <a:pt x="501" y="150"/>
                  <a:pt x="501" y="150"/>
                </a:cubicBezTo>
                <a:cubicBezTo>
                  <a:pt x="501" y="150"/>
                  <a:pt x="500" y="151"/>
                  <a:pt x="500" y="151"/>
                </a:cubicBezTo>
                <a:cubicBezTo>
                  <a:pt x="500" y="151"/>
                  <a:pt x="499" y="151"/>
                  <a:pt x="499" y="151"/>
                </a:cubicBezTo>
                <a:cubicBezTo>
                  <a:pt x="499" y="151"/>
                  <a:pt x="498" y="151"/>
                  <a:pt x="497" y="151"/>
                </a:cubicBezTo>
                <a:cubicBezTo>
                  <a:pt x="497" y="151"/>
                  <a:pt x="496" y="151"/>
                  <a:pt x="495" y="151"/>
                </a:cubicBezTo>
                <a:cubicBezTo>
                  <a:pt x="495" y="151"/>
                  <a:pt x="495" y="151"/>
                  <a:pt x="495" y="151"/>
                </a:cubicBezTo>
                <a:cubicBezTo>
                  <a:pt x="494" y="151"/>
                  <a:pt x="494" y="151"/>
                  <a:pt x="494" y="151"/>
                </a:cubicBezTo>
                <a:cubicBezTo>
                  <a:pt x="493" y="151"/>
                  <a:pt x="492" y="151"/>
                  <a:pt x="492" y="151"/>
                </a:cubicBezTo>
                <a:cubicBezTo>
                  <a:pt x="492" y="151"/>
                  <a:pt x="491" y="151"/>
                  <a:pt x="491" y="151"/>
                </a:cubicBezTo>
                <a:cubicBezTo>
                  <a:pt x="491" y="151"/>
                  <a:pt x="490" y="151"/>
                  <a:pt x="490" y="151"/>
                </a:cubicBezTo>
                <a:cubicBezTo>
                  <a:pt x="490" y="151"/>
                  <a:pt x="490" y="151"/>
                  <a:pt x="490" y="151"/>
                </a:cubicBezTo>
                <a:cubicBezTo>
                  <a:pt x="490" y="151"/>
                  <a:pt x="490" y="151"/>
                  <a:pt x="491" y="152"/>
                </a:cubicBezTo>
                <a:cubicBezTo>
                  <a:pt x="491" y="152"/>
                  <a:pt x="491" y="152"/>
                  <a:pt x="491" y="152"/>
                </a:cubicBezTo>
                <a:cubicBezTo>
                  <a:pt x="490" y="152"/>
                  <a:pt x="490" y="152"/>
                  <a:pt x="490" y="152"/>
                </a:cubicBezTo>
                <a:cubicBezTo>
                  <a:pt x="490" y="152"/>
                  <a:pt x="490" y="153"/>
                  <a:pt x="490" y="153"/>
                </a:cubicBezTo>
                <a:cubicBezTo>
                  <a:pt x="490" y="153"/>
                  <a:pt x="490" y="154"/>
                  <a:pt x="491" y="154"/>
                </a:cubicBezTo>
                <a:cubicBezTo>
                  <a:pt x="491" y="154"/>
                  <a:pt x="491" y="154"/>
                  <a:pt x="491" y="155"/>
                </a:cubicBezTo>
                <a:cubicBezTo>
                  <a:pt x="491" y="155"/>
                  <a:pt x="491" y="155"/>
                  <a:pt x="491" y="156"/>
                </a:cubicBezTo>
                <a:cubicBezTo>
                  <a:pt x="491" y="156"/>
                  <a:pt x="491" y="156"/>
                  <a:pt x="491" y="156"/>
                </a:cubicBezTo>
                <a:cubicBezTo>
                  <a:pt x="492" y="156"/>
                  <a:pt x="492" y="156"/>
                  <a:pt x="493" y="156"/>
                </a:cubicBezTo>
                <a:cubicBezTo>
                  <a:pt x="493" y="156"/>
                  <a:pt x="494" y="157"/>
                  <a:pt x="494" y="157"/>
                </a:cubicBezTo>
                <a:cubicBezTo>
                  <a:pt x="494" y="157"/>
                  <a:pt x="494" y="157"/>
                  <a:pt x="494" y="157"/>
                </a:cubicBezTo>
                <a:cubicBezTo>
                  <a:pt x="494" y="157"/>
                  <a:pt x="494" y="157"/>
                  <a:pt x="493" y="157"/>
                </a:cubicBezTo>
                <a:cubicBezTo>
                  <a:pt x="493" y="157"/>
                  <a:pt x="493" y="157"/>
                  <a:pt x="493" y="157"/>
                </a:cubicBezTo>
                <a:cubicBezTo>
                  <a:pt x="493" y="157"/>
                  <a:pt x="493" y="157"/>
                  <a:pt x="494" y="157"/>
                </a:cubicBezTo>
                <a:cubicBezTo>
                  <a:pt x="494" y="157"/>
                  <a:pt x="494" y="158"/>
                  <a:pt x="494" y="158"/>
                </a:cubicBezTo>
                <a:cubicBezTo>
                  <a:pt x="495" y="158"/>
                  <a:pt x="495" y="158"/>
                  <a:pt x="495" y="158"/>
                </a:cubicBezTo>
                <a:cubicBezTo>
                  <a:pt x="495" y="157"/>
                  <a:pt x="495" y="157"/>
                  <a:pt x="495" y="157"/>
                </a:cubicBezTo>
                <a:cubicBezTo>
                  <a:pt x="495" y="157"/>
                  <a:pt x="495" y="157"/>
                  <a:pt x="496" y="157"/>
                </a:cubicBezTo>
                <a:cubicBezTo>
                  <a:pt x="496" y="157"/>
                  <a:pt x="496" y="157"/>
                  <a:pt x="497" y="157"/>
                </a:cubicBezTo>
                <a:cubicBezTo>
                  <a:pt x="497" y="157"/>
                  <a:pt x="497" y="157"/>
                  <a:pt x="498" y="157"/>
                </a:cubicBezTo>
                <a:cubicBezTo>
                  <a:pt x="498" y="157"/>
                  <a:pt x="498" y="157"/>
                  <a:pt x="498" y="157"/>
                </a:cubicBezTo>
                <a:cubicBezTo>
                  <a:pt x="498" y="157"/>
                  <a:pt x="499" y="157"/>
                  <a:pt x="499" y="157"/>
                </a:cubicBezTo>
                <a:cubicBezTo>
                  <a:pt x="499" y="156"/>
                  <a:pt x="498" y="156"/>
                  <a:pt x="498" y="156"/>
                </a:cubicBezTo>
                <a:cubicBezTo>
                  <a:pt x="498" y="156"/>
                  <a:pt x="498" y="156"/>
                  <a:pt x="498" y="156"/>
                </a:cubicBezTo>
                <a:cubicBezTo>
                  <a:pt x="499" y="156"/>
                  <a:pt x="499" y="156"/>
                  <a:pt x="499" y="155"/>
                </a:cubicBezTo>
                <a:cubicBezTo>
                  <a:pt x="499" y="156"/>
                  <a:pt x="499" y="156"/>
                  <a:pt x="500" y="156"/>
                </a:cubicBezTo>
                <a:cubicBezTo>
                  <a:pt x="499" y="156"/>
                  <a:pt x="499" y="156"/>
                  <a:pt x="499" y="156"/>
                </a:cubicBezTo>
                <a:cubicBezTo>
                  <a:pt x="500" y="156"/>
                  <a:pt x="500" y="157"/>
                  <a:pt x="500" y="157"/>
                </a:cubicBezTo>
                <a:cubicBezTo>
                  <a:pt x="500" y="157"/>
                  <a:pt x="500" y="157"/>
                  <a:pt x="500" y="157"/>
                </a:cubicBezTo>
                <a:cubicBezTo>
                  <a:pt x="500" y="156"/>
                  <a:pt x="501" y="156"/>
                  <a:pt x="501" y="156"/>
                </a:cubicBezTo>
                <a:cubicBezTo>
                  <a:pt x="501" y="156"/>
                  <a:pt x="502" y="155"/>
                  <a:pt x="502" y="155"/>
                </a:cubicBezTo>
                <a:cubicBezTo>
                  <a:pt x="502" y="155"/>
                  <a:pt x="502" y="155"/>
                  <a:pt x="503" y="155"/>
                </a:cubicBezTo>
                <a:cubicBezTo>
                  <a:pt x="503" y="155"/>
                  <a:pt x="503" y="155"/>
                  <a:pt x="503" y="155"/>
                </a:cubicBezTo>
                <a:cubicBezTo>
                  <a:pt x="503" y="155"/>
                  <a:pt x="503" y="155"/>
                  <a:pt x="503" y="155"/>
                </a:cubicBezTo>
                <a:cubicBezTo>
                  <a:pt x="502" y="156"/>
                  <a:pt x="502" y="156"/>
                  <a:pt x="501" y="156"/>
                </a:cubicBezTo>
                <a:cubicBezTo>
                  <a:pt x="501" y="157"/>
                  <a:pt x="501" y="157"/>
                  <a:pt x="501" y="157"/>
                </a:cubicBezTo>
                <a:cubicBezTo>
                  <a:pt x="501" y="157"/>
                  <a:pt x="502" y="157"/>
                  <a:pt x="502" y="157"/>
                </a:cubicBezTo>
                <a:cubicBezTo>
                  <a:pt x="502" y="157"/>
                  <a:pt x="502" y="158"/>
                  <a:pt x="503" y="158"/>
                </a:cubicBezTo>
                <a:cubicBezTo>
                  <a:pt x="503" y="158"/>
                  <a:pt x="504" y="158"/>
                  <a:pt x="504" y="159"/>
                </a:cubicBezTo>
                <a:cubicBezTo>
                  <a:pt x="505" y="158"/>
                  <a:pt x="505" y="158"/>
                  <a:pt x="506" y="158"/>
                </a:cubicBezTo>
                <a:cubicBezTo>
                  <a:pt x="506" y="158"/>
                  <a:pt x="506" y="158"/>
                  <a:pt x="506" y="158"/>
                </a:cubicBezTo>
                <a:cubicBezTo>
                  <a:pt x="506" y="158"/>
                  <a:pt x="505" y="158"/>
                  <a:pt x="505" y="158"/>
                </a:cubicBezTo>
                <a:cubicBezTo>
                  <a:pt x="505" y="158"/>
                  <a:pt x="505" y="158"/>
                  <a:pt x="506" y="157"/>
                </a:cubicBezTo>
                <a:cubicBezTo>
                  <a:pt x="506" y="157"/>
                  <a:pt x="506" y="157"/>
                  <a:pt x="507" y="157"/>
                </a:cubicBezTo>
                <a:cubicBezTo>
                  <a:pt x="507" y="157"/>
                  <a:pt x="507" y="158"/>
                  <a:pt x="508" y="158"/>
                </a:cubicBezTo>
                <a:cubicBezTo>
                  <a:pt x="508" y="158"/>
                  <a:pt x="508" y="157"/>
                  <a:pt x="508" y="157"/>
                </a:cubicBezTo>
                <a:cubicBezTo>
                  <a:pt x="508" y="157"/>
                  <a:pt x="509" y="157"/>
                  <a:pt x="509" y="157"/>
                </a:cubicBezTo>
                <a:cubicBezTo>
                  <a:pt x="509" y="156"/>
                  <a:pt x="509" y="156"/>
                  <a:pt x="510" y="156"/>
                </a:cubicBezTo>
                <a:cubicBezTo>
                  <a:pt x="510" y="156"/>
                  <a:pt x="510" y="156"/>
                  <a:pt x="510" y="156"/>
                </a:cubicBezTo>
                <a:cubicBezTo>
                  <a:pt x="511" y="156"/>
                  <a:pt x="511" y="156"/>
                  <a:pt x="511" y="156"/>
                </a:cubicBezTo>
                <a:cubicBezTo>
                  <a:pt x="510" y="156"/>
                  <a:pt x="510" y="156"/>
                  <a:pt x="510" y="156"/>
                </a:cubicBezTo>
                <a:cubicBezTo>
                  <a:pt x="509" y="157"/>
                  <a:pt x="509" y="157"/>
                  <a:pt x="509" y="157"/>
                </a:cubicBezTo>
                <a:cubicBezTo>
                  <a:pt x="509" y="158"/>
                  <a:pt x="509" y="158"/>
                  <a:pt x="509" y="158"/>
                </a:cubicBezTo>
                <a:cubicBezTo>
                  <a:pt x="509" y="158"/>
                  <a:pt x="510" y="158"/>
                  <a:pt x="510" y="158"/>
                </a:cubicBezTo>
                <a:cubicBezTo>
                  <a:pt x="510" y="158"/>
                  <a:pt x="511" y="158"/>
                  <a:pt x="511" y="159"/>
                </a:cubicBezTo>
                <a:cubicBezTo>
                  <a:pt x="511" y="158"/>
                  <a:pt x="512" y="158"/>
                  <a:pt x="512" y="158"/>
                </a:cubicBezTo>
                <a:cubicBezTo>
                  <a:pt x="512" y="158"/>
                  <a:pt x="513" y="158"/>
                  <a:pt x="513" y="158"/>
                </a:cubicBezTo>
                <a:cubicBezTo>
                  <a:pt x="514" y="158"/>
                  <a:pt x="514" y="158"/>
                  <a:pt x="514" y="158"/>
                </a:cubicBezTo>
                <a:cubicBezTo>
                  <a:pt x="514" y="158"/>
                  <a:pt x="515" y="158"/>
                  <a:pt x="515" y="158"/>
                </a:cubicBezTo>
                <a:cubicBezTo>
                  <a:pt x="516" y="158"/>
                  <a:pt x="516" y="157"/>
                  <a:pt x="517" y="157"/>
                </a:cubicBezTo>
                <a:cubicBezTo>
                  <a:pt x="517" y="157"/>
                  <a:pt x="517" y="158"/>
                  <a:pt x="517" y="158"/>
                </a:cubicBezTo>
                <a:cubicBezTo>
                  <a:pt x="518" y="158"/>
                  <a:pt x="518" y="158"/>
                  <a:pt x="519" y="158"/>
                </a:cubicBezTo>
                <a:cubicBezTo>
                  <a:pt x="519" y="158"/>
                  <a:pt x="519" y="158"/>
                  <a:pt x="519" y="158"/>
                </a:cubicBezTo>
                <a:cubicBezTo>
                  <a:pt x="519" y="158"/>
                  <a:pt x="520" y="158"/>
                  <a:pt x="520" y="158"/>
                </a:cubicBezTo>
                <a:cubicBezTo>
                  <a:pt x="520" y="158"/>
                  <a:pt x="521" y="158"/>
                  <a:pt x="522" y="158"/>
                </a:cubicBezTo>
                <a:cubicBezTo>
                  <a:pt x="522" y="158"/>
                  <a:pt x="522" y="158"/>
                  <a:pt x="522" y="158"/>
                </a:cubicBezTo>
                <a:cubicBezTo>
                  <a:pt x="522" y="158"/>
                  <a:pt x="522" y="158"/>
                  <a:pt x="523" y="158"/>
                </a:cubicBezTo>
                <a:cubicBezTo>
                  <a:pt x="523" y="158"/>
                  <a:pt x="523" y="157"/>
                  <a:pt x="523" y="157"/>
                </a:cubicBezTo>
                <a:cubicBezTo>
                  <a:pt x="523" y="157"/>
                  <a:pt x="523" y="157"/>
                  <a:pt x="523" y="157"/>
                </a:cubicBezTo>
                <a:cubicBezTo>
                  <a:pt x="522" y="157"/>
                  <a:pt x="522" y="157"/>
                  <a:pt x="522" y="157"/>
                </a:cubicBezTo>
                <a:cubicBezTo>
                  <a:pt x="521" y="157"/>
                  <a:pt x="521" y="156"/>
                  <a:pt x="521" y="156"/>
                </a:cubicBezTo>
                <a:cubicBezTo>
                  <a:pt x="520" y="156"/>
                  <a:pt x="520" y="156"/>
                  <a:pt x="520" y="156"/>
                </a:cubicBezTo>
                <a:cubicBezTo>
                  <a:pt x="519" y="156"/>
                  <a:pt x="518" y="155"/>
                  <a:pt x="518" y="155"/>
                </a:cubicBezTo>
                <a:cubicBezTo>
                  <a:pt x="517" y="155"/>
                  <a:pt x="517" y="155"/>
                  <a:pt x="517" y="155"/>
                </a:cubicBezTo>
                <a:cubicBezTo>
                  <a:pt x="518" y="155"/>
                  <a:pt x="518" y="155"/>
                  <a:pt x="518" y="155"/>
                </a:cubicBezTo>
                <a:cubicBezTo>
                  <a:pt x="518" y="155"/>
                  <a:pt x="519" y="155"/>
                  <a:pt x="519" y="155"/>
                </a:cubicBezTo>
                <a:cubicBezTo>
                  <a:pt x="519" y="155"/>
                  <a:pt x="519" y="155"/>
                  <a:pt x="519" y="155"/>
                </a:cubicBezTo>
                <a:cubicBezTo>
                  <a:pt x="520" y="155"/>
                  <a:pt x="520" y="155"/>
                  <a:pt x="521" y="156"/>
                </a:cubicBezTo>
                <a:cubicBezTo>
                  <a:pt x="521" y="156"/>
                  <a:pt x="521" y="156"/>
                  <a:pt x="521" y="156"/>
                </a:cubicBezTo>
                <a:cubicBezTo>
                  <a:pt x="521" y="156"/>
                  <a:pt x="522" y="156"/>
                  <a:pt x="522" y="156"/>
                </a:cubicBezTo>
                <a:cubicBezTo>
                  <a:pt x="522" y="156"/>
                  <a:pt x="522" y="156"/>
                  <a:pt x="523" y="156"/>
                </a:cubicBezTo>
                <a:cubicBezTo>
                  <a:pt x="523" y="156"/>
                  <a:pt x="523" y="157"/>
                  <a:pt x="524" y="157"/>
                </a:cubicBezTo>
                <a:cubicBezTo>
                  <a:pt x="524" y="157"/>
                  <a:pt x="524" y="157"/>
                  <a:pt x="524" y="157"/>
                </a:cubicBezTo>
                <a:cubicBezTo>
                  <a:pt x="524" y="157"/>
                  <a:pt x="525" y="157"/>
                  <a:pt x="525" y="157"/>
                </a:cubicBezTo>
                <a:cubicBezTo>
                  <a:pt x="525" y="157"/>
                  <a:pt x="525" y="158"/>
                  <a:pt x="526" y="158"/>
                </a:cubicBezTo>
                <a:cubicBezTo>
                  <a:pt x="526" y="158"/>
                  <a:pt x="526" y="158"/>
                  <a:pt x="526" y="158"/>
                </a:cubicBezTo>
                <a:cubicBezTo>
                  <a:pt x="527" y="158"/>
                  <a:pt x="527" y="158"/>
                  <a:pt x="527" y="158"/>
                </a:cubicBezTo>
                <a:cubicBezTo>
                  <a:pt x="528" y="158"/>
                  <a:pt x="528" y="158"/>
                  <a:pt x="528" y="158"/>
                </a:cubicBezTo>
                <a:cubicBezTo>
                  <a:pt x="527" y="158"/>
                  <a:pt x="527" y="157"/>
                  <a:pt x="527" y="157"/>
                </a:cubicBezTo>
                <a:cubicBezTo>
                  <a:pt x="527" y="157"/>
                  <a:pt x="526" y="157"/>
                  <a:pt x="526" y="156"/>
                </a:cubicBezTo>
                <a:cubicBezTo>
                  <a:pt x="526" y="156"/>
                  <a:pt x="527" y="156"/>
                  <a:pt x="527" y="156"/>
                </a:cubicBezTo>
                <a:cubicBezTo>
                  <a:pt x="528" y="156"/>
                  <a:pt x="529" y="156"/>
                  <a:pt x="530" y="156"/>
                </a:cubicBezTo>
                <a:cubicBezTo>
                  <a:pt x="530" y="156"/>
                  <a:pt x="531" y="156"/>
                  <a:pt x="531" y="156"/>
                </a:cubicBezTo>
                <a:cubicBezTo>
                  <a:pt x="531" y="156"/>
                  <a:pt x="531" y="156"/>
                  <a:pt x="531" y="156"/>
                </a:cubicBezTo>
                <a:cubicBezTo>
                  <a:pt x="531" y="156"/>
                  <a:pt x="531" y="157"/>
                  <a:pt x="531" y="157"/>
                </a:cubicBezTo>
                <a:cubicBezTo>
                  <a:pt x="532" y="157"/>
                  <a:pt x="532" y="157"/>
                  <a:pt x="533" y="157"/>
                </a:cubicBezTo>
                <a:cubicBezTo>
                  <a:pt x="533" y="157"/>
                  <a:pt x="533" y="157"/>
                  <a:pt x="534" y="157"/>
                </a:cubicBezTo>
                <a:cubicBezTo>
                  <a:pt x="534" y="157"/>
                  <a:pt x="534" y="157"/>
                  <a:pt x="534" y="157"/>
                </a:cubicBezTo>
                <a:cubicBezTo>
                  <a:pt x="535" y="157"/>
                  <a:pt x="536" y="156"/>
                  <a:pt x="536" y="156"/>
                </a:cubicBezTo>
                <a:cubicBezTo>
                  <a:pt x="537" y="156"/>
                  <a:pt x="537" y="156"/>
                  <a:pt x="537" y="156"/>
                </a:cubicBezTo>
                <a:cubicBezTo>
                  <a:pt x="537" y="155"/>
                  <a:pt x="538" y="155"/>
                  <a:pt x="538" y="155"/>
                </a:cubicBezTo>
                <a:cubicBezTo>
                  <a:pt x="538" y="155"/>
                  <a:pt x="538" y="154"/>
                  <a:pt x="538" y="154"/>
                </a:cubicBezTo>
                <a:cubicBezTo>
                  <a:pt x="538" y="154"/>
                  <a:pt x="538" y="154"/>
                  <a:pt x="538" y="153"/>
                </a:cubicBezTo>
                <a:cubicBezTo>
                  <a:pt x="538" y="153"/>
                  <a:pt x="538" y="153"/>
                  <a:pt x="537" y="153"/>
                </a:cubicBezTo>
                <a:cubicBezTo>
                  <a:pt x="537" y="153"/>
                  <a:pt x="536" y="152"/>
                  <a:pt x="536" y="152"/>
                </a:cubicBezTo>
                <a:cubicBezTo>
                  <a:pt x="536" y="152"/>
                  <a:pt x="536" y="152"/>
                  <a:pt x="535" y="152"/>
                </a:cubicBezTo>
                <a:cubicBezTo>
                  <a:pt x="535" y="152"/>
                  <a:pt x="535" y="152"/>
                  <a:pt x="534" y="152"/>
                </a:cubicBezTo>
                <a:cubicBezTo>
                  <a:pt x="534" y="151"/>
                  <a:pt x="534" y="151"/>
                  <a:pt x="534" y="151"/>
                </a:cubicBezTo>
                <a:cubicBezTo>
                  <a:pt x="535" y="151"/>
                  <a:pt x="535" y="151"/>
                  <a:pt x="535" y="151"/>
                </a:cubicBezTo>
                <a:cubicBezTo>
                  <a:pt x="535" y="150"/>
                  <a:pt x="535" y="150"/>
                  <a:pt x="535" y="150"/>
                </a:cubicBezTo>
                <a:cubicBezTo>
                  <a:pt x="535" y="150"/>
                  <a:pt x="535" y="150"/>
                  <a:pt x="535" y="150"/>
                </a:cubicBezTo>
                <a:cubicBezTo>
                  <a:pt x="535" y="150"/>
                  <a:pt x="536" y="150"/>
                  <a:pt x="536" y="150"/>
                </a:cubicBezTo>
                <a:cubicBezTo>
                  <a:pt x="536" y="150"/>
                  <a:pt x="536" y="151"/>
                  <a:pt x="536" y="151"/>
                </a:cubicBezTo>
                <a:cubicBezTo>
                  <a:pt x="536" y="150"/>
                  <a:pt x="536" y="150"/>
                  <a:pt x="537" y="150"/>
                </a:cubicBezTo>
                <a:cubicBezTo>
                  <a:pt x="537" y="150"/>
                  <a:pt x="537" y="149"/>
                  <a:pt x="536" y="149"/>
                </a:cubicBezTo>
                <a:cubicBezTo>
                  <a:pt x="537" y="149"/>
                  <a:pt x="537" y="149"/>
                  <a:pt x="537" y="148"/>
                </a:cubicBezTo>
                <a:cubicBezTo>
                  <a:pt x="537" y="148"/>
                  <a:pt x="537" y="148"/>
                  <a:pt x="538" y="148"/>
                </a:cubicBezTo>
                <a:cubicBezTo>
                  <a:pt x="538" y="148"/>
                  <a:pt x="538" y="149"/>
                  <a:pt x="538" y="149"/>
                </a:cubicBezTo>
                <a:cubicBezTo>
                  <a:pt x="538" y="149"/>
                  <a:pt x="538" y="149"/>
                  <a:pt x="538" y="149"/>
                </a:cubicBezTo>
                <a:cubicBezTo>
                  <a:pt x="538" y="149"/>
                  <a:pt x="538" y="149"/>
                  <a:pt x="538" y="150"/>
                </a:cubicBezTo>
                <a:cubicBezTo>
                  <a:pt x="538" y="150"/>
                  <a:pt x="538" y="150"/>
                  <a:pt x="537" y="150"/>
                </a:cubicBezTo>
                <a:cubicBezTo>
                  <a:pt x="537" y="150"/>
                  <a:pt x="537" y="151"/>
                  <a:pt x="537" y="151"/>
                </a:cubicBezTo>
                <a:cubicBezTo>
                  <a:pt x="537" y="151"/>
                  <a:pt x="538" y="151"/>
                  <a:pt x="538" y="151"/>
                </a:cubicBezTo>
                <a:cubicBezTo>
                  <a:pt x="538" y="151"/>
                  <a:pt x="538" y="151"/>
                  <a:pt x="538" y="151"/>
                </a:cubicBezTo>
                <a:cubicBezTo>
                  <a:pt x="538" y="152"/>
                  <a:pt x="538" y="152"/>
                  <a:pt x="538" y="152"/>
                </a:cubicBezTo>
                <a:cubicBezTo>
                  <a:pt x="539" y="152"/>
                  <a:pt x="540" y="152"/>
                  <a:pt x="540" y="152"/>
                </a:cubicBezTo>
                <a:cubicBezTo>
                  <a:pt x="540" y="152"/>
                  <a:pt x="541" y="152"/>
                  <a:pt x="541" y="152"/>
                </a:cubicBezTo>
                <a:cubicBezTo>
                  <a:pt x="541" y="152"/>
                  <a:pt x="541" y="152"/>
                  <a:pt x="541" y="152"/>
                </a:cubicBezTo>
                <a:cubicBezTo>
                  <a:pt x="541" y="152"/>
                  <a:pt x="541" y="152"/>
                  <a:pt x="541" y="152"/>
                </a:cubicBezTo>
                <a:cubicBezTo>
                  <a:pt x="541" y="152"/>
                  <a:pt x="542" y="152"/>
                  <a:pt x="542" y="152"/>
                </a:cubicBezTo>
                <a:cubicBezTo>
                  <a:pt x="542" y="152"/>
                  <a:pt x="542" y="152"/>
                  <a:pt x="543" y="151"/>
                </a:cubicBezTo>
                <a:cubicBezTo>
                  <a:pt x="543" y="151"/>
                  <a:pt x="543" y="152"/>
                  <a:pt x="543" y="152"/>
                </a:cubicBezTo>
                <a:cubicBezTo>
                  <a:pt x="543" y="152"/>
                  <a:pt x="543" y="152"/>
                  <a:pt x="543" y="152"/>
                </a:cubicBezTo>
                <a:cubicBezTo>
                  <a:pt x="543" y="152"/>
                  <a:pt x="543" y="153"/>
                  <a:pt x="543" y="153"/>
                </a:cubicBezTo>
                <a:cubicBezTo>
                  <a:pt x="543" y="153"/>
                  <a:pt x="543" y="154"/>
                  <a:pt x="543" y="154"/>
                </a:cubicBezTo>
                <a:cubicBezTo>
                  <a:pt x="543" y="154"/>
                  <a:pt x="543" y="154"/>
                  <a:pt x="543" y="154"/>
                </a:cubicBezTo>
                <a:cubicBezTo>
                  <a:pt x="542" y="155"/>
                  <a:pt x="542" y="155"/>
                  <a:pt x="542" y="155"/>
                </a:cubicBezTo>
                <a:cubicBezTo>
                  <a:pt x="542" y="156"/>
                  <a:pt x="542" y="156"/>
                  <a:pt x="541" y="157"/>
                </a:cubicBezTo>
                <a:cubicBezTo>
                  <a:pt x="541" y="157"/>
                  <a:pt x="541" y="157"/>
                  <a:pt x="541" y="157"/>
                </a:cubicBezTo>
                <a:cubicBezTo>
                  <a:pt x="542" y="157"/>
                  <a:pt x="542" y="157"/>
                  <a:pt x="542" y="157"/>
                </a:cubicBezTo>
                <a:cubicBezTo>
                  <a:pt x="542" y="157"/>
                  <a:pt x="542" y="156"/>
                  <a:pt x="542" y="156"/>
                </a:cubicBezTo>
                <a:cubicBezTo>
                  <a:pt x="542" y="156"/>
                  <a:pt x="543" y="156"/>
                  <a:pt x="543" y="156"/>
                </a:cubicBezTo>
                <a:cubicBezTo>
                  <a:pt x="543" y="156"/>
                  <a:pt x="543" y="156"/>
                  <a:pt x="543" y="156"/>
                </a:cubicBezTo>
                <a:cubicBezTo>
                  <a:pt x="543" y="156"/>
                  <a:pt x="544" y="156"/>
                  <a:pt x="544" y="156"/>
                </a:cubicBezTo>
                <a:cubicBezTo>
                  <a:pt x="544" y="156"/>
                  <a:pt x="544" y="156"/>
                  <a:pt x="545" y="157"/>
                </a:cubicBezTo>
                <a:cubicBezTo>
                  <a:pt x="545" y="157"/>
                  <a:pt x="546" y="156"/>
                  <a:pt x="546" y="156"/>
                </a:cubicBezTo>
                <a:cubicBezTo>
                  <a:pt x="546" y="157"/>
                  <a:pt x="546" y="157"/>
                  <a:pt x="545" y="157"/>
                </a:cubicBezTo>
                <a:cubicBezTo>
                  <a:pt x="545" y="157"/>
                  <a:pt x="545" y="157"/>
                  <a:pt x="545" y="157"/>
                </a:cubicBezTo>
                <a:cubicBezTo>
                  <a:pt x="545" y="157"/>
                  <a:pt x="545" y="158"/>
                  <a:pt x="545" y="158"/>
                </a:cubicBezTo>
                <a:cubicBezTo>
                  <a:pt x="545" y="158"/>
                  <a:pt x="544" y="157"/>
                  <a:pt x="544" y="157"/>
                </a:cubicBezTo>
                <a:cubicBezTo>
                  <a:pt x="544" y="158"/>
                  <a:pt x="544" y="158"/>
                  <a:pt x="543" y="158"/>
                </a:cubicBezTo>
                <a:cubicBezTo>
                  <a:pt x="544" y="158"/>
                  <a:pt x="544" y="158"/>
                  <a:pt x="544" y="158"/>
                </a:cubicBezTo>
                <a:cubicBezTo>
                  <a:pt x="544" y="158"/>
                  <a:pt x="544" y="158"/>
                  <a:pt x="544" y="158"/>
                </a:cubicBezTo>
                <a:cubicBezTo>
                  <a:pt x="545" y="158"/>
                  <a:pt x="545" y="158"/>
                  <a:pt x="545" y="158"/>
                </a:cubicBezTo>
                <a:cubicBezTo>
                  <a:pt x="545" y="158"/>
                  <a:pt x="545" y="158"/>
                  <a:pt x="546" y="158"/>
                </a:cubicBezTo>
                <a:cubicBezTo>
                  <a:pt x="546" y="158"/>
                  <a:pt x="546" y="159"/>
                  <a:pt x="546" y="159"/>
                </a:cubicBezTo>
                <a:cubicBezTo>
                  <a:pt x="546" y="159"/>
                  <a:pt x="546" y="159"/>
                  <a:pt x="546" y="159"/>
                </a:cubicBezTo>
                <a:cubicBezTo>
                  <a:pt x="546" y="159"/>
                  <a:pt x="546" y="159"/>
                  <a:pt x="546" y="159"/>
                </a:cubicBezTo>
                <a:cubicBezTo>
                  <a:pt x="547" y="160"/>
                  <a:pt x="547" y="160"/>
                  <a:pt x="547" y="160"/>
                </a:cubicBezTo>
                <a:cubicBezTo>
                  <a:pt x="547" y="160"/>
                  <a:pt x="548" y="160"/>
                  <a:pt x="548" y="160"/>
                </a:cubicBezTo>
                <a:cubicBezTo>
                  <a:pt x="548" y="160"/>
                  <a:pt x="549" y="160"/>
                  <a:pt x="549" y="160"/>
                </a:cubicBezTo>
                <a:cubicBezTo>
                  <a:pt x="549" y="160"/>
                  <a:pt x="549" y="160"/>
                  <a:pt x="549" y="161"/>
                </a:cubicBezTo>
                <a:cubicBezTo>
                  <a:pt x="549" y="161"/>
                  <a:pt x="549" y="161"/>
                  <a:pt x="549" y="161"/>
                </a:cubicBezTo>
                <a:cubicBezTo>
                  <a:pt x="549" y="161"/>
                  <a:pt x="549" y="162"/>
                  <a:pt x="548" y="162"/>
                </a:cubicBezTo>
                <a:cubicBezTo>
                  <a:pt x="548" y="162"/>
                  <a:pt x="548" y="162"/>
                  <a:pt x="548" y="162"/>
                </a:cubicBezTo>
                <a:cubicBezTo>
                  <a:pt x="548" y="162"/>
                  <a:pt x="547" y="162"/>
                  <a:pt x="547" y="162"/>
                </a:cubicBezTo>
                <a:cubicBezTo>
                  <a:pt x="547" y="162"/>
                  <a:pt x="547" y="162"/>
                  <a:pt x="547" y="162"/>
                </a:cubicBezTo>
                <a:cubicBezTo>
                  <a:pt x="546" y="162"/>
                  <a:pt x="546" y="162"/>
                  <a:pt x="546" y="162"/>
                </a:cubicBezTo>
                <a:cubicBezTo>
                  <a:pt x="546" y="162"/>
                  <a:pt x="545" y="162"/>
                  <a:pt x="545" y="162"/>
                </a:cubicBezTo>
                <a:cubicBezTo>
                  <a:pt x="545" y="163"/>
                  <a:pt x="545" y="163"/>
                  <a:pt x="545" y="163"/>
                </a:cubicBezTo>
                <a:cubicBezTo>
                  <a:pt x="545" y="163"/>
                  <a:pt x="545" y="163"/>
                  <a:pt x="545" y="163"/>
                </a:cubicBezTo>
                <a:cubicBezTo>
                  <a:pt x="545" y="164"/>
                  <a:pt x="545" y="164"/>
                  <a:pt x="545" y="164"/>
                </a:cubicBezTo>
                <a:cubicBezTo>
                  <a:pt x="545" y="164"/>
                  <a:pt x="545" y="164"/>
                  <a:pt x="545" y="164"/>
                </a:cubicBezTo>
                <a:cubicBezTo>
                  <a:pt x="545" y="164"/>
                  <a:pt x="545" y="165"/>
                  <a:pt x="545" y="165"/>
                </a:cubicBezTo>
                <a:cubicBezTo>
                  <a:pt x="545" y="165"/>
                  <a:pt x="545" y="165"/>
                  <a:pt x="546" y="165"/>
                </a:cubicBezTo>
                <a:cubicBezTo>
                  <a:pt x="546" y="164"/>
                  <a:pt x="546" y="164"/>
                  <a:pt x="546" y="164"/>
                </a:cubicBezTo>
                <a:cubicBezTo>
                  <a:pt x="546" y="164"/>
                  <a:pt x="546" y="164"/>
                  <a:pt x="546" y="164"/>
                </a:cubicBezTo>
                <a:cubicBezTo>
                  <a:pt x="547" y="164"/>
                  <a:pt x="547" y="164"/>
                  <a:pt x="547" y="164"/>
                </a:cubicBezTo>
                <a:cubicBezTo>
                  <a:pt x="548" y="164"/>
                  <a:pt x="548" y="163"/>
                  <a:pt x="548" y="163"/>
                </a:cubicBezTo>
                <a:cubicBezTo>
                  <a:pt x="548" y="163"/>
                  <a:pt x="549" y="163"/>
                  <a:pt x="549" y="163"/>
                </a:cubicBezTo>
                <a:cubicBezTo>
                  <a:pt x="549" y="163"/>
                  <a:pt x="549" y="163"/>
                  <a:pt x="549" y="162"/>
                </a:cubicBezTo>
                <a:cubicBezTo>
                  <a:pt x="550" y="162"/>
                  <a:pt x="550" y="162"/>
                  <a:pt x="550" y="162"/>
                </a:cubicBezTo>
                <a:cubicBezTo>
                  <a:pt x="550" y="162"/>
                  <a:pt x="550" y="163"/>
                  <a:pt x="550" y="163"/>
                </a:cubicBezTo>
                <a:cubicBezTo>
                  <a:pt x="550" y="163"/>
                  <a:pt x="551" y="163"/>
                  <a:pt x="551" y="163"/>
                </a:cubicBezTo>
                <a:cubicBezTo>
                  <a:pt x="551" y="163"/>
                  <a:pt x="551" y="163"/>
                  <a:pt x="551" y="163"/>
                </a:cubicBezTo>
                <a:cubicBezTo>
                  <a:pt x="552" y="162"/>
                  <a:pt x="552" y="162"/>
                  <a:pt x="552" y="162"/>
                </a:cubicBezTo>
                <a:cubicBezTo>
                  <a:pt x="552" y="161"/>
                  <a:pt x="553" y="161"/>
                  <a:pt x="553" y="161"/>
                </a:cubicBezTo>
                <a:cubicBezTo>
                  <a:pt x="553" y="161"/>
                  <a:pt x="553" y="161"/>
                  <a:pt x="553" y="161"/>
                </a:cubicBezTo>
                <a:cubicBezTo>
                  <a:pt x="553" y="161"/>
                  <a:pt x="553" y="161"/>
                  <a:pt x="553" y="162"/>
                </a:cubicBezTo>
                <a:cubicBezTo>
                  <a:pt x="553" y="162"/>
                  <a:pt x="553" y="162"/>
                  <a:pt x="553" y="162"/>
                </a:cubicBezTo>
                <a:cubicBezTo>
                  <a:pt x="553" y="162"/>
                  <a:pt x="552" y="162"/>
                  <a:pt x="552" y="162"/>
                </a:cubicBezTo>
                <a:cubicBezTo>
                  <a:pt x="553" y="162"/>
                  <a:pt x="553" y="162"/>
                  <a:pt x="553" y="162"/>
                </a:cubicBezTo>
                <a:cubicBezTo>
                  <a:pt x="553" y="162"/>
                  <a:pt x="553" y="162"/>
                  <a:pt x="553" y="163"/>
                </a:cubicBezTo>
                <a:cubicBezTo>
                  <a:pt x="553" y="163"/>
                  <a:pt x="552" y="163"/>
                  <a:pt x="552" y="163"/>
                </a:cubicBezTo>
                <a:cubicBezTo>
                  <a:pt x="552" y="163"/>
                  <a:pt x="552" y="163"/>
                  <a:pt x="552" y="163"/>
                </a:cubicBezTo>
                <a:cubicBezTo>
                  <a:pt x="552" y="163"/>
                  <a:pt x="553" y="163"/>
                  <a:pt x="553" y="163"/>
                </a:cubicBezTo>
                <a:cubicBezTo>
                  <a:pt x="553" y="163"/>
                  <a:pt x="553" y="163"/>
                  <a:pt x="554" y="163"/>
                </a:cubicBezTo>
                <a:cubicBezTo>
                  <a:pt x="553" y="164"/>
                  <a:pt x="553" y="164"/>
                  <a:pt x="553" y="164"/>
                </a:cubicBezTo>
                <a:cubicBezTo>
                  <a:pt x="553" y="164"/>
                  <a:pt x="553" y="165"/>
                  <a:pt x="553" y="165"/>
                </a:cubicBezTo>
                <a:cubicBezTo>
                  <a:pt x="553" y="165"/>
                  <a:pt x="553" y="165"/>
                  <a:pt x="554" y="165"/>
                </a:cubicBezTo>
                <a:cubicBezTo>
                  <a:pt x="554" y="165"/>
                  <a:pt x="554" y="165"/>
                  <a:pt x="554" y="165"/>
                </a:cubicBezTo>
                <a:cubicBezTo>
                  <a:pt x="555" y="165"/>
                  <a:pt x="555" y="165"/>
                  <a:pt x="556" y="165"/>
                </a:cubicBezTo>
                <a:cubicBezTo>
                  <a:pt x="556" y="165"/>
                  <a:pt x="556" y="165"/>
                  <a:pt x="556" y="165"/>
                </a:cubicBezTo>
                <a:cubicBezTo>
                  <a:pt x="556" y="164"/>
                  <a:pt x="555" y="164"/>
                  <a:pt x="555" y="164"/>
                </a:cubicBezTo>
                <a:cubicBezTo>
                  <a:pt x="555" y="164"/>
                  <a:pt x="555" y="164"/>
                  <a:pt x="555" y="164"/>
                </a:cubicBezTo>
                <a:cubicBezTo>
                  <a:pt x="555" y="164"/>
                  <a:pt x="556" y="164"/>
                  <a:pt x="556" y="163"/>
                </a:cubicBezTo>
                <a:cubicBezTo>
                  <a:pt x="556" y="164"/>
                  <a:pt x="557" y="164"/>
                  <a:pt x="557" y="164"/>
                </a:cubicBezTo>
                <a:cubicBezTo>
                  <a:pt x="557" y="164"/>
                  <a:pt x="557" y="164"/>
                  <a:pt x="557" y="164"/>
                </a:cubicBezTo>
                <a:cubicBezTo>
                  <a:pt x="557" y="165"/>
                  <a:pt x="557" y="165"/>
                  <a:pt x="557" y="165"/>
                </a:cubicBezTo>
                <a:cubicBezTo>
                  <a:pt x="557" y="165"/>
                  <a:pt x="557" y="165"/>
                  <a:pt x="558" y="165"/>
                </a:cubicBezTo>
                <a:cubicBezTo>
                  <a:pt x="558" y="165"/>
                  <a:pt x="558" y="165"/>
                  <a:pt x="558" y="165"/>
                </a:cubicBezTo>
                <a:cubicBezTo>
                  <a:pt x="557" y="166"/>
                  <a:pt x="557" y="166"/>
                  <a:pt x="556" y="166"/>
                </a:cubicBezTo>
                <a:cubicBezTo>
                  <a:pt x="556" y="166"/>
                  <a:pt x="556" y="166"/>
                  <a:pt x="556" y="167"/>
                </a:cubicBezTo>
                <a:cubicBezTo>
                  <a:pt x="556" y="167"/>
                  <a:pt x="557" y="167"/>
                  <a:pt x="557" y="167"/>
                </a:cubicBezTo>
                <a:cubicBezTo>
                  <a:pt x="558" y="167"/>
                  <a:pt x="559" y="167"/>
                  <a:pt x="559" y="167"/>
                </a:cubicBezTo>
                <a:cubicBezTo>
                  <a:pt x="559" y="167"/>
                  <a:pt x="560" y="167"/>
                  <a:pt x="560" y="167"/>
                </a:cubicBezTo>
                <a:cubicBezTo>
                  <a:pt x="560" y="167"/>
                  <a:pt x="560" y="167"/>
                  <a:pt x="560" y="167"/>
                </a:cubicBezTo>
                <a:cubicBezTo>
                  <a:pt x="560" y="167"/>
                  <a:pt x="560" y="168"/>
                  <a:pt x="560" y="168"/>
                </a:cubicBezTo>
                <a:cubicBezTo>
                  <a:pt x="560" y="168"/>
                  <a:pt x="560" y="168"/>
                  <a:pt x="560" y="167"/>
                </a:cubicBezTo>
                <a:cubicBezTo>
                  <a:pt x="560" y="167"/>
                  <a:pt x="560" y="167"/>
                  <a:pt x="560" y="167"/>
                </a:cubicBezTo>
                <a:cubicBezTo>
                  <a:pt x="561" y="167"/>
                  <a:pt x="561" y="167"/>
                  <a:pt x="561" y="167"/>
                </a:cubicBezTo>
                <a:cubicBezTo>
                  <a:pt x="561" y="166"/>
                  <a:pt x="561" y="166"/>
                  <a:pt x="561" y="166"/>
                </a:cubicBezTo>
                <a:cubicBezTo>
                  <a:pt x="562" y="166"/>
                  <a:pt x="562" y="167"/>
                  <a:pt x="562" y="167"/>
                </a:cubicBezTo>
                <a:cubicBezTo>
                  <a:pt x="561" y="167"/>
                  <a:pt x="561" y="167"/>
                  <a:pt x="561" y="167"/>
                </a:cubicBezTo>
                <a:cubicBezTo>
                  <a:pt x="561" y="168"/>
                  <a:pt x="561" y="168"/>
                  <a:pt x="561" y="168"/>
                </a:cubicBezTo>
                <a:cubicBezTo>
                  <a:pt x="561" y="168"/>
                  <a:pt x="561" y="168"/>
                  <a:pt x="560" y="168"/>
                </a:cubicBezTo>
                <a:cubicBezTo>
                  <a:pt x="560" y="169"/>
                  <a:pt x="560" y="169"/>
                  <a:pt x="560" y="169"/>
                </a:cubicBezTo>
                <a:cubicBezTo>
                  <a:pt x="560" y="169"/>
                  <a:pt x="560" y="170"/>
                  <a:pt x="560" y="170"/>
                </a:cubicBezTo>
                <a:cubicBezTo>
                  <a:pt x="561" y="170"/>
                  <a:pt x="561" y="170"/>
                  <a:pt x="561" y="170"/>
                </a:cubicBezTo>
                <a:cubicBezTo>
                  <a:pt x="561" y="170"/>
                  <a:pt x="561" y="170"/>
                  <a:pt x="561" y="170"/>
                </a:cubicBezTo>
                <a:cubicBezTo>
                  <a:pt x="561" y="171"/>
                  <a:pt x="561" y="171"/>
                  <a:pt x="561" y="171"/>
                </a:cubicBezTo>
                <a:cubicBezTo>
                  <a:pt x="561" y="171"/>
                  <a:pt x="561" y="171"/>
                  <a:pt x="561" y="172"/>
                </a:cubicBezTo>
                <a:cubicBezTo>
                  <a:pt x="561" y="172"/>
                  <a:pt x="561" y="172"/>
                  <a:pt x="561" y="172"/>
                </a:cubicBezTo>
                <a:cubicBezTo>
                  <a:pt x="561" y="172"/>
                  <a:pt x="561" y="172"/>
                  <a:pt x="561" y="172"/>
                </a:cubicBezTo>
                <a:cubicBezTo>
                  <a:pt x="561" y="173"/>
                  <a:pt x="561" y="173"/>
                  <a:pt x="561" y="173"/>
                </a:cubicBezTo>
                <a:cubicBezTo>
                  <a:pt x="561" y="174"/>
                  <a:pt x="561" y="174"/>
                  <a:pt x="561" y="174"/>
                </a:cubicBezTo>
                <a:cubicBezTo>
                  <a:pt x="561" y="174"/>
                  <a:pt x="561" y="174"/>
                  <a:pt x="561" y="175"/>
                </a:cubicBezTo>
                <a:cubicBezTo>
                  <a:pt x="561" y="175"/>
                  <a:pt x="561" y="175"/>
                  <a:pt x="561" y="175"/>
                </a:cubicBezTo>
                <a:cubicBezTo>
                  <a:pt x="561" y="175"/>
                  <a:pt x="560" y="176"/>
                  <a:pt x="560" y="176"/>
                </a:cubicBezTo>
                <a:cubicBezTo>
                  <a:pt x="559" y="176"/>
                  <a:pt x="559" y="176"/>
                  <a:pt x="558" y="176"/>
                </a:cubicBezTo>
                <a:cubicBezTo>
                  <a:pt x="558" y="176"/>
                  <a:pt x="558" y="176"/>
                  <a:pt x="557" y="176"/>
                </a:cubicBezTo>
                <a:cubicBezTo>
                  <a:pt x="557" y="176"/>
                  <a:pt x="557" y="177"/>
                  <a:pt x="557" y="177"/>
                </a:cubicBezTo>
                <a:cubicBezTo>
                  <a:pt x="557" y="177"/>
                  <a:pt x="556" y="178"/>
                  <a:pt x="555" y="178"/>
                </a:cubicBezTo>
                <a:cubicBezTo>
                  <a:pt x="555" y="178"/>
                  <a:pt x="556" y="179"/>
                  <a:pt x="556" y="179"/>
                </a:cubicBezTo>
                <a:cubicBezTo>
                  <a:pt x="556" y="179"/>
                  <a:pt x="557" y="179"/>
                  <a:pt x="557" y="179"/>
                </a:cubicBezTo>
                <a:cubicBezTo>
                  <a:pt x="557" y="179"/>
                  <a:pt x="557" y="179"/>
                  <a:pt x="557" y="179"/>
                </a:cubicBezTo>
                <a:cubicBezTo>
                  <a:pt x="556" y="179"/>
                  <a:pt x="556" y="179"/>
                  <a:pt x="556" y="180"/>
                </a:cubicBezTo>
                <a:cubicBezTo>
                  <a:pt x="556" y="179"/>
                  <a:pt x="555" y="179"/>
                  <a:pt x="555" y="179"/>
                </a:cubicBezTo>
                <a:cubicBezTo>
                  <a:pt x="555" y="179"/>
                  <a:pt x="555" y="179"/>
                  <a:pt x="555" y="179"/>
                </a:cubicBezTo>
                <a:cubicBezTo>
                  <a:pt x="554" y="180"/>
                  <a:pt x="554" y="180"/>
                  <a:pt x="553" y="181"/>
                </a:cubicBezTo>
                <a:cubicBezTo>
                  <a:pt x="553" y="181"/>
                  <a:pt x="553" y="181"/>
                  <a:pt x="553" y="181"/>
                </a:cubicBezTo>
                <a:cubicBezTo>
                  <a:pt x="552" y="181"/>
                  <a:pt x="551" y="182"/>
                  <a:pt x="551" y="182"/>
                </a:cubicBezTo>
                <a:cubicBezTo>
                  <a:pt x="550" y="183"/>
                  <a:pt x="550" y="183"/>
                  <a:pt x="549" y="183"/>
                </a:cubicBezTo>
                <a:cubicBezTo>
                  <a:pt x="549" y="183"/>
                  <a:pt x="549" y="184"/>
                  <a:pt x="549" y="184"/>
                </a:cubicBezTo>
                <a:cubicBezTo>
                  <a:pt x="549" y="184"/>
                  <a:pt x="548" y="184"/>
                  <a:pt x="548" y="184"/>
                </a:cubicBezTo>
                <a:cubicBezTo>
                  <a:pt x="548" y="184"/>
                  <a:pt x="548" y="185"/>
                  <a:pt x="548" y="185"/>
                </a:cubicBezTo>
                <a:cubicBezTo>
                  <a:pt x="548" y="185"/>
                  <a:pt x="549" y="185"/>
                  <a:pt x="549" y="185"/>
                </a:cubicBezTo>
                <a:cubicBezTo>
                  <a:pt x="549" y="186"/>
                  <a:pt x="549" y="186"/>
                  <a:pt x="549" y="186"/>
                </a:cubicBezTo>
                <a:cubicBezTo>
                  <a:pt x="550" y="186"/>
                  <a:pt x="550" y="186"/>
                  <a:pt x="550" y="187"/>
                </a:cubicBezTo>
                <a:cubicBezTo>
                  <a:pt x="551" y="187"/>
                  <a:pt x="551" y="188"/>
                  <a:pt x="551" y="188"/>
                </a:cubicBezTo>
                <a:cubicBezTo>
                  <a:pt x="551" y="189"/>
                  <a:pt x="551" y="189"/>
                  <a:pt x="551" y="189"/>
                </a:cubicBezTo>
                <a:cubicBezTo>
                  <a:pt x="551" y="189"/>
                  <a:pt x="550" y="189"/>
                  <a:pt x="550" y="189"/>
                </a:cubicBezTo>
                <a:cubicBezTo>
                  <a:pt x="550" y="189"/>
                  <a:pt x="550" y="189"/>
                  <a:pt x="550" y="189"/>
                </a:cubicBezTo>
                <a:cubicBezTo>
                  <a:pt x="550" y="190"/>
                  <a:pt x="550" y="190"/>
                  <a:pt x="550" y="190"/>
                </a:cubicBezTo>
                <a:cubicBezTo>
                  <a:pt x="549" y="190"/>
                  <a:pt x="549" y="190"/>
                  <a:pt x="549" y="189"/>
                </a:cubicBezTo>
                <a:cubicBezTo>
                  <a:pt x="549" y="189"/>
                  <a:pt x="549" y="189"/>
                  <a:pt x="549" y="189"/>
                </a:cubicBezTo>
                <a:cubicBezTo>
                  <a:pt x="549" y="188"/>
                  <a:pt x="548" y="188"/>
                  <a:pt x="548" y="188"/>
                </a:cubicBezTo>
                <a:cubicBezTo>
                  <a:pt x="548" y="188"/>
                  <a:pt x="548" y="189"/>
                  <a:pt x="547" y="189"/>
                </a:cubicBezTo>
                <a:cubicBezTo>
                  <a:pt x="547" y="189"/>
                  <a:pt x="547" y="189"/>
                  <a:pt x="547" y="190"/>
                </a:cubicBezTo>
                <a:cubicBezTo>
                  <a:pt x="547" y="190"/>
                  <a:pt x="546" y="190"/>
                  <a:pt x="546" y="190"/>
                </a:cubicBezTo>
                <a:cubicBezTo>
                  <a:pt x="546" y="190"/>
                  <a:pt x="545" y="190"/>
                  <a:pt x="545" y="190"/>
                </a:cubicBezTo>
                <a:cubicBezTo>
                  <a:pt x="545" y="190"/>
                  <a:pt x="545" y="190"/>
                  <a:pt x="545" y="190"/>
                </a:cubicBezTo>
                <a:cubicBezTo>
                  <a:pt x="545" y="190"/>
                  <a:pt x="545" y="190"/>
                  <a:pt x="545" y="190"/>
                </a:cubicBezTo>
                <a:cubicBezTo>
                  <a:pt x="545" y="190"/>
                  <a:pt x="544" y="190"/>
                  <a:pt x="544" y="190"/>
                </a:cubicBezTo>
                <a:cubicBezTo>
                  <a:pt x="544" y="190"/>
                  <a:pt x="544" y="190"/>
                  <a:pt x="544" y="191"/>
                </a:cubicBezTo>
                <a:cubicBezTo>
                  <a:pt x="543" y="191"/>
                  <a:pt x="543" y="191"/>
                  <a:pt x="543" y="191"/>
                </a:cubicBezTo>
                <a:cubicBezTo>
                  <a:pt x="542" y="191"/>
                  <a:pt x="542" y="191"/>
                  <a:pt x="542" y="192"/>
                </a:cubicBezTo>
                <a:cubicBezTo>
                  <a:pt x="541" y="192"/>
                  <a:pt x="541" y="192"/>
                  <a:pt x="541" y="192"/>
                </a:cubicBezTo>
                <a:cubicBezTo>
                  <a:pt x="541" y="192"/>
                  <a:pt x="541" y="191"/>
                  <a:pt x="540" y="191"/>
                </a:cubicBezTo>
                <a:cubicBezTo>
                  <a:pt x="540" y="191"/>
                  <a:pt x="540" y="191"/>
                  <a:pt x="539" y="191"/>
                </a:cubicBezTo>
                <a:cubicBezTo>
                  <a:pt x="539" y="192"/>
                  <a:pt x="539" y="192"/>
                  <a:pt x="539" y="192"/>
                </a:cubicBezTo>
                <a:cubicBezTo>
                  <a:pt x="538" y="192"/>
                  <a:pt x="538" y="192"/>
                  <a:pt x="538" y="192"/>
                </a:cubicBezTo>
                <a:cubicBezTo>
                  <a:pt x="537" y="192"/>
                  <a:pt x="537" y="192"/>
                  <a:pt x="537" y="192"/>
                </a:cubicBezTo>
                <a:cubicBezTo>
                  <a:pt x="537" y="192"/>
                  <a:pt x="536" y="192"/>
                  <a:pt x="536" y="192"/>
                </a:cubicBezTo>
                <a:cubicBezTo>
                  <a:pt x="536" y="191"/>
                  <a:pt x="535" y="191"/>
                  <a:pt x="535" y="191"/>
                </a:cubicBezTo>
                <a:cubicBezTo>
                  <a:pt x="534" y="191"/>
                  <a:pt x="534" y="191"/>
                  <a:pt x="533" y="191"/>
                </a:cubicBezTo>
                <a:cubicBezTo>
                  <a:pt x="533" y="191"/>
                  <a:pt x="532" y="191"/>
                  <a:pt x="532" y="191"/>
                </a:cubicBezTo>
                <a:cubicBezTo>
                  <a:pt x="532" y="191"/>
                  <a:pt x="532" y="191"/>
                  <a:pt x="532" y="191"/>
                </a:cubicBezTo>
                <a:cubicBezTo>
                  <a:pt x="532" y="191"/>
                  <a:pt x="532" y="191"/>
                  <a:pt x="532" y="191"/>
                </a:cubicBezTo>
                <a:cubicBezTo>
                  <a:pt x="532" y="191"/>
                  <a:pt x="532" y="192"/>
                  <a:pt x="532" y="192"/>
                </a:cubicBezTo>
                <a:cubicBezTo>
                  <a:pt x="532" y="192"/>
                  <a:pt x="531" y="192"/>
                  <a:pt x="531" y="192"/>
                </a:cubicBezTo>
                <a:cubicBezTo>
                  <a:pt x="531" y="192"/>
                  <a:pt x="531" y="192"/>
                  <a:pt x="531" y="192"/>
                </a:cubicBezTo>
                <a:cubicBezTo>
                  <a:pt x="531" y="192"/>
                  <a:pt x="531" y="192"/>
                  <a:pt x="531" y="192"/>
                </a:cubicBezTo>
                <a:cubicBezTo>
                  <a:pt x="531" y="192"/>
                  <a:pt x="531" y="193"/>
                  <a:pt x="532" y="193"/>
                </a:cubicBezTo>
                <a:cubicBezTo>
                  <a:pt x="532" y="193"/>
                  <a:pt x="532" y="193"/>
                  <a:pt x="532" y="193"/>
                </a:cubicBezTo>
                <a:cubicBezTo>
                  <a:pt x="531" y="193"/>
                  <a:pt x="531" y="193"/>
                  <a:pt x="531" y="193"/>
                </a:cubicBezTo>
                <a:cubicBezTo>
                  <a:pt x="531" y="193"/>
                  <a:pt x="530" y="194"/>
                  <a:pt x="530" y="194"/>
                </a:cubicBezTo>
                <a:cubicBezTo>
                  <a:pt x="530" y="194"/>
                  <a:pt x="530" y="194"/>
                  <a:pt x="530" y="194"/>
                </a:cubicBezTo>
                <a:cubicBezTo>
                  <a:pt x="529" y="194"/>
                  <a:pt x="529" y="195"/>
                  <a:pt x="528" y="195"/>
                </a:cubicBezTo>
                <a:cubicBezTo>
                  <a:pt x="528" y="195"/>
                  <a:pt x="528" y="195"/>
                  <a:pt x="528" y="195"/>
                </a:cubicBezTo>
                <a:cubicBezTo>
                  <a:pt x="528" y="196"/>
                  <a:pt x="528" y="196"/>
                  <a:pt x="528" y="196"/>
                </a:cubicBezTo>
                <a:cubicBezTo>
                  <a:pt x="528" y="196"/>
                  <a:pt x="527" y="196"/>
                  <a:pt x="527" y="197"/>
                </a:cubicBezTo>
                <a:cubicBezTo>
                  <a:pt x="527" y="197"/>
                  <a:pt x="527" y="197"/>
                  <a:pt x="527" y="197"/>
                </a:cubicBezTo>
                <a:cubicBezTo>
                  <a:pt x="527" y="198"/>
                  <a:pt x="528" y="198"/>
                  <a:pt x="528" y="199"/>
                </a:cubicBezTo>
                <a:cubicBezTo>
                  <a:pt x="528" y="199"/>
                  <a:pt x="529" y="199"/>
                  <a:pt x="529" y="199"/>
                </a:cubicBezTo>
                <a:cubicBezTo>
                  <a:pt x="529" y="199"/>
                  <a:pt x="529" y="199"/>
                  <a:pt x="529" y="199"/>
                </a:cubicBezTo>
                <a:cubicBezTo>
                  <a:pt x="530" y="199"/>
                  <a:pt x="530" y="199"/>
                  <a:pt x="531" y="199"/>
                </a:cubicBezTo>
                <a:cubicBezTo>
                  <a:pt x="531" y="199"/>
                  <a:pt x="531" y="200"/>
                  <a:pt x="531" y="200"/>
                </a:cubicBezTo>
                <a:cubicBezTo>
                  <a:pt x="531" y="200"/>
                  <a:pt x="532" y="200"/>
                  <a:pt x="532" y="200"/>
                </a:cubicBezTo>
                <a:cubicBezTo>
                  <a:pt x="533" y="200"/>
                  <a:pt x="533" y="200"/>
                  <a:pt x="533" y="200"/>
                </a:cubicBezTo>
                <a:cubicBezTo>
                  <a:pt x="534" y="199"/>
                  <a:pt x="534" y="199"/>
                  <a:pt x="534" y="199"/>
                </a:cubicBezTo>
                <a:cubicBezTo>
                  <a:pt x="534" y="199"/>
                  <a:pt x="535" y="199"/>
                  <a:pt x="535" y="199"/>
                </a:cubicBezTo>
                <a:cubicBezTo>
                  <a:pt x="535" y="199"/>
                  <a:pt x="535" y="199"/>
                  <a:pt x="535" y="198"/>
                </a:cubicBezTo>
                <a:cubicBezTo>
                  <a:pt x="536" y="198"/>
                  <a:pt x="536" y="198"/>
                  <a:pt x="537" y="198"/>
                </a:cubicBezTo>
                <a:cubicBezTo>
                  <a:pt x="537" y="198"/>
                  <a:pt x="537" y="198"/>
                  <a:pt x="537" y="198"/>
                </a:cubicBezTo>
                <a:cubicBezTo>
                  <a:pt x="537" y="198"/>
                  <a:pt x="538" y="198"/>
                  <a:pt x="538" y="198"/>
                </a:cubicBezTo>
                <a:cubicBezTo>
                  <a:pt x="538" y="198"/>
                  <a:pt x="538" y="198"/>
                  <a:pt x="539" y="197"/>
                </a:cubicBezTo>
                <a:cubicBezTo>
                  <a:pt x="539" y="197"/>
                  <a:pt x="538" y="197"/>
                  <a:pt x="538" y="197"/>
                </a:cubicBezTo>
                <a:cubicBezTo>
                  <a:pt x="538" y="196"/>
                  <a:pt x="539" y="196"/>
                  <a:pt x="539" y="196"/>
                </a:cubicBezTo>
                <a:cubicBezTo>
                  <a:pt x="539" y="196"/>
                  <a:pt x="539" y="196"/>
                  <a:pt x="539" y="196"/>
                </a:cubicBezTo>
                <a:cubicBezTo>
                  <a:pt x="540" y="196"/>
                  <a:pt x="540" y="197"/>
                  <a:pt x="540" y="197"/>
                </a:cubicBezTo>
                <a:cubicBezTo>
                  <a:pt x="541" y="197"/>
                  <a:pt x="541" y="197"/>
                  <a:pt x="541" y="197"/>
                </a:cubicBezTo>
                <a:cubicBezTo>
                  <a:pt x="542" y="197"/>
                  <a:pt x="542" y="197"/>
                  <a:pt x="542" y="197"/>
                </a:cubicBezTo>
                <a:cubicBezTo>
                  <a:pt x="543" y="197"/>
                  <a:pt x="543" y="197"/>
                  <a:pt x="543" y="197"/>
                </a:cubicBezTo>
                <a:cubicBezTo>
                  <a:pt x="544" y="197"/>
                  <a:pt x="544" y="197"/>
                  <a:pt x="544" y="197"/>
                </a:cubicBezTo>
                <a:cubicBezTo>
                  <a:pt x="544" y="196"/>
                  <a:pt x="544" y="196"/>
                  <a:pt x="544" y="196"/>
                </a:cubicBezTo>
                <a:cubicBezTo>
                  <a:pt x="544" y="196"/>
                  <a:pt x="545" y="196"/>
                  <a:pt x="545" y="196"/>
                </a:cubicBezTo>
                <a:cubicBezTo>
                  <a:pt x="545" y="195"/>
                  <a:pt x="545" y="195"/>
                  <a:pt x="546" y="195"/>
                </a:cubicBezTo>
                <a:cubicBezTo>
                  <a:pt x="546" y="195"/>
                  <a:pt x="546" y="195"/>
                  <a:pt x="546" y="195"/>
                </a:cubicBezTo>
                <a:cubicBezTo>
                  <a:pt x="546" y="195"/>
                  <a:pt x="546" y="195"/>
                  <a:pt x="546" y="195"/>
                </a:cubicBezTo>
                <a:cubicBezTo>
                  <a:pt x="546" y="195"/>
                  <a:pt x="546" y="196"/>
                  <a:pt x="547" y="196"/>
                </a:cubicBezTo>
                <a:cubicBezTo>
                  <a:pt x="546" y="196"/>
                  <a:pt x="546" y="196"/>
                  <a:pt x="546" y="197"/>
                </a:cubicBezTo>
                <a:cubicBezTo>
                  <a:pt x="546" y="197"/>
                  <a:pt x="546" y="197"/>
                  <a:pt x="546" y="197"/>
                </a:cubicBezTo>
                <a:cubicBezTo>
                  <a:pt x="546" y="197"/>
                  <a:pt x="547" y="197"/>
                  <a:pt x="547" y="197"/>
                </a:cubicBezTo>
                <a:cubicBezTo>
                  <a:pt x="547" y="196"/>
                  <a:pt x="547" y="196"/>
                  <a:pt x="547" y="195"/>
                </a:cubicBezTo>
                <a:cubicBezTo>
                  <a:pt x="547" y="195"/>
                  <a:pt x="548" y="195"/>
                  <a:pt x="548" y="196"/>
                </a:cubicBezTo>
                <a:cubicBezTo>
                  <a:pt x="548" y="195"/>
                  <a:pt x="548" y="195"/>
                  <a:pt x="548" y="195"/>
                </a:cubicBezTo>
                <a:cubicBezTo>
                  <a:pt x="548" y="195"/>
                  <a:pt x="549" y="195"/>
                  <a:pt x="549" y="195"/>
                </a:cubicBezTo>
                <a:cubicBezTo>
                  <a:pt x="549" y="196"/>
                  <a:pt x="549" y="196"/>
                  <a:pt x="549" y="196"/>
                </a:cubicBezTo>
                <a:cubicBezTo>
                  <a:pt x="549" y="196"/>
                  <a:pt x="549" y="196"/>
                  <a:pt x="549" y="197"/>
                </a:cubicBezTo>
                <a:cubicBezTo>
                  <a:pt x="549" y="196"/>
                  <a:pt x="549" y="196"/>
                  <a:pt x="549" y="196"/>
                </a:cubicBezTo>
                <a:cubicBezTo>
                  <a:pt x="550" y="195"/>
                  <a:pt x="550" y="195"/>
                  <a:pt x="551" y="195"/>
                </a:cubicBezTo>
                <a:cubicBezTo>
                  <a:pt x="551" y="195"/>
                  <a:pt x="551" y="195"/>
                  <a:pt x="551" y="195"/>
                </a:cubicBezTo>
                <a:cubicBezTo>
                  <a:pt x="551" y="195"/>
                  <a:pt x="550" y="195"/>
                  <a:pt x="550" y="196"/>
                </a:cubicBezTo>
                <a:cubicBezTo>
                  <a:pt x="550" y="196"/>
                  <a:pt x="550" y="196"/>
                  <a:pt x="550" y="196"/>
                </a:cubicBezTo>
                <a:cubicBezTo>
                  <a:pt x="550" y="196"/>
                  <a:pt x="551" y="196"/>
                  <a:pt x="551" y="196"/>
                </a:cubicBezTo>
                <a:cubicBezTo>
                  <a:pt x="551" y="197"/>
                  <a:pt x="552" y="197"/>
                  <a:pt x="552" y="197"/>
                </a:cubicBezTo>
                <a:cubicBezTo>
                  <a:pt x="552" y="197"/>
                  <a:pt x="552" y="198"/>
                  <a:pt x="552" y="198"/>
                </a:cubicBezTo>
                <a:cubicBezTo>
                  <a:pt x="552" y="198"/>
                  <a:pt x="552" y="198"/>
                  <a:pt x="552" y="199"/>
                </a:cubicBezTo>
                <a:cubicBezTo>
                  <a:pt x="553" y="198"/>
                  <a:pt x="553" y="198"/>
                  <a:pt x="553" y="198"/>
                </a:cubicBezTo>
                <a:cubicBezTo>
                  <a:pt x="553" y="198"/>
                  <a:pt x="553" y="199"/>
                  <a:pt x="553" y="199"/>
                </a:cubicBezTo>
                <a:cubicBezTo>
                  <a:pt x="553" y="199"/>
                  <a:pt x="554" y="199"/>
                  <a:pt x="554" y="199"/>
                </a:cubicBezTo>
                <a:cubicBezTo>
                  <a:pt x="554" y="199"/>
                  <a:pt x="554" y="199"/>
                  <a:pt x="554" y="198"/>
                </a:cubicBezTo>
                <a:cubicBezTo>
                  <a:pt x="554" y="199"/>
                  <a:pt x="554" y="199"/>
                  <a:pt x="554" y="199"/>
                </a:cubicBezTo>
                <a:cubicBezTo>
                  <a:pt x="554" y="200"/>
                  <a:pt x="554" y="200"/>
                  <a:pt x="554" y="200"/>
                </a:cubicBezTo>
                <a:cubicBezTo>
                  <a:pt x="554" y="200"/>
                  <a:pt x="555" y="200"/>
                  <a:pt x="555" y="201"/>
                </a:cubicBezTo>
                <a:cubicBezTo>
                  <a:pt x="555" y="200"/>
                  <a:pt x="555" y="200"/>
                  <a:pt x="555" y="200"/>
                </a:cubicBezTo>
                <a:cubicBezTo>
                  <a:pt x="555" y="200"/>
                  <a:pt x="555" y="199"/>
                  <a:pt x="555" y="199"/>
                </a:cubicBezTo>
                <a:cubicBezTo>
                  <a:pt x="556" y="199"/>
                  <a:pt x="556" y="199"/>
                  <a:pt x="556" y="199"/>
                </a:cubicBezTo>
                <a:cubicBezTo>
                  <a:pt x="556" y="199"/>
                  <a:pt x="556" y="199"/>
                  <a:pt x="556" y="199"/>
                </a:cubicBezTo>
                <a:cubicBezTo>
                  <a:pt x="556" y="199"/>
                  <a:pt x="556" y="200"/>
                  <a:pt x="556" y="200"/>
                </a:cubicBezTo>
                <a:cubicBezTo>
                  <a:pt x="557" y="200"/>
                  <a:pt x="557" y="200"/>
                  <a:pt x="557" y="201"/>
                </a:cubicBezTo>
                <a:cubicBezTo>
                  <a:pt x="558" y="200"/>
                  <a:pt x="558" y="200"/>
                  <a:pt x="559" y="200"/>
                </a:cubicBezTo>
                <a:cubicBezTo>
                  <a:pt x="559" y="200"/>
                  <a:pt x="559" y="200"/>
                  <a:pt x="558" y="201"/>
                </a:cubicBezTo>
                <a:cubicBezTo>
                  <a:pt x="558" y="201"/>
                  <a:pt x="557" y="201"/>
                  <a:pt x="557" y="202"/>
                </a:cubicBezTo>
                <a:cubicBezTo>
                  <a:pt x="556" y="202"/>
                  <a:pt x="556" y="202"/>
                  <a:pt x="555" y="202"/>
                </a:cubicBezTo>
                <a:cubicBezTo>
                  <a:pt x="555" y="202"/>
                  <a:pt x="555" y="202"/>
                  <a:pt x="555" y="202"/>
                </a:cubicBezTo>
                <a:cubicBezTo>
                  <a:pt x="555" y="202"/>
                  <a:pt x="556" y="203"/>
                  <a:pt x="556" y="203"/>
                </a:cubicBezTo>
                <a:cubicBezTo>
                  <a:pt x="556" y="203"/>
                  <a:pt x="556" y="203"/>
                  <a:pt x="556" y="203"/>
                </a:cubicBezTo>
                <a:cubicBezTo>
                  <a:pt x="556" y="204"/>
                  <a:pt x="557" y="204"/>
                  <a:pt x="557" y="204"/>
                </a:cubicBezTo>
                <a:cubicBezTo>
                  <a:pt x="557" y="204"/>
                  <a:pt x="558" y="204"/>
                  <a:pt x="558" y="204"/>
                </a:cubicBezTo>
                <a:cubicBezTo>
                  <a:pt x="558" y="204"/>
                  <a:pt x="558" y="204"/>
                  <a:pt x="559" y="204"/>
                </a:cubicBezTo>
                <a:cubicBezTo>
                  <a:pt x="559" y="204"/>
                  <a:pt x="559" y="204"/>
                  <a:pt x="559" y="205"/>
                </a:cubicBezTo>
                <a:cubicBezTo>
                  <a:pt x="559" y="205"/>
                  <a:pt x="559" y="205"/>
                  <a:pt x="560" y="205"/>
                </a:cubicBezTo>
                <a:cubicBezTo>
                  <a:pt x="560" y="205"/>
                  <a:pt x="560" y="205"/>
                  <a:pt x="560" y="205"/>
                </a:cubicBezTo>
                <a:cubicBezTo>
                  <a:pt x="561" y="205"/>
                  <a:pt x="561" y="205"/>
                  <a:pt x="561" y="205"/>
                </a:cubicBezTo>
                <a:cubicBezTo>
                  <a:pt x="562" y="205"/>
                  <a:pt x="562" y="205"/>
                  <a:pt x="563" y="205"/>
                </a:cubicBezTo>
                <a:cubicBezTo>
                  <a:pt x="563" y="205"/>
                  <a:pt x="564" y="205"/>
                  <a:pt x="564" y="205"/>
                </a:cubicBezTo>
                <a:cubicBezTo>
                  <a:pt x="564" y="205"/>
                  <a:pt x="564" y="205"/>
                  <a:pt x="564" y="206"/>
                </a:cubicBezTo>
                <a:cubicBezTo>
                  <a:pt x="564" y="206"/>
                  <a:pt x="564" y="206"/>
                  <a:pt x="565" y="206"/>
                </a:cubicBezTo>
                <a:cubicBezTo>
                  <a:pt x="565" y="206"/>
                  <a:pt x="565" y="205"/>
                  <a:pt x="565" y="205"/>
                </a:cubicBezTo>
                <a:cubicBezTo>
                  <a:pt x="565" y="205"/>
                  <a:pt x="565" y="205"/>
                  <a:pt x="565" y="205"/>
                </a:cubicBezTo>
                <a:cubicBezTo>
                  <a:pt x="565" y="205"/>
                  <a:pt x="566" y="205"/>
                  <a:pt x="566" y="205"/>
                </a:cubicBezTo>
                <a:cubicBezTo>
                  <a:pt x="566" y="205"/>
                  <a:pt x="566" y="205"/>
                  <a:pt x="566" y="205"/>
                </a:cubicBezTo>
                <a:cubicBezTo>
                  <a:pt x="566" y="206"/>
                  <a:pt x="565" y="206"/>
                  <a:pt x="565" y="206"/>
                </a:cubicBezTo>
                <a:cubicBezTo>
                  <a:pt x="565" y="206"/>
                  <a:pt x="566" y="206"/>
                  <a:pt x="566" y="206"/>
                </a:cubicBezTo>
                <a:cubicBezTo>
                  <a:pt x="566" y="206"/>
                  <a:pt x="566" y="206"/>
                  <a:pt x="567" y="207"/>
                </a:cubicBezTo>
                <a:cubicBezTo>
                  <a:pt x="567" y="207"/>
                  <a:pt x="567" y="206"/>
                  <a:pt x="567" y="206"/>
                </a:cubicBezTo>
                <a:cubicBezTo>
                  <a:pt x="567" y="207"/>
                  <a:pt x="567" y="207"/>
                  <a:pt x="567" y="207"/>
                </a:cubicBezTo>
                <a:cubicBezTo>
                  <a:pt x="568" y="207"/>
                  <a:pt x="568" y="207"/>
                  <a:pt x="569" y="208"/>
                </a:cubicBezTo>
                <a:cubicBezTo>
                  <a:pt x="569" y="207"/>
                  <a:pt x="569" y="207"/>
                  <a:pt x="569" y="207"/>
                </a:cubicBezTo>
                <a:cubicBezTo>
                  <a:pt x="570" y="207"/>
                  <a:pt x="570" y="208"/>
                  <a:pt x="570" y="208"/>
                </a:cubicBezTo>
                <a:cubicBezTo>
                  <a:pt x="570" y="208"/>
                  <a:pt x="570" y="208"/>
                  <a:pt x="570" y="208"/>
                </a:cubicBezTo>
                <a:cubicBezTo>
                  <a:pt x="571" y="208"/>
                  <a:pt x="572" y="208"/>
                  <a:pt x="572" y="208"/>
                </a:cubicBezTo>
                <a:cubicBezTo>
                  <a:pt x="572" y="208"/>
                  <a:pt x="572" y="208"/>
                  <a:pt x="572" y="208"/>
                </a:cubicBezTo>
                <a:cubicBezTo>
                  <a:pt x="573" y="208"/>
                  <a:pt x="573" y="208"/>
                  <a:pt x="573" y="208"/>
                </a:cubicBezTo>
                <a:cubicBezTo>
                  <a:pt x="573" y="208"/>
                  <a:pt x="574" y="208"/>
                  <a:pt x="574" y="208"/>
                </a:cubicBezTo>
                <a:cubicBezTo>
                  <a:pt x="574" y="208"/>
                  <a:pt x="574" y="208"/>
                  <a:pt x="575" y="208"/>
                </a:cubicBezTo>
                <a:cubicBezTo>
                  <a:pt x="575" y="208"/>
                  <a:pt x="575" y="208"/>
                  <a:pt x="575" y="208"/>
                </a:cubicBezTo>
                <a:cubicBezTo>
                  <a:pt x="576" y="208"/>
                  <a:pt x="576" y="209"/>
                  <a:pt x="577" y="209"/>
                </a:cubicBezTo>
                <a:cubicBezTo>
                  <a:pt x="577" y="209"/>
                  <a:pt x="577" y="209"/>
                  <a:pt x="578" y="209"/>
                </a:cubicBezTo>
                <a:cubicBezTo>
                  <a:pt x="578" y="209"/>
                  <a:pt x="578" y="209"/>
                  <a:pt x="578" y="209"/>
                </a:cubicBezTo>
                <a:cubicBezTo>
                  <a:pt x="579" y="209"/>
                  <a:pt x="580" y="209"/>
                  <a:pt x="580" y="209"/>
                </a:cubicBezTo>
                <a:cubicBezTo>
                  <a:pt x="581" y="209"/>
                  <a:pt x="581" y="209"/>
                  <a:pt x="581" y="209"/>
                </a:cubicBezTo>
                <a:cubicBezTo>
                  <a:pt x="582" y="209"/>
                  <a:pt x="582" y="209"/>
                  <a:pt x="582" y="209"/>
                </a:cubicBezTo>
                <a:cubicBezTo>
                  <a:pt x="582" y="209"/>
                  <a:pt x="582" y="209"/>
                  <a:pt x="582" y="209"/>
                </a:cubicBezTo>
                <a:cubicBezTo>
                  <a:pt x="582" y="209"/>
                  <a:pt x="582" y="208"/>
                  <a:pt x="582" y="208"/>
                </a:cubicBezTo>
                <a:cubicBezTo>
                  <a:pt x="582" y="208"/>
                  <a:pt x="582" y="208"/>
                  <a:pt x="582" y="208"/>
                </a:cubicBezTo>
                <a:cubicBezTo>
                  <a:pt x="581" y="208"/>
                  <a:pt x="581" y="208"/>
                  <a:pt x="581" y="208"/>
                </a:cubicBezTo>
                <a:cubicBezTo>
                  <a:pt x="581" y="207"/>
                  <a:pt x="581" y="207"/>
                  <a:pt x="582" y="207"/>
                </a:cubicBezTo>
                <a:cubicBezTo>
                  <a:pt x="582" y="207"/>
                  <a:pt x="582" y="207"/>
                  <a:pt x="582" y="207"/>
                </a:cubicBezTo>
                <a:cubicBezTo>
                  <a:pt x="582" y="207"/>
                  <a:pt x="583" y="207"/>
                  <a:pt x="583" y="207"/>
                </a:cubicBezTo>
                <a:cubicBezTo>
                  <a:pt x="582" y="207"/>
                  <a:pt x="582" y="206"/>
                  <a:pt x="582" y="206"/>
                </a:cubicBezTo>
                <a:cubicBezTo>
                  <a:pt x="582" y="206"/>
                  <a:pt x="582" y="206"/>
                  <a:pt x="582" y="207"/>
                </a:cubicBezTo>
                <a:cubicBezTo>
                  <a:pt x="582" y="206"/>
                  <a:pt x="582" y="206"/>
                  <a:pt x="581" y="206"/>
                </a:cubicBezTo>
                <a:cubicBezTo>
                  <a:pt x="581" y="206"/>
                  <a:pt x="581" y="206"/>
                  <a:pt x="581" y="206"/>
                </a:cubicBezTo>
                <a:cubicBezTo>
                  <a:pt x="581" y="205"/>
                  <a:pt x="581" y="205"/>
                  <a:pt x="581" y="205"/>
                </a:cubicBezTo>
                <a:cubicBezTo>
                  <a:pt x="581" y="206"/>
                  <a:pt x="581" y="206"/>
                  <a:pt x="580" y="206"/>
                </a:cubicBezTo>
                <a:cubicBezTo>
                  <a:pt x="580" y="206"/>
                  <a:pt x="580" y="206"/>
                  <a:pt x="580" y="206"/>
                </a:cubicBezTo>
                <a:cubicBezTo>
                  <a:pt x="580" y="206"/>
                  <a:pt x="580" y="206"/>
                  <a:pt x="580" y="205"/>
                </a:cubicBezTo>
                <a:cubicBezTo>
                  <a:pt x="580" y="205"/>
                  <a:pt x="579" y="206"/>
                  <a:pt x="579" y="206"/>
                </a:cubicBezTo>
                <a:cubicBezTo>
                  <a:pt x="579" y="205"/>
                  <a:pt x="580" y="205"/>
                  <a:pt x="580" y="205"/>
                </a:cubicBezTo>
                <a:cubicBezTo>
                  <a:pt x="580" y="204"/>
                  <a:pt x="580" y="204"/>
                  <a:pt x="580" y="204"/>
                </a:cubicBezTo>
                <a:cubicBezTo>
                  <a:pt x="579" y="204"/>
                  <a:pt x="579" y="204"/>
                  <a:pt x="579" y="204"/>
                </a:cubicBezTo>
                <a:cubicBezTo>
                  <a:pt x="579" y="204"/>
                  <a:pt x="578" y="204"/>
                  <a:pt x="578" y="204"/>
                </a:cubicBezTo>
                <a:cubicBezTo>
                  <a:pt x="578" y="204"/>
                  <a:pt x="578" y="204"/>
                  <a:pt x="578" y="204"/>
                </a:cubicBezTo>
                <a:cubicBezTo>
                  <a:pt x="578" y="203"/>
                  <a:pt x="578" y="203"/>
                  <a:pt x="577" y="203"/>
                </a:cubicBezTo>
                <a:cubicBezTo>
                  <a:pt x="577" y="203"/>
                  <a:pt x="577" y="203"/>
                  <a:pt x="577" y="203"/>
                </a:cubicBezTo>
                <a:cubicBezTo>
                  <a:pt x="577" y="203"/>
                  <a:pt x="576" y="203"/>
                  <a:pt x="576" y="203"/>
                </a:cubicBezTo>
                <a:cubicBezTo>
                  <a:pt x="576" y="203"/>
                  <a:pt x="576" y="202"/>
                  <a:pt x="576" y="202"/>
                </a:cubicBezTo>
                <a:cubicBezTo>
                  <a:pt x="576" y="202"/>
                  <a:pt x="576" y="202"/>
                  <a:pt x="576" y="202"/>
                </a:cubicBezTo>
                <a:cubicBezTo>
                  <a:pt x="575" y="202"/>
                  <a:pt x="575" y="202"/>
                  <a:pt x="575" y="202"/>
                </a:cubicBezTo>
                <a:cubicBezTo>
                  <a:pt x="575" y="202"/>
                  <a:pt x="575" y="202"/>
                  <a:pt x="575" y="202"/>
                </a:cubicBezTo>
                <a:cubicBezTo>
                  <a:pt x="575" y="202"/>
                  <a:pt x="575" y="202"/>
                  <a:pt x="575" y="201"/>
                </a:cubicBezTo>
                <a:cubicBezTo>
                  <a:pt x="574" y="201"/>
                  <a:pt x="574" y="201"/>
                  <a:pt x="573" y="201"/>
                </a:cubicBezTo>
                <a:cubicBezTo>
                  <a:pt x="573" y="202"/>
                  <a:pt x="573" y="202"/>
                  <a:pt x="573" y="202"/>
                </a:cubicBezTo>
                <a:cubicBezTo>
                  <a:pt x="573" y="201"/>
                  <a:pt x="573" y="201"/>
                  <a:pt x="572" y="201"/>
                </a:cubicBezTo>
                <a:cubicBezTo>
                  <a:pt x="572" y="201"/>
                  <a:pt x="572" y="200"/>
                  <a:pt x="572" y="200"/>
                </a:cubicBezTo>
                <a:cubicBezTo>
                  <a:pt x="572" y="200"/>
                  <a:pt x="572" y="200"/>
                  <a:pt x="572" y="200"/>
                </a:cubicBezTo>
                <a:cubicBezTo>
                  <a:pt x="572" y="200"/>
                  <a:pt x="571" y="200"/>
                  <a:pt x="570" y="199"/>
                </a:cubicBezTo>
                <a:cubicBezTo>
                  <a:pt x="570" y="199"/>
                  <a:pt x="570" y="199"/>
                  <a:pt x="570" y="199"/>
                </a:cubicBezTo>
                <a:cubicBezTo>
                  <a:pt x="570" y="198"/>
                  <a:pt x="570" y="198"/>
                  <a:pt x="570" y="198"/>
                </a:cubicBezTo>
                <a:cubicBezTo>
                  <a:pt x="570" y="198"/>
                  <a:pt x="570" y="198"/>
                  <a:pt x="571" y="198"/>
                </a:cubicBezTo>
                <a:cubicBezTo>
                  <a:pt x="571" y="198"/>
                  <a:pt x="571" y="198"/>
                  <a:pt x="571" y="198"/>
                </a:cubicBezTo>
                <a:cubicBezTo>
                  <a:pt x="571" y="198"/>
                  <a:pt x="572" y="197"/>
                  <a:pt x="572" y="197"/>
                </a:cubicBezTo>
                <a:cubicBezTo>
                  <a:pt x="572" y="198"/>
                  <a:pt x="572" y="198"/>
                  <a:pt x="572" y="198"/>
                </a:cubicBezTo>
                <a:cubicBezTo>
                  <a:pt x="573" y="198"/>
                  <a:pt x="573" y="199"/>
                  <a:pt x="573" y="199"/>
                </a:cubicBezTo>
                <a:cubicBezTo>
                  <a:pt x="574" y="199"/>
                  <a:pt x="574" y="199"/>
                  <a:pt x="575" y="199"/>
                </a:cubicBezTo>
                <a:cubicBezTo>
                  <a:pt x="575" y="199"/>
                  <a:pt x="575" y="199"/>
                  <a:pt x="575" y="199"/>
                </a:cubicBezTo>
                <a:cubicBezTo>
                  <a:pt x="575" y="199"/>
                  <a:pt x="575" y="200"/>
                  <a:pt x="576" y="200"/>
                </a:cubicBezTo>
                <a:cubicBezTo>
                  <a:pt x="576" y="200"/>
                  <a:pt x="576" y="200"/>
                  <a:pt x="576" y="200"/>
                </a:cubicBezTo>
                <a:cubicBezTo>
                  <a:pt x="576" y="200"/>
                  <a:pt x="576" y="200"/>
                  <a:pt x="576" y="199"/>
                </a:cubicBezTo>
                <a:cubicBezTo>
                  <a:pt x="576" y="199"/>
                  <a:pt x="575" y="199"/>
                  <a:pt x="575" y="199"/>
                </a:cubicBezTo>
                <a:cubicBezTo>
                  <a:pt x="575" y="199"/>
                  <a:pt x="575" y="198"/>
                  <a:pt x="575" y="198"/>
                </a:cubicBezTo>
                <a:cubicBezTo>
                  <a:pt x="575" y="198"/>
                  <a:pt x="576" y="198"/>
                  <a:pt x="576" y="198"/>
                </a:cubicBezTo>
                <a:cubicBezTo>
                  <a:pt x="576" y="198"/>
                  <a:pt x="576" y="198"/>
                  <a:pt x="576" y="198"/>
                </a:cubicBezTo>
                <a:cubicBezTo>
                  <a:pt x="576" y="199"/>
                  <a:pt x="576" y="199"/>
                  <a:pt x="576" y="199"/>
                </a:cubicBezTo>
                <a:cubicBezTo>
                  <a:pt x="577" y="199"/>
                  <a:pt x="577" y="199"/>
                  <a:pt x="577" y="199"/>
                </a:cubicBezTo>
                <a:cubicBezTo>
                  <a:pt x="577" y="199"/>
                  <a:pt x="577" y="200"/>
                  <a:pt x="578" y="200"/>
                </a:cubicBezTo>
                <a:cubicBezTo>
                  <a:pt x="578" y="200"/>
                  <a:pt x="578" y="200"/>
                  <a:pt x="578" y="200"/>
                </a:cubicBezTo>
                <a:cubicBezTo>
                  <a:pt x="579" y="200"/>
                  <a:pt x="579" y="200"/>
                  <a:pt x="579" y="200"/>
                </a:cubicBezTo>
                <a:cubicBezTo>
                  <a:pt x="579" y="200"/>
                  <a:pt x="579" y="201"/>
                  <a:pt x="579" y="201"/>
                </a:cubicBezTo>
                <a:cubicBezTo>
                  <a:pt x="580" y="201"/>
                  <a:pt x="580" y="201"/>
                  <a:pt x="580" y="202"/>
                </a:cubicBezTo>
                <a:cubicBezTo>
                  <a:pt x="581" y="201"/>
                  <a:pt x="581" y="201"/>
                  <a:pt x="581" y="201"/>
                </a:cubicBezTo>
                <a:cubicBezTo>
                  <a:pt x="581" y="201"/>
                  <a:pt x="581" y="201"/>
                  <a:pt x="581" y="201"/>
                </a:cubicBezTo>
                <a:cubicBezTo>
                  <a:pt x="580" y="200"/>
                  <a:pt x="580" y="200"/>
                  <a:pt x="580" y="199"/>
                </a:cubicBezTo>
                <a:cubicBezTo>
                  <a:pt x="580" y="199"/>
                  <a:pt x="580" y="199"/>
                  <a:pt x="580" y="199"/>
                </a:cubicBezTo>
                <a:cubicBezTo>
                  <a:pt x="580" y="199"/>
                  <a:pt x="580" y="199"/>
                  <a:pt x="581" y="199"/>
                </a:cubicBezTo>
                <a:cubicBezTo>
                  <a:pt x="581" y="200"/>
                  <a:pt x="581" y="200"/>
                  <a:pt x="581" y="200"/>
                </a:cubicBezTo>
                <a:cubicBezTo>
                  <a:pt x="581" y="200"/>
                  <a:pt x="581" y="201"/>
                  <a:pt x="581" y="201"/>
                </a:cubicBezTo>
                <a:cubicBezTo>
                  <a:pt x="581" y="201"/>
                  <a:pt x="582" y="201"/>
                  <a:pt x="582" y="201"/>
                </a:cubicBezTo>
                <a:cubicBezTo>
                  <a:pt x="582" y="201"/>
                  <a:pt x="582" y="201"/>
                  <a:pt x="582" y="201"/>
                </a:cubicBezTo>
                <a:cubicBezTo>
                  <a:pt x="582" y="201"/>
                  <a:pt x="583" y="202"/>
                  <a:pt x="583" y="202"/>
                </a:cubicBezTo>
                <a:cubicBezTo>
                  <a:pt x="583" y="201"/>
                  <a:pt x="583" y="201"/>
                  <a:pt x="583" y="201"/>
                </a:cubicBezTo>
                <a:cubicBezTo>
                  <a:pt x="583" y="201"/>
                  <a:pt x="583" y="201"/>
                  <a:pt x="583" y="201"/>
                </a:cubicBezTo>
                <a:cubicBezTo>
                  <a:pt x="583" y="201"/>
                  <a:pt x="583" y="201"/>
                  <a:pt x="583" y="201"/>
                </a:cubicBezTo>
                <a:cubicBezTo>
                  <a:pt x="583" y="201"/>
                  <a:pt x="583" y="201"/>
                  <a:pt x="583" y="201"/>
                </a:cubicBezTo>
                <a:cubicBezTo>
                  <a:pt x="583" y="201"/>
                  <a:pt x="584" y="201"/>
                  <a:pt x="584" y="201"/>
                </a:cubicBezTo>
                <a:cubicBezTo>
                  <a:pt x="584" y="201"/>
                  <a:pt x="584" y="201"/>
                  <a:pt x="584" y="202"/>
                </a:cubicBezTo>
                <a:cubicBezTo>
                  <a:pt x="584" y="202"/>
                  <a:pt x="584" y="202"/>
                  <a:pt x="584" y="202"/>
                </a:cubicBezTo>
                <a:cubicBezTo>
                  <a:pt x="584" y="202"/>
                  <a:pt x="584" y="201"/>
                  <a:pt x="584" y="201"/>
                </a:cubicBezTo>
                <a:cubicBezTo>
                  <a:pt x="584" y="201"/>
                  <a:pt x="585" y="201"/>
                  <a:pt x="585" y="201"/>
                </a:cubicBezTo>
                <a:cubicBezTo>
                  <a:pt x="585" y="201"/>
                  <a:pt x="585" y="202"/>
                  <a:pt x="585" y="202"/>
                </a:cubicBezTo>
                <a:cubicBezTo>
                  <a:pt x="585" y="202"/>
                  <a:pt x="585" y="202"/>
                  <a:pt x="585" y="202"/>
                </a:cubicBezTo>
                <a:cubicBezTo>
                  <a:pt x="586" y="202"/>
                  <a:pt x="586" y="202"/>
                  <a:pt x="586" y="202"/>
                </a:cubicBezTo>
                <a:cubicBezTo>
                  <a:pt x="586" y="202"/>
                  <a:pt x="586" y="202"/>
                  <a:pt x="587" y="202"/>
                </a:cubicBezTo>
                <a:cubicBezTo>
                  <a:pt x="587" y="202"/>
                  <a:pt x="587" y="202"/>
                  <a:pt x="587" y="202"/>
                </a:cubicBezTo>
                <a:cubicBezTo>
                  <a:pt x="587" y="202"/>
                  <a:pt x="587" y="203"/>
                  <a:pt x="586" y="203"/>
                </a:cubicBezTo>
                <a:cubicBezTo>
                  <a:pt x="587" y="203"/>
                  <a:pt x="587" y="203"/>
                  <a:pt x="587" y="204"/>
                </a:cubicBezTo>
                <a:cubicBezTo>
                  <a:pt x="587" y="204"/>
                  <a:pt x="588" y="204"/>
                  <a:pt x="588" y="204"/>
                </a:cubicBezTo>
                <a:cubicBezTo>
                  <a:pt x="588" y="204"/>
                  <a:pt x="588" y="204"/>
                  <a:pt x="589" y="204"/>
                </a:cubicBezTo>
                <a:cubicBezTo>
                  <a:pt x="589" y="204"/>
                  <a:pt x="589" y="204"/>
                  <a:pt x="589" y="203"/>
                </a:cubicBezTo>
                <a:cubicBezTo>
                  <a:pt x="589" y="203"/>
                  <a:pt x="588" y="203"/>
                  <a:pt x="588" y="203"/>
                </a:cubicBezTo>
                <a:cubicBezTo>
                  <a:pt x="588" y="203"/>
                  <a:pt x="588" y="203"/>
                  <a:pt x="588" y="202"/>
                </a:cubicBezTo>
                <a:cubicBezTo>
                  <a:pt x="588" y="202"/>
                  <a:pt x="588" y="202"/>
                  <a:pt x="587" y="201"/>
                </a:cubicBezTo>
                <a:cubicBezTo>
                  <a:pt x="588" y="201"/>
                  <a:pt x="588" y="201"/>
                  <a:pt x="588" y="201"/>
                </a:cubicBezTo>
                <a:cubicBezTo>
                  <a:pt x="588" y="201"/>
                  <a:pt x="589" y="201"/>
                  <a:pt x="589" y="201"/>
                </a:cubicBezTo>
                <a:cubicBezTo>
                  <a:pt x="589" y="201"/>
                  <a:pt x="590" y="201"/>
                  <a:pt x="590" y="201"/>
                </a:cubicBezTo>
                <a:cubicBezTo>
                  <a:pt x="590" y="201"/>
                  <a:pt x="590" y="201"/>
                  <a:pt x="590" y="201"/>
                </a:cubicBezTo>
                <a:cubicBezTo>
                  <a:pt x="590" y="201"/>
                  <a:pt x="590" y="201"/>
                  <a:pt x="589" y="201"/>
                </a:cubicBezTo>
                <a:cubicBezTo>
                  <a:pt x="590" y="200"/>
                  <a:pt x="590" y="200"/>
                  <a:pt x="590" y="200"/>
                </a:cubicBezTo>
                <a:cubicBezTo>
                  <a:pt x="590" y="200"/>
                  <a:pt x="590" y="199"/>
                  <a:pt x="590" y="199"/>
                </a:cubicBezTo>
                <a:cubicBezTo>
                  <a:pt x="589" y="198"/>
                  <a:pt x="589" y="198"/>
                  <a:pt x="589" y="198"/>
                </a:cubicBezTo>
                <a:cubicBezTo>
                  <a:pt x="589" y="197"/>
                  <a:pt x="589" y="197"/>
                  <a:pt x="589" y="197"/>
                </a:cubicBezTo>
                <a:cubicBezTo>
                  <a:pt x="589" y="196"/>
                  <a:pt x="589" y="196"/>
                  <a:pt x="589" y="196"/>
                </a:cubicBezTo>
                <a:cubicBezTo>
                  <a:pt x="589" y="196"/>
                  <a:pt x="589" y="196"/>
                  <a:pt x="589" y="197"/>
                </a:cubicBezTo>
                <a:cubicBezTo>
                  <a:pt x="589" y="197"/>
                  <a:pt x="589" y="197"/>
                  <a:pt x="589" y="197"/>
                </a:cubicBezTo>
                <a:cubicBezTo>
                  <a:pt x="589" y="198"/>
                  <a:pt x="589" y="198"/>
                  <a:pt x="590" y="198"/>
                </a:cubicBezTo>
                <a:cubicBezTo>
                  <a:pt x="590" y="198"/>
                  <a:pt x="591" y="199"/>
                  <a:pt x="591" y="199"/>
                </a:cubicBezTo>
                <a:cubicBezTo>
                  <a:pt x="591" y="199"/>
                  <a:pt x="591" y="199"/>
                  <a:pt x="592" y="199"/>
                </a:cubicBezTo>
                <a:cubicBezTo>
                  <a:pt x="591" y="198"/>
                  <a:pt x="591" y="198"/>
                  <a:pt x="591" y="198"/>
                </a:cubicBezTo>
                <a:cubicBezTo>
                  <a:pt x="591" y="198"/>
                  <a:pt x="591" y="197"/>
                  <a:pt x="592" y="197"/>
                </a:cubicBezTo>
                <a:cubicBezTo>
                  <a:pt x="592" y="197"/>
                  <a:pt x="591" y="196"/>
                  <a:pt x="591" y="196"/>
                </a:cubicBezTo>
                <a:cubicBezTo>
                  <a:pt x="592" y="196"/>
                  <a:pt x="592" y="196"/>
                  <a:pt x="592" y="196"/>
                </a:cubicBezTo>
                <a:cubicBezTo>
                  <a:pt x="592" y="196"/>
                  <a:pt x="592" y="196"/>
                  <a:pt x="592" y="196"/>
                </a:cubicBezTo>
                <a:cubicBezTo>
                  <a:pt x="591" y="195"/>
                  <a:pt x="591" y="195"/>
                  <a:pt x="590" y="195"/>
                </a:cubicBezTo>
                <a:cubicBezTo>
                  <a:pt x="590" y="194"/>
                  <a:pt x="590" y="194"/>
                  <a:pt x="590" y="194"/>
                </a:cubicBezTo>
                <a:cubicBezTo>
                  <a:pt x="590" y="194"/>
                  <a:pt x="590" y="194"/>
                  <a:pt x="589" y="194"/>
                </a:cubicBezTo>
                <a:cubicBezTo>
                  <a:pt x="589" y="193"/>
                  <a:pt x="589" y="193"/>
                  <a:pt x="589" y="193"/>
                </a:cubicBezTo>
                <a:cubicBezTo>
                  <a:pt x="589" y="193"/>
                  <a:pt x="589" y="193"/>
                  <a:pt x="589" y="192"/>
                </a:cubicBezTo>
                <a:cubicBezTo>
                  <a:pt x="588" y="192"/>
                  <a:pt x="588" y="192"/>
                  <a:pt x="588" y="192"/>
                </a:cubicBezTo>
                <a:cubicBezTo>
                  <a:pt x="588" y="192"/>
                  <a:pt x="589" y="192"/>
                  <a:pt x="589" y="192"/>
                </a:cubicBezTo>
                <a:cubicBezTo>
                  <a:pt x="589" y="192"/>
                  <a:pt x="589" y="192"/>
                  <a:pt x="589" y="191"/>
                </a:cubicBezTo>
                <a:cubicBezTo>
                  <a:pt x="590" y="191"/>
                  <a:pt x="590" y="191"/>
                  <a:pt x="590" y="191"/>
                </a:cubicBezTo>
                <a:cubicBezTo>
                  <a:pt x="590" y="191"/>
                  <a:pt x="590" y="191"/>
                  <a:pt x="590" y="191"/>
                </a:cubicBezTo>
                <a:cubicBezTo>
                  <a:pt x="589" y="191"/>
                  <a:pt x="589" y="191"/>
                  <a:pt x="589" y="191"/>
                </a:cubicBezTo>
                <a:cubicBezTo>
                  <a:pt x="588" y="191"/>
                  <a:pt x="588" y="191"/>
                  <a:pt x="588" y="191"/>
                </a:cubicBezTo>
                <a:cubicBezTo>
                  <a:pt x="587" y="191"/>
                  <a:pt x="587" y="191"/>
                  <a:pt x="587" y="191"/>
                </a:cubicBezTo>
                <a:cubicBezTo>
                  <a:pt x="587" y="191"/>
                  <a:pt x="587" y="191"/>
                  <a:pt x="587" y="191"/>
                </a:cubicBezTo>
                <a:cubicBezTo>
                  <a:pt x="587" y="191"/>
                  <a:pt x="587" y="191"/>
                  <a:pt x="587" y="190"/>
                </a:cubicBezTo>
                <a:cubicBezTo>
                  <a:pt x="587" y="190"/>
                  <a:pt x="588" y="190"/>
                  <a:pt x="588" y="190"/>
                </a:cubicBezTo>
                <a:cubicBezTo>
                  <a:pt x="588" y="190"/>
                  <a:pt x="588" y="189"/>
                  <a:pt x="588" y="189"/>
                </a:cubicBezTo>
                <a:cubicBezTo>
                  <a:pt x="588" y="189"/>
                  <a:pt x="588" y="189"/>
                  <a:pt x="587" y="189"/>
                </a:cubicBezTo>
                <a:cubicBezTo>
                  <a:pt x="587" y="189"/>
                  <a:pt x="587" y="189"/>
                  <a:pt x="587" y="189"/>
                </a:cubicBezTo>
                <a:cubicBezTo>
                  <a:pt x="587" y="189"/>
                  <a:pt x="587" y="189"/>
                  <a:pt x="587" y="189"/>
                </a:cubicBezTo>
                <a:cubicBezTo>
                  <a:pt x="587" y="189"/>
                  <a:pt x="587" y="190"/>
                  <a:pt x="586" y="190"/>
                </a:cubicBezTo>
                <a:cubicBezTo>
                  <a:pt x="586" y="190"/>
                  <a:pt x="586" y="189"/>
                  <a:pt x="586" y="189"/>
                </a:cubicBezTo>
                <a:cubicBezTo>
                  <a:pt x="586" y="189"/>
                  <a:pt x="586" y="189"/>
                  <a:pt x="586" y="190"/>
                </a:cubicBezTo>
                <a:cubicBezTo>
                  <a:pt x="585" y="190"/>
                  <a:pt x="585" y="190"/>
                  <a:pt x="585" y="190"/>
                </a:cubicBezTo>
                <a:cubicBezTo>
                  <a:pt x="585" y="190"/>
                  <a:pt x="584" y="190"/>
                  <a:pt x="584" y="190"/>
                </a:cubicBezTo>
                <a:cubicBezTo>
                  <a:pt x="585" y="190"/>
                  <a:pt x="585" y="189"/>
                  <a:pt x="585" y="189"/>
                </a:cubicBezTo>
                <a:cubicBezTo>
                  <a:pt x="585" y="189"/>
                  <a:pt x="585" y="189"/>
                  <a:pt x="585" y="189"/>
                </a:cubicBezTo>
                <a:cubicBezTo>
                  <a:pt x="585" y="189"/>
                  <a:pt x="585" y="189"/>
                  <a:pt x="585" y="189"/>
                </a:cubicBezTo>
                <a:cubicBezTo>
                  <a:pt x="585" y="188"/>
                  <a:pt x="585" y="188"/>
                  <a:pt x="584" y="188"/>
                </a:cubicBezTo>
                <a:cubicBezTo>
                  <a:pt x="584" y="188"/>
                  <a:pt x="584" y="188"/>
                  <a:pt x="584" y="188"/>
                </a:cubicBezTo>
                <a:cubicBezTo>
                  <a:pt x="584" y="188"/>
                  <a:pt x="583" y="188"/>
                  <a:pt x="583" y="188"/>
                </a:cubicBezTo>
                <a:cubicBezTo>
                  <a:pt x="583" y="188"/>
                  <a:pt x="583" y="188"/>
                  <a:pt x="583" y="189"/>
                </a:cubicBezTo>
                <a:cubicBezTo>
                  <a:pt x="583" y="189"/>
                  <a:pt x="583" y="189"/>
                  <a:pt x="583" y="189"/>
                </a:cubicBezTo>
                <a:cubicBezTo>
                  <a:pt x="583" y="189"/>
                  <a:pt x="583" y="189"/>
                  <a:pt x="583" y="189"/>
                </a:cubicBezTo>
                <a:cubicBezTo>
                  <a:pt x="583" y="189"/>
                  <a:pt x="583" y="189"/>
                  <a:pt x="583" y="188"/>
                </a:cubicBezTo>
                <a:cubicBezTo>
                  <a:pt x="582" y="188"/>
                  <a:pt x="582" y="188"/>
                  <a:pt x="582" y="188"/>
                </a:cubicBezTo>
                <a:cubicBezTo>
                  <a:pt x="582" y="188"/>
                  <a:pt x="582" y="188"/>
                  <a:pt x="582" y="188"/>
                </a:cubicBezTo>
                <a:cubicBezTo>
                  <a:pt x="582" y="188"/>
                  <a:pt x="582" y="187"/>
                  <a:pt x="582" y="187"/>
                </a:cubicBezTo>
                <a:cubicBezTo>
                  <a:pt x="582" y="187"/>
                  <a:pt x="582" y="187"/>
                  <a:pt x="581" y="187"/>
                </a:cubicBezTo>
                <a:cubicBezTo>
                  <a:pt x="581" y="187"/>
                  <a:pt x="581" y="187"/>
                  <a:pt x="581" y="187"/>
                </a:cubicBezTo>
                <a:cubicBezTo>
                  <a:pt x="581" y="187"/>
                  <a:pt x="581" y="187"/>
                  <a:pt x="581" y="187"/>
                </a:cubicBezTo>
                <a:cubicBezTo>
                  <a:pt x="581" y="187"/>
                  <a:pt x="581" y="187"/>
                  <a:pt x="581" y="187"/>
                </a:cubicBezTo>
                <a:cubicBezTo>
                  <a:pt x="581" y="187"/>
                  <a:pt x="581" y="187"/>
                  <a:pt x="581" y="187"/>
                </a:cubicBezTo>
                <a:cubicBezTo>
                  <a:pt x="581" y="186"/>
                  <a:pt x="581" y="186"/>
                  <a:pt x="581" y="186"/>
                </a:cubicBezTo>
                <a:cubicBezTo>
                  <a:pt x="581" y="186"/>
                  <a:pt x="581" y="186"/>
                  <a:pt x="582" y="186"/>
                </a:cubicBezTo>
                <a:cubicBezTo>
                  <a:pt x="582" y="186"/>
                  <a:pt x="582" y="186"/>
                  <a:pt x="582" y="186"/>
                </a:cubicBezTo>
                <a:cubicBezTo>
                  <a:pt x="582" y="186"/>
                  <a:pt x="582" y="185"/>
                  <a:pt x="582" y="185"/>
                </a:cubicBezTo>
                <a:cubicBezTo>
                  <a:pt x="581" y="185"/>
                  <a:pt x="581" y="185"/>
                  <a:pt x="581" y="185"/>
                </a:cubicBezTo>
                <a:cubicBezTo>
                  <a:pt x="580" y="185"/>
                  <a:pt x="580" y="185"/>
                  <a:pt x="580" y="185"/>
                </a:cubicBezTo>
                <a:cubicBezTo>
                  <a:pt x="580" y="185"/>
                  <a:pt x="580" y="185"/>
                  <a:pt x="581" y="185"/>
                </a:cubicBezTo>
                <a:cubicBezTo>
                  <a:pt x="581" y="185"/>
                  <a:pt x="581" y="184"/>
                  <a:pt x="581" y="184"/>
                </a:cubicBezTo>
                <a:cubicBezTo>
                  <a:pt x="581" y="184"/>
                  <a:pt x="581" y="184"/>
                  <a:pt x="581" y="184"/>
                </a:cubicBezTo>
                <a:cubicBezTo>
                  <a:pt x="581" y="184"/>
                  <a:pt x="581" y="184"/>
                  <a:pt x="581" y="184"/>
                </a:cubicBezTo>
                <a:cubicBezTo>
                  <a:pt x="580" y="184"/>
                  <a:pt x="580" y="184"/>
                  <a:pt x="579" y="184"/>
                </a:cubicBezTo>
                <a:cubicBezTo>
                  <a:pt x="579" y="184"/>
                  <a:pt x="579" y="184"/>
                  <a:pt x="579" y="184"/>
                </a:cubicBezTo>
                <a:cubicBezTo>
                  <a:pt x="579" y="185"/>
                  <a:pt x="579" y="185"/>
                  <a:pt x="579" y="185"/>
                </a:cubicBezTo>
                <a:cubicBezTo>
                  <a:pt x="578" y="185"/>
                  <a:pt x="577" y="185"/>
                  <a:pt x="577" y="186"/>
                </a:cubicBezTo>
                <a:cubicBezTo>
                  <a:pt x="577" y="185"/>
                  <a:pt x="577" y="185"/>
                  <a:pt x="577" y="185"/>
                </a:cubicBezTo>
                <a:cubicBezTo>
                  <a:pt x="578" y="185"/>
                  <a:pt x="578" y="184"/>
                  <a:pt x="579" y="184"/>
                </a:cubicBezTo>
                <a:cubicBezTo>
                  <a:pt x="579" y="184"/>
                  <a:pt x="579" y="183"/>
                  <a:pt x="579" y="183"/>
                </a:cubicBezTo>
                <a:cubicBezTo>
                  <a:pt x="579" y="183"/>
                  <a:pt x="579" y="183"/>
                  <a:pt x="579" y="183"/>
                </a:cubicBezTo>
                <a:cubicBezTo>
                  <a:pt x="579" y="183"/>
                  <a:pt x="579" y="183"/>
                  <a:pt x="578" y="183"/>
                </a:cubicBezTo>
                <a:cubicBezTo>
                  <a:pt x="578" y="183"/>
                  <a:pt x="578" y="183"/>
                  <a:pt x="578" y="183"/>
                </a:cubicBezTo>
                <a:cubicBezTo>
                  <a:pt x="578" y="183"/>
                  <a:pt x="578" y="183"/>
                  <a:pt x="578" y="183"/>
                </a:cubicBezTo>
                <a:cubicBezTo>
                  <a:pt x="578" y="182"/>
                  <a:pt x="578" y="182"/>
                  <a:pt x="578" y="182"/>
                </a:cubicBezTo>
                <a:cubicBezTo>
                  <a:pt x="577" y="182"/>
                  <a:pt x="577" y="182"/>
                  <a:pt x="577" y="182"/>
                </a:cubicBezTo>
                <a:cubicBezTo>
                  <a:pt x="577" y="182"/>
                  <a:pt x="577" y="182"/>
                  <a:pt x="577" y="182"/>
                </a:cubicBezTo>
                <a:cubicBezTo>
                  <a:pt x="577" y="182"/>
                  <a:pt x="577" y="182"/>
                  <a:pt x="577" y="181"/>
                </a:cubicBezTo>
                <a:cubicBezTo>
                  <a:pt x="577" y="181"/>
                  <a:pt x="577" y="181"/>
                  <a:pt x="577" y="181"/>
                </a:cubicBezTo>
                <a:cubicBezTo>
                  <a:pt x="577" y="181"/>
                  <a:pt x="577" y="181"/>
                  <a:pt x="576" y="181"/>
                </a:cubicBezTo>
                <a:cubicBezTo>
                  <a:pt x="576" y="181"/>
                  <a:pt x="575" y="181"/>
                  <a:pt x="575" y="181"/>
                </a:cubicBezTo>
                <a:cubicBezTo>
                  <a:pt x="575" y="181"/>
                  <a:pt x="574" y="181"/>
                  <a:pt x="574" y="181"/>
                </a:cubicBezTo>
                <a:cubicBezTo>
                  <a:pt x="574" y="181"/>
                  <a:pt x="573" y="181"/>
                  <a:pt x="573" y="181"/>
                </a:cubicBezTo>
                <a:cubicBezTo>
                  <a:pt x="574" y="181"/>
                  <a:pt x="574" y="180"/>
                  <a:pt x="575" y="180"/>
                </a:cubicBezTo>
                <a:cubicBezTo>
                  <a:pt x="575" y="180"/>
                  <a:pt x="575" y="180"/>
                  <a:pt x="575" y="180"/>
                </a:cubicBezTo>
                <a:cubicBezTo>
                  <a:pt x="576" y="180"/>
                  <a:pt x="576" y="180"/>
                  <a:pt x="576" y="180"/>
                </a:cubicBezTo>
                <a:cubicBezTo>
                  <a:pt x="576" y="180"/>
                  <a:pt x="576" y="180"/>
                  <a:pt x="577" y="180"/>
                </a:cubicBezTo>
                <a:cubicBezTo>
                  <a:pt x="577" y="180"/>
                  <a:pt x="577" y="180"/>
                  <a:pt x="577" y="180"/>
                </a:cubicBezTo>
                <a:cubicBezTo>
                  <a:pt x="577" y="180"/>
                  <a:pt x="577" y="180"/>
                  <a:pt x="578" y="180"/>
                </a:cubicBezTo>
                <a:cubicBezTo>
                  <a:pt x="578" y="180"/>
                  <a:pt x="578" y="180"/>
                  <a:pt x="579" y="180"/>
                </a:cubicBezTo>
                <a:cubicBezTo>
                  <a:pt x="579" y="181"/>
                  <a:pt x="579" y="181"/>
                  <a:pt x="579" y="181"/>
                </a:cubicBezTo>
                <a:cubicBezTo>
                  <a:pt x="579" y="181"/>
                  <a:pt x="579" y="181"/>
                  <a:pt x="579" y="181"/>
                </a:cubicBezTo>
                <a:cubicBezTo>
                  <a:pt x="579" y="181"/>
                  <a:pt x="579" y="182"/>
                  <a:pt x="579" y="182"/>
                </a:cubicBezTo>
                <a:cubicBezTo>
                  <a:pt x="579" y="182"/>
                  <a:pt x="580" y="182"/>
                  <a:pt x="580" y="182"/>
                </a:cubicBezTo>
                <a:cubicBezTo>
                  <a:pt x="580" y="182"/>
                  <a:pt x="580" y="182"/>
                  <a:pt x="580" y="182"/>
                </a:cubicBezTo>
                <a:cubicBezTo>
                  <a:pt x="581" y="182"/>
                  <a:pt x="581" y="182"/>
                  <a:pt x="581" y="182"/>
                </a:cubicBezTo>
                <a:cubicBezTo>
                  <a:pt x="581" y="182"/>
                  <a:pt x="581" y="182"/>
                  <a:pt x="581" y="182"/>
                </a:cubicBezTo>
                <a:cubicBezTo>
                  <a:pt x="582" y="182"/>
                  <a:pt x="582" y="182"/>
                  <a:pt x="582" y="182"/>
                </a:cubicBezTo>
                <a:cubicBezTo>
                  <a:pt x="583" y="182"/>
                  <a:pt x="583" y="182"/>
                  <a:pt x="583" y="181"/>
                </a:cubicBezTo>
                <a:cubicBezTo>
                  <a:pt x="583" y="181"/>
                  <a:pt x="583" y="181"/>
                  <a:pt x="583" y="181"/>
                </a:cubicBezTo>
                <a:cubicBezTo>
                  <a:pt x="583" y="181"/>
                  <a:pt x="583" y="181"/>
                  <a:pt x="583" y="181"/>
                </a:cubicBezTo>
                <a:cubicBezTo>
                  <a:pt x="583" y="181"/>
                  <a:pt x="583" y="181"/>
                  <a:pt x="583" y="181"/>
                </a:cubicBezTo>
                <a:cubicBezTo>
                  <a:pt x="582" y="180"/>
                  <a:pt x="582" y="180"/>
                  <a:pt x="582" y="180"/>
                </a:cubicBezTo>
                <a:cubicBezTo>
                  <a:pt x="582" y="180"/>
                  <a:pt x="582" y="180"/>
                  <a:pt x="581" y="180"/>
                </a:cubicBezTo>
                <a:cubicBezTo>
                  <a:pt x="581" y="180"/>
                  <a:pt x="581" y="180"/>
                  <a:pt x="581" y="180"/>
                </a:cubicBezTo>
                <a:cubicBezTo>
                  <a:pt x="581" y="180"/>
                  <a:pt x="581" y="179"/>
                  <a:pt x="581" y="179"/>
                </a:cubicBezTo>
                <a:cubicBezTo>
                  <a:pt x="581" y="179"/>
                  <a:pt x="581" y="179"/>
                  <a:pt x="581" y="179"/>
                </a:cubicBezTo>
                <a:cubicBezTo>
                  <a:pt x="580" y="179"/>
                  <a:pt x="580" y="179"/>
                  <a:pt x="580" y="178"/>
                </a:cubicBezTo>
                <a:cubicBezTo>
                  <a:pt x="580" y="178"/>
                  <a:pt x="580" y="178"/>
                  <a:pt x="580" y="178"/>
                </a:cubicBezTo>
                <a:cubicBezTo>
                  <a:pt x="580" y="178"/>
                  <a:pt x="581" y="178"/>
                  <a:pt x="581" y="178"/>
                </a:cubicBezTo>
                <a:cubicBezTo>
                  <a:pt x="581" y="179"/>
                  <a:pt x="581" y="179"/>
                  <a:pt x="581" y="179"/>
                </a:cubicBezTo>
                <a:cubicBezTo>
                  <a:pt x="581" y="179"/>
                  <a:pt x="582" y="179"/>
                  <a:pt x="582" y="179"/>
                </a:cubicBezTo>
                <a:cubicBezTo>
                  <a:pt x="582" y="179"/>
                  <a:pt x="582" y="179"/>
                  <a:pt x="583" y="179"/>
                </a:cubicBezTo>
                <a:cubicBezTo>
                  <a:pt x="582" y="179"/>
                  <a:pt x="582" y="179"/>
                  <a:pt x="582" y="179"/>
                </a:cubicBezTo>
                <a:cubicBezTo>
                  <a:pt x="582" y="179"/>
                  <a:pt x="582" y="179"/>
                  <a:pt x="583" y="179"/>
                </a:cubicBezTo>
                <a:cubicBezTo>
                  <a:pt x="583" y="179"/>
                  <a:pt x="583" y="179"/>
                  <a:pt x="583" y="179"/>
                </a:cubicBezTo>
                <a:cubicBezTo>
                  <a:pt x="583" y="178"/>
                  <a:pt x="583" y="178"/>
                  <a:pt x="583" y="178"/>
                </a:cubicBezTo>
                <a:cubicBezTo>
                  <a:pt x="583" y="178"/>
                  <a:pt x="582" y="178"/>
                  <a:pt x="582" y="177"/>
                </a:cubicBezTo>
                <a:cubicBezTo>
                  <a:pt x="582" y="177"/>
                  <a:pt x="581" y="177"/>
                  <a:pt x="581" y="177"/>
                </a:cubicBezTo>
                <a:cubicBezTo>
                  <a:pt x="581" y="177"/>
                  <a:pt x="582" y="177"/>
                  <a:pt x="582" y="177"/>
                </a:cubicBezTo>
                <a:cubicBezTo>
                  <a:pt x="582" y="177"/>
                  <a:pt x="582" y="177"/>
                  <a:pt x="583" y="177"/>
                </a:cubicBezTo>
                <a:cubicBezTo>
                  <a:pt x="583" y="177"/>
                  <a:pt x="583" y="177"/>
                  <a:pt x="583" y="178"/>
                </a:cubicBezTo>
                <a:cubicBezTo>
                  <a:pt x="584" y="177"/>
                  <a:pt x="584" y="177"/>
                  <a:pt x="584" y="177"/>
                </a:cubicBezTo>
                <a:cubicBezTo>
                  <a:pt x="584" y="177"/>
                  <a:pt x="584" y="177"/>
                  <a:pt x="584" y="177"/>
                </a:cubicBezTo>
                <a:cubicBezTo>
                  <a:pt x="584" y="177"/>
                  <a:pt x="584" y="176"/>
                  <a:pt x="584" y="176"/>
                </a:cubicBezTo>
                <a:cubicBezTo>
                  <a:pt x="584" y="176"/>
                  <a:pt x="584" y="176"/>
                  <a:pt x="584" y="176"/>
                </a:cubicBezTo>
                <a:cubicBezTo>
                  <a:pt x="584" y="176"/>
                  <a:pt x="584" y="176"/>
                  <a:pt x="584" y="177"/>
                </a:cubicBezTo>
                <a:cubicBezTo>
                  <a:pt x="585" y="177"/>
                  <a:pt x="585" y="177"/>
                  <a:pt x="585" y="177"/>
                </a:cubicBezTo>
                <a:cubicBezTo>
                  <a:pt x="585" y="177"/>
                  <a:pt x="585" y="177"/>
                  <a:pt x="585" y="177"/>
                </a:cubicBezTo>
                <a:cubicBezTo>
                  <a:pt x="585" y="177"/>
                  <a:pt x="585" y="177"/>
                  <a:pt x="585" y="177"/>
                </a:cubicBezTo>
                <a:cubicBezTo>
                  <a:pt x="585" y="177"/>
                  <a:pt x="585" y="178"/>
                  <a:pt x="585" y="178"/>
                </a:cubicBezTo>
                <a:cubicBezTo>
                  <a:pt x="585" y="178"/>
                  <a:pt x="585" y="178"/>
                  <a:pt x="585" y="178"/>
                </a:cubicBezTo>
                <a:cubicBezTo>
                  <a:pt x="585" y="178"/>
                  <a:pt x="585" y="178"/>
                  <a:pt x="586" y="178"/>
                </a:cubicBezTo>
                <a:cubicBezTo>
                  <a:pt x="586" y="178"/>
                  <a:pt x="586" y="178"/>
                  <a:pt x="586" y="178"/>
                </a:cubicBezTo>
                <a:cubicBezTo>
                  <a:pt x="586" y="178"/>
                  <a:pt x="586" y="178"/>
                  <a:pt x="586" y="178"/>
                </a:cubicBezTo>
                <a:cubicBezTo>
                  <a:pt x="586" y="179"/>
                  <a:pt x="586" y="179"/>
                  <a:pt x="586" y="179"/>
                </a:cubicBezTo>
                <a:cubicBezTo>
                  <a:pt x="585" y="179"/>
                  <a:pt x="585" y="179"/>
                  <a:pt x="585" y="179"/>
                </a:cubicBezTo>
                <a:cubicBezTo>
                  <a:pt x="585" y="179"/>
                  <a:pt x="586" y="179"/>
                  <a:pt x="586" y="179"/>
                </a:cubicBezTo>
                <a:cubicBezTo>
                  <a:pt x="586" y="179"/>
                  <a:pt x="586" y="179"/>
                  <a:pt x="586" y="179"/>
                </a:cubicBezTo>
                <a:cubicBezTo>
                  <a:pt x="587" y="179"/>
                  <a:pt x="587" y="179"/>
                  <a:pt x="587" y="179"/>
                </a:cubicBezTo>
                <a:cubicBezTo>
                  <a:pt x="587" y="179"/>
                  <a:pt x="587" y="179"/>
                  <a:pt x="587" y="180"/>
                </a:cubicBezTo>
                <a:cubicBezTo>
                  <a:pt x="587" y="180"/>
                  <a:pt x="587" y="180"/>
                  <a:pt x="587" y="180"/>
                </a:cubicBezTo>
                <a:cubicBezTo>
                  <a:pt x="587" y="180"/>
                  <a:pt x="587" y="180"/>
                  <a:pt x="588" y="180"/>
                </a:cubicBezTo>
                <a:cubicBezTo>
                  <a:pt x="588" y="180"/>
                  <a:pt x="588" y="180"/>
                  <a:pt x="588" y="179"/>
                </a:cubicBezTo>
                <a:cubicBezTo>
                  <a:pt x="589" y="179"/>
                  <a:pt x="590" y="179"/>
                  <a:pt x="590" y="178"/>
                </a:cubicBezTo>
                <a:cubicBezTo>
                  <a:pt x="590" y="178"/>
                  <a:pt x="591" y="178"/>
                  <a:pt x="591" y="177"/>
                </a:cubicBezTo>
                <a:cubicBezTo>
                  <a:pt x="591" y="177"/>
                  <a:pt x="591" y="178"/>
                  <a:pt x="591" y="178"/>
                </a:cubicBezTo>
                <a:cubicBezTo>
                  <a:pt x="591" y="178"/>
                  <a:pt x="591" y="178"/>
                  <a:pt x="591" y="178"/>
                </a:cubicBezTo>
                <a:cubicBezTo>
                  <a:pt x="591" y="178"/>
                  <a:pt x="591" y="178"/>
                  <a:pt x="590" y="179"/>
                </a:cubicBezTo>
                <a:cubicBezTo>
                  <a:pt x="590" y="179"/>
                  <a:pt x="590" y="179"/>
                  <a:pt x="589" y="179"/>
                </a:cubicBezTo>
                <a:cubicBezTo>
                  <a:pt x="589" y="180"/>
                  <a:pt x="589" y="180"/>
                  <a:pt x="588" y="180"/>
                </a:cubicBezTo>
                <a:cubicBezTo>
                  <a:pt x="588" y="181"/>
                  <a:pt x="588" y="181"/>
                  <a:pt x="588" y="181"/>
                </a:cubicBezTo>
                <a:cubicBezTo>
                  <a:pt x="588" y="181"/>
                  <a:pt x="589" y="181"/>
                  <a:pt x="589" y="181"/>
                </a:cubicBezTo>
                <a:cubicBezTo>
                  <a:pt x="589" y="181"/>
                  <a:pt x="590" y="181"/>
                  <a:pt x="590" y="181"/>
                </a:cubicBezTo>
                <a:cubicBezTo>
                  <a:pt x="590" y="180"/>
                  <a:pt x="591" y="180"/>
                  <a:pt x="591" y="180"/>
                </a:cubicBezTo>
                <a:cubicBezTo>
                  <a:pt x="591" y="180"/>
                  <a:pt x="592" y="180"/>
                  <a:pt x="592" y="179"/>
                </a:cubicBezTo>
                <a:cubicBezTo>
                  <a:pt x="592" y="179"/>
                  <a:pt x="593" y="179"/>
                  <a:pt x="593" y="179"/>
                </a:cubicBezTo>
                <a:cubicBezTo>
                  <a:pt x="593" y="179"/>
                  <a:pt x="593" y="178"/>
                  <a:pt x="594" y="178"/>
                </a:cubicBezTo>
                <a:cubicBezTo>
                  <a:pt x="594" y="178"/>
                  <a:pt x="594" y="178"/>
                  <a:pt x="594" y="178"/>
                </a:cubicBezTo>
                <a:cubicBezTo>
                  <a:pt x="594" y="178"/>
                  <a:pt x="595" y="177"/>
                  <a:pt x="595" y="177"/>
                </a:cubicBezTo>
                <a:cubicBezTo>
                  <a:pt x="595" y="177"/>
                  <a:pt x="595" y="177"/>
                  <a:pt x="596" y="177"/>
                </a:cubicBezTo>
                <a:cubicBezTo>
                  <a:pt x="596" y="177"/>
                  <a:pt x="596" y="177"/>
                  <a:pt x="596" y="177"/>
                </a:cubicBezTo>
                <a:cubicBezTo>
                  <a:pt x="596" y="177"/>
                  <a:pt x="595" y="177"/>
                  <a:pt x="595" y="178"/>
                </a:cubicBezTo>
                <a:cubicBezTo>
                  <a:pt x="595" y="178"/>
                  <a:pt x="595" y="178"/>
                  <a:pt x="595" y="178"/>
                </a:cubicBezTo>
                <a:cubicBezTo>
                  <a:pt x="594" y="178"/>
                  <a:pt x="594" y="179"/>
                  <a:pt x="594" y="179"/>
                </a:cubicBezTo>
                <a:cubicBezTo>
                  <a:pt x="594" y="179"/>
                  <a:pt x="594" y="179"/>
                  <a:pt x="594" y="179"/>
                </a:cubicBezTo>
                <a:cubicBezTo>
                  <a:pt x="593" y="180"/>
                  <a:pt x="593" y="180"/>
                  <a:pt x="593" y="180"/>
                </a:cubicBezTo>
                <a:cubicBezTo>
                  <a:pt x="592" y="180"/>
                  <a:pt x="592" y="180"/>
                  <a:pt x="592" y="180"/>
                </a:cubicBezTo>
                <a:cubicBezTo>
                  <a:pt x="591" y="180"/>
                  <a:pt x="591" y="181"/>
                  <a:pt x="591" y="181"/>
                </a:cubicBezTo>
                <a:cubicBezTo>
                  <a:pt x="591" y="181"/>
                  <a:pt x="591" y="181"/>
                  <a:pt x="590" y="182"/>
                </a:cubicBezTo>
                <a:cubicBezTo>
                  <a:pt x="590" y="182"/>
                  <a:pt x="590" y="182"/>
                  <a:pt x="590" y="182"/>
                </a:cubicBezTo>
                <a:cubicBezTo>
                  <a:pt x="590" y="182"/>
                  <a:pt x="591" y="182"/>
                  <a:pt x="591" y="182"/>
                </a:cubicBezTo>
                <a:cubicBezTo>
                  <a:pt x="591" y="182"/>
                  <a:pt x="591" y="182"/>
                  <a:pt x="591" y="182"/>
                </a:cubicBezTo>
                <a:cubicBezTo>
                  <a:pt x="592" y="182"/>
                  <a:pt x="592" y="181"/>
                  <a:pt x="592" y="181"/>
                </a:cubicBezTo>
                <a:cubicBezTo>
                  <a:pt x="592" y="181"/>
                  <a:pt x="593" y="181"/>
                  <a:pt x="593" y="182"/>
                </a:cubicBezTo>
                <a:cubicBezTo>
                  <a:pt x="593" y="182"/>
                  <a:pt x="592" y="182"/>
                  <a:pt x="592" y="182"/>
                </a:cubicBezTo>
                <a:cubicBezTo>
                  <a:pt x="592" y="182"/>
                  <a:pt x="592" y="182"/>
                  <a:pt x="591" y="182"/>
                </a:cubicBezTo>
                <a:cubicBezTo>
                  <a:pt x="591" y="182"/>
                  <a:pt x="591" y="182"/>
                  <a:pt x="591" y="182"/>
                </a:cubicBezTo>
                <a:cubicBezTo>
                  <a:pt x="591" y="182"/>
                  <a:pt x="591" y="183"/>
                  <a:pt x="591" y="183"/>
                </a:cubicBezTo>
                <a:cubicBezTo>
                  <a:pt x="591" y="183"/>
                  <a:pt x="591" y="183"/>
                  <a:pt x="591" y="183"/>
                </a:cubicBezTo>
                <a:cubicBezTo>
                  <a:pt x="592" y="183"/>
                  <a:pt x="592" y="183"/>
                  <a:pt x="592" y="182"/>
                </a:cubicBezTo>
                <a:cubicBezTo>
                  <a:pt x="592" y="182"/>
                  <a:pt x="592" y="182"/>
                  <a:pt x="593" y="182"/>
                </a:cubicBezTo>
                <a:cubicBezTo>
                  <a:pt x="592" y="183"/>
                  <a:pt x="592" y="183"/>
                  <a:pt x="592" y="183"/>
                </a:cubicBezTo>
                <a:cubicBezTo>
                  <a:pt x="592" y="183"/>
                  <a:pt x="591" y="183"/>
                  <a:pt x="591" y="183"/>
                </a:cubicBezTo>
                <a:cubicBezTo>
                  <a:pt x="591" y="183"/>
                  <a:pt x="591" y="184"/>
                  <a:pt x="591" y="184"/>
                </a:cubicBezTo>
                <a:cubicBezTo>
                  <a:pt x="591" y="184"/>
                  <a:pt x="591" y="184"/>
                  <a:pt x="591" y="184"/>
                </a:cubicBezTo>
                <a:cubicBezTo>
                  <a:pt x="591" y="184"/>
                  <a:pt x="592" y="184"/>
                  <a:pt x="592" y="184"/>
                </a:cubicBezTo>
                <a:cubicBezTo>
                  <a:pt x="592" y="184"/>
                  <a:pt x="592" y="184"/>
                  <a:pt x="593" y="184"/>
                </a:cubicBezTo>
                <a:cubicBezTo>
                  <a:pt x="593" y="184"/>
                  <a:pt x="593" y="184"/>
                  <a:pt x="593" y="184"/>
                </a:cubicBezTo>
                <a:cubicBezTo>
                  <a:pt x="594" y="184"/>
                  <a:pt x="594" y="184"/>
                  <a:pt x="594" y="184"/>
                </a:cubicBezTo>
                <a:cubicBezTo>
                  <a:pt x="594" y="184"/>
                  <a:pt x="593" y="184"/>
                  <a:pt x="593" y="184"/>
                </a:cubicBezTo>
                <a:cubicBezTo>
                  <a:pt x="593" y="184"/>
                  <a:pt x="593" y="184"/>
                  <a:pt x="593" y="184"/>
                </a:cubicBezTo>
                <a:cubicBezTo>
                  <a:pt x="593" y="184"/>
                  <a:pt x="593" y="184"/>
                  <a:pt x="592" y="185"/>
                </a:cubicBezTo>
                <a:cubicBezTo>
                  <a:pt x="592" y="185"/>
                  <a:pt x="592" y="185"/>
                  <a:pt x="592" y="185"/>
                </a:cubicBezTo>
                <a:cubicBezTo>
                  <a:pt x="592" y="185"/>
                  <a:pt x="592" y="185"/>
                  <a:pt x="592" y="185"/>
                </a:cubicBezTo>
                <a:cubicBezTo>
                  <a:pt x="592" y="185"/>
                  <a:pt x="593" y="185"/>
                  <a:pt x="593" y="186"/>
                </a:cubicBezTo>
                <a:cubicBezTo>
                  <a:pt x="593" y="186"/>
                  <a:pt x="593" y="186"/>
                  <a:pt x="593" y="186"/>
                </a:cubicBezTo>
                <a:cubicBezTo>
                  <a:pt x="593" y="186"/>
                  <a:pt x="593" y="186"/>
                  <a:pt x="593" y="186"/>
                </a:cubicBezTo>
                <a:cubicBezTo>
                  <a:pt x="593" y="186"/>
                  <a:pt x="593" y="186"/>
                  <a:pt x="594" y="186"/>
                </a:cubicBezTo>
                <a:cubicBezTo>
                  <a:pt x="594" y="185"/>
                  <a:pt x="594" y="185"/>
                  <a:pt x="594" y="185"/>
                </a:cubicBezTo>
                <a:cubicBezTo>
                  <a:pt x="594" y="185"/>
                  <a:pt x="594" y="184"/>
                  <a:pt x="594" y="184"/>
                </a:cubicBezTo>
                <a:cubicBezTo>
                  <a:pt x="594" y="184"/>
                  <a:pt x="595" y="184"/>
                  <a:pt x="595" y="184"/>
                </a:cubicBezTo>
                <a:cubicBezTo>
                  <a:pt x="595" y="184"/>
                  <a:pt x="595" y="185"/>
                  <a:pt x="595" y="185"/>
                </a:cubicBezTo>
                <a:cubicBezTo>
                  <a:pt x="595" y="185"/>
                  <a:pt x="595" y="185"/>
                  <a:pt x="595" y="185"/>
                </a:cubicBezTo>
                <a:cubicBezTo>
                  <a:pt x="594" y="185"/>
                  <a:pt x="594" y="185"/>
                  <a:pt x="594" y="185"/>
                </a:cubicBezTo>
                <a:cubicBezTo>
                  <a:pt x="594" y="185"/>
                  <a:pt x="594" y="185"/>
                  <a:pt x="594" y="186"/>
                </a:cubicBezTo>
                <a:cubicBezTo>
                  <a:pt x="594" y="186"/>
                  <a:pt x="595" y="186"/>
                  <a:pt x="595" y="186"/>
                </a:cubicBezTo>
                <a:cubicBezTo>
                  <a:pt x="595" y="186"/>
                  <a:pt x="594" y="186"/>
                  <a:pt x="594" y="186"/>
                </a:cubicBezTo>
                <a:cubicBezTo>
                  <a:pt x="595" y="186"/>
                  <a:pt x="595" y="186"/>
                  <a:pt x="595" y="186"/>
                </a:cubicBezTo>
                <a:cubicBezTo>
                  <a:pt x="595" y="186"/>
                  <a:pt x="595" y="186"/>
                  <a:pt x="595" y="186"/>
                </a:cubicBezTo>
                <a:cubicBezTo>
                  <a:pt x="595" y="186"/>
                  <a:pt x="595" y="186"/>
                  <a:pt x="596" y="186"/>
                </a:cubicBezTo>
                <a:cubicBezTo>
                  <a:pt x="596" y="186"/>
                  <a:pt x="596" y="186"/>
                  <a:pt x="596" y="186"/>
                </a:cubicBezTo>
                <a:cubicBezTo>
                  <a:pt x="596" y="186"/>
                  <a:pt x="596" y="186"/>
                  <a:pt x="597" y="186"/>
                </a:cubicBezTo>
                <a:cubicBezTo>
                  <a:pt x="597" y="186"/>
                  <a:pt x="597" y="186"/>
                  <a:pt x="597" y="186"/>
                </a:cubicBezTo>
                <a:cubicBezTo>
                  <a:pt x="597" y="186"/>
                  <a:pt x="596" y="186"/>
                  <a:pt x="596" y="186"/>
                </a:cubicBezTo>
                <a:cubicBezTo>
                  <a:pt x="596" y="186"/>
                  <a:pt x="596" y="186"/>
                  <a:pt x="596" y="187"/>
                </a:cubicBezTo>
                <a:cubicBezTo>
                  <a:pt x="597" y="187"/>
                  <a:pt x="597" y="187"/>
                  <a:pt x="597" y="187"/>
                </a:cubicBezTo>
                <a:cubicBezTo>
                  <a:pt x="597" y="187"/>
                  <a:pt x="597" y="187"/>
                  <a:pt x="597" y="187"/>
                </a:cubicBezTo>
                <a:cubicBezTo>
                  <a:pt x="597" y="187"/>
                  <a:pt x="597" y="187"/>
                  <a:pt x="597" y="187"/>
                </a:cubicBezTo>
                <a:cubicBezTo>
                  <a:pt x="597" y="187"/>
                  <a:pt x="597" y="187"/>
                  <a:pt x="598" y="187"/>
                </a:cubicBezTo>
                <a:cubicBezTo>
                  <a:pt x="598" y="187"/>
                  <a:pt x="598" y="187"/>
                  <a:pt x="598" y="187"/>
                </a:cubicBezTo>
                <a:cubicBezTo>
                  <a:pt x="598" y="187"/>
                  <a:pt x="598" y="187"/>
                  <a:pt x="598" y="187"/>
                </a:cubicBezTo>
                <a:cubicBezTo>
                  <a:pt x="599" y="187"/>
                  <a:pt x="599" y="187"/>
                  <a:pt x="599" y="187"/>
                </a:cubicBezTo>
                <a:cubicBezTo>
                  <a:pt x="599" y="186"/>
                  <a:pt x="599" y="186"/>
                  <a:pt x="599" y="186"/>
                </a:cubicBezTo>
                <a:cubicBezTo>
                  <a:pt x="599" y="186"/>
                  <a:pt x="599" y="186"/>
                  <a:pt x="599" y="186"/>
                </a:cubicBezTo>
                <a:cubicBezTo>
                  <a:pt x="599" y="185"/>
                  <a:pt x="599" y="185"/>
                  <a:pt x="598" y="185"/>
                </a:cubicBezTo>
                <a:cubicBezTo>
                  <a:pt x="598" y="185"/>
                  <a:pt x="598" y="185"/>
                  <a:pt x="599" y="185"/>
                </a:cubicBezTo>
                <a:cubicBezTo>
                  <a:pt x="599" y="185"/>
                  <a:pt x="599" y="185"/>
                  <a:pt x="599" y="185"/>
                </a:cubicBezTo>
                <a:cubicBezTo>
                  <a:pt x="599" y="185"/>
                  <a:pt x="599" y="185"/>
                  <a:pt x="599" y="185"/>
                </a:cubicBezTo>
                <a:cubicBezTo>
                  <a:pt x="599" y="185"/>
                  <a:pt x="599" y="185"/>
                  <a:pt x="599" y="185"/>
                </a:cubicBezTo>
                <a:cubicBezTo>
                  <a:pt x="599" y="185"/>
                  <a:pt x="599" y="184"/>
                  <a:pt x="599" y="184"/>
                </a:cubicBezTo>
                <a:cubicBezTo>
                  <a:pt x="599" y="184"/>
                  <a:pt x="599" y="184"/>
                  <a:pt x="599" y="184"/>
                </a:cubicBezTo>
                <a:cubicBezTo>
                  <a:pt x="599" y="184"/>
                  <a:pt x="599" y="184"/>
                  <a:pt x="599" y="184"/>
                </a:cubicBezTo>
                <a:cubicBezTo>
                  <a:pt x="599" y="184"/>
                  <a:pt x="599" y="184"/>
                  <a:pt x="599" y="183"/>
                </a:cubicBezTo>
                <a:cubicBezTo>
                  <a:pt x="599" y="183"/>
                  <a:pt x="599" y="183"/>
                  <a:pt x="599" y="183"/>
                </a:cubicBezTo>
                <a:cubicBezTo>
                  <a:pt x="599" y="183"/>
                  <a:pt x="599" y="183"/>
                  <a:pt x="599" y="183"/>
                </a:cubicBezTo>
                <a:cubicBezTo>
                  <a:pt x="599" y="183"/>
                  <a:pt x="598" y="183"/>
                  <a:pt x="598" y="183"/>
                </a:cubicBezTo>
                <a:cubicBezTo>
                  <a:pt x="598" y="183"/>
                  <a:pt x="598" y="183"/>
                  <a:pt x="598" y="183"/>
                </a:cubicBezTo>
                <a:cubicBezTo>
                  <a:pt x="598" y="183"/>
                  <a:pt x="598" y="183"/>
                  <a:pt x="598" y="183"/>
                </a:cubicBezTo>
                <a:cubicBezTo>
                  <a:pt x="599" y="183"/>
                  <a:pt x="599" y="183"/>
                  <a:pt x="599" y="183"/>
                </a:cubicBezTo>
                <a:cubicBezTo>
                  <a:pt x="599" y="183"/>
                  <a:pt x="599" y="182"/>
                  <a:pt x="599" y="182"/>
                </a:cubicBezTo>
                <a:cubicBezTo>
                  <a:pt x="599" y="182"/>
                  <a:pt x="599" y="182"/>
                  <a:pt x="599" y="182"/>
                </a:cubicBezTo>
                <a:cubicBezTo>
                  <a:pt x="599" y="182"/>
                  <a:pt x="599" y="182"/>
                  <a:pt x="599" y="182"/>
                </a:cubicBezTo>
                <a:cubicBezTo>
                  <a:pt x="599" y="182"/>
                  <a:pt x="598" y="182"/>
                  <a:pt x="598" y="182"/>
                </a:cubicBezTo>
                <a:cubicBezTo>
                  <a:pt x="599" y="182"/>
                  <a:pt x="599" y="182"/>
                  <a:pt x="599" y="182"/>
                </a:cubicBezTo>
                <a:cubicBezTo>
                  <a:pt x="599" y="182"/>
                  <a:pt x="599" y="182"/>
                  <a:pt x="600" y="181"/>
                </a:cubicBezTo>
                <a:cubicBezTo>
                  <a:pt x="599" y="181"/>
                  <a:pt x="599" y="181"/>
                  <a:pt x="599" y="180"/>
                </a:cubicBezTo>
                <a:cubicBezTo>
                  <a:pt x="599" y="180"/>
                  <a:pt x="599" y="180"/>
                  <a:pt x="599" y="180"/>
                </a:cubicBezTo>
                <a:cubicBezTo>
                  <a:pt x="600" y="180"/>
                  <a:pt x="600" y="180"/>
                  <a:pt x="600" y="180"/>
                </a:cubicBezTo>
                <a:cubicBezTo>
                  <a:pt x="600" y="180"/>
                  <a:pt x="600" y="181"/>
                  <a:pt x="600" y="181"/>
                </a:cubicBezTo>
                <a:cubicBezTo>
                  <a:pt x="600" y="181"/>
                  <a:pt x="600" y="181"/>
                  <a:pt x="600" y="181"/>
                </a:cubicBezTo>
                <a:cubicBezTo>
                  <a:pt x="600" y="181"/>
                  <a:pt x="600" y="182"/>
                  <a:pt x="600" y="182"/>
                </a:cubicBezTo>
                <a:cubicBezTo>
                  <a:pt x="600" y="182"/>
                  <a:pt x="601" y="182"/>
                  <a:pt x="601" y="182"/>
                </a:cubicBezTo>
                <a:cubicBezTo>
                  <a:pt x="601" y="182"/>
                  <a:pt x="601" y="182"/>
                  <a:pt x="602" y="182"/>
                </a:cubicBezTo>
                <a:cubicBezTo>
                  <a:pt x="602" y="181"/>
                  <a:pt x="602" y="181"/>
                  <a:pt x="602" y="181"/>
                </a:cubicBezTo>
                <a:cubicBezTo>
                  <a:pt x="602" y="181"/>
                  <a:pt x="602" y="181"/>
                  <a:pt x="602" y="181"/>
                </a:cubicBezTo>
                <a:cubicBezTo>
                  <a:pt x="602" y="181"/>
                  <a:pt x="602" y="181"/>
                  <a:pt x="602" y="182"/>
                </a:cubicBezTo>
                <a:cubicBezTo>
                  <a:pt x="602" y="182"/>
                  <a:pt x="602" y="182"/>
                  <a:pt x="603" y="182"/>
                </a:cubicBezTo>
                <a:cubicBezTo>
                  <a:pt x="603" y="182"/>
                  <a:pt x="603" y="182"/>
                  <a:pt x="603" y="182"/>
                </a:cubicBezTo>
                <a:cubicBezTo>
                  <a:pt x="603" y="182"/>
                  <a:pt x="603" y="182"/>
                  <a:pt x="603" y="182"/>
                </a:cubicBezTo>
                <a:cubicBezTo>
                  <a:pt x="603" y="181"/>
                  <a:pt x="603" y="181"/>
                  <a:pt x="603" y="181"/>
                </a:cubicBezTo>
                <a:cubicBezTo>
                  <a:pt x="603" y="180"/>
                  <a:pt x="603" y="180"/>
                  <a:pt x="603" y="180"/>
                </a:cubicBezTo>
                <a:cubicBezTo>
                  <a:pt x="603" y="180"/>
                  <a:pt x="603" y="180"/>
                  <a:pt x="603" y="180"/>
                </a:cubicBezTo>
                <a:cubicBezTo>
                  <a:pt x="603" y="180"/>
                  <a:pt x="603" y="180"/>
                  <a:pt x="602" y="180"/>
                </a:cubicBezTo>
                <a:cubicBezTo>
                  <a:pt x="603" y="180"/>
                  <a:pt x="603" y="180"/>
                  <a:pt x="603" y="180"/>
                </a:cubicBezTo>
                <a:cubicBezTo>
                  <a:pt x="604" y="180"/>
                  <a:pt x="604" y="180"/>
                  <a:pt x="604" y="180"/>
                </a:cubicBezTo>
                <a:cubicBezTo>
                  <a:pt x="604" y="180"/>
                  <a:pt x="604" y="180"/>
                  <a:pt x="604" y="180"/>
                </a:cubicBezTo>
                <a:cubicBezTo>
                  <a:pt x="605" y="180"/>
                  <a:pt x="605" y="180"/>
                  <a:pt x="605" y="180"/>
                </a:cubicBezTo>
                <a:cubicBezTo>
                  <a:pt x="605" y="180"/>
                  <a:pt x="605" y="180"/>
                  <a:pt x="605" y="180"/>
                </a:cubicBezTo>
                <a:cubicBezTo>
                  <a:pt x="605" y="180"/>
                  <a:pt x="605" y="179"/>
                  <a:pt x="605" y="179"/>
                </a:cubicBezTo>
                <a:cubicBezTo>
                  <a:pt x="605" y="179"/>
                  <a:pt x="605" y="179"/>
                  <a:pt x="605" y="179"/>
                </a:cubicBezTo>
                <a:cubicBezTo>
                  <a:pt x="604" y="178"/>
                  <a:pt x="604" y="178"/>
                  <a:pt x="603" y="178"/>
                </a:cubicBezTo>
                <a:cubicBezTo>
                  <a:pt x="603" y="178"/>
                  <a:pt x="603" y="178"/>
                  <a:pt x="603" y="178"/>
                </a:cubicBezTo>
                <a:cubicBezTo>
                  <a:pt x="603" y="178"/>
                  <a:pt x="603" y="178"/>
                  <a:pt x="603" y="178"/>
                </a:cubicBezTo>
                <a:cubicBezTo>
                  <a:pt x="604" y="178"/>
                  <a:pt x="604" y="178"/>
                  <a:pt x="604" y="178"/>
                </a:cubicBezTo>
                <a:cubicBezTo>
                  <a:pt x="604" y="178"/>
                  <a:pt x="605" y="178"/>
                  <a:pt x="605" y="178"/>
                </a:cubicBezTo>
                <a:cubicBezTo>
                  <a:pt x="605" y="179"/>
                  <a:pt x="605" y="179"/>
                  <a:pt x="605" y="179"/>
                </a:cubicBezTo>
                <a:cubicBezTo>
                  <a:pt x="606" y="179"/>
                  <a:pt x="606" y="179"/>
                  <a:pt x="607" y="179"/>
                </a:cubicBezTo>
                <a:cubicBezTo>
                  <a:pt x="607" y="178"/>
                  <a:pt x="607" y="178"/>
                  <a:pt x="607" y="178"/>
                </a:cubicBezTo>
                <a:cubicBezTo>
                  <a:pt x="607" y="178"/>
                  <a:pt x="607" y="178"/>
                  <a:pt x="607" y="178"/>
                </a:cubicBezTo>
                <a:cubicBezTo>
                  <a:pt x="607" y="178"/>
                  <a:pt x="607" y="178"/>
                  <a:pt x="606" y="178"/>
                </a:cubicBezTo>
                <a:cubicBezTo>
                  <a:pt x="606" y="178"/>
                  <a:pt x="606" y="177"/>
                  <a:pt x="606" y="177"/>
                </a:cubicBezTo>
                <a:cubicBezTo>
                  <a:pt x="605" y="177"/>
                  <a:pt x="605" y="177"/>
                  <a:pt x="605" y="178"/>
                </a:cubicBezTo>
                <a:cubicBezTo>
                  <a:pt x="604" y="177"/>
                  <a:pt x="604" y="177"/>
                  <a:pt x="604" y="177"/>
                </a:cubicBezTo>
                <a:cubicBezTo>
                  <a:pt x="604" y="177"/>
                  <a:pt x="604" y="177"/>
                  <a:pt x="604" y="177"/>
                </a:cubicBezTo>
                <a:cubicBezTo>
                  <a:pt x="604" y="177"/>
                  <a:pt x="604" y="177"/>
                  <a:pt x="604" y="177"/>
                </a:cubicBezTo>
                <a:cubicBezTo>
                  <a:pt x="605" y="177"/>
                  <a:pt x="605" y="177"/>
                  <a:pt x="605" y="177"/>
                </a:cubicBezTo>
                <a:cubicBezTo>
                  <a:pt x="605" y="177"/>
                  <a:pt x="606" y="177"/>
                  <a:pt x="606" y="177"/>
                </a:cubicBezTo>
                <a:cubicBezTo>
                  <a:pt x="606" y="177"/>
                  <a:pt x="606" y="177"/>
                  <a:pt x="606" y="177"/>
                </a:cubicBezTo>
                <a:cubicBezTo>
                  <a:pt x="606" y="176"/>
                  <a:pt x="606" y="176"/>
                  <a:pt x="606" y="176"/>
                </a:cubicBezTo>
                <a:cubicBezTo>
                  <a:pt x="605" y="176"/>
                  <a:pt x="605" y="176"/>
                  <a:pt x="605" y="176"/>
                </a:cubicBezTo>
                <a:cubicBezTo>
                  <a:pt x="605" y="176"/>
                  <a:pt x="605" y="176"/>
                  <a:pt x="605" y="176"/>
                </a:cubicBezTo>
                <a:cubicBezTo>
                  <a:pt x="605" y="176"/>
                  <a:pt x="605" y="175"/>
                  <a:pt x="605" y="175"/>
                </a:cubicBezTo>
                <a:cubicBezTo>
                  <a:pt x="605" y="175"/>
                  <a:pt x="606" y="176"/>
                  <a:pt x="606" y="176"/>
                </a:cubicBezTo>
                <a:cubicBezTo>
                  <a:pt x="606" y="176"/>
                  <a:pt x="606" y="176"/>
                  <a:pt x="607" y="176"/>
                </a:cubicBezTo>
                <a:cubicBezTo>
                  <a:pt x="607" y="176"/>
                  <a:pt x="607" y="176"/>
                  <a:pt x="607" y="176"/>
                </a:cubicBezTo>
                <a:cubicBezTo>
                  <a:pt x="607" y="176"/>
                  <a:pt x="607" y="176"/>
                  <a:pt x="607" y="177"/>
                </a:cubicBezTo>
                <a:cubicBezTo>
                  <a:pt x="607" y="177"/>
                  <a:pt x="607" y="177"/>
                  <a:pt x="607" y="177"/>
                </a:cubicBezTo>
                <a:cubicBezTo>
                  <a:pt x="608" y="177"/>
                  <a:pt x="608" y="177"/>
                  <a:pt x="609" y="176"/>
                </a:cubicBezTo>
                <a:cubicBezTo>
                  <a:pt x="609" y="176"/>
                  <a:pt x="609" y="176"/>
                  <a:pt x="609" y="176"/>
                </a:cubicBezTo>
                <a:cubicBezTo>
                  <a:pt x="610" y="176"/>
                  <a:pt x="610" y="176"/>
                  <a:pt x="610" y="176"/>
                </a:cubicBezTo>
                <a:cubicBezTo>
                  <a:pt x="610" y="176"/>
                  <a:pt x="611" y="176"/>
                  <a:pt x="611" y="176"/>
                </a:cubicBezTo>
                <a:cubicBezTo>
                  <a:pt x="611" y="175"/>
                  <a:pt x="611" y="175"/>
                  <a:pt x="611" y="175"/>
                </a:cubicBezTo>
                <a:cubicBezTo>
                  <a:pt x="610" y="175"/>
                  <a:pt x="610" y="175"/>
                  <a:pt x="610" y="175"/>
                </a:cubicBezTo>
                <a:cubicBezTo>
                  <a:pt x="610" y="175"/>
                  <a:pt x="609" y="176"/>
                  <a:pt x="609" y="176"/>
                </a:cubicBezTo>
                <a:cubicBezTo>
                  <a:pt x="608" y="176"/>
                  <a:pt x="608" y="176"/>
                  <a:pt x="608" y="175"/>
                </a:cubicBezTo>
                <a:cubicBezTo>
                  <a:pt x="608" y="175"/>
                  <a:pt x="609" y="175"/>
                  <a:pt x="609" y="175"/>
                </a:cubicBezTo>
                <a:cubicBezTo>
                  <a:pt x="609" y="175"/>
                  <a:pt x="609" y="175"/>
                  <a:pt x="610" y="175"/>
                </a:cubicBezTo>
                <a:cubicBezTo>
                  <a:pt x="610" y="175"/>
                  <a:pt x="610" y="175"/>
                  <a:pt x="610" y="175"/>
                </a:cubicBezTo>
                <a:cubicBezTo>
                  <a:pt x="610" y="175"/>
                  <a:pt x="610" y="175"/>
                  <a:pt x="610" y="175"/>
                </a:cubicBezTo>
                <a:cubicBezTo>
                  <a:pt x="610" y="175"/>
                  <a:pt x="609" y="174"/>
                  <a:pt x="609" y="174"/>
                </a:cubicBezTo>
                <a:cubicBezTo>
                  <a:pt x="609" y="174"/>
                  <a:pt x="609" y="174"/>
                  <a:pt x="610" y="174"/>
                </a:cubicBezTo>
                <a:cubicBezTo>
                  <a:pt x="609" y="174"/>
                  <a:pt x="609" y="174"/>
                  <a:pt x="609" y="174"/>
                </a:cubicBezTo>
                <a:cubicBezTo>
                  <a:pt x="609" y="174"/>
                  <a:pt x="609" y="174"/>
                  <a:pt x="609" y="174"/>
                </a:cubicBezTo>
                <a:cubicBezTo>
                  <a:pt x="608" y="174"/>
                  <a:pt x="608" y="174"/>
                  <a:pt x="608" y="174"/>
                </a:cubicBezTo>
                <a:cubicBezTo>
                  <a:pt x="608" y="174"/>
                  <a:pt x="608" y="174"/>
                  <a:pt x="608" y="174"/>
                </a:cubicBezTo>
                <a:cubicBezTo>
                  <a:pt x="609" y="174"/>
                  <a:pt x="609" y="174"/>
                  <a:pt x="609" y="173"/>
                </a:cubicBezTo>
                <a:cubicBezTo>
                  <a:pt x="609" y="173"/>
                  <a:pt x="609" y="173"/>
                  <a:pt x="609" y="174"/>
                </a:cubicBezTo>
                <a:cubicBezTo>
                  <a:pt x="609" y="174"/>
                  <a:pt x="610" y="174"/>
                  <a:pt x="610" y="174"/>
                </a:cubicBezTo>
                <a:cubicBezTo>
                  <a:pt x="610" y="174"/>
                  <a:pt x="610" y="174"/>
                  <a:pt x="610" y="174"/>
                </a:cubicBezTo>
                <a:cubicBezTo>
                  <a:pt x="610" y="174"/>
                  <a:pt x="610" y="174"/>
                  <a:pt x="610" y="174"/>
                </a:cubicBezTo>
                <a:cubicBezTo>
                  <a:pt x="611" y="174"/>
                  <a:pt x="611" y="174"/>
                  <a:pt x="612" y="174"/>
                </a:cubicBezTo>
                <a:cubicBezTo>
                  <a:pt x="612" y="174"/>
                  <a:pt x="612" y="174"/>
                  <a:pt x="612" y="174"/>
                </a:cubicBezTo>
                <a:cubicBezTo>
                  <a:pt x="612" y="174"/>
                  <a:pt x="612" y="174"/>
                  <a:pt x="612" y="174"/>
                </a:cubicBezTo>
                <a:cubicBezTo>
                  <a:pt x="612" y="174"/>
                  <a:pt x="612" y="173"/>
                  <a:pt x="612" y="173"/>
                </a:cubicBezTo>
                <a:cubicBezTo>
                  <a:pt x="612" y="173"/>
                  <a:pt x="612" y="173"/>
                  <a:pt x="611" y="173"/>
                </a:cubicBezTo>
                <a:cubicBezTo>
                  <a:pt x="611" y="173"/>
                  <a:pt x="611" y="173"/>
                  <a:pt x="611" y="173"/>
                </a:cubicBezTo>
                <a:cubicBezTo>
                  <a:pt x="611" y="172"/>
                  <a:pt x="611" y="172"/>
                  <a:pt x="611" y="172"/>
                </a:cubicBezTo>
                <a:cubicBezTo>
                  <a:pt x="610" y="172"/>
                  <a:pt x="610" y="172"/>
                  <a:pt x="610" y="173"/>
                </a:cubicBezTo>
                <a:cubicBezTo>
                  <a:pt x="610" y="172"/>
                  <a:pt x="610" y="172"/>
                  <a:pt x="610" y="172"/>
                </a:cubicBezTo>
                <a:cubicBezTo>
                  <a:pt x="610" y="172"/>
                  <a:pt x="610" y="171"/>
                  <a:pt x="609" y="171"/>
                </a:cubicBezTo>
                <a:cubicBezTo>
                  <a:pt x="609" y="171"/>
                  <a:pt x="609" y="172"/>
                  <a:pt x="609" y="172"/>
                </a:cubicBezTo>
                <a:cubicBezTo>
                  <a:pt x="608" y="172"/>
                  <a:pt x="608" y="172"/>
                  <a:pt x="608" y="172"/>
                </a:cubicBezTo>
                <a:cubicBezTo>
                  <a:pt x="608" y="171"/>
                  <a:pt x="608" y="171"/>
                  <a:pt x="609" y="171"/>
                </a:cubicBezTo>
                <a:cubicBezTo>
                  <a:pt x="609" y="171"/>
                  <a:pt x="608" y="171"/>
                  <a:pt x="608" y="171"/>
                </a:cubicBezTo>
                <a:cubicBezTo>
                  <a:pt x="608" y="171"/>
                  <a:pt x="607" y="171"/>
                  <a:pt x="607" y="172"/>
                </a:cubicBezTo>
                <a:cubicBezTo>
                  <a:pt x="607" y="172"/>
                  <a:pt x="607" y="172"/>
                  <a:pt x="607" y="172"/>
                </a:cubicBezTo>
                <a:cubicBezTo>
                  <a:pt x="607" y="172"/>
                  <a:pt x="607" y="173"/>
                  <a:pt x="607" y="173"/>
                </a:cubicBezTo>
                <a:cubicBezTo>
                  <a:pt x="607" y="173"/>
                  <a:pt x="607" y="173"/>
                  <a:pt x="607" y="173"/>
                </a:cubicBezTo>
                <a:cubicBezTo>
                  <a:pt x="606" y="173"/>
                  <a:pt x="606" y="173"/>
                  <a:pt x="606" y="173"/>
                </a:cubicBezTo>
                <a:cubicBezTo>
                  <a:pt x="606" y="172"/>
                  <a:pt x="606" y="172"/>
                  <a:pt x="606" y="172"/>
                </a:cubicBezTo>
                <a:cubicBezTo>
                  <a:pt x="605" y="172"/>
                  <a:pt x="605" y="172"/>
                  <a:pt x="605" y="172"/>
                </a:cubicBezTo>
                <a:cubicBezTo>
                  <a:pt x="605" y="172"/>
                  <a:pt x="605" y="172"/>
                  <a:pt x="605" y="172"/>
                </a:cubicBezTo>
                <a:cubicBezTo>
                  <a:pt x="605" y="172"/>
                  <a:pt x="605" y="172"/>
                  <a:pt x="605" y="172"/>
                </a:cubicBezTo>
                <a:cubicBezTo>
                  <a:pt x="605" y="173"/>
                  <a:pt x="604" y="173"/>
                  <a:pt x="604" y="173"/>
                </a:cubicBezTo>
                <a:cubicBezTo>
                  <a:pt x="604" y="173"/>
                  <a:pt x="604" y="174"/>
                  <a:pt x="604" y="174"/>
                </a:cubicBezTo>
                <a:cubicBezTo>
                  <a:pt x="604" y="174"/>
                  <a:pt x="604" y="173"/>
                  <a:pt x="604" y="173"/>
                </a:cubicBezTo>
                <a:cubicBezTo>
                  <a:pt x="604" y="173"/>
                  <a:pt x="604" y="173"/>
                  <a:pt x="604" y="172"/>
                </a:cubicBezTo>
                <a:cubicBezTo>
                  <a:pt x="604" y="172"/>
                  <a:pt x="604" y="172"/>
                  <a:pt x="605" y="171"/>
                </a:cubicBezTo>
                <a:cubicBezTo>
                  <a:pt x="605" y="171"/>
                  <a:pt x="605" y="171"/>
                  <a:pt x="605" y="171"/>
                </a:cubicBezTo>
                <a:cubicBezTo>
                  <a:pt x="604" y="171"/>
                  <a:pt x="604" y="171"/>
                  <a:pt x="604" y="171"/>
                </a:cubicBezTo>
                <a:cubicBezTo>
                  <a:pt x="603" y="172"/>
                  <a:pt x="603" y="172"/>
                  <a:pt x="603" y="172"/>
                </a:cubicBezTo>
                <a:cubicBezTo>
                  <a:pt x="603" y="173"/>
                  <a:pt x="603" y="173"/>
                  <a:pt x="603" y="173"/>
                </a:cubicBezTo>
                <a:cubicBezTo>
                  <a:pt x="602" y="173"/>
                  <a:pt x="602" y="173"/>
                  <a:pt x="602" y="173"/>
                </a:cubicBezTo>
                <a:cubicBezTo>
                  <a:pt x="602" y="173"/>
                  <a:pt x="602" y="173"/>
                  <a:pt x="601" y="173"/>
                </a:cubicBezTo>
                <a:cubicBezTo>
                  <a:pt x="601" y="173"/>
                  <a:pt x="601" y="173"/>
                  <a:pt x="601" y="173"/>
                </a:cubicBezTo>
                <a:cubicBezTo>
                  <a:pt x="601" y="173"/>
                  <a:pt x="601" y="173"/>
                  <a:pt x="602" y="172"/>
                </a:cubicBezTo>
                <a:cubicBezTo>
                  <a:pt x="602" y="172"/>
                  <a:pt x="602" y="172"/>
                  <a:pt x="603" y="172"/>
                </a:cubicBezTo>
                <a:cubicBezTo>
                  <a:pt x="603" y="171"/>
                  <a:pt x="603" y="171"/>
                  <a:pt x="603" y="171"/>
                </a:cubicBezTo>
                <a:cubicBezTo>
                  <a:pt x="603" y="171"/>
                  <a:pt x="603" y="171"/>
                  <a:pt x="604" y="170"/>
                </a:cubicBezTo>
                <a:cubicBezTo>
                  <a:pt x="604" y="170"/>
                  <a:pt x="604" y="170"/>
                  <a:pt x="604" y="170"/>
                </a:cubicBezTo>
                <a:cubicBezTo>
                  <a:pt x="604" y="170"/>
                  <a:pt x="604" y="170"/>
                  <a:pt x="605" y="170"/>
                </a:cubicBezTo>
                <a:cubicBezTo>
                  <a:pt x="605" y="169"/>
                  <a:pt x="605" y="169"/>
                  <a:pt x="605" y="169"/>
                </a:cubicBezTo>
                <a:cubicBezTo>
                  <a:pt x="604" y="169"/>
                  <a:pt x="604" y="169"/>
                  <a:pt x="604" y="169"/>
                </a:cubicBezTo>
                <a:cubicBezTo>
                  <a:pt x="604" y="169"/>
                  <a:pt x="603" y="170"/>
                  <a:pt x="603" y="170"/>
                </a:cubicBezTo>
                <a:cubicBezTo>
                  <a:pt x="603" y="170"/>
                  <a:pt x="602" y="170"/>
                  <a:pt x="602" y="171"/>
                </a:cubicBezTo>
                <a:cubicBezTo>
                  <a:pt x="602" y="171"/>
                  <a:pt x="602" y="171"/>
                  <a:pt x="601" y="171"/>
                </a:cubicBezTo>
                <a:cubicBezTo>
                  <a:pt x="601" y="171"/>
                  <a:pt x="601" y="171"/>
                  <a:pt x="601" y="172"/>
                </a:cubicBezTo>
                <a:cubicBezTo>
                  <a:pt x="601" y="171"/>
                  <a:pt x="601" y="171"/>
                  <a:pt x="601" y="171"/>
                </a:cubicBezTo>
                <a:cubicBezTo>
                  <a:pt x="601" y="171"/>
                  <a:pt x="601" y="170"/>
                  <a:pt x="602" y="170"/>
                </a:cubicBezTo>
                <a:cubicBezTo>
                  <a:pt x="602" y="170"/>
                  <a:pt x="601" y="170"/>
                  <a:pt x="601" y="170"/>
                </a:cubicBezTo>
                <a:cubicBezTo>
                  <a:pt x="601" y="170"/>
                  <a:pt x="601" y="170"/>
                  <a:pt x="600" y="170"/>
                </a:cubicBezTo>
                <a:cubicBezTo>
                  <a:pt x="600" y="170"/>
                  <a:pt x="600" y="171"/>
                  <a:pt x="600" y="171"/>
                </a:cubicBezTo>
                <a:cubicBezTo>
                  <a:pt x="599" y="171"/>
                  <a:pt x="599" y="171"/>
                  <a:pt x="598" y="171"/>
                </a:cubicBezTo>
                <a:cubicBezTo>
                  <a:pt x="598" y="171"/>
                  <a:pt x="598" y="171"/>
                  <a:pt x="597" y="171"/>
                </a:cubicBezTo>
                <a:cubicBezTo>
                  <a:pt x="597" y="171"/>
                  <a:pt x="597" y="171"/>
                  <a:pt x="597" y="171"/>
                </a:cubicBezTo>
                <a:cubicBezTo>
                  <a:pt x="597" y="171"/>
                  <a:pt x="597" y="171"/>
                  <a:pt x="598" y="171"/>
                </a:cubicBezTo>
                <a:cubicBezTo>
                  <a:pt x="599" y="170"/>
                  <a:pt x="599" y="170"/>
                  <a:pt x="600" y="170"/>
                </a:cubicBezTo>
                <a:cubicBezTo>
                  <a:pt x="600" y="170"/>
                  <a:pt x="599" y="170"/>
                  <a:pt x="599" y="170"/>
                </a:cubicBezTo>
                <a:cubicBezTo>
                  <a:pt x="599" y="170"/>
                  <a:pt x="598" y="170"/>
                  <a:pt x="598" y="170"/>
                </a:cubicBezTo>
                <a:cubicBezTo>
                  <a:pt x="598" y="170"/>
                  <a:pt x="599" y="170"/>
                  <a:pt x="599" y="170"/>
                </a:cubicBezTo>
                <a:cubicBezTo>
                  <a:pt x="599" y="170"/>
                  <a:pt x="599" y="169"/>
                  <a:pt x="600" y="169"/>
                </a:cubicBezTo>
                <a:cubicBezTo>
                  <a:pt x="600" y="169"/>
                  <a:pt x="599" y="169"/>
                  <a:pt x="599" y="169"/>
                </a:cubicBezTo>
                <a:cubicBezTo>
                  <a:pt x="599" y="169"/>
                  <a:pt x="599" y="169"/>
                  <a:pt x="598" y="169"/>
                </a:cubicBezTo>
                <a:cubicBezTo>
                  <a:pt x="598" y="169"/>
                  <a:pt x="598" y="169"/>
                  <a:pt x="598" y="169"/>
                </a:cubicBezTo>
                <a:cubicBezTo>
                  <a:pt x="599" y="168"/>
                  <a:pt x="599" y="168"/>
                  <a:pt x="599" y="168"/>
                </a:cubicBezTo>
                <a:cubicBezTo>
                  <a:pt x="599" y="168"/>
                  <a:pt x="599" y="168"/>
                  <a:pt x="599" y="168"/>
                </a:cubicBezTo>
                <a:close/>
                <a:moveTo>
                  <a:pt x="514" y="92"/>
                </a:moveTo>
                <a:cubicBezTo>
                  <a:pt x="514" y="93"/>
                  <a:pt x="515" y="93"/>
                  <a:pt x="515" y="93"/>
                </a:cubicBezTo>
                <a:cubicBezTo>
                  <a:pt x="515" y="93"/>
                  <a:pt x="515" y="94"/>
                  <a:pt x="515" y="94"/>
                </a:cubicBezTo>
                <a:cubicBezTo>
                  <a:pt x="515" y="94"/>
                  <a:pt x="515" y="95"/>
                  <a:pt x="515" y="95"/>
                </a:cubicBezTo>
                <a:cubicBezTo>
                  <a:pt x="516" y="95"/>
                  <a:pt x="516" y="95"/>
                  <a:pt x="517" y="95"/>
                </a:cubicBezTo>
                <a:cubicBezTo>
                  <a:pt x="517" y="95"/>
                  <a:pt x="517" y="95"/>
                  <a:pt x="517" y="95"/>
                </a:cubicBezTo>
                <a:cubicBezTo>
                  <a:pt x="517" y="94"/>
                  <a:pt x="517" y="94"/>
                  <a:pt x="517" y="94"/>
                </a:cubicBezTo>
                <a:cubicBezTo>
                  <a:pt x="517" y="94"/>
                  <a:pt x="517" y="94"/>
                  <a:pt x="517" y="94"/>
                </a:cubicBezTo>
                <a:cubicBezTo>
                  <a:pt x="517" y="94"/>
                  <a:pt x="517" y="94"/>
                  <a:pt x="517" y="93"/>
                </a:cubicBezTo>
                <a:cubicBezTo>
                  <a:pt x="517" y="93"/>
                  <a:pt x="517" y="92"/>
                  <a:pt x="517" y="92"/>
                </a:cubicBezTo>
                <a:cubicBezTo>
                  <a:pt x="517" y="92"/>
                  <a:pt x="517" y="91"/>
                  <a:pt x="517" y="91"/>
                </a:cubicBezTo>
                <a:cubicBezTo>
                  <a:pt x="516" y="91"/>
                  <a:pt x="516" y="91"/>
                  <a:pt x="515" y="91"/>
                </a:cubicBezTo>
                <a:cubicBezTo>
                  <a:pt x="515" y="91"/>
                  <a:pt x="514" y="91"/>
                  <a:pt x="514" y="92"/>
                </a:cubicBezTo>
                <a:cubicBezTo>
                  <a:pt x="514" y="92"/>
                  <a:pt x="514" y="92"/>
                  <a:pt x="514" y="92"/>
                </a:cubicBezTo>
                <a:cubicBezTo>
                  <a:pt x="514" y="92"/>
                  <a:pt x="514" y="92"/>
                  <a:pt x="514" y="92"/>
                </a:cubicBezTo>
                <a:close/>
                <a:moveTo>
                  <a:pt x="517" y="88"/>
                </a:moveTo>
                <a:cubicBezTo>
                  <a:pt x="517" y="87"/>
                  <a:pt x="517" y="87"/>
                  <a:pt x="517" y="87"/>
                </a:cubicBezTo>
                <a:cubicBezTo>
                  <a:pt x="517" y="87"/>
                  <a:pt x="517" y="87"/>
                  <a:pt x="517" y="87"/>
                </a:cubicBezTo>
                <a:cubicBezTo>
                  <a:pt x="517" y="87"/>
                  <a:pt x="516" y="87"/>
                  <a:pt x="516" y="87"/>
                </a:cubicBezTo>
                <a:cubicBezTo>
                  <a:pt x="516" y="87"/>
                  <a:pt x="516" y="86"/>
                  <a:pt x="516" y="86"/>
                </a:cubicBezTo>
                <a:cubicBezTo>
                  <a:pt x="516" y="86"/>
                  <a:pt x="516" y="86"/>
                  <a:pt x="516" y="86"/>
                </a:cubicBezTo>
                <a:cubicBezTo>
                  <a:pt x="516" y="87"/>
                  <a:pt x="516" y="87"/>
                  <a:pt x="516" y="87"/>
                </a:cubicBezTo>
                <a:cubicBezTo>
                  <a:pt x="516" y="87"/>
                  <a:pt x="516" y="87"/>
                  <a:pt x="516" y="87"/>
                </a:cubicBezTo>
                <a:cubicBezTo>
                  <a:pt x="516" y="88"/>
                  <a:pt x="516" y="88"/>
                  <a:pt x="517" y="88"/>
                </a:cubicBezTo>
                <a:close/>
                <a:moveTo>
                  <a:pt x="510" y="82"/>
                </a:moveTo>
                <a:cubicBezTo>
                  <a:pt x="510" y="82"/>
                  <a:pt x="510" y="81"/>
                  <a:pt x="510" y="81"/>
                </a:cubicBezTo>
                <a:cubicBezTo>
                  <a:pt x="509" y="81"/>
                  <a:pt x="509" y="82"/>
                  <a:pt x="509" y="82"/>
                </a:cubicBezTo>
                <a:cubicBezTo>
                  <a:pt x="508" y="82"/>
                  <a:pt x="508" y="82"/>
                  <a:pt x="508" y="82"/>
                </a:cubicBezTo>
                <a:cubicBezTo>
                  <a:pt x="508" y="82"/>
                  <a:pt x="508" y="82"/>
                  <a:pt x="507" y="82"/>
                </a:cubicBezTo>
                <a:cubicBezTo>
                  <a:pt x="508" y="82"/>
                  <a:pt x="508" y="81"/>
                  <a:pt x="508" y="81"/>
                </a:cubicBezTo>
                <a:cubicBezTo>
                  <a:pt x="508" y="81"/>
                  <a:pt x="507" y="81"/>
                  <a:pt x="507" y="81"/>
                </a:cubicBezTo>
                <a:cubicBezTo>
                  <a:pt x="506" y="81"/>
                  <a:pt x="506" y="81"/>
                  <a:pt x="505" y="81"/>
                </a:cubicBezTo>
                <a:cubicBezTo>
                  <a:pt x="505" y="81"/>
                  <a:pt x="505" y="81"/>
                  <a:pt x="505" y="81"/>
                </a:cubicBezTo>
                <a:cubicBezTo>
                  <a:pt x="504" y="81"/>
                  <a:pt x="504" y="81"/>
                  <a:pt x="504" y="81"/>
                </a:cubicBezTo>
                <a:cubicBezTo>
                  <a:pt x="503" y="81"/>
                  <a:pt x="503" y="81"/>
                  <a:pt x="503" y="81"/>
                </a:cubicBezTo>
                <a:cubicBezTo>
                  <a:pt x="503" y="81"/>
                  <a:pt x="502" y="81"/>
                  <a:pt x="502" y="81"/>
                </a:cubicBezTo>
                <a:cubicBezTo>
                  <a:pt x="502" y="81"/>
                  <a:pt x="502" y="81"/>
                  <a:pt x="502" y="81"/>
                </a:cubicBezTo>
                <a:cubicBezTo>
                  <a:pt x="502" y="81"/>
                  <a:pt x="501" y="81"/>
                  <a:pt x="501" y="81"/>
                </a:cubicBezTo>
                <a:cubicBezTo>
                  <a:pt x="501" y="81"/>
                  <a:pt x="501" y="81"/>
                  <a:pt x="500" y="81"/>
                </a:cubicBezTo>
                <a:cubicBezTo>
                  <a:pt x="500" y="81"/>
                  <a:pt x="500" y="81"/>
                  <a:pt x="499" y="81"/>
                </a:cubicBezTo>
                <a:cubicBezTo>
                  <a:pt x="499" y="81"/>
                  <a:pt x="499" y="81"/>
                  <a:pt x="499" y="81"/>
                </a:cubicBezTo>
                <a:cubicBezTo>
                  <a:pt x="498" y="81"/>
                  <a:pt x="498" y="81"/>
                  <a:pt x="497" y="82"/>
                </a:cubicBezTo>
                <a:cubicBezTo>
                  <a:pt x="497" y="82"/>
                  <a:pt x="497" y="82"/>
                  <a:pt x="497" y="82"/>
                </a:cubicBezTo>
                <a:cubicBezTo>
                  <a:pt x="496" y="83"/>
                  <a:pt x="496" y="83"/>
                  <a:pt x="496" y="84"/>
                </a:cubicBezTo>
                <a:cubicBezTo>
                  <a:pt x="496" y="84"/>
                  <a:pt x="496" y="84"/>
                  <a:pt x="497" y="85"/>
                </a:cubicBezTo>
                <a:cubicBezTo>
                  <a:pt x="497" y="85"/>
                  <a:pt x="497" y="85"/>
                  <a:pt x="497" y="85"/>
                </a:cubicBezTo>
                <a:cubicBezTo>
                  <a:pt x="498" y="84"/>
                  <a:pt x="498" y="84"/>
                  <a:pt x="499" y="84"/>
                </a:cubicBezTo>
                <a:cubicBezTo>
                  <a:pt x="499" y="84"/>
                  <a:pt x="499" y="85"/>
                  <a:pt x="500" y="85"/>
                </a:cubicBezTo>
                <a:cubicBezTo>
                  <a:pt x="500" y="85"/>
                  <a:pt x="500" y="85"/>
                  <a:pt x="501" y="85"/>
                </a:cubicBezTo>
                <a:cubicBezTo>
                  <a:pt x="501" y="85"/>
                  <a:pt x="502" y="85"/>
                  <a:pt x="502" y="84"/>
                </a:cubicBezTo>
                <a:cubicBezTo>
                  <a:pt x="503" y="85"/>
                  <a:pt x="503" y="85"/>
                  <a:pt x="504" y="85"/>
                </a:cubicBezTo>
                <a:cubicBezTo>
                  <a:pt x="505" y="85"/>
                  <a:pt x="505" y="85"/>
                  <a:pt x="506" y="84"/>
                </a:cubicBezTo>
                <a:cubicBezTo>
                  <a:pt x="506" y="85"/>
                  <a:pt x="507" y="85"/>
                  <a:pt x="507" y="85"/>
                </a:cubicBezTo>
                <a:cubicBezTo>
                  <a:pt x="508" y="85"/>
                  <a:pt x="508" y="84"/>
                  <a:pt x="508" y="84"/>
                </a:cubicBezTo>
                <a:cubicBezTo>
                  <a:pt x="509" y="84"/>
                  <a:pt x="509" y="84"/>
                  <a:pt x="510" y="83"/>
                </a:cubicBezTo>
                <a:cubicBezTo>
                  <a:pt x="510" y="83"/>
                  <a:pt x="511" y="83"/>
                  <a:pt x="511" y="83"/>
                </a:cubicBezTo>
                <a:cubicBezTo>
                  <a:pt x="511" y="83"/>
                  <a:pt x="511" y="83"/>
                  <a:pt x="512" y="83"/>
                </a:cubicBezTo>
                <a:cubicBezTo>
                  <a:pt x="511" y="83"/>
                  <a:pt x="511" y="83"/>
                  <a:pt x="511" y="82"/>
                </a:cubicBezTo>
                <a:cubicBezTo>
                  <a:pt x="511" y="82"/>
                  <a:pt x="511" y="82"/>
                  <a:pt x="511" y="82"/>
                </a:cubicBezTo>
                <a:cubicBezTo>
                  <a:pt x="511" y="82"/>
                  <a:pt x="511" y="82"/>
                  <a:pt x="510" y="82"/>
                </a:cubicBezTo>
                <a:close/>
                <a:moveTo>
                  <a:pt x="493" y="89"/>
                </a:moveTo>
                <a:cubicBezTo>
                  <a:pt x="492" y="89"/>
                  <a:pt x="491" y="90"/>
                  <a:pt x="490" y="90"/>
                </a:cubicBezTo>
                <a:cubicBezTo>
                  <a:pt x="490" y="90"/>
                  <a:pt x="490" y="90"/>
                  <a:pt x="490" y="90"/>
                </a:cubicBezTo>
                <a:cubicBezTo>
                  <a:pt x="490" y="90"/>
                  <a:pt x="490" y="90"/>
                  <a:pt x="490" y="90"/>
                </a:cubicBezTo>
                <a:cubicBezTo>
                  <a:pt x="489" y="91"/>
                  <a:pt x="489" y="91"/>
                  <a:pt x="489" y="91"/>
                </a:cubicBezTo>
                <a:cubicBezTo>
                  <a:pt x="490" y="91"/>
                  <a:pt x="490" y="91"/>
                  <a:pt x="490" y="92"/>
                </a:cubicBezTo>
                <a:cubicBezTo>
                  <a:pt x="490" y="92"/>
                  <a:pt x="491" y="92"/>
                  <a:pt x="491" y="92"/>
                </a:cubicBezTo>
                <a:cubicBezTo>
                  <a:pt x="491" y="92"/>
                  <a:pt x="490" y="92"/>
                  <a:pt x="490" y="92"/>
                </a:cubicBezTo>
                <a:cubicBezTo>
                  <a:pt x="490" y="92"/>
                  <a:pt x="489" y="92"/>
                  <a:pt x="488" y="91"/>
                </a:cubicBezTo>
                <a:cubicBezTo>
                  <a:pt x="488" y="92"/>
                  <a:pt x="488" y="92"/>
                  <a:pt x="488" y="92"/>
                </a:cubicBezTo>
                <a:cubicBezTo>
                  <a:pt x="489" y="92"/>
                  <a:pt x="489" y="93"/>
                  <a:pt x="489" y="93"/>
                </a:cubicBezTo>
                <a:cubicBezTo>
                  <a:pt x="489" y="93"/>
                  <a:pt x="490" y="93"/>
                  <a:pt x="490" y="93"/>
                </a:cubicBezTo>
                <a:cubicBezTo>
                  <a:pt x="491" y="93"/>
                  <a:pt x="491" y="94"/>
                  <a:pt x="492" y="94"/>
                </a:cubicBezTo>
                <a:cubicBezTo>
                  <a:pt x="492" y="94"/>
                  <a:pt x="492" y="94"/>
                  <a:pt x="493" y="94"/>
                </a:cubicBezTo>
                <a:cubicBezTo>
                  <a:pt x="493" y="94"/>
                  <a:pt x="492" y="94"/>
                  <a:pt x="492" y="94"/>
                </a:cubicBezTo>
                <a:cubicBezTo>
                  <a:pt x="492" y="94"/>
                  <a:pt x="491" y="94"/>
                  <a:pt x="491" y="94"/>
                </a:cubicBezTo>
                <a:cubicBezTo>
                  <a:pt x="491" y="95"/>
                  <a:pt x="491" y="95"/>
                  <a:pt x="491" y="95"/>
                </a:cubicBezTo>
                <a:cubicBezTo>
                  <a:pt x="492" y="95"/>
                  <a:pt x="492" y="96"/>
                  <a:pt x="493" y="96"/>
                </a:cubicBezTo>
                <a:cubicBezTo>
                  <a:pt x="493" y="96"/>
                  <a:pt x="494" y="96"/>
                  <a:pt x="494" y="96"/>
                </a:cubicBezTo>
                <a:cubicBezTo>
                  <a:pt x="494" y="96"/>
                  <a:pt x="494" y="96"/>
                  <a:pt x="494" y="97"/>
                </a:cubicBezTo>
                <a:cubicBezTo>
                  <a:pt x="494" y="96"/>
                  <a:pt x="494" y="96"/>
                  <a:pt x="494" y="96"/>
                </a:cubicBezTo>
                <a:cubicBezTo>
                  <a:pt x="493" y="96"/>
                  <a:pt x="492" y="97"/>
                  <a:pt x="492" y="97"/>
                </a:cubicBezTo>
                <a:cubicBezTo>
                  <a:pt x="492" y="97"/>
                  <a:pt x="492" y="97"/>
                  <a:pt x="492" y="97"/>
                </a:cubicBezTo>
                <a:cubicBezTo>
                  <a:pt x="492" y="97"/>
                  <a:pt x="491" y="97"/>
                  <a:pt x="491" y="97"/>
                </a:cubicBezTo>
                <a:cubicBezTo>
                  <a:pt x="491" y="98"/>
                  <a:pt x="491" y="98"/>
                  <a:pt x="491" y="98"/>
                </a:cubicBezTo>
                <a:cubicBezTo>
                  <a:pt x="492" y="98"/>
                  <a:pt x="492" y="98"/>
                  <a:pt x="493" y="97"/>
                </a:cubicBezTo>
                <a:cubicBezTo>
                  <a:pt x="493" y="97"/>
                  <a:pt x="493" y="97"/>
                  <a:pt x="493" y="98"/>
                </a:cubicBezTo>
                <a:cubicBezTo>
                  <a:pt x="494" y="97"/>
                  <a:pt x="495" y="97"/>
                  <a:pt x="495" y="97"/>
                </a:cubicBezTo>
                <a:cubicBezTo>
                  <a:pt x="495" y="97"/>
                  <a:pt x="495" y="97"/>
                  <a:pt x="496" y="97"/>
                </a:cubicBezTo>
                <a:cubicBezTo>
                  <a:pt x="496" y="97"/>
                  <a:pt x="496" y="97"/>
                  <a:pt x="497" y="97"/>
                </a:cubicBezTo>
                <a:cubicBezTo>
                  <a:pt x="497" y="97"/>
                  <a:pt x="497" y="97"/>
                  <a:pt x="497" y="97"/>
                </a:cubicBezTo>
                <a:cubicBezTo>
                  <a:pt x="498" y="98"/>
                  <a:pt x="498" y="98"/>
                  <a:pt x="499" y="98"/>
                </a:cubicBezTo>
                <a:cubicBezTo>
                  <a:pt x="499" y="98"/>
                  <a:pt x="499" y="98"/>
                  <a:pt x="500" y="98"/>
                </a:cubicBezTo>
                <a:cubicBezTo>
                  <a:pt x="499" y="98"/>
                  <a:pt x="499" y="97"/>
                  <a:pt x="499" y="97"/>
                </a:cubicBezTo>
                <a:cubicBezTo>
                  <a:pt x="500" y="97"/>
                  <a:pt x="500" y="97"/>
                  <a:pt x="500" y="97"/>
                </a:cubicBezTo>
                <a:cubicBezTo>
                  <a:pt x="500" y="97"/>
                  <a:pt x="501" y="97"/>
                  <a:pt x="501" y="97"/>
                </a:cubicBezTo>
                <a:cubicBezTo>
                  <a:pt x="501" y="97"/>
                  <a:pt x="502" y="97"/>
                  <a:pt x="502" y="97"/>
                </a:cubicBezTo>
                <a:cubicBezTo>
                  <a:pt x="502" y="97"/>
                  <a:pt x="502" y="97"/>
                  <a:pt x="502" y="97"/>
                </a:cubicBezTo>
                <a:cubicBezTo>
                  <a:pt x="502" y="97"/>
                  <a:pt x="502" y="98"/>
                  <a:pt x="502" y="98"/>
                </a:cubicBezTo>
                <a:cubicBezTo>
                  <a:pt x="502" y="98"/>
                  <a:pt x="502" y="99"/>
                  <a:pt x="502" y="99"/>
                </a:cubicBezTo>
                <a:cubicBezTo>
                  <a:pt x="502" y="99"/>
                  <a:pt x="502" y="100"/>
                  <a:pt x="502" y="100"/>
                </a:cubicBezTo>
                <a:cubicBezTo>
                  <a:pt x="502" y="100"/>
                  <a:pt x="502" y="101"/>
                  <a:pt x="502" y="101"/>
                </a:cubicBezTo>
                <a:cubicBezTo>
                  <a:pt x="502" y="101"/>
                  <a:pt x="503" y="101"/>
                  <a:pt x="503" y="101"/>
                </a:cubicBezTo>
                <a:cubicBezTo>
                  <a:pt x="503" y="102"/>
                  <a:pt x="503" y="102"/>
                  <a:pt x="503" y="102"/>
                </a:cubicBezTo>
                <a:cubicBezTo>
                  <a:pt x="503" y="102"/>
                  <a:pt x="503" y="103"/>
                  <a:pt x="503" y="103"/>
                </a:cubicBezTo>
                <a:cubicBezTo>
                  <a:pt x="503" y="103"/>
                  <a:pt x="503" y="103"/>
                  <a:pt x="503" y="104"/>
                </a:cubicBezTo>
                <a:cubicBezTo>
                  <a:pt x="502" y="104"/>
                  <a:pt x="502" y="104"/>
                  <a:pt x="501" y="105"/>
                </a:cubicBezTo>
                <a:cubicBezTo>
                  <a:pt x="501" y="105"/>
                  <a:pt x="500" y="105"/>
                  <a:pt x="500" y="105"/>
                </a:cubicBezTo>
                <a:cubicBezTo>
                  <a:pt x="500" y="105"/>
                  <a:pt x="500" y="106"/>
                  <a:pt x="500" y="106"/>
                </a:cubicBezTo>
                <a:cubicBezTo>
                  <a:pt x="499" y="106"/>
                  <a:pt x="499" y="107"/>
                  <a:pt x="499" y="107"/>
                </a:cubicBezTo>
                <a:cubicBezTo>
                  <a:pt x="499" y="107"/>
                  <a:pt x="499" y="107"/>
                  <a:pt x="499" y="108"/>
                </a:cubicBezTo>
                <a:cubicBezTo>
                  <a:pt x="499" y="108"/>
                  <a:pt x="498" y="108"/>
                  <a:pt x="498" y="108"/>
                </a:cubicBezTo>
                <a:cubicBezTo>
                  <a:pt x="498" y="108"/>
                  <a:pt x="498" y="109"/>
                  <a:pt x="497" y="109"/>
                </a:cubicBezTo>
                <a:cubicBezTo>
                  <a:pt x="498" y="109"/>
                  <a:pt x="498" y="109"/>
                  <a:pt x="498" y="110"/>
                </a:cubicBezTo>
                <a:cubicBezTo>
                  <a:pt x="498" y="110"/>
                  <a:pt x="498" y="110"/>
                  <a:pt x="499" y="110"/>
                </a:cubicBezTo>
                <a:cubicBezTo>
                  <a:pt x="499" y="110"/>
                  <a:pt x="499" y="110"/>
                  <a:pt x="499" y="110"/>
                </a:cubicBezTo>
                <a:cubicBezTo>
                  <a:pt x="498" y="110"/>
                  <a:pt x="498" y="110"/>
                  <a:pt x="498" y="111"/>
                </a:cubicBezTo>
                <a:cubicBezTo>
                  <a:pt x="498" y="111"/>
                  <a:pt x="498" y="111"/>
                  <a:pt x="498" y="111"/>
                </a:cubicBezTo>
                <a:cubicBezTo>
                  <a:pt x="498" y="111"/>
                  <a:pt x="498" y="111"/>
                  <a:pt x="498" y="111"/>
                </a:cubicBezTo>
                <a:cubicBezTo>
                  <a:pt x="498" y="112"/>
                  <a:pt x="498" y="112"/>
                  <a:pt x="498" y="112"/>
                </a:cubicBezTo>
                <a:cubicBezTo>
                  <a:pt x="497" y="113"/>
                  <a:pt x="497" y="113"/>
                  <a:pt x="497" y="113"/>
                </a:cubicBezTo>
                <a:cubicBezTo>
                  <a:pt x="498" y="113"/>
                  <a:pt x="498" y="113"/>
                  <a:pt x="498" y="114"/>
                </a:cubicBezTo>
                <a:cubicBezTo>
                  <a:pt x="498" y="114"/>
                  <a:pt x="499" y="114"/>
                  <a:pt x="499" y="114"/>
                </a:cubicBezTo>
                <a:cubicBezTo>
                  <a:pt x="499" y="114"/>
                  <a:pt x="499" y="114"/>
                  <a:pt x="499" y="114"/>
                </a:cubicBezTo>
                <a:cubicBezTo>
                  <a:pt x="499" y="114"/>
                  <a:pt x="500" y="114"/>
                  <a:pt x="500" y="114"/>
                </a:cubicBezTo>
                <a:cubicBezTo>
                  <a:pt x="500" y="114"/>
                  <a:pt x="500" y="114"/>
                  <a:pt x="501" y="114"/>
                </a:cubicBezTo>
                <a:cubicBezTo>
                  <a:pt x="501" y="114"/>
                  <a:pt x="501" y="114"/>
                  <a:pt x="501" y="113"/>
                </a:cubicBezTo>
                <a:cubicBezTo>
                  <a:pt x="501" y="113"/>
                  <a:pt x="501" y="113"/>
                  <a:pt x="501" y="113"/>
                </a:cubicBezTo>
                <a:cubicBezTo>
                  <a:pt x="501" y="113"/>
                  <a:pt x="501" y="113"/>
                  <a:pt x="502" y="113"/>
                </a:cubicBezTo>
                <a:cubicBezTo>
                  <a:pt x="502" y="113"/>
                  <a:pt x="502" y="113"/>
                  <a:pt x="502" y="113"/>
                </a:cubicBezTo>
                <a:cubicBezTo>
                  <a:pt x="502" y="113"/>
                  <a:pt x="503" y="112"/>
                  <a:pt x="503" y="112"/>
                </a:cubicBezTo>
                <a:cubicBezTo>
                  <a:pt x="503" y="112"/>
                  <a:pt x="503" y="112"/>
                  <a:pt x="503" y="112"/>
                </a:cubicBezTo>
                <a:cubicBezTo>
                  <a:pt x="503" y="113"/>
                  <a:pt x="503" y="113"/>
                  <a:pt x="503" y="113"/>
                </a:cubicBezTo>
                <a:cubicBezTo>
                  <a:pt x="503" y="113"/>
                  <a:pt x="502" y="113"/>
                  <a:pt x="502" y="114"/>
                </a:cubicBezTo>
                <a:cubicBezTo>
                  <a:pt x="502" y="114"/>
                  <a:pt x="502" y="114"/>
                  <a:pt x="502" y="114"/>
                </a:cubicBezTo>
                <a:cubicBezTo>
                  <a:pt x="502" y="114"/>
                  <a:pt x="502" y="114"/>
                  <a:pt x="502" y="114"/>
                </a:cubicBezTo>
                <a:cubicBezTo>
                  <a:pt x="503" y="114"/>
                  <a:pt x="503" y="114"/>
                  <a:pt x="503" y="115"/>
                </a:cubicBezTo>
                <a:cubicBezTo>
                  <a:pt x="503" y="115"/>
                  <a:pt x="504" y="115"/>
                  <a:pt x="504" y="115"/>
                </a:cubicBezTo>
                <a:cubicBezTo>
                  <a:pt x="504" y="115"/>
                  <a:pt x="505" y="115"/>
                  <a:pt x="505" y="115"/>
                </a:cubicBezTo>
                <a:cubicBezTo>
                  <a:pt x="505" y="115"/>
                  <a:pt x="505" y="115"/>
                  <a:pt x="505" y="115"/>
                </a:cubicBezTo>
                <a:cubicBezTo>
                  <a:pt x="506" y="115"/>
                  <a:pt x="506" y="115"/>
                  <a:pt x="507" y="115"/>
                </a:cubicBezTo>
                <a:cubicBezTo>
                  <a:pt x="507" y="115"/>
                  <a:pt x="507" y="114"/>
                  <a:pt x="507" y="114"/>
                </a:cubicBezTo>
                <a:cubicBezTo>
                  <a:pt x="508" y="114"/>
                  <a:pt x="508" y="114"/>
                  <a:pt x="509" y="114"/>
                </a:cubicBezTo>
                <a:cubicBezTo>
                  <a:pt x="509" y="113"/>
                  <a:pt x="509" y="113"/>
                  <a:pt x="508" y="113"/>
                </a:cubicBezTo>
                <a:cubicBezTo>
                  <a:pt x="509" y="113"/>
                  <a:pt x="509" y="113"/>
                  <a:pt x="509" y="113"/>
                </a:cubicBezTo>
                <a:cubicBezTo>
                  <a:pt x="509" y="112"/>
                  <a:pt x="509" y="112"/>
                  <a:pt x="510" y="112"/>
                </a:cubicBezTo>
                <a:cubicBezTo>
                  <a:pt x="510" y="112"/>
                  <a:pt x="510" y="112"/>
                  <a:pt x="510" y="113"/>
                </a:cubicBezTo>
                <a:cubicBezTo>
                  <a:pt x="510" y="113"/>
                  <a:pt x="510" y="113"/>
                  <a:pt x="510" y="113"/>
                </a:cubicBezTo>
                <a:cubicBezTo>
                  <a:pt x="510" y="113"/>
                  <a:pt x="510" y="113"/>
                  <a:pt x="510" y="113"/>
                </a:cubicBezTo>
                <a:cubicBezTo>
                  <a:pt x="510" y="113"/>
                  <a:pt x="510" y="113"/>
                  <a:pt x="511" y="113"/>
                </a:cubicBezTo>
                <a:cubicBezTo>
                  <a:pt x="511" y="113"/>
                  <a:pt x="511" y="112"/>
                  <a:pt x="511" y="112"/>
                </a:cubicBezTo>
                <a:cubicBezTo>
                  <a:pt x="511" y="112"/>
                  <a:pt x="511" y="112"/>
                  <a:pt x="512" y="112"/>
                </a:cubicBezTo>
                <a:cubicBezTo>
                  <a:pt x="512" y="112"/>
                  <a:pt x="512" y="112"/>
                  <a:pt x="512" y="112"/>
                </a:cubicBezTo>
                <a:cubicBezTo>
                  <a:pt x="512" y="112"/>
                  <a:pt x="512" y="112"/>
                  <a:pt x="512" y="113"/>
                </a:cubicBezTo>
                <a:cubicBezTo>
                  <a:pt x="511" y="113"/>
                  <a:pt x="511" y="114"/>
                  <a:pt x="511" y="114"/>
                </a:cubicBezTo>
                <a:cubicBezTo>
                  <a:pt x="510" y="114"/>
                  <a:pt x="510" y="115"/>
                  <a:pt x="510" y="115"/>
                </a:cubicBezTo>
                <a:cubicBezTo>
                  <a:pt x="510" y="115"/>
                  <a:pt x="510" y="115"/>
                  <a:pt x="510" y="115"/>
                </a:cubicBezTo>
                <a:cubicBezTo>
                  <a:pt x="511" y="115"/>
                  <a:pt x="511" y="115"/>
                  <a:pt x="511" y="115"/>
                </a:cubicBezTo>
                <a:cubicBezTo>
                  <a:pt x="512" y="115"/>
                  <a:pt x="512" y="116"/>
                  <a:pt x="513" y="116"/>
                </a:cubicBezTo>
                <a:cubicBezTo>
                  <a:pt x="513" y="116"/>
                  <a:pt x="513" y="115"/>
                  <a:pt x="514" y="115"/>
                </a:cubicBezTo>
                <a:cubicBezTo>
                  <a:pt x="514" y="115"/>
                  <a:pt x="514" y="115"/>
                  <a:pt x="514" y="116"/>
                </a:cubicBezTo>
                <a:cubicBezTo>
                  <a:pt x="514" y="115"/>
                  <a:pt x="515" y="115"/>
                  <a:pt x="515" y="115"/>
                </a:cubicBezTo>
                <a:cubicBezTo>
                  <a:pt x="515" y="115"/>
                  <a:pt x="515" y="115"/>
                  <a:pt x="515" y="115"/>
                </a:cubicBezTo>
                <a:cubicBezTo>
                  <a:pt x="516" y="115"/>
                  <a:pt x="516" y="115"/>
                  <a:pt x="517" y="115"/>
                </a:cubicBezTo>
                <a:cubicBezTo>
                  <a:pt x="517" y="115"/>
                  <a:pt x="516" y="115"/>
                  <a:pt x="516" y="115"/>
                </a:cubicBezTo>
                <a:cubicBezTo>
                  <a:pt x="516" y="115"/>
                  <a:pt x="517" y="115"/>
                  <a:pt x="517" y="115"/>
                </a:cubicBezTo>
                <a:cubicBezTo>
                  <a:pt x="517" y="115"/>
                  <a:pt x="517" y="115"/>
                  <a:pt x="517" y="115"/>
                </a:cubicBezTo>
                <a:cubicBezTo>
                  <a:pt x="518" y="115"/>
                  <a:pt x="518" y="115"/>
                  <a:pt x="518" y="115"/>
                </a:cubicBezTo>
                <a:cubicBezTo>
                  <a:pt x="519" y="115"/>
                  <a:pt x="519" y="115"/>
                  <a:pt x="519" y="115"/>
                </a:cubicBezTo>
                <a:cubicBezTo>
                  <a:pt x="519" y="115"/>
                  <a:pt x="519" y="115"/>
                  <a:pt x="519" y="115"/>
                </a:cubicBezTo>
                <a:cubicBezTo>
                  <a:pt x="519" y="114"/>
                  <a:pt x="519" y="114"/>
                  <a:pt x="519" y="114"/>
                </a:cubicBezTo>
                <a:cubicBezTo>
                  <a:pt x="519" y="114"/>
                  <a:pt x="519" y="114"/>
                  <a:pt x="519" y="113"/>
                </a:cubicBezTo>
                <a:cubicBezTo>
                  <a:pt x="519" y="113"/>
                  <a:pt x="519" y="114"/>
                  <a:pt x="520" y="114"/>
                </a:cubicBezTo>
                <a:cubicBezTo>
                  <a:pt x="519" y="114"/>
                  <a:pt x="519" y="114"/>
                  <a:pt x="519" y="114"/>
                </a:cubicBezTo>
                <a:cubicBezTo>
                  <a:pt x="520" y="115"/>
                  <a:pt x="520" y="115"/>
                  <a:pt x="520" y="115"/>
                </a:cubicBezTo>
                <a:cubicBezTo>
                  <a:pt x="520" y="115"/>
                  <a:pt x="520" y="115"/>
                  <a:pt x="521" y="115"/>
                </a:cubicBezTo>
                <a:cubicBezTo>
                  <a:pt x="521" y="115"/>
                  <a:pt x="521" y="114"/>
                  <a:pt x="521" y="114"/>
                </a:cubicBezTo>
                <a:cubicBezTo>
                  <a:pt x="521" y="114"/>
                  <a:pt x="521" y="114"/>
                  <a:pt x="521" y="114"/>
                </a:cubicBezTo>
                <a:cubicBezTo>
                  <a:pt x="521" y="114"/>
                  <a:pt x="522" y="114"/>
                  <a:pt x="522" y="113"/>
                </a:cubicBezTo>
                <a:cubicBezTo>
                  <a:pt x="522" y="114"/>
                  <a:pt x="522" y="114"/>
                  <a:pt x="522" y="114"/>
                </a:cubicBezTo>
                <a:cubicBezTo>
                  <a:pt x="522" y="114"/>
                  <a:pt x="522" y="114"/>
                  <a:pt x="521" y="114"/>
                </a:cubicBezTo>
                <a:cubicBezTo>
                  <a:pt x="522" y="115"/>
                  <a:pt x="522" y="115"/>
                  <a:pt x="522" y="115"/>
                </a:cubicBezTo>
                <a:cubicBezTo>
                  <a:pt x="522" y="115"/>
                  <a:pt x="523" y="115"/>
                  <a:pt x="523" y="115"/>
                </a:cubicBezTo>
                <a:cubicBezTo>
                  <a:pt x="523" y="114"/>
                  <a:pt x="524" y="114"/>
                  <a:pt x="524" y="114"/>
                </a:cubicBezTo>
                <a:cubicBezTo>
                  <a:pt x="524" y="114"/>
                  <a:pt x="524" y="113"/>
                  <a:pt x="525" y="113"/>
                </a:cubicBezTo>
                <a:cubicBezTo>
                  <a:pt x="525" y="113"/>
                  <a:pt x="525" y="113"/>
                  <a:pt x="525" y="113"/>
                </a:cubicBezTo>
                <a:cubicBezTo>
                  <a:pt x="525" y="113"/>
                  <a:pt x="525" y="114"/>
                  <a:pt x="524" y="114"/>
                </a:cubicBezTo>
                <a:cubicBezTo>
                  <a:pt x="524" y="114"/>
                  <a:pt x="525" y="114"/>
                  <a:pt x="525" y="114"/>
                </a:cubicBezTo>
                <a:cubicBezTo>
                  <a:pt x="525" y="114"/>
                  <a:pt x="525" y="114"/>
                  <a:pt x="526" y="114"/>
                </a:cubicBezTo>
                <a:cubicBezTo>
                  <a:pt x="526" y="114"/>
                  <a:pt x="526" y="113"/>
                  <a:pt x="526" y="113"/>
                </a:cubicBezTo>
                <a:cubicBezTo>
                  <a:pt x="526" y="113"/>
                  <a:pt x="526" y="112"/>
                  <a:pt x="527" y="112"/>
                </a:cubicBezTo>
                <a:cubicBezTo>
                  <a:pt x="527" y="113"/>
                  <a:pt x="527" y="113"/>
                  <a:pt x="527" y="114"/>
                </a:cubicBezTo>
                <a:cubicBezTo>
                  <a:pt x="527" y="114"/>
                  <a:pt x="527" y="114"/>
                  <a:pt x="527" y="114"/>
                </a:cubicBezTo>
                <a:cubicBezTo>
                  <a:pt x="527" y="114"/>
                  <a:pt x="528" y="114"/>
                  <a:pt x="528" y="114"/>
                </a:cubicBezTo>
                <a:cubicBezTo>
                  <a:pt x="529" y="114"/>
                  <a:pt x="529" y="114"/>
                  <a:pt x="530" y="114"/>
                </a:cubicBezTo>
                <a:cubicBezTo>
                  <a:pt x="530" y="114"/>
                  <a:pt x="530" y="114"/>
                  <a:pt x="531" y="114"/>
                </a:cubicBezTo>
                <a:cubicBezTo>
                  <a:pt x="531" y="114"/>
                  <a:pt x="531" y="114"/>
                  <a:pt x="531" y="114"/>
                </a:cubicBezTo>
                <a:cubicBezTo>
                  <a:pt x="532" y="114"/>
                  <a:pt x="532" y="114"/>
                  <a:pt x="532" y="114"/>
                </a:cubicBezTo>
                <a:cubicBezTo>
                  <a:pt x="532" y="114"/>
                  <a:pt x="533" y="114"/>
                  <a:pt x="533" y="113"/>
                </a:cubicBezTo>
                <a:cubicBezTo>
                  <a:pt x="533" y="113"/>
                  <a:pt x="534" y="113"/>
                  <a:pt x="534" y="113"/>
                </a:cubicBezTo>
                <a:cubicBezTo>
                  <a:pt x="534" y="113"/>
                  <a:pt x="534" y="112"/>
                  <a:pt x="534" y="112"/>
                </a:cubicBezTo>
                <a:cubicBezTo>
                  <a:pt x="534" y="112"/>
                  <a:pt x="534" y="112"/>
                  <a:pt x="535" y="111"/>
                </a:cubicBezTo>
                <a:cubicBezTo>
                  <a:pt x="535" y="111"/>
                  <a:pt x="535" y="111"/>
                  <a:pt x="535" y="111"/>
                </a:cubicBezTo>
                <a:cubicBezTo>
                  <a:pt x="535" y="111"/>
                  <a:pt x="535" y="110"/>
                  <a:pt x="534" y="110"/>
                </a:cubicBezTo>
                <a:cubicBezTo>
                  <a:pt x="534" y="110"/>
                  <a:pt x="535" y="110"/>
                  <a:pt x="535" y="109"/>
                </a:cubicBezTo>
                <a:cubicBezTo>
                  <a:pt x="535" y="109"/>
                  <a:pt x="535" y="109"/>
                  <a:pt x="535" y="109"/>
                </a:cubicBezTo>
                <a:cubicBezTo>
                  <a:pt x="535" y="110"/>
                  <a:pt x="535" y="110"/>
                  <a:pt x="535" y="110"/>
                </a:cubicBezTo>
                <a:cubicBezTo>
                  <a:pt x="536" y="110"/>
                  <a:pt x="536" y="110"/>
                  <a:pt x="536" y="110"/>
                </a:cubicBezTo>
                <a:cubicBezTo>
                  <a:pt x="536" y="110"/>
                  <a:pt x="536" y="111"/>
                  <a:pt x="536" y="111"/>
                </a:cubicBezTo>
                <a:cubicBezTo>
                  <a:pt x="536" y="111"/>
                  <a:pt x="536" y="111"/>
                  <a:pt x="536" y="111"/>
                </a:cubicBezTo>
                <a:cubicBezTo>
                  <a:pt x="535" y="112"/>
                  <a:pt x="535" y="112"/>
                  <a:pt x="535" y="112"/>
                </a:cubicBezTo>
                <a:cubicBezTo>
                  <a:pt x="535" y="113"/>
                  <a:pt x="536" y="113"/>
                  <a:pt x="536" y="114"/>
                </a:cubicBezTo>
                <a:cubicBezTo>
                  <a:pt x="536" y="114"/>
                  <a:pt x="537" y="114"/>
                  <a:pt x="537" y="114"/>
                </a:cubicBezTo>
                <a:cubicBezTo>
                  <a:pt x="537" y="114"/>
                  <a:pt x="538" y="113"/>
                  <a:pt x="538" y="113"/>
                </a:cubicBezTo>
                <a:cubicBezTo>
                  <a:pt x="538" y="113"/>
                  <a:pt x="538" y="114"/>
                  <a:pt x="538" y="114"/>
                </a:cubicBezTo>
                <a:cubicBezTo>
                  <a:pt x="539" y="114"/>
                  <a:pt x="539" y="114"/>
                  <a:pt x="540" y="114"/>
                </a:cubicBezTo>
                <a:cubicBezTo>
                  <a:pt x="540" y="114"/>
                  <a:pt x="540" y="114"/>
                  <a:pt x="540" y="114"/>
                </a:cubicBezTo>
                <a:cubicBezTo>
                  <a:pt x="540" y="114"/>
                  <a:pt x="541" y="114"/>
                  <a:pt x="541" y="114"/>
                </a:cubicBezTo>
                <a:cubicBezTo>
                  <a:pt x="542" y="113"/>
                  <a:pt x="542" y="113"/>
                  <a:pt x="543" y="113"/>
                </a:cubicBezTo>
                <a:cubicBezTo>
                  <a:pt x="543" y="112"/>
                  <a:pt x="544" y="112"/>
                  <a:pt x="544" y="112"/>
                </a:cubicBezTo>
                <a:cubicBezTo>
                  <a:pt x="545" y="112"/>
                  <a:pt x="545" y="112"/>
                  <a:pt x="546" y="112"/>
                </a:cubicBezTo>
                <a:cubicBezTo>
                  <a:pt x="546" y="112"/>
                  <a:pt x="546" y="112"/>
                  <a:pt x="547" y="112"/>
                </a:cubicBezTo>
                <a:cubicBezTo>
                  <a:pt x="547" y="112"/>
                  <a:pt x="547" y="112"/>
                  <a:pt x="548" y="112"/>
                </a:cubicBezTo>
                <a:cubicBezTo>
                  <a:pt x="548" y="112"/>
                  <a:pt x="548" y="112"/>
                  <a:pt x="548" y="112"/>
                </a:cubicBezTo>
                <a:cubicBezTo>
                  <a:pt x="548" y="112"/>
                  <a:pt x="548" y="111"/>
                  <a:pt x="548" y="111"/>
                </a:cubicBezTo>
                <a:cubicBezTo>
                  <a:pt x="548" y="111"/>
                  <a:pt x="548" y="111"/>
                  <a:pt x="549" y="110"/>
                </a:cubicBezTo>
                <a:cubicBezTo>
                  <a:pt x="549" y="110"/>
                  <a:pt x="549" y="110"/>
                  <a:pt x="549" y="110"/>
                </a:cubicBezTo>
                <a:cubicBezTo>
                  <a:pt x="549" y="110"/>
                  <a:pt x="549" y="110"/>
                  <a:pt x="549" y="110"/>
                </a:cubicBezTo>
                <a:cubicBezTo>
                  <a:pt x="549" y="109"/>
                  <a:pt x="549" y="109"/>
                  <a:pt x="549" y="109"/>
                </a:cubicBezTo>
                <a:cubicBezTo>
                  <a:pt x="548" y="109"/>
                  <a:pt x="548" y="109"/>
                  <a:pt x="548" y="108"/>
                </a:cubicBezTo>
                <a:cubicBezTo>
                  <a:pt x="549" y="108"/>
                  <a:pt x="549" y="108"/>
                  <a:pt x="549" y="109"/>
                </a:cubicBezTo>
                <a:cubicBezTo>
                  <a:pt x="549" y="109"/>
                  <a:pt x="549" y="109"/>
                  <a:pt x="549" y="109"/>
                </a:cubicBezTo>
                <a:cubicBezTo>
                  <a:pt x="550" y="109"/>
                  <a:pt x="550" y="109"/>
                  <a:pt x="550" y="110"/>
                </a:cubicBezTo>
                <a:cubicBezTo>
                  <a:pt x="550" y="109"/>
                  <a:pt x="551" y="109"/>
                  <a:pt x="551" y="109"/>
                </a:cubicBezTo>
                <a:cubicBezTo>
                  <a:pt x="551" y="109"/>
                  <a:pt x="551" y="109"/>
                  <a:pt x="551" y="109"/>
                </a:cubicBezTo>
                <a:cubicBezTo>
                  <a:pt x="552" y="109"/>
                  <a:pt x="552" y="109"/>
                  <a:pt x="552" y="109"/>
                </a:cubicBezTo>
                <a:cubicBezTo>
                  <a:pt x="552" y="109"/>
                  <a:pt x="553" y="109"/>
                  <a:pt x="553" y="109"/>
                </a:cubicBezTo>
                <a:cubicBezTo>
                  <a:pt x="553" y="109"/>
                  <a:pt x="553" y="109"/>
                  <a:pt x="553" y="108"/>
                </a:cubicBezTo>
                <a:cubicBezTo>
                  <a:pt x="553" y="108"/>
                  <a:pt x="553" y="108"/>
                  <a:pt x="552" y="108"/>
                </a:cubicBezTo>
                <a:cubicBezTo>
                  <a:pt x="552" y="107"/>
                  <a:pt x="552" y="107"/>
                  <a:pt x="552" y="107"/>
                </a:cubicBezTo>
                <a:cubicBezTo>
                  <a:pt x="552" y="107"/>
                  <a:pt x="552" y="107"/>
                  <a:pt x="552" y="107"/>
                </a:cubicBezTo>
                <a:cubicBezTo>
                  <a:pt x="551" y="107"/>
                  <a:pt x="551" y="107"/>
                  <a:pt x="550" y="107"/>
                </a:cubicBezTo>
                <a:cubicBezTo>
                  <a:pt x="550" y="108"/>
                  <a:pt x="550" y="108"/>
                  <a:pt x="549" y="108"/>
                </a:cubicBezTo>
                <a:cubicBezTo>
                  <a:pt x="549" y="108"/>
                  <a:pt x="549" y="107"/>
                  <a:pt x="549" y="107"/>
                </a:cubicBezTo>
                <a:cubicBezTo>
                  <a:pt x="549" y="107"/>
                  <a:pt x="549" y="107"/>
                  <a:pt x="549" y="107"/>
                </a:cubicBezTo>
                <a:cubicBezTo>
                  <a:pt x="549" y="107"/>
                  <a:pt x="550" y="107"/>
                  <a:pt x="550" y="107"/>
                </a:cubicBezTo>
                <a:cubicBezTo>
                  <a:pt x="550" y="107"/>
                  <a:pt x="551" y="107"/>
                  <a:pt x="551" y="106"/>
                </a:cubicBezTo>
                <a:cubicBezTo>
                  <a:pt x="551" y="106"/>
                  <a:pt x="552" y="106"/>
                  <a:pt x="552" y="106"/>
                </a:cubicBezTo>
                <a:cubicBezTo>
                  <a:pt x="552" y="106"/>
                  <a:pt x="552" y="106"/>
                  <a:pt x="552" y="106"/>
                </a:cubicBezTo>
                <a:cubicBezTo>
                  <a:pt x="553" y="106"/>
                  <a:pt x="553" y="106"/>
                  <a:pt x="553" y="106"/>
                </a:cubicBezTo>
                <a:cubicBezTo>
                  <a:pt x="553" y="105"/>
                  <a:pt x="553" y="105"/>
                  <a:pt x="554" y="105"/>
                </a:cubicBezTo>
                <a:cubicBezTo>
                  <a:pt x="554" y="105"/>
                  <a:pt x="553" y="105"/>
                  <a:pt x="553" y="105"/>
                </a:cubicBezTo>
                <a:cubicBezTo>
                  <a:pt x="554" y="104"/>
                  <a:pt x="554" y="104"/>
                  <a:pt x="554" y="104"/>
                </a:cubicBezTo>
                <a:cubicBezTo>
                  <a:pt x="554" y="104"/>
                  <a:pt x="554" y="103"/>
                  <a:pt x="553" y="103"/>
                </a:cubicBezTo>
                <a:cubicBezTo>
                  <a:pt x="554" y="103"/>
                  <a:pt x="554" y="103"/>
                  <a:pt x="554" y="103"/>
                </a:cubicBezTo>
                <a:cubicBezTo>
                  <a:pt x="554" y="103"/>
                  <a:pt x="554" y="103"/>
                  <a:pt x="554" y="103"/>
                </a:cubicBezTo>
                <a:cubicBezTo>
                  <a:pt x="554" y="103"/>
                  <a:pt x="553" y="103"/>
                  <a:pt x="553" y="103"/>
                </a:cubicBezTo>
                <a:cubicBezTo>
                  <a:pt x="552" y="103"/>
                  <a:pt x="552" y="103"/>
                  <a:pt x="552" y="103"/>
                </a:cubicBezTo>
                <a:cubicBezTo>
                  <a:pt x="552" y="103"/>
                  <a:pt x="552" y="103"/>
                  <a:pt x="552" y="102"/>
                </a:cubicBezTo>
                <a:cubicBezTo>
                  <a:pt x="552" y="102"/>
                  <a:pt x="552" y="102"/>
                  <a:pt x="553" y="102"/>
                </a:cubicBezTo>
                <a:cubicBezTo>
                  <a:pt x="553" y="102"/>
                  <a:pt x="553" y="102"/>
                  <a:pt x="553" y="101"/>
                </a:cubicBezTo>
                <a:cubicBezTo>
                  <a:pt x="552" y="101"/>
                  <a:pt x="552" y="101"/>
                  <a:pt x="551" y="101"/>
                </a:cubicBezTo>
                <a:cubicBezTo>
                  <a:pt x="551" y="101"/>
                  <a:pt x="550" y="102"/>
                  <a:pt x="549" y="102"/>
                </a:cubicBezTo>
                <a:cubicBezTo>
                  <a:pt x="549" y="102"/>
                  <a:pt x="549" y="102"/>
                  <a:pt x="549" y="101"/>
                </a:cubicBezTo>
                <a:cubicBezTo>
                  <a:pt x="549" y="101"/>
                  <a:pt x="549" y="101"/>
                  <a:pt x="549" y="101"/>
                </a:cubicBezTo>
                <a:cubicBezTo>
                  <a:pt x="549" y="101"/>
                  <a:pt x="549" y="101"/>
                  <a:pt x="549" y="101"/>
                </a:cubicBezTo>
                <a:cubicBezTo>
                  <a:pt x="549" y="100"/>
                  <a:pt x="549" y="100"/>
                  <a:pt x="549" y="100"/>
                </a:cubicBezTo>
                <a:cubicBezTo>
                  <a:pt x="548" y="100"/>
                  <a:pt x="547" y="100"/>
                  <a:pt x="547" y="100"/>
                </a:cubicBezTo>
                <a:cubicBezTo>
                  <a:pt x="546" y="100"/>
                  <a:pt x="546" y="100"/>
                  <a:pt x="546" y="100"/>
                </a:cubicBezTo>
                <a:cubicBezTo>
                  <a:pt x="545" y="100"/>
                  <a:pt x="545" y="100"/>
                  <a:pt x="545" y="100"/>
                </a:cubicBezTo>
                <a:cubicBezTo>
                  <a:pt x="544" y="100"/>
                  <a:pt x="544" y="100"/>
                  <a:pt x="543" y="101"/>
                </a:cubicBezTo>
                <a:cubicBezTo>
                  <a:pt x="543" y="101"/>
                  <a:pt x="542" y="101"/>
                  <a:pt x="541" y="101"/>
                </a:cubicBezTo>
                <a:cubicBezTo>
                  <a:pt x="541" y="101"/>
                  <a:pt x="540" y="101"/>
                  <a:pt x="539" y="101"/>
                </a:cubicBezTo>
                <a:cubicBezTo>
                  <a:pt x="539" y="101"/>
                  <a:pt x="539" y="100"/>
                  <a:pt x="539" y="100"/>
                </a:cubicBezTo>
                <a:cubicBezTo>
                  <a:pt x="539" y="100"/>
                  <a:pt x="538" y="100"/>
                  <a:pt x="538" y="100"/>
                </a:cubicBezTo>
                <a:cubicBezTo>
                  <a:pt x="538" y="100"/>
                  <a:pt x="538" y="101"/>
                  <a:pt x="537" y="101"/>
                </a:cubicBezTo>
                <a:cubicBezTo>
                  <a:pt x="537" y="101"/>
                  <a:pt x="537" y="101"/>
                  <a:pt x="536" y="101"/>
                </a:cubicBezTo>
                <a:cubicBezTo>
                  <a:pt x="536" y="101"/>
                  <a:pt x="536" y="101"/>
                  <a:pt x="536" y="101"/>
                </a:cubicBezTo>
                <a:cubicBezTo>
                  <a:pt x="535" y="101"/>
                  <a:pt x="535" y="101"/>
                  <a:pt x="534" y="102"/>
                </a:cubicBezTo>
                <a:cubicBezTo>
                  <a:pt x="534" y="102"/>
                  <a:pt x="534" y="102"/>
                  <a:pt x="534" y="102"/>
                </a:cubicBezTo>
                <a:cubicBezTo>
                  <a:pt x="534" y="102"/>
                  <a:pt x="534" y="102"/>
                  <a:pt x="533" y="102"/>
                </a:cubicBezTo>
                <a:cubicBezTo>
                  <a:pt x="533" y="102"/>
                  <a:pt x="533" y="102"/>
                  <a:pt x="532" y="102"/>
                </a:cubicBezTo>
                <a:cubicBezTo>
                  <a:pt x="532" y="102"/>
                  <a:pt x="532" y="102"/>
                  <a:pt x="531" y="102"/>
                </a:cubicBezTo>
                <a:cubicBezTo>
                  <a:pt x="531" y="102"/>
                  <a:pt x="530" y="103"/>
                  <a:pt x="530" y="103"/>
                </a:cubicBezTo>
                <a:cubicBezTo>
                  <a:pt x="530" y="103"/>
                  <a:pt x="530" y="103"/>
                  <a:pt x="530" y="103"/>
                </a:cubicBezTo>
                <a:cubicBezTo>
                  <a:pt x="530" y="103"/>
                  <a:pt x="530" y="103"/>
                  <a:pt x="530" y="104"/>
                </a:cubicBezTo>
                <a:cubicBezTo>
                  <a:pt x="530" y="103"/>
                  <a:pt x="530" y="103"/>
                  <a:pt x="530" y="103"/>
                </a:cubicBezTo>
                <a:cubicBezTo>
                  <a:pt x="529" y="103"/>
                  <a:pt x="529" y="103"/>
                  <a:pt x="529" y="103"/>
                </a:cubicBezTo>
                <a:cubicBezTo>
                  <a:pt x="529" y="103"/>
                  <a:pt x="528" y="103"/>
                  <a:pt x="528" y="103"/>
                </a:cubicBezTo>
                <a:cubicBezTo>
                  <a:pt x="527" y="103"/>
                  <a:pt x="526" y="104"/>
                  <a:pt x="525" y="104"/>
                </a:cubicBezTo>
                <a:cubicBezTo>
                  <a:pt x="525" y="104"/>
                  <a:pt x="525" y="104"/>
                  <a:pt x="525" y="104"/>
                </a:cubicBezTo>
                <a:cubicBezTo>
                  <a:pt x="525" y="104"/>
                  <a:pt x="526" y="104"/>
                  <a:pt x="526" y="104"/>
                </a:cubicBezTo>
                <a:cubicBezTo>
                  <a:pt x="526" y="104"/>
                  <a:pt x="526" y="105"/>
                  <a:pt x="526" y="105"/>
                </a:cubicBezTo>
                <a:cubicBezTo>
                  <a:pt x="526" y="105"/>
                  <a:pt x="527" y="105"/>
                  <a:pt x="527" y="105"/>
                </a:cubicBezTo>
                <a:cubicBezTo>
                  <a:pt x="527" y="105"/>
                  <a:pt x="526" y="105"/>
                  <a:pt x="526" y="105"/>
                </a:cubicBezTo>
                <a:cubicBezTo>
                  <a:pt x="526" y="105"/>
                  <a:pt x="525" y="105"/>
                  <a:pt x="525" y="105"/>
                </a:cubicBezTo>
                <a:cubicBezTo>
                  <a:pt x="525" y="105"/>
                  <a:pt x="525" y="105"/>
                  <a:pt x="524" y="105"/>
                </a:cubicBezTo>
                <a:cubicBezTo>
                  <a:pt x="524" y="105"/>
                  <a:pt x="523" y="105"/>
                  <a:pt x="523" y="105"/>
                </a:cubicBezTo>
                <a:cubicBezTo>
                  <a:pt x="523" y="105"/>
                  <a:pt x="522" y="105"/>
                  <a:pt x="522" y="105"/>
                </a:cubicBezTo>
                <a:cubicBezTo>
                  <a:pt x="522" y="105"/>
                  <a:pt x="523" y="105"/>
                  <a:pt x="523" y="105"/>
                </a:cubicBezTo>
                <a:cubicBezTo>
                  <a:pt x="523" y="105"/>
                  <a:pt x="523" y="104"/>
                  <a:pt x="523" y="104"/>
                </a:cubicBezTo>
                <a:cubicBezTo>
                  <a:pt x="523" y="104"/>
                  <a:pt x="522" y="104"/>
                  <a:pt x="522" y="104"/>
                </a:cubicBezTo>
                <a:cubicBezTo>
                  <a:pt x="522" y="103"/>
                  <a:pt x="522" y="103"/>
                  <a:pt x="522" y="103"/>
                </a:cubicBezTo>
                <a:cubicBezTo>
                  <a:pt x="522" y="103"/>
                  <a:pt x="521" y="103"/>
                  <a:pt x="521" y="103"/>
                </a:cubicBezTo>
                <a:cubicBezTo>
                  <a:pt x="521" y="103"/>
                  <a:pt x="520" y="103"/>
                  <a:pt x="520" y="104"/>
                </a:cubicBezTo>
                <a:cubicBezTo>
                  <a:pt x="520" y="104"/>
                  <a:pt x="520" y="104"/>
                  <a:pt x="520" y="104"/>
                </a:cubicBezTo>
                <a:cubicBezTo>
                  <a:pt x="520" y="104"/>
                  <a:pt x="520" y="104"/>
                  <a:pt x="520" y="105"/>
                </a:cubicBezTo>
                <a:cubicBezTo>
                  <a:pt x="520" y="105"/>
                  <a:pt x="519" y="105"/>
                  <a:pt x="519" y="105"/>
                </a:cubicBezTo>
                <a:cubicBezTo>
                  <a:pt x="519" y="104"/>
                  <a:pt x="519" y="104"/>
                  <a:pt x="519" y="104"/>
                </a:cubicBezTo>
                <a:cubicBezTo>
                  <a:pt x="519" y="104"/>
                  <a:pt x="519" y="104"/>
                  <a:pt x="519" y="104"/>
                </a:cubicBezTo>
                <a:cubicBezTo>
                  <a:pt x="519" y="104"/>
                  <a:pt x="518" y="104"/>
                  <a:pt x="518" y="104"/>
                </a:cubicBezTo>
                <a:cubicBezTo>
                  <a:pt x="518" y="104"/>
                  <a:pt x="518" y="104"/>
                  <a:pt x="517" y="104"/>
                </a:cubicBezTo>
                <a:cubicBezTo>
                  <a:pt x="517" y="104"/>
                  <a:pt x="517" y="104"/>
                  <a:pt x="517" y="104"/>
                </a:cubicBezTo>
                <a:cubicBezTo>
                  <a:pt x="517" y="104"/>
                  <a:pt x="517" y="104"/>
                  <a:pt x="517" y="104"/>
                </a:cubicBezTo>
                <a:cubicBezTo>
                  <a:pt x="517" y="103"/>
                  <a:pt x="517" y="103"/>
                  <a:pt x="517" y="103"/>
                </a:cubicBezTo>
                <a:cubicBezTo>
                  <a:pt x="517" y="103"/>
                  <a:pt x="516" y="103"/>
                  <a:pt x="516" y="102"/>
                </a:cubicBezTo>
                <a:cubicBezTo>
                  <a:pt x="516" y="103"/>
                  <a:pt x="516" y="103"/>
                  <a:pt x="515" y="103"/>
                </a:cubicBezTo>
                <a:cubicBezTo>
                  <a:pt x="515" y="103"/>
                  <a:pt x="514" y="104"/>
                  <a:pt x="514" y="104"/>
                </a:cubicBezTo>
                <a:cubicBezTo>
                  <a:pt x="514" y="104"/>
                  <a:pt x="514" y="105"/>
                  <a:pt x="514" y="105"/>
                </a:cubicBezTo>
                <a:cubicBezTo>
                  <a:pt x="514" y="105"/>
                  <a:pt x="514" y="105"/>
                  <a:pt x="514" y="105"/>
                </a:cubicBezTo>
                <a:cubicBezTo>
                  <a:pt x="513" y="105"/>
                  <a:pt x="513" y="105"/>
                  <a:pt x="513" y="105"/>
                </a:cubicBezTo>
                <a:cubicBezTo>
                  <a:pt x="513" y="104"/>
                  <a:pt x="513" y="104"/>
                  <a:pt x="513" y="104"/>
                </a:cubicBezTo>
                <a:cubicBezTo>
                  <a:pt x="513" y="104"/>
                  <a:pt x="513" y="104"/>
                  <a:pt x="513" y="103"/>
                </a:cubicBezTo>
                <a:cubicBezTo>
                  <a:pt x="513" y="103"/>
                  <a:pt x="514" y="103"/>
                  <a:pt x="514" y="102"/>
                </a:cubicBezTo>
                <a:cubicBezTo>
                  <a:pt x="513" y="102"/>
                  <a:pt x="513" y="102"/>
                  <a:pt x="513" y="102"/>
                </a:cubicBezTo>
                <a:cubicBezTo>
                  <a:pt x="512" y="102"/>
                  <a:pt x="512" y="102"/>
                  <a:pt x="512" y="102"/>
                </a:cubicBezTo>
                <a:cubicBezTo>
                  <a:pt x="511" y="102"/>
                  <a:pt x="511" y="102"/>
                  <a:pt x="511" y="102"/>
                </a:cubicBezTo>
                <a:cubicBezTo>
                  <a:pt x="512" y="102"/>
                  <a:pt x="512" y="102"/>
                  <a:pt x="512" y="102"/>
                </a:cubicBezTo>
                <a:cubicBezTo>
                  <a:pt x="512" y="101"/>
                  <a:pt x="513" y="101"/>
                  <a:pt x="513" y="101"/>
                </a:cubicBezTo>
                <a:cubicBezTo>
                  <a:pt x="513" y="101"/>
                  <a:pt x="513" y="100"/>
                  <a:pt x="512" y="100"/>
                </a:cubicBezTo>
                <a:cubicBezTo>
                  <a:pt x="512" y="100"/>
                  <a:pt x="512" y="100"/>
                  <a:pt x="512" y="101"/>
                </a:cubicBezTo>
                <a:cubicBezTo>
                  <a:pt x="511" y="101"/>
                  <a:pt x="511" y="101"/>
                  <a:pt x="511" y="101"/>
                </a:cubicBezTo>
                <a:cubicBezTo>
                  <a:pt x="510" y="101"/>
                  <a:pt x="510" y="101"/>
                  <a:pt x="510" y="101"/>
                </a:cubicBezTo>
                <a:cubicBezTo>
                  <a:pt x="510" y="101"/>
                  <a:pt x="510" y="101"/>
                  <a:pt x="509" y="101"/>
                </a:cubicBezTo>
                <a:cubicBezTo>
                  <a:pt x="509" y="101"/>
                  <a:pt x="510" y="101"/>
                  <a:pt x="510" y="101"/>
                </a:cubicBezTo>
                <a:cubicBezTo>
                  <a:pt x="510" y="101"/>
                  <a:pt x="510" y="101"/>
                  <a:pt x="509" y="100"/>
                </a:cubicBezTo>
                <a:cubicBezTo>
                  <a:pt x="509" y="100"/>
                  <a:pt x="509" y="101"/>
                  <a:pt x="509" y="101"/>
                </a:cubicBezTo>
                <a:cubicBezTo>
                  <a:pt x="508" y="101"/>
                  <a:pt x="508" y="101"/>
                  <a:pt x="508" y="101"/>
                </a:cubicBezTo>
                <a:cubicBezTo>
                  <a:pt x="507" y="101"/>
                  <a:pt x="507" y="102"/>
                  <a:pt x="507" y="102"/>
                </a:cubicBezTo>
                <a:cubicBezTo>
                  <a:pt x="507" y="102"/>
                  <a:pt x="506" y="101"/>
                  <a:pt x="506" y="101"/>
                </a:cubicBezTo>
                <a:cubicBezTo>
                  <a:pt x="507" y="101"/>
                  <a:pt x="507" y="101"/>
                  <a:pt x="507" y="101"/>
                </a:cubicBezTo>
                <a:cubicBezTo>
                  <a:pt x="507" y="101"/>
                  <a:pt x="507" y="100"/>
                  <a:pt x="508" y="100"/>
                </a:cubicBezTo>
                <a:cubicBezTo>
                  <a:pt x="508" y="100"/>
                  <a:pt x="508" y="100"/>
                  <a:pt x="508" y="100"/>
                </a:cubicBezTo>
                <a:cubicBezTo>
                  <a:pt x="508" y="100"/>
                  <a:pt x="508" y="100"/>
                  <a:pt x="508" y="99"/>
                </a:cubicBezTo>
                <a:cubicBezTo>
                  <a:pt x="509" y="100"/>
                  <a:pt x="509" y="100"/>
                  <a:pt x="510" y="100"/>
                </a:cubicBezTo>
                <a:cubicBezTo>
                  <a:pt x="510" y="100"/>
                  <a:pt x="511" y="100"/>
                  <a:pt x="511" y="100"/>
                </a:cubicBezTo>
                <a:cubicBezTo>
                  <a:pt x="511" y="99"/>
                  <a:pt x="511" y="99"/>
                  <a:pt x="511" y="99"/>
                </a:cubicBezTo>
                <a:cubicBezTo>
                  <a:pt x="511" y="99"/>
                  <a:pt x="510" y="99"/>
                  <a:pt x="510" y="99"/>
                </a:cubicBezTo>
                <a:cubicBezTo>
                  <a:pt x="509" y="99"/>
                  <a:pt x="509" y="99"/>
                  <a:pt x="509" y="99"/>
                </a:cubicBezTo>
                <a:cubicBezTo>
                  <a:pt x="509" y="99"/>
                  <a:pt x="509" y="99"/>
                  <a:pt x="509" y="98"/>
                </a:cubicBezTo>
                <a:cubicBezTo>
                  <a:pt x="509" y="98"/>
                  <a:pt x="508" y="98"/>
                  <a:pt x="508" y="98"/>
                </a:cubicBezTo>
                <a:cubicBezTo>
                  <a:pt x="507" y="98"/>
                  <a:pt x="507" y="98"/>
                  <a:pt x="506" y="98"/>
                </a:cubicBezTo>
                <a:cubicBezTo>
                  <a:pt x="507" y="98"/>
                  <a:pt x="507" y="98"/>
                  <a:pt x="507" y="98"/>
                </a:cubicBezTo>
                <a:cubicBezTo>
                  <a:pt x="507" y="97"/>
                  <a:pt x="507" y="97"/>
                  <a:pt x="507" y="97"/>
                </a:cubicBezTo>
                <a:cubicBezTo>
                  <a:pt x="507" y="97"/>
                  <a:pt x="507" y="97"/>
                  <a:pt x="508" y="97"/>
                </a:cubicBezTo>
                <a:cubicBezTo>
                  <a:pt x="508" y="97"/>
                  <a:pt x="508" y="97"/>
                  <a:pt x="508" y="97"/>
                </a:cubicBezTo>
                <a:cubicBezTo>
                  <a:pt x="509" y="98"/>
                  <a:pt x="509" y="98"/>
                  <a:pt x="510" y="98"/>
                </a:cubicBezTo>
                <a:cubicBezTo>
                  <a:pt x="510" y="98"/>
                  <a:pt x="511" y="98"/>
                  <a:pt x="511" y="98"/>
                </a:cubicBezTo>
                <a:cubicBezTo>
                  <a:pt x="512" y="98"/>
                  <a:pt x="512" y="98"/>
                  <a:pt x="512" y="98"/>
                </a:cubicBezTo>
                <a:cubicBezTo>
                  <a:pt x="512" y="98"/>
                  <a:pt x="513" y="98"/>
                  <a:pt x="513" y="98"/>
                </a:cubicBezTo>
                <a:cubicBezTo>
                  <a:pt x="513" y="98"/>
                  <a:pt x="513" y="98"/>
                  <a:pt x="514" y="98"/>
                </a:cubicBezTo>
                <a:cubicBezTo>
                  <a:pt x="514" y="98"/>
                  <a:pt x="515" y="98"/>
                  <a:pt x="515" y="98"/>
                </a:cubicBezTo>
                <a:cubicBezTo>
                  <a:pt x="516" y="98"/>
                  <a:pt x="516" y="98"/>
                  <a:pt x="517" y="98"/>
                </a:cubicBezTo>
                <a:cubicBezTo>
                  <a:pt x="517" y="97"/>
                  <a:pt x="517" y="97"/>
                  <a:pt x="517" y="97"/>
                </a:cubicBezTo>
                <a:cubicBezTo>
                  <a:pt x="517" y="97"/>
                  <a:pt x="517" y="96"/>
                  <a:pt x="516" y="96"/>
                </a:cubicBezTo>
                <a:cubicBezTo>
                  <a:pt x="516" y="96"/>
                  <a:pt x="515" y="96"/>
                  <a:pt x="514" y="96"/>
                </a:cubicBezTo>
                <a:cubicBezTo>
                  <a:pt x="513" y="96"/>
                  <a:pt x="513" y="95"/>
                  <a:pt x="513" y="95"/>
                </a:cubicBezTo>
                <a:cubicBezTo>
                  <a:pt x="512" y="95"/>
                  <a:pt x="512" y="95"/>
                  <a:pt x="512" y="95"/>
                </a:cubicBezTo>
                <a:cubicBezTo>
                  <a:pt x="512" y="95"/>
                  <a:pt x="512" y="95"/>
                  <a:pt x="511" y="95"/>
                </a:cubicBezTo>
                <a:cubicBezTo>
                  <a:pt x="511" y="95"/>
                  <a:pt x="511" y="95"/>
                  <a:pt x="510" y="94"/>
                </a:cubicBezTo>
                <a:cubicBezTo>
                  <a:pt x="510" y="94"/>
                  <a:pt x="510" y="95"/>
                  <a:pt x="510" y="95"/>
                </a:cubicBezTo>
                <a:cubicBezTo>
                  <a:pt x="509" y="94"/>
                  <a:pt x="509" y="94"/>
                  <a:pt x="509" y="94"/>
                </a:cubicBezTo>
                <a:cubicBezTo>
                  <a:pt x="509" y="94"/>
                  <a:pt x="509" y="94"/>
                  <a:pt x="509" y="94"/>
                </a:cubicBezTo>
                <a:cubicBezTo>
                  <a:pt x="510" y="94"/>
                  <a:pt x="510" y="94"/>
                  <a:pt x="510" y="94"/>
                </a:cubicBezTo>
                <a:cubicBezTo>
                  <a:pt x="511" y="94"/>
                  <a:pt x="511" y="94"/>
                  <a:pt x="511" y="94"/>
                </a:cubicBezTo>
                <a:cubicBezTo>
                  <a:pt x="512" y="94"/>
                  <a:pt x="512" y="94"/>
                  <a:pt x="512" y="94"/>
                </a:cubicBezTo>
                <a:cubicBezTo>
                  <a:pt x="512" y="94"/>
                  <a:pt x="512" y="94"/>
                  <a:pt x="512" y="95"/>
                </a:cubicBezTo>
                <a:cubicBezTo>
                  <a:pt x="513" y="95"/>
                  <a:pt x="513" y="95"/>
                  <a:pt x="513" y="95"/>
                </a:cubicBezTo>
                <a:cubicBezTo>
                  <a:pt x="513" y="94"/>
                  <a:pt x="513" y="94"/>
                  <a:pt x="513" y="94"/>
                </a:cubicBezTo>
                <a:cubicBezTo>
                  <a:pt x="513" y="94"/>
                  <a:pt x="513" y="93"/>
                  <a:pt x="513" y="93"/>
                </a:cubicBezTo>
                <a:cubicBezTo>
                  <a:pt x="512" y="93"/>
                  <a:pt x="512" y="92"/>
                  <a:pt x="511" y="92"/>
                </a:cubicBezTo>
                <a:cubicBezTo>
                  <a:pt x="511" y="92"/>
                  <a:pt x="511" y="92"/>
                  <a:pt x="510" y="92"/>
                </a:cubicBezTo>
                <a:cubicBezTo>
                  <a:pt x="510" y="92"/>
                  <a:pt x="510" y="92"/>
                  <a:pt x="510" y="92"/>
                </a:cubicBezTo>
                <a:cubicBezTo>
                  <a:pt x="509" y="92"/>
                  <a:pt x="509" y="92"/>
                  <a:pt x="509" y="93"/>
                </a:cubicBezTo>
                <a:cubicBezTo>
                  <a:pt x="508" y="93"/>
                  <a:pt x="508" y="93"/>
                  <a:pt x="507" y="93"/>
                </a:cubicBezTo>
                <a:cubicBezTo>
                  <a:pt x="507" y="93"/>
                  <a:pt x="507" y="93"/>
                  <a:pt x="506" y="94"/>
                </a:cubicBezTo>
                <a:cubicBezTo>
                  <a:pt x="506" y="93"/>
                  <a:pt x="506" y="93"/>
                  <a:pt x="505" y="93"/>
                </a:cubicBezTo>
                <a:cubicBezTo>
                  <a:pt x="505" y="93"/>
                  <a:pt x="505" y="94"/>
                  <a:pt x="504" y="94"/>
                </a:cubicBezTo>
                <a:cubicBezTo>
                  <a:pt x="504" y="93"/>
                  <a:pt x="504" y="93"/>
                  <a:pt x="503" y="93"/>
                </a:cubicBezTo>
                <a:cubicBezTo>
                  <a:pt x="503" y="94"/>
                  <a:pt x="503" y="94"/>
                  <a:pt x="503" y="95"/>
                </a:cubicBezTo>
                <a:cubicBezTo>
                  <a:pt x="502" y="95"/>
                  <a:pt x="502" y="95"/>
                  <a:pt x="501" y="95"/>
                </a:cubicBezTo>
                <a:cubicBezTo>
                  <a:pt x="501" y="96"/>
                  <a:pt x="501" y="96"/>
                  <a:pt x="501" y="96"/>
                </a:cubicBezTo>
                <a:cubicBezTo>
                  <a:pt x="501" y="96"/>
                  <a:pt x="500" y="96"/>
                  <a:pt x="500" y="97"/>
                </a:cubicBezTo>
                <a:cubicBezTo>
                  <a:pt x="500" y="96"/>
                  <a:pt x="500" y="96"/>
                  <a:pt x="500" y="96"/>
                </a:cubicBezTo>
                <a:cubicBezTo>
                  <a:pt x="500" y="96"/>
                  <a:pt x="500" y="95"/>
                  <a:pt x="501" y="95"/>
                </a:cubicBezTo>
                <a:cubicBezTo>
                  <a:pt x="501" y="95"/>
                  <a:pt x="501" y="95"/>
                  <a:pt x="501" y="95"/>
                </a:cubicBezTo>
                <a:cubicBezTo>
                  <a:pt x="502" y="94"/>
                  <a:pt x="503" y="94"/>
                  <a:pt x="503" y="93"/>
                </a:cubicBezTo>
                <a:cubicBezTo>
                  <a:pt x="503" y="93"/>
                  <a:pt x="503" y="93"/>
                  <a:pt x="503" y="92"/>
                </a:cubicBezTo>
                <a:cubicBezTo>
                  <a:pt x="503" y="92"/>
                  <a:pt x="503" y="92"/>
                  <a:pt x="503" y="92"/>
                </a:cubicBezTo>
                <a:cubicBezTo>
                  <a:pt x="503" y="91"/>
                  <a:pt x="502" y="91"/>
                  <a:pt x="502" y="90"/>
                </a:cubicBezTo>
                <a:cubicBezTo>
                  <a:pt x="502" y="90"/>
                  <a:pt x="503" y="90"/>
                  <a:pt x="503" y="90"/>
                </a:cubicBezTo>
                <a:cubicBezTo>
                  <a:pt x="502" y="90"/>
                  <a:pt x="502" y="90"/>
                  <a:pt x="502" y="90"/>
                </a:cubicBezTo>
                <a:cubicBezTo>
                  <a:pt x="502" y="90"/>
                  <a:pt x="501" y="90"/>
                  <a:pt x="501" y="90"/>
                </a:cubicBezTo>
                <a:cubicBezTo>
                  <a:pt x="501" y="90"/>
                  <a:pt x="500" y="90"/>
                  <a:pt x="500" y="90"/>
                </a:cubicBezTo>
                <a:cubicBezTo>
                  <a:pt x="500" y="90"/>
                  <a:pt x="499" y="90"/>
                  <a:pt x="499" y="90"/>
                </a:cubicBezTo>
                <a:cubicBezTo>
                  <a:pt x="499" y="90"/>
                  <a:pt x="499" y="90"/>
                  <a:pt x="499" y="89"/>
                </a:cubicBezTo>
                <a:cubicBezTo>
                  <a:pt x="499" y="89"/>
                  <a:pt x="499" y="89"/>
                  <a:pt x="499" y="89"/>
                </a:cubicBezTo>
                <a:cubicBezTo>
                  <a:pt x="498" y="89"/>
                  <a:pt x="497" y="89"/>
                  <a:pt x="497" y="89"/>
                </a:cubicBezTo>
                <a:cubicBezTo>
                  <a:pt x="496" y="89"/>
                  <a:pt x="496" y="89"/>
                  <a:pt x="496" y="89"/>
                </a:cubicBezTo>
                <a:cubicBezTo>
                  <a:pt x="495" y="89"/>
                  <a:pt x="495" y="89"/>
                  <a:pt x="494" y="89"/>
                </a:cubicBezTo>
                <a:cubicBezTo>
                  <a:pt x="494" y="89"/>
                  <a:pt x="493" y="89"/>
                  <a:pt x="493" y="89"/>
                </a:cubicBezTo>
                <a:cubicBezTo>
                  <a:pt x="493" y="89"/>
                  <a:pt x="493" y="89"/>
                  <a:pt x="493" y="89"/>
                </a:cubicBezTo>
                <a:close/>
                <a:moveTo>
                  <a:pt x="551" y="97"/>
                </a:moveTo>
                <a:cubicBezTo>
                  <a:pt x="551" y="97"/>
                  <a:pt x="552" y="97"/>
                  <a:pt x="552" y="97"/>
                </a:cubicBezTo>
                <a:cubicBezTo>
                  <a:pt x="552" y="97"/>
                  <a:pt x="552" y="97"/>
                  <a:pt x="552" y="97"/>
                </a:cubicBezTo>
                <a:cubicBezTo>
                  <a:pt x="552" y="97"/>
                  <a:pt x="552" y="97"/>
                  <a:pt x="552" y="97"/>
                </a:cubicBezTo>
                <a:cubicBezTo>
                  <a:pt x="552" y="96"/>
                  <a:pt x="552" y="96"/>
                  <a:pt x="552" y="96"/>
                </a:cubicBezTo>
                <a:cubicBezTo>
                  <a:pt x="552" y="97"/>
                  <a:pt x="551" y="97"/>
                  <a:pt x="551" y="97"/>
                </a:cubicBezTo>
                <a:close/>
                <a:moveTo>
                  <a:pt x="510" y="74"/>
                </a:moveTo>
                <a:cubicBezTo>
                  <a:pt x="510" y="74"/>
                  <a:pt x="510" y="74"/>
                  <a:pt x="509" y="74"/>
                </a:cubicBezTo>
                <a:cubicBezTo>
                  <a:pt x="510" y="75"/>
                  <a:pt x="510" y="75"/>
                  <a:pt x="510" y="75"/>
                </a:cubicBezTo>
                <a:cubicBezTo>
                  <a:pt x="510" y="75"/>
                  <a:pt x="510" y="76"/>
                  <a:pt x="510" y="76"/>
                </a:cubicBezTo>
                <a:cubicBezTo>
                  <a:pt x="510" y="76"/>
                  <a:pt x="510" y="76"/>
                  <a:pt x="511" y="76"/>
                </a:cubicBezTo>
                <a:cubicBezTo>
                  <a:pt x="511" y="75"/>
                  <a:pt x="511" y="75"/>
                  <a:pt x="511" y="75"/>
                </a:cubicBezTo>
                <a:cubicBezTo>
                  <a:pt x="511" y="75"/>
                  <a:pt x="510" y="74"/>
                  <a:pt x="510" y="74"/>
                </a:cubicBezTo>
                <a:cubicBezTo>
                  <a:pt x="510" y="74"/>
                  <a:pt x="510" y="74"/>
                  <a:pt x="510" y="74"/>
                </a:cubicBezTo>
                <a:close/>
                <a:moveTo>
                  <a:pt x="478" y="107"/>
                </a:moveTo>
                <a:cubicBezTo>
                  <a:pt x="478" y="107"/>
                  <a:pt x="478" y="108"/>
                  <a:pt x="478" y="108"/>
                </a:cubicBezTo>
                <a:cubicBezTo>
                  <a:pt x="478" y="108"/>
                  <a:pt x="478" y="108"/>
                  <a:pt x="478" y="109"/>
                </a:cubicBezTo>
                <a:cubicBezTo>
                  <a:pt x="478" y="109"/>
                  <a:pt x="478" y="109"/>
                  <a:pt x="479" y="109"/>
                </a:cubicBezTo>
                <a:cubicBezTo>
                  <a:pt x="479" y="109"/>
                  <a:pt x="479" y="109"/>
                  <a:pt x="479" y="108"/>
                </a:cubicBezTo>
                <a:cubicBezTo>
                  <a:pt x="479" y="108"/>
                  <a:pt x="479" y="108"/>
                  <a:pt x="479" y="108"/>
                </a:cubicBezTo>
                <a:cubicBezTo>
                  <a:pt x="480" y="108"/>
                  <a:pt x="480" y="108"/>
                  <a:pt x="480" y="108"/>
                </a:cubicBezTo>
                <a:cubicBezTo>
                  <a:pt x="480" y="108"/>
                  <a:pt x="480" y="107"/>
                  <a:pt x="480" y="107"/>
                </a:cubicBezTo>
                <a:cubicBezTo>
                  <a:pt x="480" y="107"/>
                  <a:pt x="480" y="107"/>
                  <a:pt x="480" y="107"/>
                </a:cubicBezTo>
                <a:cubicBezTo>
                  <a:pt x="480" y="107"/>
                  <a:pt x="480" y="107"/>
                  <a:pt x="480" y="107"/>
                </a:cubicBezTo>
                <a:cubicBezTo>
                  <a:pt x="480" y="107"/>
                  <a:pt x="479" y="107"/>
                  <a:pt x="479" y="107"/>
                </a:cubicBezTo>
                <a:cubicBezTo>
                  <a:pt x="479" y="107"/>
                  <a:pt x="479" y="107"/>
                  <a:pt x="478" y="107"/>
                </a:cubicBezTo>
                <a:cubicBezTo>
                  <a:pt x="478" y="107"/>
                  <a:pt x="478" y="107"/>
                  <a:pt x="478" y="107"/>
                </a:cubicBezTo>
                <a:close/>
                <a:moveTo>
                  <a:pt x="480" y="105"/>
                </a:moveTo>
                <a:cubicBezTo>
                  <a:pt x="480" y="105"/>
                  <a:pt x="479" y="105"/>
                  <a:pt x="479" y="106"/>
                </a:cubicBezTo>
                <a:cubicBezTo>
                  <a:pt x="479" y="106"/>
                  <a:pt x="479" y="106"/>
                  <a:pt x="479" y="106"/>
                </a:cubicBezTo>
                <a:cubicBezTo>
                  <a:pt x="479" y="106"/>
                  <a:pt x="479" y="106"/>
                  <a:pt x="479" y="106"/>
                </a:cubicBezTo>
                <a:cubicBezTo>
                  <a:pt x="479" y="106"/>
                  <a:pt x="479" y="106"/>
                  <a:pt x="479" y="106"/>
                </a:cubicBezTo>
                <a:cubicBezTo>
                  <a:pt x="479" y="106"/>
                  <a:pt x="480" y="106"/>
                  <a:pt x="480" y="105"/>
                </a:cubicBezTo>
                <a:close/>
                <a:moveTo>
                  <a:pt x="478" y="112"/>
                </a:moveTo>
                <a:cubicBezTo>
                  <a:pt x="478" y="112"/>
                  <a:pt x="478" y="112"/>
                  <a:pt x="478" y="112"/>
                </a:cubicBezTo>
                <a:cubicBezTo>
                  <a:pt x="478" y="112"/>
                  <a:pt x="478" y="113"/>
                  <a:pt x="478" y="113"/>
                </a:cubicBezTo>
                <a:cubicBezTo>
                  <a:pt x="478" y="113"/>
                  <a:pt x="478" y="113"/>
                  <a:pt x="478" y="113"/>
                </a:cubicBezTo>
                <a:cubicBezTo>
                  <a:pt x="478" y="113"/>
                  <a:pt x="478" y="113"/>
                  <a:pt x="479" y="113"/>
                </a:cubicBezTo>
                <a:cubicBezTo>
                  <a:pt x="479" y="113"/>
                  <a:pt x="479" y="113"/>
                  <a:pt x="478" y="113"/>
                </a:cubicBezTo>
                <a:cubicBezTo>
                  <a:pt x="478" y="113"/>
                  <a:pt x="478" y="113"/>
                  <a:pt x="478" y="114"/>
                </a:cubicBezTo>
                <a:cubicBezTo>
                  <a:pt x="479" y="114"/>
                  <a:pt x="479" y="114"/>
                  <a:pt x="479" y="114"/>
                </a:cubicBezTo>
                <a:cubicBezTo>
                  <a:pt x="479" y="113"/>
                  <a:pt x="479" y="113"/>
                  <a:pt x="479" y="113"/>
                </a:cubicBezTo>
                <a:cubicBezTo>
                  <a:pt x="479" y="113"/>
                  <a:pt x="480" y="113"/>
                  <a:pt x="480" y="113"/>
                </a:cubicBezTo>
                <a:cubicBezTo>
                  <a:pt x="480" y="113"/>
                  <a:pt x="480" y="114"/>
                  <a:pt x="479" y="114"/>
                </a:cubicBezTo>
                <a:cubicBezTo>
                  <a:pt x="480" y="114"/>
                  <a:pt x="480" y="114"/>
                  <a:pt x="480" y="114"/>
                </a:cubicBezTo>
                <a:cubicBezTo>
                  <a:pt x="480" y="114"/>
                  <a:pt x="480" y="114"/>
                  <a:pt x="481" y="114"/>
                </a:cubicBezTo>
                <a:cubicBezTo>
                  <a:pt x="481" y="114"/>
                  <a:pt x="481" y="114"/>
                  <a:pt x="481" y="114"/>
                </a:cubicBezTo>
                <a:cubicBezTo>
                  <a:pt x="481" y="114"/>
                  <a:pt x="481" y="114"/>
                  <a:pt x="481" y="114"/>
                </a:cubicBezTo>
                <a:cubicBezTo>
                  <a:pt x="482" y="114"/>
                  <a:pt x="482" y="114"/>
                  <a:pt x="482" y="115"/>
                </a:cubicBezTo>
                <a:cubicBezTo>
                  <a:pt x="482" y="115"/>
                  <a:pt x="482" y="115"/>
                  <a:pt x="482" y="114"/>
                </a:cubicBezTo>
                <a:cubicBezTo>
                  <a:pt x="482" y="114"/>
                  <a:pt x="482" y="114"/>
                  <a:pt x="482" y="114"/>
                </a:cubicBezTo>
                <a:cubicBezTo>
                  <a:pt x="483" y="114"/>
                  <a:pt x="483" y="114"/>
                  <a:pt x="483" y="114"/>
                </a:cubicBezTo>
                <a:cubicBezTo>
                  <a:pt x="483" y="114"/>
                  <a:pt x="483" y="115"/>
                  <a:pt x="483" y="115"/>
                </a:cubicBezTo>
                <a:cubicBezTo>
                  <a:pt x="483" y="115"/>
                  <a:pt x="484" y="115"/>
                  <a:pt x="484" y="115"/>
                </a:cubicBezTo>
                <a:cubicBezTo>
                  <a:pt x="484" y="115"/>
                  <a:pt x="484" y="115"/>
                  <a:pt x="485" y="115"/>
                </a:cubicBezTo>
                <a:cubicBezTo>
                  <a:pt x="485" y="115"/>
                  <a:pt x="485" y="115"/>
                  <a:pt x="485" y="115"/>
                </a:cubicBezTo>
                <a:cubicBezTo>
                  <a:pt x="486" y="115"/>
                  <a:pt x="486" y="115"/>
                  <a:pt x="486" y="115"/>
                </a:cubicBezTo>
                <a:cubicBezTo>
                  <a:pt x="487" y="115"/>
                  <a:pt x="487" y="115"/>
                  <a:pt x="488" y="115"/>
                </a:cubicBezTo>
                <a:cubicBezTo>
                  <a:pt x="488" y="115"/>
                  <a:pt x="489" y="115"/>
                  <a:pt x="489" y="115"/>
                </a:cubicBezTo>
                <a:cubicBezTo>
                  <a:pt x="489" y="115"/>
                  <a:pt x="489" y="115"/>
                  <a:pt x="489" y="115"/>
                </a:cubicBezTo>
                <a:cubicBezTo>
                  <a:pt x="489" y="115"/>
                  <a:pt x="490" y="115"/>
                  <a:pt x="490" y="115"/>
                </a:cubicBezTo>
                <a:cubicBezTo>
                  <a:pt x="489" y="115"/>
                  <a:pt x="489" y="115"/>
                  <a:pt x="489" y="115"/>
                </a:cubicBezTo>
                <a:cubicBezTo>
                  <a:pt x="489" y="114"/>
                  <a:pt x="490" y="114"/>
                  <a:pt x="490" y="114"/>
                </a:cubicBezTo>
                <a:cubicBezTo>
                  <a:pt x="490" y="114"/>
                  <a:pt x="490" y="113"/>
                  <a:pt x="490" y="113"/>
                </a:cubicBezTo>
                <a:cubicBezTo>
                  <a:pt x="490" y="113"/>
                  <a:pt x="490" y="113"/>
                  <a:pt x="490" y="112"/>
                </a:cubicBezTo>
                <a:cubicBezTo>
                  <a:pt x="490" y="112"/>
                  <a:pt x="490" y="112"/>
                  <a:pt x="491" y="111"/>
                </a:cubicBezTo>
                <a:cubicBezTo>
                  <a:pt x="491" y="111"/>
                  <a:pt x="491" y="111"/>
                  <a:pt x="491" y="111"/>
                </a:cubicBezTo>
                <a:cubicBezTo>
                  <a:pt x="491" y="110"/>
                  <a:pt x="491" y="110"/>
                  <a:pt x="491" y="109"/>
                </a:cubicBezTo>
                <a:cubicBezTo>
                  <a:pt x="491" y="109"/>
                  <a:pt x="491" y="109"/>
                  <a:pt x="491" y="109"/>
                </a:cubicBezTo>
                <a:cubicBezTo>
                  <a:pt x="491" y="108"/>
                  <a:pt x="491" y="108"/>
                  <a:pt x="492" y="108"/>
                </a:cubicBezTo>
                <a:cubicBezTo>
                  <a:pt x="491" y="108"/>
                  <a:pt x="491" y="108"/>
                  <a:pt x="491" y="108"/>
                </a:cubicBezTo>
                <a:cubicBezTo>
                  <a:pt x="491" y="107"/>
                  <a:pt x="490" y="107"/>
                  <a:pt x="490" y="107"/>
                </a:cubicBezTo>
                <a:cubicBezTo>
                  <a:pt x="490" y="107"/>
                  <a:pt x="490" y="107"/>
                  <a:pt x="490" y="107"/>
                </a:cubicBezTo>
                <a:cubicBezTo>
                  <a:pt x="490" y="106"/>
                  <a:pt x="489" y="106"/>
                  <a:pt x="489" y="106"/>
                </a:cubicBezTo>
                <a:cubicBezTo>
                  <a:pt x="489" y="106"/>
                  <a:pt x="489" y="106"/>
                  <a:pt x="489" y="106"/>
                </a:cubicBezTo>
                <a:cubicBezTo>
                  <a:pt x="488" y="106"/>
                  <a:pt x="488" y="106"/>
                  <a:pt x="487" y="106"/>
                </a:cubicBezTo>
                <a:cubicBezTo>
                  <a:pt x="487" y="106"/>
                  <a:pt x="486" y="106"/>
                  <a:pt x="486" y="106"/>
                </a:cubicBezTo>
                <a:cubicBezTo>
                  <a:pt x="486" y="106"/>
                  <a:pt x="485" y="106"/>
                  <a:pt x="485" y="106"/>
                </a:cubicBezTo>
                <a:cubicBezTo>
                  <a:pt x="484" y="106"/>
                  <a:pt x="484" y="107"/>
                  <a:pt x="483" y="107"/>
                </a:cubicBezTo>
                <a:cubicBezTo>
                  <a:pt x="483" y="107"/>
                  <a:pt x="483" y="107"/>
                  <a:pt x="483" y="107"/>
                </a:cubicBezTo>
                <a:cubicBezTo>
                  <a:pt x="483" y="107"/>
                  <a:pt x="484" y="107"/>
                  <a:pt x="484" y="108"/>
                </a:cubicBezTo>
                <a:cubicBezTo>
                  <a:pt x="484" y="108"/>
                  <a:pt x="484" y="108"/>
                  <a:pt x="484" y="108"/>
                </a:cubicBezTo>
                <a:cubicBezTo>
                  <a:pt x="484" y="108"/>
                  <a:pt x="484" y="108"/>
                  <a:pt x="484" y="108"/>
                </a:cubicBezTo>
                <a:cubicBezTo>
                  <a:pt x="483" y="108"/>
                  <a:pt x="483" y="108"/>
                  <a:pt x="483" y="108"/>
                </a:cubicBezTo>
                <a:cubicBezTo>
                  <a:pt x="482" y="108"/>
                  <a:pt x="482" y="108"/>
                  <a:pt x="482" y="108"/>
                </a:cubicBezTo>
                <a:cubicBezTo>
                  <a:pt x="482" y="108"/>
                  <a:pt x="481" y="108"/>
                  <a:pt x="481" y="108"/>
                </a:cubicBezTo>
                <a:cubicBezTo>
                  <a:pt x="482" y="108"/>
                  <a:pt x="482" y="108"/>
                  <a:pt x="482" y="108"/>
                </a:cubicBezTo>
                <a:cubicBezTo>
                  <a:pt x="483" y="108"/>
                  <a:pt x="483" y="108"/>
                  <a:pt x="483" y="108"/>
                </a:cubicBezTo>
                <a:cubicBezTo>
                  <a:pt x="483" y="108"/>
                  <a:pt x="483" y="109"/>
                  <a:pt x="483" y="109"/>
                </a:cubicBezTo>
                <a:cubicBezTo>
                  <a:pt x="482" y="109"/>
                  <a:pt x="482" y="109"/>
                  <a:pt x="481" y="109"/>
                </a:cubicBezTo>
                <a:cubicBezTo>
                  <a:pt x="481" y="109"/>
                  <a:pt x="481" y="109"/>
                  <a:pt x="481" y="109"/>
                </a:cubicBezTo>
                <a:cubicBezTo>
                  <a:pt x="481" y="110"/>
                  <a:pt x="481" y="110"/>
                  <a:pt x="482" y="110"/>
                </a:cubicBezTo>
                <a:cubicBezTo>
                  <a:pt x="482" y="110"/>
                  <a:pt x="482" y="110"/>
                  <a:pt x="482" y="110"/>
                </a:cubicBezTo>
                <a:cubicBezTo>
                  <a:pt x="482" y="110"/>
                  <a:pt x="482" y="110"/>
                  <a:pt x="482" y="110"/>
                </a:cubicBezTo>
                <a:cubicBezTo>
                  <a:pt x="481" y="110"/>
                  <a:pt x="481" y="110"/>
                  <a:pt x="481" y="110"/>
                </a:cubicBezTo>
                <a:cubicBezTo>
                  <a:pt x="480" y="110"/>
                  <a:pt x="480" y="111"/>
                  <a:pt x="479" y="111"/>
                </a:cubicBezTo>
                <a:cubicBezTo>
                  <a:pt x="479" y="111"/>
                  <a:pt x="479" y="111"/>
                  <a:pt x="478" y="112"/>
                </a:cubicBezTo>
                <a:close/>
                <a:moveTo>
                  <a:pt x="479" y="76"/>
                </a:moveTo>
                <a:cubicBezTo>
                  <a:pt x="479" y="76"/>
                  <a:pt x="479" y="76"/>
                  <a:pt x="479" y="76"/>
                </a:cubicBezTo>
                <a:cubicBezTo>
                  <a:pt x="479" y="76"/>
                  <a:pt x="479" y="76"/>
                  <a:pt x="479" y="76"/>
                </a:cubicBezTo>
                <a:cubicBezTo>
                  <a:pt x="480" y="76"/>
                  <a:pt x="480" y="76"/>
                  <a:pt x="480" y="76"/>
                </a:cubicBezTo>
                <a:cubicBezTo>
                  <a:pt x="480" y="76"/>
                  <a:pt x="480" y="76"/>
                  <a:pt x="480" y="75"/>
                </a:cubicBezTo>
                <a:cubicBezTo>
                  <a:pt x="480" y="75"/>
                  <a:pt x="480" y="75"/>
                  <a:pt x="480" y="75"/>
                </a:cubicBezTo>
                <a:cubicBezTo>
                  <a:pt x="480" y="75"/>
                  <a:pt x="479" y="76"/>
                  <a:pt x="479" y="76"/>
                </a:cubicBezTo>
                <a:close/>
                <a:moveTo>
                  <a:pt x="481" y="104"/>
                </a:moveTo>
                <a:cubicBezTo>
                  <a:pt x="481" y="104"/>
                  <a:pt x="480" y="104"/>
                  <a:pt x="480" y="105"/>
                </a:cubicBezTo>
                <a:cubicBezTo>
                  <a:pt x="480" y="105"/>
                  <a:pt x="481" y="105"/>
                  <a:pt x="481" y="105"/>
                </a:cubicBezTo>
                <a:cubicBezTo>
                  <a:pt x="481" y="105"/>
                  <a:pt x="481" y="105"/>
                  <a:pt x="481" y="105"/>
                </a:cubicBezTo>
                <a:cubicBezTo>
                  <a:pt x="481" y="104"/>
                  <a:pt x="482" y="104"/>
                  <a:pt x="482" y="104"/>
                </a:cubicBezTo>
                <a:cubicBezTo>
                  <a:pt x="482" y="104"/>
                  <a:pt x="482" y="104"/>
                  <a:pt x="482" y="104"/>
                </a:cubicBezTo>
                <a:cubicBezTo>
                  <a:pt x="482" y="104"/>
                  <a:pt x="482" y="104"/>
                  <a:pt x="482" y="104"/>
                </a:cubicBezTo>
                <a:cubicBezTo>
                  <a:pt x="482" y="104"/>
                  <a:pt x="481" y="104"/>
                  <a:pt x="481" y="104"/>
                </a:cubicBezTo>
                <a:close/>
                <a:moveTo>
                  <a:pt x="540" y="124"/>
                </a:moveTo>
                <a:cubicBezTo>
                  <a:pt x="540" y="124"/>
                  <a:pt x="540" y="125"/>
                  <a:pt x="540" y="125"/>
                </a:cubicBezTo>
                <a:cubicBezTo>
                  <a:pt x="540" y="126"/>
                  <a:pt x="540" y="126"/>
                  <a:pt x="541" y="126"/>
                </a:cubicBezTo>
                <a:cubicBezTo>
                  <a:pt x="541" y="126"/>
                  <a:pt x="541" y="126"/>
                  <a:pt x="542" y="126"/>
                </a:cubicBezTo>
                <a:cubicBezTo>
                  <a:pt x="542" y="126"/>
                  <a:pt x="542" y="126"/>
                  <a:pt x="542" y="126"/>
                </a:cubicBezTo>
                <a:cubicBezTo>
                  <a:pt x="542" y="126"/>
                  <a:pt x="542" y="127"/>
                  <a:pt x="542" y="127"/>
                </a:cubicBezTo>
                <a:cubicBezTo>
                  <a:pt x="542" y="127"/>
                  <a:pt x="542" y="127"/>
                  <a:pt x="542" y="127"/>
                </a:cubicBezTo>
                <a:cubicBezTo>
                  <a:pt x="542" y="128"/>
                  <a:pt x="541" y="128"/>
                  <a:pt x="541" y="128"/>
                </a:cubicBezTo>
                <a:cubicBezTo>
                  <a:pt x="541" y="128"/>
                  <a:pt x="541" y="129"/>
                  <a:pt x="541" y="129"/>
                </a:cubicBezTo>
                <a:cubicBezTo>
                  <a:pt x="541" y="129"/>
                  <a:pt x="541" y="129"/>
                  <a:pt x="541" y="130"/>
                </a:cubicBezTo>
                <a:cubicBezTo>
                  <a:pt x="542" y="130"/>
                  <a:pt x="542" y="130"/>
                  <a:pt x="542" y="130"/>
                </a:cubicBezTo>
                <a:cubicBezTo>
                  <a:pt x="542" y="130"/>
                  <a:pt x="542" y="130"/>
                  <a:pt x="543" y="130"/>
                </a:cubicBezTo>
                <a:cubicBezTo>
                  <a:pt x="543" y="130"/>
                  <a:pt x="544" y="130"/>
                  <a:pt x="544" y="130"/>
                </a:cubicBezTo>
                <a:cubicBezTo>
                  <a:pt x="545" y="130"/>
                  <a:pt x="545" y="130"/>
                  <a:pt x="546" y="131"/>
                </a:cubicBezTo>
                <a:cubicBezTo>
                  <a:pt x="546" y="130"/>
                  <a:pt x="546" y="130"/>
                  <a:pt x="546" y="130"/>
                </a:cubicBezTo>
                <a:cubicBezTo>
                  <a:pt x="547" y="130"/>
                  <a:pt x="547" y="130"/>
                  <a:pt x="547" y="129"/>
                </a:cubicBezTo>
                <a:cubicBezTo>
                  <a:pt x="548" y="129"/>
                  <a:pt x="548" y="129"/>
                  <a:pt x="548" y="129"/>
                </a:cubicBezTo>
                <a:cubicBezTo>
                  <a:pt x="549" y="129"/>
                  <a:pt x="549" y="129"/>
                  <a:pt x="550" y="129"/>
                </a:cubicBezTo>
                <a:cubicBezTo>
                  <a:pt x="550" y="129"/>
                  <a:pt x="551" y="129"/>
                  <a:pt x="551" y="129"/>
                </a:cubicBezTo>
                <a:cubicBezTo>
                  <a:pt x="551" y="129"/>
                  <a:pt x="551" y="129"/>
                  <a:pt x="552" y="129"/>
                </a:cubicBezTo>
                <a:cubicBezTo>
                  <a:pt x="552" y="129"/>
                  <a:pt x="553" y="129"/>
                  <a:pt x="553" y="129"/>
                </a:cubicBezTo>
                <a:cubicBezTo>
                  <a:pt x="553" y="129"/>
                  <a:pt x="554" y="129"/>
                  <a:pt x="554" y="129"/>
                </a:cubicBezTo>
                <a:cubicBezTo>
                  <a:pt x="555" y="129"/>
                  <a:pt x="555" y="129"/>
                  <a:pt x="556" y="129"/>
                </a:cubicBezTo>
                <a:cubicBezTo>
                  <a:pt x="556" y="129"/>
                  <a:pt x="556" y="129"/>
                  <a:pt x="556" y="129"/>
                </a:cubicBezTo>
                <a:cubicBezTo>
                  <a:pt x="557" y="129"/>
                  <a:pt x="558" y="129"/>
                  <a:pt x="559" y="129"/>
                </a:cubicBezTo>
                <a:cubicBezTo>
                  <a:pt x="559" y="129"/>
                  <a:pt x="559" y="128"/>
                  <a:pt x="559" y="128"/>
                </a:cubicBezTo>
                <a:cubicBezTo>
                  <a:pt x="559" y="128"/>
                  <a:pt x="559" y="128"/>
                  <a:pt x="560" y="128"/>
                </a:cubicBezTo>
                <a:cubicBezTo>
                  <a:pt x="560" y="128"/>
                  <a:pt x="560" y="127"/>
                  <a:pt x="560" y="127"/>
                </a:cubicBezTo>
                <a:cubicBezTo>
                  <a:pt x="559" y="127"/>
                  <a:pt x="559" y="127"/>
                  <a:pt x="558" y="127"/>
                </a:cubicBezTo>
                <a:cubicBezTo>
                  <a:pt x="558" y="127"/>
                  <a:pt x="558" y="127"/>
                  <a:pt x="559" y="127"/>
                </a:cubicBezTo>
                <a:cubicBezTo>
                  <a:pt x="559" y="127"/>
                  <a:pt x="559" y="126"/>
                  <a:pt x="559" y="126"/>
                </a:cubicBezTo>
                <a:cubicBezTo>
                  <a:pt x="558" y="126"/>
                  <a:pt x="558" y="126"/>
                  <a:pt x="558" y="126"/>
                </a:cubicBezTo>
                <a:cubicBezTo>
                  <a:pt x="558" y="125"/>
                  <a:pt x="558" y="125"/>
                  <a:pt x="558" y="125"/>
                </a:cubicBezTo>
                <a:cubicBezTo>
                  <a:pt x="558" y="125"/>
                  <a:pt x="558" y="125"/>
                  <a:pt x="557" y="124"/>
                </a:cubicBezTo>
                <a:cubicBezTo>
                  <a:pt x="558" y="124"/>
                  <a:pt x="558" y="124"/>
                  <a:pt x="558" y="124"/>
                </a:cubicBezTo>
                <a:cubicBezTo>
                  <a:pt x="557" y="124"/>
                  <a:pt x="557" y="124"/>
                  <a:pt x="557" y="124"/>
                </a:cubicBezTo>
                <a:cubicBezTo>
                  <a:pt x="557" y="124"/>
                  <a:pt x="556" y="124"/>
                  <a:pt x="556" y="123"/>
                </a:cubicBezTo>
                <a:cubicBezTo>
                  <a:pt x="557" y="123"/>
                  <a:pt x="557" y="123"/>
                  <a:pt x="557" y="123"/>
                </a:cubicBezTo>
                <a:cubicBezTo>
                  <a:pt x="556" y="122"/>
                  <a:pt x="556" y="122"/>
                  <a:pt x="556" y="122"/>
                </a:cubicBezTo>
                <a:cubicBezTo>
                  <a:pt x="555" y="122"/>
                  <a:pt x="555" y="122"/>
                  <a:pt x="554" y="122"/>
                </a:cubicBezTo>
                <a:cubicBezTo>
                  <a:pt x="554" y="121"/>
                  <a:pt x="554" y="121"/>
                  <a:pt x="554" y="121"/>
                </a:cubicBezTo>
                <a:cubicBezTo>
                  <a:pt x="554" y="121"/>
                  <a:pt x="553" y="121"/>
                  <a:pt x="553" y="121"/>
                </a:cubicBezTo>
                <a:cubicBezTo>
                  <a:pt x="552" y="121"/>
                  <a:pt x="552" y="121"/>
                  <a:pt x="551" y="121"/>
                </a:cubicBezTo>
                <a:cubicBezTo>
                  <a:pt x="551" y="121"/>
                  <a:pt x="550" y="121"/>
                  <a:pt x="549" y="121"/>
                </a:cubicBezTo>
                <a:cubicBezTo>
                  <a:pt x="549" y="121"/>
                  <a:pt x="549" y="121"/>
                  <a:pt x="549" y="121"/>
                </a:cubicBezTo>
                <a:cubicBezTo>
                  <a:pt x="548" y="122"/>
                  <a:pt x="548" y="122"/>
                  <a:pt x="547" y="122"/>
                </a:cubicBezTo>
                <a:cubicBezTo>
                  <a:pt x="547" y="121"/>
                  <a:pt x="547" y="121"/>
                  <a:pt x="546" y="121"/>
                </a:cubicBezTo>
                <a:cubicBezTo>
                  <a:pt x="546" y="121"/>
                  <a:pt x="545" y="121"/>
                  <a:pt x="544" y="121"/>
                </a:cubicBezTo>
                <a:cubicBezTo>
                  <a:pt x="544" y="121"/>
                  <a:pt x="544" y="121"/>
                  <a:pt x="544" y="121"/>
                </a:cubicBezTo>
                <a:cubicBezTo>
                  <a:pt x="543" y="121"/>
                  <a:pt x="543" y="120"/>
                  <a:pt x="543" y="120"/>
                </a:cubicBezTo>
                <a:cubicBezTo>
                  <a:pt x="542" y="120"/>
                  <a:pt x="542" y="121"/>
                  <a:pt x="542" y="121"/>
                </a:cubicBezTo>
                <a:cubicBezTo>
                  <a:pt x="542" y="121"/>
                  <a:pt x="542" y="121"/>
                  <a:pt x="542" y="122"/>
                </a:cubicBezTo>
                <a:cubicBezTo>
                  <a:pt x="541" y="122"/>
                  <a:pt x="541" y="122"/>
                  <a:pt x="541" y="122"/>
                </a:cubicBezTo>
                <a:cubicBezTo>
                  <a:pt x="541" y="123"/>
                  <a:pt x="541" y="123"/>
                  <a:pt x="541" y="123"/>
                </a:cubicBezTo>
                <a:cubicBezTo>
                  <a:pt x="541" y="123"/>
                  <a:pt x="541" y="123"/>
                  <a:pt x="541" y="124"/>
                </a:cubicBezTo>
                <a:cubicBezTo>
                  <a:pt x="541" y="124"/>
                  <a:pt x="541" y="124"/>
                  <a:pt x="540" y="124"/>
                </a:cubicBezTo>
                <a:close/>
                <a:moveTo>
                  <a:pt x="481" y="107"/>
                </a:moveTo>
                <a:cubicBezTo>
                  <a:pt x="482" y="107"/>
                  <a:pt x="482" y="107"/>
                  <a:pt x="482" y="107"/>
                </a:cubicBezTo>
                <a:cubicBezTo>
                  <a:pt x="482" y="106"/>
                  <a:pt x="482" y="106"/>
                  <a:pt x="482" y="106"/>
                </a:cubicBezTo>
                <a:cubicBezTo>
                  <a:pt x="481" y="106"/>
                  <a:pt x="481" y="106"/>
                  <a:pt x="481" y="106"/>
                </a:cubicBezTo>
                <a:cubicBezTo>
                  <a:pt x="481" y="106"/>
                  <a:pt x="481" y="106"/>
                  <a:pt x="481" y="106"/>
                </a:cubicBezTo>
                <a:cubicBezTo>
                  <a:pt x="481" y="106"/>
                  <a:pt x="481" y="107"/>
                  <a:pt x="481" y="107"/>
                </a:cubicBezTo>
                <a:cubicBezTo>
                  <a:pt x="481" y="107"/>
                  <a:pt x="481" y="107"/>
                  <a:pt x="481" y="107"/>
                </a:cubicBezTo>
                <a:cubicBezTo>
                  <a:pt x="481" y="107"/>
                  <a:pt x="481" y="107"/>
                  <a:pt x="481" y="107"/>
                </a:cubicBezTo>
                <a:cubicBezTo>
                  <a:pt x="481" y="107"/>
                  <a:pt x="481" y="107"/>
                  <a:pt x="481" y="107"/>
                </a:cubicBezTo>
                <a:close/>
                <a:moveTo>
                  <a:pt x="422" y="179"/>
                </a:moveTo>
                <a:cubicBezTo>
                  <a:pt x="421" y="179"/>
                  <a:pt x="421" y="180"/>
                  <a:pt x="421" y="180"/>
                </a:cubicBezTo>
                <a:cubicBezTo>
                  <a:pt x="421" y="180"/>
                  <a:pt x="421" y="180"/>
                  <a:pt x="421" y="180"/>
                </a:cubicBezTo>
                <a:cubicBezTo>
                  <a:pt x="420" y="180"/>
                  <a:pt x="420" y="180"/>
                  <a:pt x="420" y="180"/>
                </a:cubicBezTo>
                <a:cubicBezTo>
                  <a:pt x="420" y="180"/>
                  <a:pt x="420" y="181"/>
                  <a:pt x="419" y="181"/>
                </a:cubicBezTo>
                <a:cubicBezTo>
                  <a:pt x="420" y="181"/>
                  <a:pt x="420" y="181"/>
                  <a:pt x="420" y="181"/>
                </a:cubicBezTo>
                <a:cubicBezTo>
                  <a:pt x="421" y="181"/>
                  <a:pt x="421" y="181"/>
                  <a:pt x="421" y="181"/>
                </a:cubicBezTo>
                <a:cubicBezTo>
                  <a:pt x="421" y="181"/>
                  <a:pt x="422" y="181"/>
                  <a:pt x="422" y="181"/>
                </a:cubicBezTo>
                <a:cubicBezTo>
                  <a:pt x="422" y="180"/>
                  <a:pt x="422" y="180"/>
                  <a:pt x="422" y="180"/>
                </a:cubicBezTo>
                <a:cubicBezTo>
                  <a:pt x="422" y="180"/>
                  <a:pt x="422" y="180"/>
                  <a:pt x="422" y="180"/>
                </a:cubicBezTo>
                <a:cubicBezTo>
                  <a:pt x="422" y="180"/>
                  <a:pt x="422" y="179"/>
                  <a:pt x="422" y="179"/>
                </a:cubicBezTo>
                <a:cubicBezTo>
                  <a:pt x="422" y="179"/>
                  <a:pt x="422" y="179"/>
                  <a:pt x="422" y="179"/>
                </a:cubicBezTo>
                <a:close/>
                <a:moveTo>
                  <a:pt x="487" y="95"/>
                </a:moveTo>
                <a:cubicBezTo>
                  <a:pt x="487" y="94"/>
                  <a:pt x="487" y="94"/>
                  <a:pt x="487" y="94"/>
                </a:cubicBezTo>
                <a:cubicBezTo>
                  <a:pt x="487" y="94"/>
                  <a:pt x="487" y="94"/>
                  <a:pt x="487" y="94"/>
                </a:cubicBezTo>
                <a:cubicBezTo>
                  <a:pt x="487" y="94"/>
                  <a:pt x="487" y="94"/>
                  <a:pt x="487" y="94"/>
                </a:cubicBezTo>
                <a:cubicBezTo>
                  <a:pt x="486" y="94"/>
                  <a:pt x="486" y="95"/>
                  <a:pt x="486" y="95"/>
                </a:cubicBezTo>
                <a:cubicBezTo>
                  <a:pt x="486" y="95"/>
                  <a:pt x="486" y="95"/>
                  <a:pt x="487" y="95"/>
                </a:cubicBezTo>
                <a:close/>
                <a:moveTo>
                  <a:pt x="480" y="116"/>
                </a:moveTo>
                <a:cubicBezTo>
                  <a:pt x="480" y="116"/>
                  <a:pt x="479" y="116"/>
                  <a:pt x="479" y="116"/>
                </a:cubicBezTo>
                <a:cubicBezTo>
                  <a:pt x="480" y="117"/>
                  <a:pt x="480" y="117"/>
                  <a:pt x="480" y="117"/>
                </a:cubicBezTo>
                <a:cubicBezTo>
                  <a:pt x="480" y="117"/>
                  <a:pt x="480" y="117"/>
                  <a:pt x="480" y="117"/>
                </a:cubicBezTo>
                <a:cubicBezTo>
                  <a:pt x="480" y="117"/>
                  <a:pt x="481" y="117"/>
                  <a:pt x="481" y="117"/>
                </a:cubicBezTo>
                <a:cubicBezTo>
                  <a:pt x="481" y="117"/>
                  <a:pt x="481" y="117"/>
                  <a:pt x="481" y="116"/>
                </a:cubicBezTo>
                <a:cubicBezTo>
                  <a:pt x="481" y="116"/>
                  <a:pt x="480" y="116"/>
                  <a:pt x="480" y="116"/>
                </a:cubicBezTo>
                <a:cubicBezTo>
                  <a:pt x="480" y="116"/>
                  <a:pt x="480" y="116"/>
                  <a:pt x="480" y="116"/>
                </a:cubicBezTo>
                <a:close/>
                <a:moveTo>
                  <a:pt x="539" y="132"/>
                </a:moveTo>
                <a:cubicBezTo>
                  <a:pt x="539" y="133"/>
                  <a:pt x="539" y="133"/>
                  <a:pt x="539" y="133"/>
                </a:cubicBezTo>
                <a:cubicBezTo>
                  <a:pt x="539" y="133"/>
                  <a:pt x="540" y="133"/>
                  <a:pt x="540" y="133"/>
                </a:cubicBezTo>
                <a:cubicBezTo>
                  <a:pt x="540" y="132"/>
                  <a:pt x="540" y="132"/>
                  <a:pt x="540" y="132"/>
                </a:cubicBezTo>
                <a:cubicBezTo>
                  <a:pt x="540" y="132"/>
                  <a:pt x="539" y="132"/>
                  <a:pt x="539" y="132"/>
                </a:cubicBezTo>
                <a:cubicBezTo>
                  <a:pt x="539" y="132"/>
                  <a:pt x="539" y="132"/>
                  <a:pt x="539" y="132"/>
                </a:cubicBezTo>
                <a:close/>
                <a:moveTo>
                  <a:pt x="543" y="132"/>
                </a:moveTo>
                <a:cubicBezTo>
                  <a:pt x="543" y="132"/>
                  <a:pt x="543" y="133"/>
                  <a:pt x="543" y="133"/>
                </a:cubicBezTo>
                <a:cubicBezTo>
                  <a:pt x="544" y="133"/>
                  <a:pt x="544" y="133"/>
                  <a:pt x="544" y="133"/>
                </a:cubicBezTo>
                <a:cubicBezTo>
                  <a:pt x="544" y="133"/>
                  <a:pt x="544" y="133"/>
                  <a:pt x="544" y="132"/>
                </a:cubicBezTo>
                <a:cubicBezTo>
                  <a:pt x="544" y="132"/>
                  <a:pt x="544" y="132"/>
                  <a:pt x="544" y="132"/>
                </a:cubicBezTo>
                <a:cubicBezTo>
                  <a:pt x="543" y="132"/>
                  <a:pt x="543" y="132"/>
                  <a:pt x="543" y="132"/>
                </a:cubicBezTo>
                <a:close/>
                <a:moveTo>
                  <a:pt x="570" y="138"/>
                </a:moveTo>
                <a:cubicBezTo>
                  <a:pt x="570" y="138"/>
                  <a:pt x="570" y="138"/>
                  <a:pt x="570" y="138"/>
                </a:cubicBezTo>
                <a:cubicBezTo>
                  <a:pt x="570" y="137"/>
                  <a:pt x="570" y="137"/>
                  <a:pt x="570" y="137"/>
                </a:cubicBezTo>
                <a:cubicBezTo>
                  <a:pt x="570" y="137"/>
                  <a:pt x="569" y="137"/>
                  <a:pt x="569" y="138"/>
                </a:cubicBezTo>
                <a:cubicBezTo>
                  <a:pt x="569" y="138"/>
                  <a:pt x="569" y="138"/>
                  <a:pt x="569" y="138"/>
                </a:cubicBezTo>
                <a:cubicBezTo>
                  <a:pt x="569" y="138"/>
                  <a:pt x="570" y="138"/>
                  <a:pt x="570" y="138"/>
                </a:cubicBezTo>
                <a:cubicBezTo>
                  <a:pt x="570" y="138"/>
                  <a:pt x="570" y="138"/>
                  <a:pt x="570" y="138"/>
                </a:cubicBezTo>
                <a:close/>
                <a:moveTo>
                  <a:pt x="568" y="140"/>
                </a:moveTo>
                <a:cubicBezTo>
                  <a:pt x="568" y="140"/>
                  <a:pt x="568" y="140"/>
                  <a:pt x="567" y="140"/>
                </a:cubicBezTo>
                <a:cubicBezTo>
                  <a:pt x="568" y="140"/>
                  <a:pt x="568" y="140"/>
                  <a:pt x="568" y="141"/>
                </a:cubicBezTo>
                <a:cubicBezTo>
                  <a:pt x="568" y="141"/>
                  <a:pt x="568" y="140"/>
                  <a:pt x="568" y="140"/>
                </a:cubicBezTo>
                <a:cubicBezTo>
                  <a:pt x="568" y="140"/>
                  <a:pt x="569" y="140"/>
                  <a:pt x="569" y="140"/>
                </a:cubicBezTo>
                <a:cubicBezTo>
                  <a:pt x="569" y="139"/>
                  <a:pt x="569" y="139"/>
                  <a:pt x="569" y="139"/>
                </a:cubicBezTo>
                <a:cubicBezTo>
                  <a:pt x="569" y="139"/>
                  <a:pt x="569" y="139"/>
                  <a:pt x="569" y="139"/>
                </a:cubicBezTo>
                <a:cubicBezTo>
                  <a:pt x="569" y="139"/>
                  <a:pt x="569" y="139"/>
                  <a:pt x="568" y="139"/>
                </a:cubicBezTo>
                <a:cubicBezTo>
                  <a:pt x="568" y="139"/>
                  <a:pt x="568" y="139"/>
                  <a:pt x="568" y="139"/>
                </a:cubicBezTo>
                <a:cubicBezTo>
                  <a:pt x="568" y="139"/>
                  <a:pt x="568" y="139"/>
                  <a:pt x="567" y="139"/>
                </a:cubicBezTo>
                <a:cubicBezTo>
                  <a:pt x="568" y="139"/>
                  <a:pt x="568" y="140"/>
                  <a:pt x="568" y="140"/>
                </a:cubicBezTo>
                <a:close/>
                <a:moveTo>
                  <a:pt x="489" y="104"/>
                </a:moveTo>
                <a:cubicBezTo>
                  <a:pt x="489" y="104"/>
                  <a:pt x="489" y="104"/>
                  <a:pt x="489" y="104"/>
                </a:cubicBezTo>
                <a:cubicBezTo>
                  <a:pt x="489" y="104"/>
                  <a:pt x="489" y="104"/>
                  <a:pt x="489" y="105"/>
                </a:cubicBezTo>
                <a:cubicBezTo>
                  <a:pt x="489" y="105"/>
                  <a:pt x="490" y="104"/>
                  <a:pt x="490" y="104"/>
                </a:cubicBezTo>
                <a:cubicBezTo>
                  <a:pt x="490" y="104"/>
                  <a:pt x="490" y="104"/>
                  <a:pt x="490" y="103"/>
                </a:cubicBezTo>
                <a:cubicBezTo>
                  <a:pt x="490" y="103"/>
                  <a:pt x="490" y="102"/>
                  <a:pt x="491" y="102"/>
                </a:cubicBezTo>
                <a:cubicBezTo>
                  <a:pt x="490" y="102"/>
                  <a:pt x="490" y="102"/>
                  <a:pt x="489" y="102"/>
                </a:cubicBezTo>
                <a:cubicBezTo>
                  <a:pt x="489" y="102"/>
                  <a:pt x="489" y="102"/>
                  <a:pt x="489" y="102"/>
                </a:cubicBezTo>
                <a:cubicBezTo>
                  <a:pt x="489" y="103"/>
                  <a:pt x="489" y="103"/>
                  <a:pt x="489" y="103"/>
                </a:cubicBezTo>
                <a:cubicBezTo>
                  <a:pt x="489" y="103"/>
                  <a:pt x="489" y="103"/>
                  <a:pt x="489" y="104"/>
                </a:cubicBezTo>
                <a:cubicBezTo>
                  <a:pt x="489" y="104"/>
                  <a:pt x="489" y="104"/>
                  <a:pt x="489" y="104"/>
                </a:cubicBezTo>
                <a:close/>
                <a:moveTo>
                  <a:pt x="541" y="133"/>
                </a:moveTo>
                <a:cubicBezTo>
                  <a:pt x="541" y="133"/>
                  <a:pt x="541" y="133"/>
                  <a:pt x="541" y="133"/>
                </a:cubicBezTo>
                <a:cubicBezTo>
                  <a:pt x="541" y="133"/>
                  <a:pt x="541" y="133"/>
                  <a:pt x="542" y="133"/>
                </a:cubicBezTo>
                <a:cubicBezTo>
                  <a:pt x="542" y="133"/>
                  <a:pt x="541" y="133"/>
                  <a:pt x="541" y="133"/>
                </a:cubicBezTo>
                <a:cubicBezTo>
                  <a:pt x="541" y="133"/>
                  <a:pt x="541" y="133"/>
                  <a:pt x="541" y="133"/>
                </a:cubicBezTo>
                <a:cubicBezTo>
                  <a:pt x="541" y="133"/>
                  <a:pt x="541" y="133"/>
                  <a:pt x="541" y="133"/>
                </a:cubicBezTo>
                <a:close/>
                <a:moveTo>
                  <a:pt x="502" y="121"/>
                </a:moveTo>
                <a:cubicBezTo>
                  <a:pt x="502" y="121"/>
                  <a:pt x="502" y="121"/>
                  <a:pt x="503" y="121"/>
                </a:cubicBezTo>
                <a:cubicBezTo>
                  <a:pt x="503" y="121"/>
                  <a:pt x="503" y="120"/>
                  <a:pt x="502" y="120"/>
                </a:cubicBezTo>
                <a:cubicBezTo>
                  <a:pt x="502" y="120"/>
                  <a:pt x="501" y="120"/>
                  <a:pt x="501" y="120"/>
                </a:cubicBezTo>
                <a:cubicBezTo>
                  <a:pt x="501" y="121"/>
                  <a:pt x="501" y="121"/>
                  <a:pt x="501" y="121"/>
                </a:cubicBezTo>
                <a:cubicBezTo>
                  <a:pt x="501" y="121"/>
                  <a:pt x="501" y="121"/>
                  <a:pt x="501" y="121"/>
                </a:cubicBezTo>
                <a:cubicBezTo>
                  <a:pt x="502" y="121"/>
                  <a:pt x="502" y="121"/>
                  <a:pt x="502" y="121"/>
                </a:cubicBezTo>
                <a:close/>
                <a:moveTo>
                  <a:pt x="489" y="100"/>
                </a:moveTo>
                <a:cubicBezTo>
                  <a:pt x="489" y="100"/>
                  <a:pt x="489" y="100"/>
                  <a:pt x="489" y="100"/>
                </a:cubicBezTo>
                <a:cubicBezTo>
                  <a:pt x="489" y="100"/>
                  <a:pt x="490" y="100"/>
                  <a:pt x="490" y="101"/>
                </a:cubicBezTo>
                <a:cubicBezTo>
                  <a:pt x="490" y="101"/>
                  <a:pt x="490" y="100"/>
                  <a:pt x="490" y="100"/>
                </a:cubicBezTo>
                <a:cubicBezTo>
                  <a:pt x="490" y="100"/>
                  <a:pt x="490" y="100"/>
                  <a:pt x="489" y="100"/>
                </a:cubicBezTo>
                <a:close/>
                <a:moveTo>
                  <a:pt x="488" y="90"/>
                </a:moveTo>
                <a:cubicBezTo>
                  <a:pt x="488" y="90"/>
                  <a:pt x="488" y="89"/>
                  <a:pt x="488" y="89"/>
                </a:cubicBezTo>
                <a:cubicBezTo>
                  <a:pt x="488" y="89"/>
                  <a:pt x="487" y="89"/>
                  <a:pt x="487" y="89"/>
                </a:cubicBezTo>
                <a:cubicBezTo>
                  <a:pt x="487" y="89"/>
                  <a:pt x="487" y="90"/>
                  <a:pt x="487" y="90"/>
                </a:cubicBezTo>
                <a:cubicBezTo>
                  <a:pt x="487" y="90"/>
                  <a:pt x="487" y="90"/>
                  <a:pt x="487" y="90"/>
                </a:cubicBezTo>
                <a:cubicBezTo>
                  <a:pt x="487" y="90"/>
                  <a:pt x="488" y="90"/>
                  <a:pt x="488" y="90"/>
                </a:cubicBezTo>
                <a:close/>
                <a:moveTo>
                  <a:pt x="456" y="103"/>
                </a:moveTo>
                <a:cubicBezTo>
                  <a:pt x="456" y="103"/>
                  <a:pt x="457" y="103"/>
                  <a:pt x="457" y="103"/>
                </a:cubicBezTo>
                <a:cubicBezTo>
                  <a:pt x="457" y="103"/>
                  <a:pt x="457" y="103"/>
                  <a:pt x="458" y="103"/>
                </a:cubicBezTo>
                <a:cubicBezTo>
                  <a:pt x="458" y="103"/>
                  <a:pt x="458" y="103"/>
                  <a:pt x="458" y="103"/>
                </a:cubicBezTo>
                <a:cubicBezTo>
                  <a:pt x="459" y="103"/>
                  <a:pt x="459" y="102"/>
                  <a:pt x="459" y="102"/>
                </a:cubicBezTo>
                <a:cubicBezTo>
                  <a:pt x="459" y="102"/>
                  <a:pt x="459" y="102"/>
                  <a:pt x="459" y="102"/>
                </a:cubicBezTo>
                <a:cubicBezTo>
                  <a:pt x="459" y="102"/>
                  <a:pt x="459" y="102"/>
                  <a:pt x="458" y="102"/>
                </a:cubicBezTo>
                <a:cubicBezTo>
                  <a:pt x="457" y="102"/>
                  <a:pt x="457" y="102"/>
                  <a:pt x="456" y="103"/>
                </a:cubicBezTo>
                <a:cubicBezTo>
                  <a:pt x="455" y="103"/>
                  <a:pt x="455" y="103"/>
                  <a:pt x="455" y="103"/>
                </a:cubicBezTo>
                <a:cubicBezTo>
                  <a:pt x="454" y="103"/>
                  <a:pt x="454" y="103"/>
                  <a:pt x="454" y="103"/>
                </a:cubicBezTo>
                <a:cubicBezTo>
                  <a:pt x="454" y="103"/>
                  <a:pt x="453" y="103"/>
                  <a:pt x="453" y="103"/>
                </a:cubicBezTo>
                <a:cubicBezTo>
                  <a:pt x="452" y="103"/>
                  <a:pt x="452" y="104"/>
                  <a:pt x="452" y="104"/>
                </a:cubicBezTo>
                <a:cubicBezTo>
                  <a:pt x="452" y="104"/>
                  <a:pt x="452" y="104"/>
                  <a:pt x="452" y="104"/>
                </a:cubicBezTo>
                <a:cubicBezTo>
                  <a:pt x="453" y="104"/>
                  <a:pt x="454" y="104"/>
                  <a:pt x="455" y="104"/>
                </a:cubicBezTo>
                <a:cubicBezTo>
                  <a:pt x="455" y="104"/>
                  <a:pt x="456" y="103"/>
                  <a:pt x="456" y="103"/>
                </a:cubicBezTo>
                <a:close/>
                <a:moveTo>
                  <a:pt x="386" y="112"/>
                </a:moveTo>
                <a:cubicBezTo>
                  <a:pt x="387" y="111"/>
                  <a:pt x="388" y="110"/>
                  <a:pt x="389" y="109"/>
                </a:cubicBezTo>
                <a:cubicBezTo>
                  <a:pt x="390" y="109"/>
                  <a:pt x="390" y="108"/>
                  <a:pt x="391" y="108"/>
                </a:cubicBezTo>
                <a:cubicBezTo>
                  <a:pt x="391" y="108"/>
                  <a:pt x="392" y="107"/>
                  <a:pt x="392" y="107"/>
                </a:cubicBezTo>
                <a:cubicBezTo>
                  <a:pt x="393" y="107"/>
                  <a:pt x="393" y="106"/>
                  <a:pt x="393" y="106"/>
                </a:cubicBezTo>
                <a:cubicBezTo>
                  <a:pt x="392" y="106"/>
                  <a:pt x="392" y="106"/>
                  <a:pt x="392" y="106"/>
                </a:cubicBezTo>
                <a:cubicBezTo>
                  <a:pt x="391" y="107"/>
                  <a:pt x="391" y="107"/>
                  <a:pt x="390" y="107"/>
                </a:cubicBezTo>
                <a:cubicBezTo>
                  <a:pt x="390" y="107"/>
                  <a:pt x="390" y="107"/>
                  <a:pt x="390" y="107"/>
                </a:cubicBezTo>
                <a:cubicBezTo>
                  <a:pt x="389" y="107"/>
                  <a:pt x="389" y="108"/>
                  <a:pt x="389" y="108"/>
                </a:cubicBezTo>
                <a:cubicBezTo>
                  <a:pt x="388" y="108"/>
                  <a:pt x="388" y="108"/>
                  <a:pt x="387" y="108"/>
                </a:cubicBezTo>
                <a:cubicBezTo>
                  <a:pt x="387" y="109"/>
                  <a:pt x="386" y="109"/>
                  <a:pt x="386" y="110"/>
                </a:cubicBezTo>
                <a:cubicBezTo>
                  <a:pt x="385" y="110"/>
                  <a:pt x="385" y="110"/>
                  <a:pt x="385" y="110"/>
                </a:cubicBezTo>
                <a:cubicBezTo>
                  <a:pt x="385" y="110"/>
                  <a:pt x="384" y="110"/>
                  <a:pt x="384" y="111"/>
                </a:cubicBezTo>
                <a:cubicBezTo>
                  <a:pt x="384" y="111"/>
                  <a:pt x="383" y="111"/>
                  <a:pt x="382" y="111"/>
                </a:cubicBezTo>
                <a:cubicBezTo>
                  <a:pt x="382" y="112"/>
                  <a:pt x="381" y="113"/>
                  <a:pt x="380" y="113"/>
                </a:cubicBezTo>
                <a:cubicBezTo>
                  <a:pt x="380" y="113"/>
                  <a:pt x="380" y="114"/>
                  <a:pt x="380" y="114"/>
                </a:cubicBezTo>
                <a:cubicBezTo>
                  <a:pt x="380" y="114"/>
                  <a:pt x="380" y="114"/>
                  <a:pt x="381" y="114"/>
                </a:cubicBezTo>
                <a:cubicBezTo>
                  <a:pt x="381" y="114"/>
                  <a:pt x="381" y="114"/>
                  <a:pt x="381" y="114"/>
                </a:cubicBezTo>
                <a:cubicBezTo>
                  <a:pt x="382" y="114"/>
                  <a:pt x="382" y="114"/>
                  <a:pt x="382" y="114"/>
                </a:cubicBezTo>
                <a:cubicBezTo>
                  <a:pt x="382" y="114"/>
                  <a:pt x="383" y="114"/>
                  <a:pt x="383" y="114"/>
                </a:cubicBezTo>
                <a:cubicBezTo>
                  <a:pt x="383" y="114"/>
                  <a:pt x="383" y="114"/>
                  <a:pt x="383" y="114"/>
                </a:cubicBezTo>
                <a:cubicBezTo>
                  <a:pt x="383" y="114"/>
                  <a:pt x="384" y="114"/>
                  <a:pt x="384" y="114"/>
                </a:cubicBezTo>
                <a:cubicBezTo>
                  <a:pt x="384" y="114"/>
                  <a:pt x="384" y="114"/>
                  <a:pt x="384" y="114"/>
                </a:cubicBezTo>
                <a:cubicBezTo>
                  <a:pt x="385" y="113"/>
                  <a:pt x="385" y="113"/>
                  <a:pt x="385" y="113"/>
                </a:cubicBezTo>
                <a:cubicBezTo>
                  <a:pt x="386" y="113"/>
                  <a:pt x="386" y="112"/>
                  <a:pt x="386" y="112"/>
                </a:cubicBezTo>
                <a:close/>
                <a:moveTo>
                  <a:pt x="453" y="169"/>
                </a:moveTo>
                <a:cubicBezTo>
                  <a:pt x="453" y="169"/>
                  <a:pt x="453" y="169"/>
                  <a:pt x="454" y="170"/>
                </a:cubicBezTo>
                <a:cubicBezTo>
                  <a:pt x="454" y="170"/>
                  <a:pt x="454" y="170"/>
                  <a:pt x="454" y="170"/>
                </a:cubicBezTo>
                <a:cubicBezTo>
                  <a:pt x="454" y="169"/>
                  <a:pt x="454" y="169"/>
                  <a:pt x="454" y="169"/>
                </a:cubicBezTo>
                <a:cubicBezTo>
                  <a:pt x="454" y="168"/>
                  <a:pt x="454" y="168"/>
                  <a:pt x="454" y="168"/>
                </a:cubicBezTo>
                <a:cubicBezTo>
                  <a:pt x="453" y="168"/>
                  <a:pt x="453" y="168"/>
                  <a:pt x="453" y="169"/>
                </a:cubicBezTo>
                <a:close/>
                <a:moveTo>
                  <a:pt x="374" y="111"/>
                </a:moveTo>
                <a:cubicBezTo>
                  <a:pt x="375" y="111"/>
                  <a:pt x="375" y="111"/>
                  <a:pt x="375" y="110"/>
                </a:cubicBezTo>
                <a:cubicBezTo>
                  <a:pt x="375" y="110"/>
                  <a:pt x="375" y="110"/>
                  <a:pt x="375" y="110"/>
                </a:cubicBezTo>
                <a:cubicBezTo>
                  <a:pt x="375" y="110"/>
                  <a:pt x="375" y="111"/>
                  <a:pt x="374" y="111"/>
                </a:cubicBezTo>
                <a:cubicBezTo>
                  <a:pt x="374" y="111"/>
                  <a:pt x="374" y="111"/>
                  <a:pt x="374" y="111"/>
                </a:cubicBezTo>
                <a:close/>
                <a:moveTo>
                  <a:pt x="385" y="192"/>
                </a:moveTo>
                <a:cubicBezTo>
                  <a:pt x="385" y="192"/>
                  <a:pt x="384" y="192"/>
                  <a:pt x="384" y="192"/>
                </a:cubicBezTo>
                <a:cubicBezTo>
                  <a:pt x="384" y="193"/>
                  <a:pt x="385" y="193"/>
                  <a:pt x="385" y="193"/>
                </a:cubicBezTo>
                <a:cubicBezTo>
                  <a:pt x="385" y="193"/>
                  <a:pt x="385" y="193"/>
                  <a:pt x="385" y="193"/>
                </a:cubicBezTo>
                <a:cubicBezTo>
                  <a:pt x="385" y="193"/>
                  <a:pt x="385" y="192"/>
                  <a:pt x="385" y="192"/>
                </a:cubicBezTo>
                <a:close/>
                <a:moveTo>
                  <a:pt x="438" y="160"/>
                </a:moveTo>
                <a:cubicBezTo>
                  <a:pt x="438" y="160"/>
                  <a:pt x="438" y="160"/>
                  <a:pt x="438" y="160"/>
                </a:cubicBezTo>
                <a:cubicBezTo>
                  <a:pt x="438" y="160"/>
                  <a:pt x="437" y="160"/>
                  <a:pt x="437" y="159"/>
                </a:cubicBezTo>
                <a:cubicBezTo>
                  <a:pt x="437" y="160"/>
                  <a:pt x="437" y="160"/>
                  <a:pt x="437" y="160"/>
                </a:cubicBezTo>
                <a:cubicBezTo>
                  <a:pt x="437" y="160"/>
                  <a:pt x="437" y="160"/>
                  <a:pt x="437" y="161"/>
                </a:cubicBezTo>
                <a:cubicBezTo>
                  <a:pt x="437" y="161"/>
                  <a:pt x="437" y="161"/>
                  <a:pt x="437" y="161"/>
                </a:cubicBezTo>
                <a:cubicBezTo>
                  <a:pt x="437" y="161"/>
                  <a:pt x="437" y="161"/>
                  <a:pt x="437" y="162"/>
                </a:cubicBezTo>
                <a:cubicBezTo>
                  <a:pt x="438" y="162"/>
                  <a:pt x="438" y="162"/>
                  <a:pt x="438" y="162"/>
                </a:cubicBezTo>
                <a:cubicBezTo>
                  <a:pt x="438" y="161"/>
                  <a:pt x="438" y="161"/>
                  <a:pt x="438" y="161"/>
                </a:cubicBezTo>
                <a:cubicBezTo>
                  <a:pt x="438" y="161"/>
                  <a:pt x="438" y="160"/>
                  <a:pt x="438" y="160"/>
                </a:cubicBezTo>
                <a:cubicBezTo>
                  <a:pt x="438" y="160"/>
                  <a:pt x="438" y="160"/>
                  <a:pt x="438" y="160"/>
                </a:cubicBezTo>
                <a:close/>
                <a:moveTo>
                  <a:pt x="434" y="131"/>
                </a:moveTo>
                <a:cubicBezTo>
                  <a:pt x="434" y="131"/>
                  <a:pt x="434" y="131"/>
                  <a:pt x="433" y="131"/>
                </a:cubicBezTo>
                <a:cubicBezTo>
                  <a:pt x="433" y="131"/>
                  <a:pt x="433" y="131"/>
                  <a:pt x="434" y="130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3" y="130"/>
                  <a:pt x="433" y="129"/>
                  <a:pt x="432" y="129"/>
                </a:cubicBezTo>
                <a:cubicBezTo>
                  <a:pt x="432" y="129"/>
                  <a:pt x="432" y="129"/>
                  <a:pt x="431" y="129"/>
                </a:cubicBezTo>
                <a:cubicBezTo>
                  <a:pt x="431" y="130"/>
                  <a:pt x="431" y="130"/>
                  <a:pt x="431" y="130"/>
                </a:cubicBezTo>
                <a:cubicBezTo>
                  <a:pt x="430" y="130"/>
                  <a:pt x="430" y="130"/>
                  <a:pt x="429" y="130"/>
                </a:cubicBezTo>
                <a:cubicBezTo>
                  <a:pt x="429" y="130"/>
                  <a:pt x="429" y="130"/>
                  <a:pt x="429" y="130"/>
                </a:cubicBezTo>
                <a:cubicBezTo>
                  <a:pt x="428" y="130"/>
                  <a:pt x="428" y="130"/>
                  <a:pt x="428" y="130"/>
                </a:cubicBezTo>
                <a:cubicBezTo>
                  <a:pt x="427" y="130"/>
                  <a:pt x="427" y="130"/>
                  <a:pt x="427" y="130"/>
                </a:cubicBezTo>
                <a:cubicBezTo>
                  <a:pt x="426" y="130"/>
                  <a:pt x="426" y="130"/>
                  <a:pt x="426" y="130"/>
                </a:cubicBezTo>
                <a:cubicBezTo>
                  <a:pt x="425" y="130"/>
                  <a:pt x="425" y="130"/>
                  <a:pt x="424" y="130"/>
                </a:cubicBezTo>
                <a:cubicBezTo>
                  <a:pt x="424" y="131"/>
                  <a:pt x="424" y="131"/>
                  <a:pt x="423" y="131"/>
                </a:cubicBezTo>
                <a:cubicBezTo>
                  <a:pt x="423" y="131"/>
                  <a:pt x="423" y="132"/>
                  <a:pt x="422" y="132"/>
                </a:cubicBezTo>
                <a:cubicBezTo>
                  <a:pt x="422" y="132"/>
                  <a:pt x="421" y="133"/>
                  <a:pt x="421" y="133"/>
                </a:cubicBezTo>
                <a:cubicBezTo>
                  <a:pt x="421" y="133"/>
                  <a:pt x="421" y="133"/>
                  <a:pt x="421" y="134"/>
                </a:cubicBezTo>
                <a:cubicBezTo>
                  <a:pt x="421" y="134"/>
                  <a:pt x="422" y="134"/>
                  <a:pt x="422" y="134"/>
                </a:cubicBezTo>
                <a:cubicBezTo>
                  <a:pt x="422" y="134"/>
                  <a:pt x="423" y="134"/>
                  <a:pt x="423" y="134"/>
                </a:cubicBezTo>
                <a:cubicBezTo>
                  <a:pt x="423" y="135"/>
                  <a:pt x="423" y="135"/>
                  <a:pt x="423" y="135"/>
                </a:cubicBezTo>
                <a:cubicBezTo>
                  <a:pt x="424" y="135"/>
                  <a:pt x="424" y="136"/>
                  <a:pt x="424" y="136"/>
                </a:cubicBezTo>
                <a:cubicBezTo>
                  <a:pt x="424" y="136"/>
                  <a:pt x="424" y="136"/>
                  <a:pt x="424" y="136"/>
                </a:cubicBezTo>
                <a:cubicBezTo>
                  <a:pt x="424" y="137"/>
                  <a:pt x="424" y="137"/>
                  <a:pt x="424" y="137"/>
                </a:cubicBezTo>
                <a:cubicBezTo>
                  <a:pt x="424" y="137"/>
                  <a:pt x="425" y="137"/>
                  <a:pt x="425" y="137"/>
                </a:cubicBezTo>
                <a:cubicBezTo>
                  <a:pt x="425" y="138"/>
                  <a:pt x="425" y="138"/>
                  <a:pt x="426" y="139"/>
                </a:cubicBezTo>
                <a:cubicBezTo>
                  <a:pt x="426" y="139"/>
                  <a:pt x="426" y="139"/>
                  <a:pt x="427" y="139"/>
                </a:cubicBezTo>
                <a:cubicBezTo>
                  <a:pt x="427" y="139"/>
                  <a:pt x="427" y="139"/>
                  <a:pt x="427" y="139"/>
                </a:cubicBezTo>
                <a:cubicBezTo>
                  <a:pt x="427" y="139"/>
                  <a:pt x="427" y="139"/>
                  <a:pt x="427" y="139"/>
                </a:cubicBezTo>
                <a:cubicBezTo>
                  <a:pt x="427" y="138"/>
                  <a:pt x="427" y="138"/>
                  <a:pt x="427" y="138"/>
                </a:cubicBezTo>
                <a:cubicBezTo>
                  <a:pt x="428" y="138"/>
                  <a:pt x="428" y="138"/>
                  <a:pt x="428" y="138"/>
                </a:cubicBezTo>
                <a:cubicBezTo>
                  <a:pt x="429" y="137"/>
                  <a:pt x="429" y="137"/>
                  <a:pt x="430" y="136"/>
                </a:cubicBezTo>
                <a:cubicBezTo>
                  <a:pt x="430" y="136"/>
                  <a:pt x="430" y="136"/>
                  <a:pt x="431" y="135"/>
                </a:cubicBezTo>
                <a:cubicBezTo>
                  <a:pt x="431" y="135"/>
                  <a:pt x="432" y="135"/>
                  <a:pt x="432" y="134"/>
                </a:cubicBezTo>
                <a:cubicBezTo>
                  <a:pt x="432" y="134"/>
                  <a:pt x="433" y="134"/>
                  <a:pt x="433" y="134"/>
                </a:cubicBezTo>
                <a:cubicBezTo>
                  <a:pt x="433" y="134"/>
                  <a:pt x="434" y="133"/>
                  <a:pt x="434" y="133"/>
                </a:cubicBezTo>
                <a:cubicBezTo>
                  <a:pt x="434" y="133"/>
                  <a:pt x="434" y="132"/>
                  <a:pt x="434" y="132"/>
                </a:cubicBezTo>
                <a:cubicBezTo>
                  <a:pt x="434" y="132"/>
                  <a:pt x="434" y="132"/>
                  <a:pt x="434" y="132"/>
                </a:cubicBezTo>
                <a:cubicBezTo>
                  <a:pt x="434" y="132"/>
                  <a:pt x="434" y="131"/>
                  <a:pt x="434" y="131"/>
                </a:cubicBezTo>
                <a:close/>
                <a:moveTo>
                  <a:pt x="418" y="133"/>
                </a:moveTo>
                <a:cubicBezTo>
                  <a:pt x="418" y="133"/>
                  <a:pt x="418" y="133"/>
                  <a:pt x="419" y="133"/>
                </a:cubicBezTo>
                <a:cubicBezTo>
                  <a:pt x="419" y="132"/>
                  <a:pt x="419" y="132"/>
                  <a:pt x="419" y="132"/>
                </a:cubicBezTo>
                <a:cubicBezTo>
                  <a:pt x="419" y="132"/>
                  <a:pt x="419" y="132"/>
                  <a:pt x="418" y="132"/>
                </a:cubicBezTo>
                <a:cubicBezTo>
                  <a:pt x="418" y="132"/>
                  <a:pt x="417" y="132"/>
                  <a:pt x="417" y="132"/>
                </a:cubicBezTo>
                <a:cubicBezTo>
                  <a:pt x="417" y="132"/>
                  <a:pt x="417" y="132"/>
                  <a:pt x="416" y="132"/>
                </a:cubicBezTo>
                <a:cubicBezTo>
                  <a:pt x="417" y="133"/>
                  <a:pt x="417" y="133"/>
                  <a:pt x="417" y="133"/>
                </a:cubicBezTo>
                <a:cubicBezTo>
                  <a:pt x="417" y="133"/>
                  <a:pt x="417" y="133"/>
                  <a:pt x="417" y="133"/>
                </a:cubicBezTo>
                <a:cubicBezTo>
                  <a:pt x="417" y="133"/>
                  <a:pt x="417" y="133"/>
                  <a:pt x="418" y="133"/>
                </a:cubicBezTo>
                <a:close/>
                <a:moveTo>
                  <a:pt x="388" y="194"/>
                </a:moveTo>
                <a:cubicBezTo>
                  <a:pt x="388" y="194"/>
                  <a:pt x="388" y="194"/>
                  <a:pt x="388" y="194"/>
                </a:cubicBezTo>
                <a:cubicBezTo>
                  <a:pt x="388" y="194"/>
                  <a:pt x="388" y="194"/>
                  <a:pt x="388" y="194"/>
                </a:cubicBezTo>
                <a:cubicBezTo>
                  <a:pt x="387" y="194"/>
                  <a:pt x="387" y="194"/>
                  <a:pt x="387" y="194"/>
                </a:cubicBezTo>
                <a:cubicBezTo>
                  <a:pt x="387" y="195"/>
                  <a:pt x="388" y="195"/>
                  <a:pt x="388" y="195"/>
                </a:cubicBezTo>
                <a:cubicBezTo>
                  <a:pt x="388" y="195"/>
                  <a:pt x="388" y="195"/>
                  <a:pt x="388" y="195"/>
                </a:cubicBezTo>
                <a:cubicBezTo>
                  <a:pt x="389" y="195"/>
                  <a:pt x="389" y="194"/>
                  <a:pt x="389" y="194"/>
                </a:cubicBezTo>
                <a:cubicBezTo>
                  <a:pt x="389" y="194"/>
                  <a:pt x="389" y="194"/>
                  <a:pt x="389" y="194"/>
                </a:cubicBezTo>
                <a:cubicBezTo>
                  <a:pt x="389" y="194"/>
                  <a:pt x="389" y="194"/>
                  <a:pt x="389" y="193"/>
                </a:cubicBezTo>
                <a:cubicBezTo>
                  <a:pt x="389" y="193"/>
                  <a:pt x="389" y="194"/>
                  <a:pt x="388" y="194"/>
                </a:cubicBezTo>
                <a:close/>
                <a:moveTo>
                  <a:pt x="386" y="188"/>
                </a:moveTo>
                <a:cubicBezTo>
                  <a:pt x="386" y="188"/>
                  <a:pt x="386" y="189"/>
                  <a:pt x="386" y="189"/>
                </a:cubicBezTo>
                <a:cubicBezTo>
                  <a:pt x="386" y="189"/>
                  <a:pt x="386" y="188"/>
                  <a:pt x="386" y="188"/>
                </a:cubicBezTo>
                <a:cubicBezTo>
                  <a:pt x="387" y="188"/>
                  <a:pt x="387" y="188"/>
                  <a:pt x="387" y="188"/>
                </a:cubicBezTo>
                <a:cubicBezTo>
                  <a:pt x="387" y="188"/>
                  <a:pt x="386" y="188"/>
                  <a:pt x="386" y="188"/>
                </a:cubicBezTo>
                <a:close/>
                <a:moveTo>
                  <a:pt x="382" y="191"/>
                </a:moveTo>
                <a:cubicBezTo>
                  <a:pt x="383" y="191"/>
                  <a:pt x="383" y="191"/>
                  <a:pt x="383" y="190"/>
                </a:cubicBezTo>
                <a:cubicBezTo>
                  <a:pt x="383" y="190"/>
                  <a:pt x="383" y="190"/>
                  <a:pt x="383" y="190"/>
                </a:cubicBezTo>
                <a:cubicBezTo>
                  <a:pt x="383" y="190"/>
                  <a:pt x="383" y="190"/>
                  <a:pt x="382" y="190"/>
                </a:cubicBezTo>
                <a:cubicBezTo>
                  <a:pt x="382" y="190"/>
                  <a:pt x="382" y="191"/>
                  <a:pt x="382" y="191"/>
                </a:cubicBezTo>
                <a:close/>
                <a:moveTo>
                  <a:pt x="387" y="199"/>
                </a:moveTo>
                <a:cubicBezTo>
                  <a:pt x="387" y="198"/>
                  <a:pt x="387" y="198"/>
                  <a:pt x="387" y="198"/>
                </a:cubicBezTo>
                <a:cubicBezTo>
                  <a:pt x="388" y="198"/>
                  <a:pt x="388" y="198"/>
                  <a:pt x="388" y="198"/>
                </a:cubicBezTo>
                <a:cubicBezTo>
                  <a:pt x="388" y="198"/>
                  <a:pt x="388" y="197"/>
                  <a:pt x="388" y="197"/>
                </a:cubicBezTo>
                <a:cubicBezTo>
                  <a:pt x="388" y="197"/>
                  <a:pt x="388" y="197"/>
                  <a:pt x="388" y="197"/>
                </a:cubicBezTo>
                <a:cubicBezTo>
                  <a:pt x="388" y="197"/>
                  <a:pt x="388" y="197"/>
                  <a:pt x="387" y="197"/>
                </a:cubicBezTo>
                <a:cubicBezTo>
                  <a:pt x="387" y="196"/>
                  <a:pt x="387" y="196"/>
                  <a:pt x="387" y="196"/>
                </a:cubicBezTo>
                <a:cubicBezTo>
                  <a:pt x="387" y="196"/>
                  <a:pt x="387" y="196"/>
                  <a:pt x="387" y="196"/>
                </a:cubicBezTo>
                <a:cubicBezTo>
                  <a:pt x="387" y="196"/>
                  <a:pt x="387" y="197"/>
                  <a:pt x="387" y="197"/>
                </a:cubicBezTo>
                <a:cubicBezTo>
                  <a:pt x="387" y="197"/>
                  <a:pt x="387" y="197"/>
                  <a:pt x="387" y="197"/>
                </a:cubicBezTo>
                <a:cubicBezTo>
                  <a:pt x="386" y="198"/>
                  <a:pt x="386" y="198"/>
                  <a:pt x="386" y="198"/>
                </a:cubicBezTo>
                <a:cubicBezTo>
                  <a:pt x="386" y="198"/>
                  <a:pt x="387" y="199"/>
                  <a:pt x="387" y="199"/>
                </a:cubicBezTo>
                <a:cubicBezTo>
                  <a:pt x="387" y="199"/>
                  <a:pt x="387" y="199"/>
                  <a:pt x="387" y="199"/>
                </a:cubicBezTo>
                <a:close/>
                <a:moveTo>
                  <a:pt x="384" y="193"/>
                </a:moveTo>
                <a:cubicBezTo>
                  <a:pt x="384" y="193"/>
                  <a:pt x="384" y="193"/>
                  <a:pt x="384" y="193"/>
                </a:cubicBezTo>
                <a:cubicBezTo>
                  <a:pt x="384" y="193"/>
                  <a:pt x="385" y="193"/>
                  <a:pt x="385" y="193"/>
                </a:cubicBezTo>
                <a:cubicBezTo>
                  <a:pt x="384" y="193"/>
                  <a:pt x="384" y="193"/>
                  <a:pt x="384" y="192"/>
                </a:cubicBezTo>
                <a:cubicBezTo>
                  <a:pt x="384" y="193"/>
                  <a:pt x="384" y="193"/>
                  <a:pt x="384" y="193"/>
                </a:cubicBezTo>
                <a:close/>
                <a:moveTo>
                  <a:pt x="476" y="110"/>
                </a:moveTo>
                <a:cubicBezTo>
                  <a:pt x="476" y="109"/>
                  <a:pt x="476" y="109"/>
                  <a:pt x="476" y="109"/>
                </a:cubicBezTo>
                <a:cubicBezTo>
                  <a:pt x="476" y="109"/>
                  <a:pt x="476" y="109"/>
                  <a:pt x="476" y="109"/>
                </a:cubicBezTo>
                <a:cubicBezTo>
                  <a:pt x="476" y="109"/>
                  <a:pt x="476" y="109"/>
                  <a:pt x="475" y="109"/>
                </a:cubicBezTo>
                <a:cubicBezTo>
                  <a:pt x="476" y="109"/>
                  <a:pt x="476" y="110"/>
                  <a:pt x="476" y="110"/>
                </a:cubicBezTo>
                <a:cubicBezTo>
                  <a:pt x="476" y="110"/>
                  <a:pt x="476" y="110"/>
                  <a:pt x="476" y="110"/>
                </a:cubicBezTo>
                <a:close/>
                <a:moveTo>
                  <a:pt x="465" y="136"/>
                </a:moveTo>
                <a:cubicBezTo>
                  <a:pt x="465" y="136"/>
                  <a:pt x="465" y="136"/>
                  <a:pt x="465" y="136"/>
                </a:cubicBezTo>
                <a:cubicBezTo>
                  <a:pt x="465" y="136"/>
                  <a:pt x="465" y="136"/>
                  <a:pt x="466" y="136"/>
                </a:cubicBezTo>
                <a:cubicBezTo>
                  <a:pt x="466" y="136"/>
                  <a:pt x="466" y="136"/>
                  <a:pt x="466" y="136"/>
                </a:cubicBezTo>
                <a:cubicBezTo>
                  <a:pt x="466" y="136"/>
                  <a:pt x="466" y="135"/>
                  <a:pt x="466" y="135"/>
                </a:cubicBezTo>
                <a:cubicBezTo>
                  <a:pt x="466" y="135"/>
                  <a:pt x="466" y="135"/>
                  <a:pt x="466" y="135"/>
                </a:cubicBezTo>
                <a:cubicBezTo>
                  <a:pt x="465" y="135"/>
                  <a:pt x="465" y="136"/>
                  <a:pt x="465" y="136"/>
                </a:cubicBezTo>
                <a:close/>
                <a:moveTo>
                  <a:pt x="470" y="118"/>
                </a:moveTo>
                <a:cubicBezTo>
                  <a:pt x="470" y="118"/>
                  <a:pt x="470" y="118"/>
                  <a:pt x="471" y="118"/>
                </a:cubicBezTo>
                <a:cubicBezTo>
                  <a:pt x="471" y="118"/>
                  <a:pt x="471" y="117"/>
                  <a:pt x="471" y="117"/>
                </a:cubicBezTo>
                <a:cubicBezTo>
                  <a:pt x="471" y="117"/>
                  <a:pt x="470" y="117"/>
                  <a:pt x="470" y="117"/>
                </a:cubicBezTo>
                <a:cubicBezTo>
                  <a:pt x="470" y="117"/>
                  <a:pt x="469" y="118"/>
                  <a:pt x="469" y="118"/>
                </a:cubicBezTo>
                <a:cubicBezTo>
                  <a:pt x="468" y="118"/>
                  <a:pt x="468" y="118"/>
                  <a:pt x="468" y="119"/>
                </a:cubicBezTo>
                <a:cubicBezTo>
                  <a:pt x="468" y="119"/>
                  <a:pt x="469" y="119"/>
                  <a:pt x="469" y="119"/>
                </a:cubicBezTo>
                <a:cubicBezTo>
                  <a:pt x="469" y="118"/>
                  <a:pt x="470" y="118"/>
                  <a:pt x="470" y="118"/>
                </a:cubicBezTo>
                <a:close/>
                <a:moveTo>
                  <a:pt x="467" y="131"/>
                </a:moveTo>
                <a:cubicBezTo>
                  <a:pt x="467" y="131"/>
                  <a:pt x="466" y="131"/>
                  <a:pt x="466" y="131"/>
                </a:cubicBezTo>
                <a:cubicBezTo>
                  <a:pt x="466" y="132"/>
                  <a:pt x="466" y="132"/>
                  <a:pt x="466" y="132"/>
                </a:cubicBezTo>
                <a:cubicBezTo>
                  <a:pt x="466" y="132"/>
                  <a:pt x="466" y="132"/>
                  <a:pt x="467" y="132"/>
                </a:cubicBezTo>
                <a:cubicBezTo>
                  <a:pt x="467" y="132"/>
                  <a:pt x="467" y="131"/>
                  <a:pt x="467" y="131"/>
                </a:cubicBezTo>
                <a:close/>
                <a:moveTo>
                  <a:pt x="467" y="133"/>
                </a:moveTo>
                <a:cubicBezTo>
                  <a:pt x="467" y="133"/>
                  <a:pt x="467" y="133"/>
                  <a:pt x="467" y="133"/>
                </a:cubicBezTo>
                <a:cubicBezTo>
                  <a:pt x="467" y="133"/>
                  <a:pt x="467" y="133"/>
                  <a:pt x="467" y="133"/>
                </a:cubicBezTo>
                <a:cubicBezTo>
                  <a:pt x="467" y="132"/>
                  <a:pt x="467" y="132"/>
                  <a:pt x="466" y="132"/>
                </a:cubicBezTo>
                <a:cubicBezTo>
                  <a:pt x="466" y="132"/>
                  <a:pt x="466" y="132"/>
                  <a:pt x="466" y="133"/>
                </a:cubicBezTo>
                <a:cubicBezTo>
                  <a:pt x="466" y="133"/>
                  <a:pt x="466" y="133"/>
                  <a:pt x="465" y="133"/>
                </a:cubicBezTo>
                <a:cubicBezTo>
                  <a:pt x="465" y="133"/>
                  <a:pt x="465" y="133"/>
                  <a:pt x="465" y="134"/>
                </a:cubicBezTo>
                <a:cubicBezTo>
                  <a:pt x="465" y="134"/>
                  <a:pt x="465" y="134"/>
                  <a:pt x="465" y="134"/>
                </a:cubicBezTo>
                <a:cubicBezTo>
                  <a:pt x="465" y="134"/>
                  <a:pt x="466" y="134"/>
                  <a:pt x="466" y="135"/>
                </a:cubicBezTo>
                <a:cubicBezTo>
                  <a:pt x="466" y="135"/>
                  <a:pt x="466" y="134"/>
                  <a:pt x="466" y="134"/>
                </a:cubicBezTo>
                <a:cubicBezTo>
                  <a:pt x="467" y="134"/>
                  <a:pt x="467" y="134"/>
                  <a:pt x="467" y="133"/>
                </a:cubicBezTo>
                <a:close/>
                <a:moveTo>
                  <a:pt x="442" y="113"/>
                </a:moveTo>
                <a:cubicBezTo>
                  <a:pt x="442" y="113"/>
                  <a:pt x="442" y="113"/>
                  <a:pt x="442" y="113"/>
                </a:cubicBezTo>
                <a:cubicBezTo>
                  <a:pt x="442" y="113"/>
                  <a:pt x="442" y="113"/>
                  <a:pt x="442" y="113"/>
                </a:cubicBezTo>
                <a:cubicBezTo>
                  <a:pt x="443" y="114"/>
                  <a:pt x="443" y="114"/>
                  <a:pt x="443" y="114"/>
                </a:cubicBezTo>
                <a:cubicBezTo>
                  <a:pt x="443" y="114"/>
                  <a:pt x="444" y="114"/>
                  <a:pt x="444" y="114"/>
                </a:cubicBezTo>
                <a:cubicBezTo>
                  <a:pt x="444" y="114"/>
                  <a:pt x="444" y="114"/>
                  <a:pt x="445" y="114"/>
                </a:cubicBezTo>
                <a:cubicBezTo>
                  <a:pt x="445" y="114"/>
                  <a:pt x="445" y="114"/>
                  <a:pt x="445" y="113"/>
                </a:cubicBezTo>
                <a:cubicBezTo>
                  <a:pt x="446" y="113"/>
                  <a:pt x="446" y="113"/>
                  <a:pt x="446" y="113"/>
                </a:cubicBezTo>
                <a:cubicBezTo>
                  <a:pt x="447" y="113"/>
                  <a:pt x="447" y="113"/>
                  <a:pt x="447" y="112"/>
                </a:cubicBezTo>
                <a:cubicBezTo>
                  <a:pt x="447" y="112"/>
                  <a:pt x="447" y="112"/>
                  <a:pt x="447" y="112"/>
                </a:cubicBezTo>
                <a:cubicBezTo>
                  <a:pt x="447" y="111"/>
                  <a:pt x="447" y="111"/>
                  <a:pt x="447" y="111"/>
                </a:cubicBezTo>
                <a:cubicBezTo>
                  <a:pt x="447" y="111"/>
                  <a:pt x="447" y="111"/>
                  <a:pt x="447" y="110"/>
                </a:cubicBezTo>
                <a:cubicBezTo>
                  <a:pt x="447" y="110"/>
                  <a:pt x="447" y="110"/>
                  <a:pt x="447" y="110"/>
                </a:cubicBezTo>
                <a:cubicBezTo>
                  <a:pt x="446" y="110"/>
                  <a:pt x="446" y="110"/>
                  <a:pt x="445" y="110"/>
                </a:cubicBezTo>
                <a:cubicBezTo>
                  <a:pt x="445" y="110"/>
                  <a:pt x="445" y="110"/>
                  <a:pt x="445" y="110"/>
                </a:cubicBezTo>
                <a:cubicBezTo>
                  <a:pt x="445" y="111"/>
                  <a:pt x="444" y="111"/>
                  <a:pt x="444" y="111"/>
                </a:cubicBezTo>
                <a:cubicBezTo>
                  <a:pt x="444" y="112"/>
                  <a:pt x="444" y="112"/>
                  <a:pt x="444" y="112"/>
                </a:cubicBezTo>
                <a:cubicBezTo>
                  <a:pt x="444" y="112"/>
                  <a:pt x="443" y="112"/>
                  <a:pt x="443" y="112"/>
                </a:cubicBezTo>
                <a:cubicBezTo>
                  <a:pt x="443" y="113"/>
                  <a:pt x="443" y="113"/>
                  <a:pt x="442" y="113"/>
                </a:cubicBezTo>
                <a:close/>
                <a:moveTo>
                  <a:pt x="568" y="137"/>
                </a:moveTo>
                <a:cubicBezTo>
                  <a:pt x="568" y="137"/>
                  <a:pt x="568" y="137"/>
                  <a:pt x="568" y="138"/>
                </a:cubicBezTo>
                <a:cubicBezTo>
                  <a:pt x="568" y="138"/>
                  <a:pt x="568" y="138"/>
                  <a:pt x="568" y="138"/>
                </a:cubicBezTo>
                <a:cubicBezTo>
                  <a:pt x="568" y="138"/>
                  <a:pt x="568" y="138"/>
                  <a:pt x="568" y="138"/>
                </a:cubicBezTo>
                <a:cubicBezTo>
                  <a:pt x="568" y="138"/>
                  <a:pt x="568" y="137"/>
                  <a:pt x="568" y="137"/>
                </a:cubicBezTo>
                <a:close/>
                <a:moveTo>
                  <a:pt x="452" y="102"/>
                </a:moveTo>
                <a:cubicBezTo>
                  <a:pt x="452" y="102"/>
                  <a:pt x="453" y="102"/>
                  <a:pt x="453" y="102"/>
                </a:cubicBezTo>
                <a:cubicBezTo>
                  <a:pt x="453" y="102"/>
                  <a:pt x="453" y="102"/>
                  <a:pt x="454" y="102"/>
                </a:cubicBezTo>
                <a:cubicBezTo>
                  <a:pt x="454" y="102"/>
                  <a:pt x="454" y="102"/>
                  <a:pt x="455" y="102"/>
                </a:cubicBezTo>
                <a:cubicBezTo>
                  <a:pt x="455" y="102"/>
                  <a:pt x="456" y="102"/>
                  <a:pt x="456" y="102"/>
                </a:cubicBezTo>
                <a:cubicBezTo>
                  <a:pt x="457" y="102"/>
                  <a:pt x="458" y="102"/>
                  <a:pt x="459" y="102"/>
                </a:cubicBezTo>
                <a:cubicBezTo>
                  <a:pt x="459" y="101"/>
                  <a:pt x="459" y="101"/>
                  <a:pt x="459" y="101"/>
                </a:cubicBezTo>
                <a:cubicBezTo>
                  <a:pt x="459" y="100"/>
                  <a:pt x="460" y="100"/>
                  <a:pt x="460" y="100"/>
                </a:cubicBezTo>
                <a:cubicBezTo>
                  <a:pt x="460" y="100"/>
                  <a:pt x="459" y="99"/>
                  <a:pt x="459" y="99"/>
                </a:cubicBezTo>
                <a:cubicBezTo>
                  <a:pt x="459" y="99"/>
                  <a:pt x="458" y="99"/>
                  <a:pt x="458" y="100"/>
                </a:cubicBezTo>
                <a:cubicBezTo>
                  <a:pt x="457" y="100"/>
                  <a:pt x="457" y="100"/>
                  <a:pt x="456" y="100"/>
                </a:cubicBezTo>
                <a:cubicBezTo>
                  <a:pt x="456" y="100"/>
                  <a:pt x="455" y="100"/>
                  <a:pt x="455" y="100"/>
                </a:cubicBezTo>
                <a:cubicBezTo>
                  <a:pt x="454" y="100"/>
                  <a:pt x="454" y="100"/>
                  <a:pt x="454" y="100"/>
                </a:cubicBezTo>
                <a:cubicBezTo>
                  <a:pt x="453" y="100"/>
                  <a:pt x="453" y="100"/>
                  <a:pt x="453" y="100"/>
                </a:cubicBezTo>
                <a:cubicBezTo>
                  <a:pt x="453" y="100"/>
                  <a:pt x="452" y="101"/>
                  <a:pt x="452" y="101"/>
                </a:cubicBezTo>
                <a:cubicBezTo>
                  <a:pt x="452" y="101"/>
                  <a:pt x="452" y="101"/>
                  <a:pt x="452" y="101"/>
                </a:cubicBezTo>
                <a:cubicBezTo>
                  <a:pt x="452" y="101"/>
                  <a:pt x="452" y="102"/>
                  <a:pt x="452" y="102"/>
                </a:cubicBezTo>
                <a:cubicBezTo>
                  <a:pt x="452" y="102"/>
                  <a:pt x="452" y="102"/>
                  <a:pt x="452" y="102"/>
                </a:cubicBezTo>
                <a:cubicBezTo>
                  <a:pt x="452" y="102"/>
                  <a:pt x="452" y="102"/>
                  <a:pt x="452" y="102"/>
                </a:cubicBezTo>
                <a:close/>
                <a:moveTo>
                  <a:pt x="459" y="108"/>
                </a:moveTo>
                <a:cubicBezTo>
                  <a:pt x="459" y="108"/>
                  <a:pt x="459" y="108"/>
                  <a:pt x="459" y="108"/>
                </a:cubicBezTo>
                <a:cubicBezTo>
                  <a:pt x="459" y="108"/>
                  <a:pt x="459" y="108"/>
                  <a:pt x="459" y="108"/>
                </a:cubicBezTo>
                <a:cubicBezTo>
                  <a:pt x="459" y="108"/>
                  <a:pt x="459" y="108"/>
                  <a:pt x="459" y="108"/>
                </a:cubicBezTo>
                <a:cubicBezTo>
                  <a:pt x="459" y="108"/>
                  <a:pt x="459" y="108"/>
                  <a:pt x="459" y="108"/>
                </a:cubicBezTo>
                <a:close/>
                <a:moveTo>
                  <a:pt x="453" y="106"/>
                </a:moveTo>
                <a:cubicBezTo>
                  <a:pt x="453" y="106"/>
                  <a:pt x="454" y="106"/>
                  <a:pt x="454" y="106"/>
                </a:cubicBezTo>
                <a:cubicBezTo>
                  <a:pt x="454" y="106"/>
                  <a:pt x="455" y="106"/>
                  <a:pt x="455" y="106"/>
                </a:cubicBezTo>
                <a:cubicBezTo>
                  <a:pt x="456" y="106"/>
                  <a:pt x="456" y="105"/>
                  <a:pt x="456" y="105"/>
                </a:cubicBezTo>
                <a:cubicBezTo>
                  <a:pt x="457" y="105"/>
                  <a:pt x="457" y="105"/>
                  <a:pt x="457" y="105"/>
                </a:cubicBezTo>
                <a:cubicBezTo>
                  <a:pt x="457" y="105"/>
                  <a:pt x="458" y="104"/>
                  <a:pt x="458" y="104"/>
                </a:cubicBezTo>
                <a:cubicBezTo>
                  <a:pt x="458" y="104"/>
                  <a:pt x="459" y="104"/>
                  <a:pt x="459" y="104"/>
                </a:cubicBezTo>
                <a:cubicBezTo>
                  <a:pt x="459" y="104"/>
                  <a:pt x="459" y="104"/>
                  <a:pt x="460" y="103"/>
                </a:cubicBezTo>
                <a:cubicBezTo>
                  <a:pt x="460" y="103"/>
                  <a:pt x="460" y="103"/>
                  <a:pt x="459" y="103"/>
                </a:cubicBezTo>
                <a:cubicBezTo>
                  <a:pt x="459" y="103"/>
                  <a:pt x="459" y="103"/>
                  <a:pt x="459" y="103"/>
                </a:cubicBezTo>
                <a:cubicBezTo>
                  <a:pt x="458" y="103"/>
                  <a:pt x="458" y="103"/>
                  <a:pt x="458" y="104"/>
                </a:cubicBezTo>
                <a:cubicBezTo>
                  <a:pt x="458" y="104"/>
                  <a:pt x="458" y="104"/>
                  <a:pt x="457" y="104"/>
                </a:cubicBezTo>
                <a:cubicBezTo>
                  <a:pt x="457" y="104"/>
                  <a:pt x="456" y="104"/>
                  <a:pt x="455" y="104"/>
                </a:cubicBezTo>
                <a:cubicBezTo>
                  <a:pt x="455" y="105"/>
                  <a:pt x="454" y="105"/>
                  <a:pt x="454" y="105"/>
                </a:cubicBezTo>
                <a:cubicBezTo>
                  <a:pt x="454" y="105"/>
                  <a:pt x="453" y="105"/>
                  <a:pt x="453" y="106"/>
                </a:cubicBezTo>
                <a:cubicBezTo>
                  <a:pt x="453" y="106"/>
                  <a:pt x="452" y="106"/>
                  <a:pt x="452" y="106"/>
                </a:cubicBezTo>
                <a:cubicBezTo>
                  <a:pt x="452" y="106"/>
                  <a:pt x="452" y="106"/>
                  <a:pt x="452" y="106"/>
                </a:cubicBezTo>
                <a:cubicBezTo>
                  <a:pt x="452" y="106"/>
                  <a:pt x="452" y="106"/>
                  <a:pt x="453" y="106"/>
                </a:cubicBezTo>
                <a:cubicBezTo>
                  <a:pt x="453" y="106"/>
                  <a:pt x="453" y="106"/>
                  <a:pt x="453" y="106"/>
                </a:cubicBezTo>
                <a:close/>
                <a:moveTo>
                  <a:pt x="458" y="125"/>
                </a:moveTo>
                <a:cubicBezTo>
                  <a:pt x="458" y="125"/>
                  <a:pt x="458" y="126"/>
                  <a:pt x="458" y="126"/>
                </a:cubicBezTo>
                <a:cubicBezTo>
                  <a:pt x="459" y="126"/>
                  <a:pt x="460" y="126"/>
                  <a:pt x="460" y="126"/>
                </a:cubicBezTo>
                <a:cubicBezTo>
                  <a:pt x="461" y="126"/>
                  <a:pt x="461" y="126"/>
                  <a:pt x="462" y="126"/>
                </a:cubicBezTo>
                <a:cubicBezTo>
                  <a:pt x="462" y="126"/>
                  <a:pt x="462" y="126"/>
                  <a:pt x="462" y="125"/>
                </a:cubicBezTo>
                <a:cubicBezTo>
                  <a:pt x="463" y="125"/>
                  <a:pt x="463" y="125"/>
                  <a:pt x="463" y="125"/>
                </a:cubicBezTo>
                <a:cubicBezTo>
                  <a:pt x="464" y="125"/>
                  <a:pt x="464" y="125"/>
                  <a:pt x="465" y="125"/>
                </a:cubicBezTo>
                <a:cubicBezTo>
                  <a:pt x="465" y="125"/>
                  <a:pt x="465" y="125"/>
                  <a:pt x="466" y="125"/>
                </a:cubicBezTo>
                <a:cubicBezTo>
                  <a:pt x="466" y="124"/>
                  <a:pt x="466" y="124"/>
                  <a:pt x="466" y="124"/>
                </a:cubicBezTo>
                <a:cubicBezTo>
                  <a:pt x="467" y="124"/>
                  <a:pt x="467" y="124"/>
                  <a:pt x="467" y="123"/>
                </a:cubicBezTo>
                <a:cubicBezTo>
                  <a:pt x="467" y="123"/>
                  <a:pt x="468" y="123"/>
                  <a:pt x="468" y="123"/>
                </a:cubicBezTo>
                <a:cubicBezTo>
                  <a:pt x="468" y="123"/>
                  <a:pt x="468" y="123"/>
                  <a:pt x="468" y="123"/>
                </a:cubicBezTo>
                <a:cubicBezTo>
                  <a:pt x="468" y="123"/>
                  <a:pt x="467" y="123"/>
                  <a:pt x="466" y="122"/>
                </a:cubicBezTo>
                <a:cubicBezTo>
                  <a:pt x="466" y="123"/>
                  <a:pt x="466" y="123"/>
                  <a:pt x="465" y="123"/>
                </a:cubicBezTo>
                <a:cubicBezTo>
                  <a:pt x="465" y="123"/>
                  <a:pt x="465" y="123"/>
                  <a:pt x="464" y="123"/>
                </a:cubicBezTo>
                <a:cubicBezTo>
                  <a:pt x="464" y="123"/>
                  <a:pt x="464" y="123"/>
                  <a:pt x="463" y="123"/>
                </a:cubicBezTo>
                <a:cubicBezTo>
                  <a:pt x="463" y="124"/>
                  <a:pt x="463" y="124"/>
                  <a:pt x="462" y="124"/>
                </a:cubicBezTo>
                <a:cubicBezTo>
                  <a:pt x="462" y="124"/>
                  <a:pt x="461" y="124"/>
                  <a:pt x="461" y="124"/>
                </a:cubicBezTo>
                <a:cubicBezTo>
                  <a:pt x="460" y="124"/>
                  <a:pt x="460" y="125"/>
                  <a:pt x="460" y="125"/>
                </a:cubicBezTo>
                <a:cubicBezTo>
                  <a:pt x="459" y="125"/>
                  <a:pt x="459" y="125"/>
                  <a:pt x="458" y="125"/>
                </a:cubicBezTo>
                <a:cubicBezTo>
                  <a:pt x="458" y="125"/>
                  <a:pt x="458" y="125"/>
                  <a:pt x="458" y="125"/>
                </a:cubicBezTo>
                <a:close/>
                <a:moveTo>
                  <a:pt x="561" y="96"/>
                </a:moveTo>
                <a:cubicBezTo>
                  <a:pt x="562" y="96"/>
                  <a:pt x="562" y="96"/>
                  <a:pt x="562" y="95"/>
                </a:cubicBezTo>
                <a:cubicBezTo>
                  <a:pt x="562" y="95"/>
                  <a:pt x="561" y="96"/>
                  <a:pt x="561" y="96"/>
                </a:cubicBezTo>
                <a:cubicBezTo>
                  <a:pt x="560" y="96"/>
                  <a:pt x="559" y="97"/>
                  <a:pt x="558" y="97"/>
                </a:cubicBezTo>
                <a:cubicBezTo>
                  <a:pt x="558" y="97"/>
                  <a:pt x="558" y="98"/>
                  <a:pt x="558" y="98"/>
                </a:cubicBezTo>
                <a:cubicBezTo>
                  <a:pt x="558" y="98"/>
                  <a:pt x="557" y="98"/>
                  <a:pt x="557" y="98"/>
                </a:cubicBezTo>
                <a:cubicBezTo>
                  <a:pt x="557" y="99"/>
                  <a:pt x="557" y="99"/>
                  <a:pt x="558" y="99"/>
                </a:cubicBezTo>
                <a:cubicBezTo>
                  <a:pt x="558" y="99"/>
                  <a:pt x="558" y="99"/>
                  <a:pt x="558" y="99"/>
                </a:cubicBezTo>
                <a:cubicBezTo>
                  <a:pt x="558" y="99"/>
                  <a:pt x="558" y="99"/>
                  <a:pt x="558" y="99"/>
                </a:cubicBezTo>
                <a:cubicBezTo>
                  <a:pt x="559" y="99"/>
                  <a:pt x="559" y="98"/>
                  <a:pt x="559" y="98"/>
                </a:cubicBezTo>
                <a:cubicBezTo>
                  <a:pt x="559" y="99"/>
                  <a:pt x="559" y="99"/>
                  <a:pt x="559" y="99"/>
                </a:cubicBezTo>
                <a:cubicBezTo>
                  <a:pt x="560" y="99"/>
                  <a:pt x="560" y="99"/>
                  <a:pt x="560" y="99"/>
                </a:cubicBezTo>
                <a:cubicBezTo>
                  <a:pt x="560" y="99"/>
                  <a:pt x="560" y="98"/>
                  <a:pt x="560" y="98"/>
                </a:cubicBezTo>
                <a:cubicBezTo>
                  <a:pt x="560" y="98"/>
                  <a:pt x="560" y="98"/>
                  <a:pt x="560" y="98"/>
                </a:cubicBezTo>
                <a:cubicBezTo>
                  <a:pt x="560" y="98"/>
                  <a:pt x="560" y="98"/>
                  <a:pt x="560" y="97"/>
                </a:cubicBezTo>
                <a:cubicBezTo>
                  <a:pt x="560" y="97"/>
                  <a:pt x="561" y="97"/>
                  <a:pt x="561" y="96"/>
                </a:cubicBezTo>
                <a:close/>
                <a:moveTo>
                  <a:pt x="260" y="339"/>
                </a:moveTo>
                <a:cubicBezTo>
                  <a:pt x="259" y="340"/>
                  <a:pt x="259" y="340"/>
                  <a:pt x="259" y="340"/>
                </a:cubicBezTo>
                <a:cubicBezTo>
                  <a:pt x="259" y="341"/>
                  <a:pt x="259" y="341"/>
                  <a:pt x="259" y="341"/>
                </a:cubicBezTo>
                <a:cubicBezTo>
                  <a:pt x="259" y="341"/>
                  <a:pt x="259" y="341"/>
                  <a:pt x="259" y="341"/>
                </a:cubicBezTo>
                <a:cubicBezTo>
                  <a:pt x="259" y="341"/>
                  <a:pt x="260" y="341"/>
                  <a:pt x="260" y="341"/>
                </a:cubicBezTo>
                <a:cubicBezTo>
                  <a:pt x="260" y="340"/>
                  <a:pt x="260" y="340"/>
                  <a:pt x="260" y="340"/>
                </a:cubicBezTo>
                <a:cubicBezTo>
                  <a:pt x="260" y="340"/>
                  <a:pt x="260" y="339"/>
                  <a:pt x="260" y="339"/>
                </a:cubicBezTo>
                <a:close/>
                <a:moveTo>
                  <a:pt x="279" y="350"/>
                </a:moveTo>
                <a:cubicBezTo>
                  <a:pt x="278" y="350"/>
                  <a:pt x="278" y="350"/>
                  <a:pt x="277" y="350"/>
                </a:cubicBezTo>
                <a:cubicBezTo>
                  <a:pt x="277" y="350"/>
                  <a:pt x="276" y="350"/>
                  <a:pt x="276" y="350"/>
                </a:cubicBezTo>
                <a:cubicBezTo>
                  <a:pt x="276" y="350"/>
                  <a:pt x="276" y="350"/>
                  <a:pt x="277" y="351"/>
                </a:cubicBezTo>
                <a:cubicBezTo>
                  <a:pt x="277" y="351"/>
                  <a:pt x="278" y="351"/>
                  <a:pt x="278" y="351"/>
                </a:cubicBezTo>
                <a:cubicBezTo>
                  <a:pt x="278" y="351"/>
                  <a:pt x="278" y="351"/>
                  <a:pt x="279" y="350"/>
                </a:cubicBezTo>
                <a:close/>
                <a:moveTo>
                  <a:pt x="259" y="342"/>
                </a:moveTo>
                <a:cubicBezTo>
                  <a:pt x="259" y="342"/>
                  <a:pt x="259" y="342"/>
                  <a:pt x="259" y="343"/>
                </a:cubicBezTo>
                <a:cubicBezTo>
                  <a:pt x="259" y="343"/>
                  <a:pt x="259" y="343"/>
                  <a:pt x="259" y="343"/>
                </a:cubicBezTo>
                <a:cubicBezTo>
                  <a:pt x="259" y="343"/>
                  <a:pt x="260" y="343"/>
                  <a:pt x="260" y="343"/>
                </a:cubicBezTo>
                <a:cubicBezTo>
                  <a:pt x="260" y="343"/>
                  <a:pt x="260" y="343"/>
                  <a:pt x="260" y="342"/>
                </a:cubicBezTo>
                <a:cubicBezTo>
                  <a:pt x="260" y="342"/>
                  <a:pt x="259" y="342"/>
                  <a:pt x="259" y="342"/>
                </a:cubicBezTo>
                <a:close/>
                <a:moveTo>
                  <a:pt x="258" y="339"/>
                </a:moveTo>
                <a:cubicBezTo>
                  <a:pt x="258" y="339"/>
                  <a:pt x="259" y="339"/>
                  <a:pt x="259" y="340"/>
                </a:cubicBezTo>
                <a:cubicBezTo>
                  <a:pt x="259" y="340"/>
                  <a:pt x="259" y="339"/>
                  <a:pt x="259" y="339"/>
                </a:cubicBezTo>
                <a:cubicBezTo>
                  <a:pt x="259" y="339"/>
                  <a:pt x="259" y="339"/>
                  <a:pt x="259" y="339"/>
                </a:cubicBezTo>
                <a:cubicBezTo>
                  <a:pt x="259" y="339"/>
                  <a:pt x="259" y="339"/>
                  <a:pt x="259" y="339"/>
                </a:cubicBezTo>
                <a:cubicBezTo>
                  <a:pt x="259" y="339"/>
                  <a:pt x="259" y="339"/>
                  <a:pt x="258" y="339"/>
                </a:cubicBezTo>
                <a:close/>
                <a:moveTo>
                  <a:pt x="254" y="335"/>
                </a:moveTo>
                <a:cubicBezTo>
                  <a:pt x="254" y="336"/>
                  <a:pt x="254" y="336"/>
                  <a:pt x="254" y="337"/>
                </a:cubicBezTo>
                <a:cubicBezTo>
                  <a:pt x="254" y="337"/>
                  <a:pt x="254" y="337"/>
                  <a:pt x="255" y="337"/>
                </a:cubicBezTo>
                <a:cubicBezTo>
                  <a:pt x="255" y="337"/>
                  <a:pt x="255" y="337"/>
                  <a:pt x="255" y="337"/>
                </a:cubicBezTo>
                <a:cubicBezTo>
                  <a:pt x="255" y="337"/>
                  <a:pt x="255" y="337"/>
                  <a:pt x="255" y="336"/>
                </a:cubicBezTo>
                <a:cubicBezTo>
                  <a:pt x="255" y="336"/>
                  <a:pt x="255" y="336"/>
                  <a:pt x="255" y="336"/>
                </a:cubicBezTo>
                <a:cubicBezTo>
                  <a:pt x="254" y="336"/>
                  <a:pt x="254" y="336"/>
                  <a:pt x="254" y="335"/>
                </a:cubicBezTo>
                <a:close/>
                <a:moveTo>
                  <a:pt x="258" y="336"/>
                </a:moveTo>
                <a:cubicBezTo>
                  <a:pt x="257" y="336"/>
                  <a:pt x="257" y="336"/>
                  <a:pt x="257" y="336"/>
                </a:cubicBezTo>
                <a:cubicBezTo>
                  <a:pt x="257" y="336"/>
                  <a:pt x="256" y="337"/>
                  <a:pt x="256" y="337"/>
                </a:cubicBezTo>
                <a:cubicBezTo>
                  <a:pt x="256" y="337"/>
                  <a:pt x="257" y="337"/>
                  <a:pt x="257" y="337"/>
                </a:cubicBezTo>
                <a:cubicBezTo>
                  <a:pt x="257" y="337"/>
                  <a:pt x="257" y="336"/>
                  <a:pt x="258" y="336"/>
                </a:cubicBezTo>
                <a:close/>
                <a:moveTo>
                  <a:pt x="453" y="98"/>
                </a:moveTo>
                <a:cubicBezTo>
                  <a:pt x="453" y="98"/>
                  <a:pt x="453" y="99"/>
                  <a:pt x="453" y="99"/>
                </a:cubicBezTo>
                <a:cubicBezTo>
                  <a:pt x="454" y="99"/>
                  <a:pt x="454" y="99"/>
                  <a:pt x="455" y="99"/>
                </a:cubicBezTo>
                <a:cubicBezTo>
                  <a:pt x="455" y="99"/>
                  <a:pt x="456" y="99"/>
                  <a:pt x="456" y="99"/>
                </a:cubicBezTo>
                <a:cubicBezTo>
                  <a:pt x="457" y="99"/>
                  <a:pt x="457" y="99"/>
                  <a:pt x="457" y="99"/>
                </a:cubicBezTo>
                <a:cubicBezTo>
                  <a:pt x="457" y="99"/>
                  <a:pt x="458" y="99"/>
                  <a:pt x="458" y="99"/>
                </a:cubicBezTo>
                <a:cubicBezTo>
                  <a:pt x="458" y="98"/>
                  <a:pt x="458" y="98"/>
                  <a:pt x="458" y="98"/>
                </a:cubicBezTo>
                <a:cubicBezTo>
                  <a:pt x="458" y="98"/>
                  <a:pt x="458" y="97"/>
                  <a:pt x="458" y="97"/>
                </a:cubicBezTo>
                <a:cubicBezTo>
                  <a:pt x="458" y="97"/>
                  <a:pt x="457" y="97"/>
                  <a:pt x="457" y="97"/>
                </a:cubicBezTo>
                <a:cubicBezTo>
                  <a:pt x="457" y="97"/>
                  <a:pt x="458" y="96"/>
                  <a:pt x="458" y="96"/>
                </a:cubicBezTo>
                <a:cubicBezTo>
                  <a:pt x="458" y="96"/>
                  <a:pt x="458" y="96"/>
                  <a:pt x="458" y="96"/>
                </a:cubicBezTo>
                <a:cubicBezTo>
                  <a:pt x="457" y="96"/>
                  <a:pt x="457" y="96"/>
                  <a:pt x="456" y="96"/>
                </a:cubicBezTo>
                <a:cubicBezTo>
                  <a:pt x="456" y="96"/>
                  <a:pt x="456" y="96"/>
                  <a:pt x="456" y="96"/>
                </a:cubicBezTo>
                <a:cubicBezTo>
                  <a:pt x="456" y="96"/>
                  <a:pt x="456" y="96"/>
                  <a:pt x="456" y="96"/>
                </a:cubicBezTo>
                <a:cubicBezTo>
                  <a:pt x="456" y="96"/>
                  <a:pt x="457" y="96"/>
                  <a:pt x="457" y="95"/>
                </a:cubicBezTo>
                <a:cubicBezTo>
                  <a:pt x="457" y="95"/>
                  <a:pt x="457" y="95"/>
                  <a:pt x="457" y="95"/>
                </a:cubicBezTo>
                <a:cubicBezTo>
                  <a:pt x="456" y="95"/>
                  <a:pt x="456" y="95"/>
                  <a:pt x="456" y="95"/>
                </a:cubicBezTo>
                <a:cubicBezTo>
                  <a:pt x="456" y="95"/>
                  <a:pt x="456" y="95"/>
                  <a:pt x="455" y="95"/>
                </a:cubicBezTo>
                <a:cubicBezTo>
                  <a:pt x="455" y="95"/>
                  <a:pt x="454" y="95"/>
                  <a:pt x="454" y="95"/>
                </a:cubicBezTo>
                <a:cubicBezTo>
                  <a:pt x="454" y="96"/>
                  <a:pt x="453" y="96"/>
                  <a:pt x="453" y="96"/>
                </a:cubicBezTo>
                <a:cubicBezTo>
                  <a:pt x="453" y="96"/>
                  <a:pt x="453" y="96"/>
                  <a:pt x="453" y="97"/>
                </a:cubicBezTo>
                <a:cubicBezTo>
                  <a:pt x="453" y="97"/>
                  <a:pt x="454" y="97"/>
                  <a:pt x="454" y="97"/>
                </a:cubicBezTo>
                <a:cubicBezTo>
                  <a:pt x="454" y="97"/>
                  <a:pt x="454" y="97"/>
                  <a:pt x="454" y="97"/>
                </a:cubicBezTo>
                <a:cubicBezTo>
                  <a:pt x="453" y="98"/>
                  <a:pt x="453" y="98"/>
                  <a:pt x="453" y="98"/>
                </a:cubicBezTo>
                <a:close/>
                <a:moveTo>
                  <a:pt x="456" y="89"/>
                </a:moveTo>
                <a:cubicBezTo>
                  <a:pt x="456" y="89"/>
                  <a:pt x="457" y="89"/>
                  <a:pt x="457" y="90"/>
                </a:cubicBezTo>
                <a:cubicBezTo>
                  <a:pt x="458" y="89"/>
                  <a:pt x="458" y="89"/>
                  <a:pt x="458" y="89"/>
                </a:cubicBezTo>
                <a:cubicBezTo>
                  <a:pt x="459" y="89"/>
                  <a:pt x="459" y="89"/>
                  <a:pt x="460" y="89"/>
                </a:cubicBezTo>
                <a:cubicBezTo>
                  <a:pt x="460" y="88"/>
                  <a:pt x="460" y="87"/>
                  <a:pt x="460" y="87"/>
                </a:cubicBezTo>
                <a:cubicBezTo>
                  <a:pt x="460" y="86"/>
                  <a:pt x="460" y="86"/>
                  <a:pt x="460" y="86"/>
                </a:cubicBezTo>
                <a:cubicBezTo>
                  <a:pt x="460" y="86"/>
                  <a:pt x="460" y="86"/>
                  <a:pt x="460" y="85"/>
                </a:cubicBezTo>
                <a:cubicBezTo>
                  <a:pt x="460" y="85"/>
                  <a:pt x="460" y="85"/>
                  <a:pt x="460" y="85"/>
                </a:cubicBezTo>
                <a:cubicBezTo>
                  <a:pt x="460" y="84"/>
                  <a:pt x="460" y="84"/>
                  <a:pt x="460" y="83"/>
                </a:cubicBezTo>
                <a:cubicBezTo>
                  <a:pt x="460" y="83"/>
                  <a:pt x="460" y="83"/>
                  <a:pt x="460" y="83"/>
                </a:cubicBezTo>
                <a:cubicBezTo>
                  <a:pt x="460" y="82"/>
                  <a:pt x="460" y="82"/>
                  <a:pt x="459" y="82"/>
                </a:cubicBezTo>
                <a:cubicBezTo>
                  <a:pt x="459" y="82"/>
                  <a:pt x="459" y="82"/>
                  <a:pt x="459" y="82"/>
                </a:cubicBezTo>
                <a:cubicBezTo>
                  <a:pt x="458" y="82"/>
                  <a:pt x="458" y="82"/>
                  <a:pt x="458" y="82"/>
                </a:cubicBezTo>
                <a:cubicBezTo>
                  <a:pt x="458" y="82"/>
                  <a:pt x="458" y="83"/>
                  <a:pt x="458" y="83"/>
                </a:cubicBezTo>
                <a:cubicBezTo>
                  <a:pt x="458" y="83"/>
                  <a:pt x="458" y="84"/>
                  <a:pt x="458" y="84"/>
                </a:cubicBezTo>
                <a:cubicBezTo>
                  <a:pt x="458" y="84"/>
                  <a:pt x="458" y="84"/>
                  <a:pt x="458" y="85"/>
                </a:cubicBezTo>
                <a:cubicBezTo>
                  <a:pt x="458" y="85"/>
                  <a:pt x="457" y="85"/>
                  <a:pt x="457" y="85"/>
                </a:cubicBezTo>
                <a:cubicBezTo>
                  <a:pt x="457" y="85"/>
                  <a:pt x="457" y="85"/>
                  <a:pt x="457" y="85"/>
                </a:cubicBezTo>
                <a:cubicBezTo>
                  <a:pt x="457" y="86"/>
                  <a:pt x="457" y="86"/>
                  <a:pt x="456" y="86"/>
                </a:cubicBezTo>
                <a:cubicBezTo>
                  <a:pt x="456" y="86"/>
                  <a:pt x="456" y="87"/>
                  <a:pt x="456" y="87"/>
                </a:cubicBezTo>
                <a:cubicBezTo>
                  <a:pt x="456" y="87"/>
                  <a:pt x="456" y="88"/>
                  <a:pt x="456" y="88"/>
                </a:cubicBezTo>
                <a:cubicBezTo>
                  <a:pt x="456" y="88"/>
                  <a:pt x="456" y="89"/>
                  <a:pt x="456" y="89"/>
                </a:cubicBezTo>
                <a:close/>
                <a:moveTo>
                  <a:pt x="273" y="348"/>
                </a:moveTo>
                <a:cubicBezTo>
                  <a:pt x="273" y="348"/>
                  <a:pt x="273" y="349"/>
                  <a:pt x="273" y="349"/>
                </a:cubicBezTo>
                <a:cubicBezTo>
                  <a:pt x="273" y="348"/>
                  <a:pt x="273" y="348"/>
                  <a:pt x="273" y="348"/>
                </a:cubicBezTo>
                <a:cubicBezTo>
                  <a:pt x="273" y="348"/>
                  <a:pt x="273" y="348"/>
                  <a:pt x="273" y="348"/>
                </a:cubicBezTo>
                <a:close/>
                <a:moveTo>
                  <a:pt x="253" y="334"/>
                </a:moveTo>
                <a:cubicBezTo>
                  <a:pt x="253" y="334"/>
                  <a:pt x="253" y="334"/>
                  <a:pt x="253" y="334"/>
                </a:cubicBezTo>
                <a:cubicBezTo>
                  <a:pt x="253" y="334"/>
                  <a:pt x="254" y="334"/>
                  <a:pt x="254" y="334"/>
                </a:cubicBezTo>
                <a:cubicBezTo>
                  <a:pt x="253" y="334"/>
                  <a:pt x="253" y="334"/>
                  <a:pt x="253" y="334"/>
                </a:cubicBezTo>
                <a:close/>
                <a:moveTo>
                  <a:pt x="458" y="90"/>
                </a:moveTo>
                <a:cubicBezTo>
                  <a:pt x="458" y="90"/>
                  <a:pt x="459" y="90"/>
                  <a:pt x="459" y="90"/>
                </a:cubicBezTo>
                <a:cubicBezTo>
                  <a:pt x="459" y="90"/>
                  <a:pt x="460" y="90"/>
                  <a:pt x="460" y="90"/>
                </a:cubicBezTo>
                <a:cubicBezTo>
                  <a:pt x="460" y="90"/>
                  <a:pt x="460" y="89"/>
                  <a:pt x="461" y="89"/>
                </a:cubicBezTo>
                <a:cubicBezTo>
                  <a:pt x="460" y="89"/>
                  <a:pt x="459" y="90"/>
                  <a:pt x="459" y="90"/>
                </a:cubicBezTo>
                <a:cubicBezTo>
                  <a:pt x="459" y="90"/>
                  <a:pt x="458" y="90"/>
                  <a:pt x="458" y="90"/>
                </a:cubicBezTo>
                <a:close/>
                <a:moveTo>
                  <a:pt x="433" y="76"/>
                </a:moveTo>
                <a:cubicBezTo>
                  <a:pt x="433" y="75"/>
                  <a:pt x="434" y="75"/>
                  <a:pt x="434" y="75"/>
                </a:cubicBezTo>
                <a:cubicBezTo>
                  <a:pt x="435" y="75"/>
                  <a:pt x="435" y="75"/>
                  <a:pt x="435" y="75"/>
                </a:cubicBezTo>
                <a:cubicBezTo>
                  <a:pt x="435" y="75"/>
                  <a:pt x="436" y="75"/>
                  <a:pt x="436" y="75"/>
                </a:cubicBezTo>
                <a:cubicBezTo>
                  <a:pt x="436" y="75"/>
                  <a:pt x="437" y="75"/>
                  <a:pt x="437" y="75"/>
                </a:cubicBezTo>
                <a:cubicBezTo>
                  <a:pt x="437" y="75"/>
                  <a:pt x="438" y="75"/>
                  <a:pt x="438" y="75"/>
                </a:cubicBezTo>
                <a:cubicBezTo>
                  <a:pt x="438" y="75"/>
                  <a:pt x="438" y="75"/>
                  <a:pt x="437" y="75"/>
                </a:cubicBezTo>
                <a:cubicBezTo>
                  <a:pt x="438" y="76"/>
                  <a:pt x="438" y="76"/>
                  <a:pt x="438" y="76"/>
                </a:cubicBezTo>
                <a:cubicBezTo>
                  <a:pt x="438" y="76"/>
                  <a:pt x="439" y="76"/>
                  <a:pt x="439" y="76"/>
                </a:cubicBezTo>
                <a:cubicBezTo>
                  <a:pt x="439" y="76"/>
                  <a:pt x="440" y="76"/>
                  <a:pt x="440" y="76"/>
                </a:cubicBezTo>
                <a:cubicBezTo>
                  <a:pt x="440" y="75"/>
                  <a:pt x="440" y="75"/>
                  <a:pt x="440" y="75"/>
                </a:cubicBezTo>
                <a:cubicBezTo>
                  <a:pt x="440" y="75"/>
                  <a:pt x="440" y="75"/>
                  <a:pt x="440" y="75"/>
                </a:cubicBezTo>
                <a:cubicBezTo>
                  <a:pt x="440" y="75"/>
                  <a:pt x="441" y="75"/>
                  <a:pt x="441" y="75"/>
                </a:cubicBezTo>
                <a:cubicBezTo>
                  <a:pt x="441" y="76"/>
                  <a:pt x="441" y="76"/>
                  <a:pt x="441" y="76"/>
                </a:cubicBezTo>
                <a:cubicBezTo>
                  <a:pt x="442" y="76"/>
                  <a:pt x="443" y="77"/>
                  <a:pt x="443" y="77"/>
                </a:cubicBezTo>
                <a:cubicBezTo>
                  <a:pt x="443" y="77"/>
                  <a:pt x="444" y="76"/>
                  <a:pt x="444" y="76"/>
                </a:cubicBezTo>
                <a:cubicBezTo>
                  <a:pt x="444" y="76"/>
                  <a:pt x="445" y="76"/>
                  <a:pt x="445" y="77"/>
                </a:cubicBezTo>
                <a:cubicBezTo>
                  <a:pt x="445" y="76"/>
                  <a:pt x="446" y="76"/>
                  <a:pt x="446" y="76"/>
                </a:cubicBezTo>
                <a:cubicBezTo>
                  <a:pt x="446" y="76"/>
                  <a:pt x="447" y="76"/>
                  <a:pt x="447" y="76"/>
                </a:cubicBezTo>
                <a:cubicBezTo>
                  <a:pt x="447" y="76"/>
                  <a:pt x="448" y="76"/>
                  <a:pt x="448" y="75"/>
                </a:cubicBezTo>
                <a:cubicBezTo>
                  <a:pt x="448" y="75"/>
                  <a:pt x="449" y="75"/>
                  <a:pt x="449" y="74"/>
                </a:cubicBezTo>
                <a:cubicBezTo>
                  <a:pt x="449" y="74"/>
                  <a:pt x="450" y="73"/>
                  <a:pt x="450" y="73"/>
                </a:cubicBezTo>
                <a:cubicBezTo>
                  <a:pt x="449" y="73"/>
                  <a:pt x="449" y="72"/>
                  <a:pt x="449" y="72"/>
                </a:cubicBezTo>
                <a:cubicBezTo>
                  <a:pt x="449" y="72"/>
                  <a:pt x="449" y="71"/>
                  <a:pt x="450" y="71"/>
                </a:cubicBezTo>
                <a:cubicBezTo>
                  <a:pt x="449" y="71"/>
                  <a:pt x="449" y="70"/>
                  <a:pt x="449" y="70"/>
                </a:cubicBezTo>
                <a:cubicBezTo>
                  <a:pt x="449" y="70"/>
                  <a:pt x="449" y="70"/>
                  <a:pt x="448" y="70"/>
                </a:cubicBezTo>
                <a:cubicBezTo>
                  <a:pt x="448" y="69"/>
                  <a:pt x="448" y="69"/>
                  <a:pt x="448" y="69"/>
                </a:cubicBezTo>
                <a:cubicBezTo>
                  <a:pt x="448" y="69"/>
                  <a:pt x="448" y="69"/>
                  <a:pt x="448" y="69"/>
                </a:cubicBezTo>
                <a:cubicBezTo>
                  <a:pt x="447" y="69"/>
                  <a:pt x="447" y="69"/>
                  <a:pt x="447" y="70"/>
                </a:cubicBezTo>
                <a:cubicBezTo>
                  <a:pt x="447" y="70"/>
                  <a:pt x="447" y="70"/>
                  <a:pt x="446" y="70"/>
                </a:cubicBezTo>
                <a:cubicBezTo>
                  <a:pt x="446" y="70"/>
                  <a:pt x="445" y="70"/>
                  <a:pt x="444" y="70"/>
                </a:cubicBezTo>
                <a:cubicBezTo>
                  <a:pt x="444" y="71"/>
                  <a:pt x="443" y="71"/>
                  <a:pt x="443" y="71"/>
                </a:cubicBezTo>
                <a:cubicBezTo>
                  <a:pt x="443" y="71"/>
                  <a:pt x="442" y="71"/>
                  <a:pt x="442" y="72"/>
                </a:cubicBezTo>
                <a:cubicBezTo>
                  <a:pt x="441" y="72"/>
                  <a:pt x="441" y="72"/>
                  <a:pt x="441" y="72"/>
                </a:cubicBezTo>
                <a:cubicBezTo>
                  <a:pt x="441" y="72"/>
                  <a:pt x="440" y="72"/>
                  <a:pt x="440" y="72"/>
                </a:cubicBezTo>
                <a:cubicBezTo>
                  <a:pt x="439" y="72"/>
                  <a:pt x="439" y="72"/>
                  <a:pt x="439" y="72"/>
                </a:cubicBezTo>
                <a:cubicBezTo>
                  <a:pt x="438" y="72"/>
                  <a:pt x="436" y="73"/>
                  <a:pt x="435" y="73"/>
                </a:cubicBezTo>
                <a:cubicBezTo>
                  <a:pt x="435" y="73"/>
                  <a:pt x="434" y="73"/>
                  <a:pt x="434" y="74"/>
                </a:cubicBezTo>
                <a:cubicBezTo>
                  <a:pt x="434" y="74"/>
                  <a:pt x="433" y="74"/>
                  <a:pt x="433" y="74"/>
                </a:cubicBezTo>
                <a:cubicBezTo>
                  <a:pt x="433" y="74"/>
                  <a:pt x="433" y="74"/>
                  <a:pt x="433" y="75"/>
                </a:cubicBezTo>
                <a:cubicBezTo>
                  <a:pt x="432" y="75"/>
                  <a:pt x="432" y="75"/>
                  <a:pt x="432" y="75"/>
                </a:cubicBezTo>
                <a:cubicBezTo>
                  <a:pt x="432" y="76"/>
                  <a:pt x="432" y="76"/>
                  <a:pt x="432" y="76"/>
                </a:cubicBezTo>
                <a:cubicBezTo>
                  <a:pt x="432" y="76"/>
                  <a:pt x="433" y="76"/>
                  <a:pt x="433" y="76"/>
                </a:cubicBezTo>
                <a:close/>
                <a:moveTo>
                  <a:pt x="275" y="357"/>
                </a:moveTo>
                <a:cubicBezTo>
                  <a:pt x="276" y="357"/>
                  <a:pt x="276" y="357"/>
                  <a:pt x="276" y="357"/>
                </a:cubicBezTo>
                <a:cubicBezTo>
                  <a:pt x="276" y="357"/>
                  <a:pt x="277" y="357"/>
                  <a:pt x="277" y="357"/>
                </a:cubicBezTo>
                <a:cubicBezTo>
                  <a:pt x="278" y="357"/>
                  <a:pt x="279" y="357"/>
                  <a:pt x="280" y="357"/>
                </a:cubicBezTo>
                <a:cubicBezTo>
                  <a:pt x="281" y="357"/>
                  <a:pt x="281" y="357"/>
                  <a:pt x="281" y="357"/>
                </a:cubicBezTo>
                <a:cubicBezTo>
                  <a:pt x="281" y="357"/>
                  <a:pt x="281" y="357"/>
                  <a:pt x="282" y="357"/>
                </a:cubicBezTo>
                <a:cubicBezTo>
                  <a:pt x="281" y="356"/>
                  <a:pt x="281" y="356"/>
                  <a:pt x="280" y="355"/>
                </a:cubicBezTo>
                <a:cubicBezTo>
                  <a:pt x="280" y="355"/>
                  <a:pt x="280" y="355"/>
                  <a:pt x="280" y="354"/>
                </a:cubicBezTo>
                <a:cubicBezTo>
                  <a:pt x="280" y="354"/>
                  <a:pt x="280" y="354"/>
                  <a:pt x="280" y="354"/>
                </a:cubicBezTo>
                <a:cubicBezTo>
                  <a:pt x="279" y="353"/>
                  <a:pt x="279" y="353"/>
                  <a:pt x="279" y="352"/>
                </a:cubicBezTo>
                <a:cubicBezTo>
                  <a:pt x="279" y="352"/>
                  <a:pt x="278" y="352"/>
                  <a:pt x="278" y="352"/>
                </a:cubicBezTo>
                <a:cubicBezTo>
                  <a:pt x="277" y="352"/>
                  <a:pt x="276" y="352"/>
                  <a:pt x="275" y="352"/>
                </a:cubicBezTo>
                <a:cubicBezTo>
                  <a:pt x="275" y="351"/>
                  <a:pt x="275" y="351"/>
                  <a:pt x="274" y="350"/>
                </a:cubicBezTo>
                <a:cubicBezTo>
                  <a:pt x="274" y="350"/>
                  <a:pt x="273" y="349"/>
                  <a:pt x="272" y="349"/>
                </a:cubicBezTo>
                <a:cubicBezTo>
                  <a:pt x="272" y="349"/>
                  <a:pt x="272" y="348"/>
                  <a:pt x="272" y="348"/>
                </a:cubicBezTo>
                <a:cubicBezTo>
                  <a:pt x="272" y="348"/>
                  <a:pt x="271" y="348"/>
                  <a:pt x="271" y="348"/>
                </a:cubicBezTo>
                <a:cubicBezTo>
                  <a:pt x="271" y="348"/>
                  <a:pt x="270" y="348"/>
                  <a:pt x="270" y="348"/>
                </a:cubicBezTo>
                <a:cubicBezTo>
                  <a:pt x="269" y="348"/>
                  <a:pt x="269" y="348"/>
                  <a:pt x="268" y="348"/>
                </a:cubicBezTo>
                <a:cubicBezTo>
                  <a:pt x="268" y="348"/>
                  <a:pt x="267" y="348"/>
                  <a:pt x="267" y="349"/>
                </a:cubicBezTo>
                <a:cubicBezTo>
                  <a:pt x="266" y="349"/>
                  <a:pt x="266" y="349"/>
                  <a:pt x="266" y="349"/>
                </a:cubicBezTo>
                <a:cubicBezTo>
                  <a:pt x="265" y="349"/>
                  <a:pt x="265" y="348"/>
                  <a:pt x="265" y="348"/>
                </a:cubicBezTo>
                <a:cubicBezTo>
                  <a:pt x="264" y="348"/>
                  <a:pt x="264" y="348"/>
                  <a:pt x="263" y="348"/>
                </a:cubicBezTo>
                <a:cubicBezTo>
                  <a:pt x="263" y="348"/>
                  <a:pt x="262" y="348"/>
                  <a:pt x="262" y="348"/>
                </a:cubicBezTo>
                <a:cubicBezTo>
                  <a:pt x="262" y="348"/>
                  <a:pt x="262" y="348"/>
                  <a:pt x="261" y="348"/>
                </a:cubicBezTo>
                <a:cubicBezTo>
                  <a:pt x="261" y="348"/>
                  <a:pt x="261" y="348"/>
                  <a:pt x="260" y="348"/>
                </a:cubicBezTo>
                <a:cubicBezTo>
                  <a:pt x="260" y="348"/>
                  <a:pt x="260" y="348"/>
                  <a:pt x="259" y="348"/>
                </a:cubicBezTo>
                <a:cubicBezTo>
                  <a:pt x="259" y="348"/>
                  <a:pt x="259" y="348"/>
                  <a:pt x="258" y="348"/>
                </a:cubicBezTo>
                <a:cubicBezTo>
                  <a:pt x="258" y="348"/>
                  <a:pt x="258" y="348"/>
                  <a:pt x="258" y="348"/>
                </a:cubicBezTo>
                <a:cubicBezTo>
                  <a:pt x="257" y="348"/>
                  <a:pt x="257" y="349"/>
                  <a:pt x="256" y="349"/>
                </a:cubicBezTo>
                <a:cubicBezTo>
                  <a:pt x="257" y="349"/>
                  <a:pt x="257" y="349"/>
                  <a:pt x="257" y="350"/>
                </a:cubicBezTo>
                <a:cubicBezTo>
                  <a:pt x="257" y="349"/>
                  <a:pt x="258" y="349"/>
                  <a:pt x="258" y="349"/>
                </a:cubicBezTo>
                <a:cubicBezTo>
                  <a:pt x="258" y="350"/>
                  <a:pt x="258" y="350"/>
                  <a:pt x="259" y="350"/>
                </a:cubicBezTo>
                <a:cubicBezTo>
                  <a:pt x="259" y="350"/>
                  <a:pt x="260" y="349"/>
                  <a:pt x="261" y="349"/>
                </a:cubicBezTo>
                <a:cubicBezTo>
                  <a:pt x="261" y="349"/>
                  <a:pt x="261" y="350"/>
                  <a:pt x="260" y="350"/>
                </a:cubicBezTo>
                <a:cubicBezTo>
                  <a:pt x="260" y="350"/>
                  <a:pt x="259" y="350"/>
                  <a:pt x="259" y="350"/>
                </a:cubicBezTo>
                <a:cubicBezTo>
                  <a:pt x="259" y="351"/>
                  <a:pt x="259" y="351"/>
                  <a:pt x="259" y="352"/>
                </a:cubicBezTo>
                <a:cubicBezTo>
                  <a:pt x="259" y="352"/>
                  <a:pt x="259" y="352"/>
                  <a:pt x="259" y="352"/>
                </a:cubicBezTo>
                <a:cubicBezTo>
                  <a:pt x="259" y="352"/>
                  <a:pt x="259" y="352"/>
                  <a:pt x="259" y="353"/>
                </a:cubicBezTo>
                <a:cubicBezTo>
                  <a:pt x="259" y="353"/>
                  <a:pt x="259" y="353"/>
                  <a:pt x="259" y="353"/>
                </a:cubicBezTo>
                <a:cubicBezTo>
                  <a:pt x="260" y="352"/>
                  <a:pt x="260" y="352"/>
                  <a:pt x="261" y="352"/>
                </a:cubicBezTo>
                <a:cubicBezTo>
                  <a:pt x="261" y="352"/>
                  <a:pt x="261" y="352"/>
                  <a:pt x="261" y="353"/>
                </a:cubicBezTo>
                <a:cubicBezTo>
                  <a:pt x="261" y="352"/>
                  <a:pt x="262" y="352"/>
                  <a:pt x="262" y="352"/>
                </a:cubicBezTo>
                <a:cubicBezTo>
                  <a:pt x="262" y="352"/>
                  <a:pt x="262" y="352"/>
                  <a:pt x="262" y="353"/>
                </a:cubicBezTo>
                <a:cubicBezTo>
                  <a:pt x="263" y="353"/>
                  <a:pt x="263" y="353"/>
                  <a:pt x="264" y="353"/>
                </a:cubicBezTo>
                <a:cubicBezTo>
                  <a:pt x="264" y="352"/>
                  <a:pt x="264" y="352"/>
                  <a:pt x="265" y="352"/>
                </a:cubicBezTo>
                <a:cubicBezTo>
                  <a:pt x="264" y="352"/>
                  <a:pt x="264" y="353"/>
                  <a:pt x="264" y="354"/>
                </a:cubicBezTo>
                <a:cubicBezTo>
                  <a:pt x="264" y="354"/>
                  <a:pt x="264" y="354"/>
                  <a:pt x="265" y="354"/>
                </a:cubicBezTo>
                <a:cubicBezTo>
                  <a:pt x="265" y="354"/>
                  <a:pt x="265" y="354"/>
                  <a:pt x="265" y="354"/>
                </a:cubicBezTo>
                <a:cubicBezTo>
                  <a:pt x="265" y="353"/>
                  <a:pt x="265" y="353"/>
                  <a:pt x="265" y="353"/>
                </a:cubicBezTo>
                <a:cubicBezTo>
                  <a:pt x="265" y="353"/>
                  <a:pt x="266" y="352"/>
                  <a:pt x="266" y="352"/>
                </a:cubicBezTo>
                <a:cubicBezTo>
                  <a:pt x="266" y="353"/>
                  <a:pt x="266" y="353"/>
                  <a:pt x="266" y="353"/>
                </a:cubicBezTo>
                <a:cubicBezTo>
                  <a:pt x="266" y="353"/>
                  <a:pt x="266" y="354"/>
                  <a:pt x="266" y="354"/>
                </a:cubicBezTo>
                <a:cubicBezTo>
                  <a:pt x="266" y="354"/>
                  <a:pt x="266" y="354"/>
                  <a:pt x="266" y="355"/>
                </a:cubicBezTo>
                <a:cubicBezTo>
                  <a:pt x="266" y="354"/>
                  <a:pt x="266" y="354"/>
                  <a:pt x="266" y="354"/>
                </a:cubicBezTo>
                <a:cubicBezTo>
                  <a:pt x="267" y="354"/>
                  <a:pt x="267" y="355"/>
                  <a:pt x="267" y="355"/>
                </a:cubicBezTo>
                <a:cubicBezTo>
                  <a:pt x="268" y="355"/>
                  <a:pt x="268" y="354"/>
                  <a:pt x="269" y="354"/>
                </a:cubicBezTo>
                <a:cubicBezTo>
                  <a:pt x="269" y="354"/>
                  <a:pt x="269" y="355"/>
                  <a:pt x="269" y="355"/>
                </a:cubicBezTo>
                <a:cubicBezTo>
                  <a:pt x="269" y="355"/>
                  <a:pt x="269" y="355"/>
                  <a:pt x="270" y="355"/>
                </a:cubicBezTo>
                <a:cubicBezTo>
                  <a:pt x="270" y="355"/>
                  <a:pt x="270" y="355"/>
                  <a:pt x="270" y="355"/>
                </a:cubicBezTo>
                <a:cubicBezTo>
                  <a:pt x="270" y="355"/>
                  <a:pt x="270" y="356"/>
                  <a:pt x="270" y="356"/>
                </a:cubicBezTo>
                <a:cubicBezTo>
                  <a:pt x="271" y="356"/>
                  <a:pt x="271" y="356"/>
                  <a:pt x="272" y="356"/>
                </a:cubicBezTo>
                <a:cubicBezTo>
                  <a:pt x="272" y="356"/>
                  <a:pt x="272" y="356"/>
                  <a:pt x="272" y="355"/>
                </a:cubicBezTo>
                <a:cubicBezTo>
                  <a:pt x="273" y="355"/>
                  <a:pt x="273" y="355"/>
                  <a:pt x="273" y="355"/>
                </a:cubicBezTo>
                <a:cubicBezTo>
                  <a:pt x="273" y="355"/>
                  <a:pt x="274" y="355"/>
                  <a:pt x="274" y="355"/>
                </a:cubicBezTo>
                <a:cubicBezTo>
                  <a:pt x="274" y="356"/>
                  <a:pt x="273" y="356"/>
                  <a:pt x="273" y="357"/>
                </a:cubicBezTo>
                <a:cubicBezTo>
                  <a:pt x="274" y="357"/>
                  <a:pt x="275" y="357"/>
                  <a:pt x="275" y="357"/>
                </a:cubicBezTo>
                <a:close/>
                <a:moveTo>
                  <a:pt x="243" y="342"/>
                </a:moveTo>
                <a:cubicBezTo>
                  <a:pt x="243" y="342"/>
                  <a:pt x="243" y="342"/>
                  <a:pt x="243" y="342"/>
                </a:cubicBezTo>
                <a:cubicBezTo>
                  <a:pt x="242" y="341"/>
                  <a:pt x="242" y="341"/>
                  <a:pt x="242" y="341"/>
                </a:cubicBezTo>
                <a:cubicBezTo>
                  <a:pt x="242" y="340"/>
                  <a:pt x="242" y="340"/>
                  <a:pt x="241" y="340"/>
                </a:cubicBezTo>
                <a:cubicBezTo>
                  <a:pt x="241" y="339"/>
                  <a:pt x="241" y="339"/>
                  <a:pt x="241" y="339"/>
                </a:cubicBezTo>
                <a:cubicBezTo>
                  <a:pt x="241" y="339"/>
                  <a:pt x="241" y="338"/>
                  <a:pt x="241" y="338"/>
                </a:cubicBezTo>
                <a:cubicBezTo>
                  <a:pt x="242" y="338"/>
                  <a:pt x="242" y="338"/>
                  <a:pt x="242" y="337"/>
                </a:cubicBezTo>
                <a:cubicBezTo>
                  <a:pt x="242" y="337"/>
                  <a:pt x="242" y="337"/>
                  <a:pt x="242" y="337"/>
                </a:cubicBezTo>
                <a:cubicBezTo>
                  <a:pt x="242" y="337"/>
                  <a:pt x="241" y="337"/>
                  <a:pt x="241" y="337"/>
                </a:cubicBezTo>
                <a:cubicBezTo>
                  <a:pt x="241" y="337"/>
                  <a:pt x="240" y="337"/>
                  <a:pt x="240" y="337"/>
                </a:cubicBezTo>
                <a:cubicBezTo>
                  <a:pt x="240" y="338"/>
                  <a:pt x="240" y="338"/>
                  <a:pt x="239" y="338"/>
                </a:cubicBezTo>
                <a:cubicBezTo>
                  <a:pt x="240" y="338"/>
                  <a:pt x="240" y="337"/>
                  <a:pt x="240" y="337"/>
                </a:cubicBezTo>
                <a:cubicBezTo>
                  <a:pt x="240" y="337"/>
                  <a:pt x="241" y="337"/>
                  <a:pt x="241" y="337"/>
                </a:cubicBezTo>
                <a:cubicBezTo>
                  <a:pt x="241" y="336"/>
                  <a:pt x="241" y="336"/>
                  <a:pt x="242" y="335"/>
                </a:cubicBezTo>
                <a:cubicBezTo>
                  <a:pt x="242" y="335"/>
                  <a:pt x="242" y="335"/>
                  <a:pt x="241" y="334"/>
                </a:cubicBezTo>
                <a:cubicBezTo>
                  <a:pt x="242" y="334"/>
                  <a:pt x="242" y="334"/>
                  <a:pt x="242" y="333"/>
                </a:cubicBezTo>
                <a:cubicBezTo>
                  <a:pt x="242" y="333"/>
                  <a:pt x="242" y="332"/>
                  <a:pt x="242" y="332"/>
                </a:cubicBezTo>
                <a:cubicBezTo>
                  <a:pt x="242" y="331"/>
                  <a:pt x="243" y="331"/>
                  <a:pt x="243" y="330"/>
                </a:cubicBezTo>
                <a:cubicBezTo>
                  <a:pt x="243" y="330"/>
                  <a:pt x="243" y="330"/>
                  <a:pt x="243" y="330"/>
                </a:cubicBezTo>
                <a:cubicBezTo>
                  <a:pt x="242" y="330"/>
                  <a:pt x="242" y="331"/>
                  <a:pt x="241" y="331"/>
                </a:cubicBezTo>
                <a:cubicBezTo>
                  <a:pt x="241" y="332"/>
                  <a:pt x="241" y="332"/>
                  <a:pt x="241" y="333"/>
                </a:cubicBezTo>
                <a:cubicBezTo>
                  <a:pt x="240" y="333"/>
                  <a:pt x="240" y="334"/>
                  <a:pt x="240" y="334"/>
                </a:cubicBezTo>
                <a:cubicBezTo>
                  <a:pt x="240" y="334"/>
                  <a:pt x="240" y="334"/>
                  <a:pt x="239" y="335"/>
                </a:cubicBezTo>
                <a:cubicBezTo>
                  <a:pt x="239" y="334"/>
                  <a:pt x="239" y="334"/>
                  <a:pt x="239" y="334"/>
                </a:cubicBezTo>
                <a:cubicBezTo>
                  <a:pt x="239" y="334"/>
                  <a:pt x="238" y="334"/>
                  <a:pt x="238" y="334"/>
                </a:cubicBezTo>
                <a:cubicBezTo>
                  <a:pt x="239" y="334"/>
                  <a:pt x="239" y="333"/>
                  <a:pt x="240" y="333"/>
                </a:cubicBezTo>
                <a:cubicBezTo>
                  <a:pt x="240" y="333"/>
                  <a:pt x="240" y="332"/>
                  <a:pt x="241" y="332"/>
                </a:cubicBezTo>
                <a:cubicBezTo>
                  <a:pt x="240" y="332"/>
                  <a:pt x="240" y="331"/>
                  <a:pt x="240" y="331"/>
                </a:cubicBezTo>
                <a:cubicBezTo>
                  <a:pt x="240" y="331"/>
                  <a:pt x="240" y="331"/>
                  <a:pt x="240" y="331"/>
                </a:cubicBezTo>
                <a:cubicBezTo>
                  <a:pt x="240" y="331"/>
                  <a:pt x="240" y="331"/>
                  <a:pt x="239" y="331"/>
                </a:cubicBezTo>
                <a:cubicBezTo>
                  <a:pt x="239" y="331"/>
                  <a:pt x="239" y="331"/>
                  <a:pt x="239" y="331"/>
                </a:cubicBezTo>
                <a:cubicBezTo>
                  <a:pt x="239" y="332"/>
                  <a:pt x="238" y="332"/>
                  <a:pt x="238" y="332"/>
                </a:cubicBezTo>
                <a:cubicBezTo>
                  <a:pt x="238" y="332"/>
                  <a:pt x="238" y="331"/>
                  <a:pt x="238" y="331"/>
                </a:cubicBezTo>
                <a:cubicBezTo>
                  <a:pt x="238" y="331"/>
                  <a:pt x="237" y="331"/>
                  <a:pt x="236" y="331"/>
                </a:cubicBezTo>
                <a:cubicBezTo>
                  <a:pt x="236" y="332"/>
                  <a:pt x="236" y="333"/>
                  <a:pt x="235" y="334"/>
                </a:cubicBezTo>
                <a:cubicBezTo>
                  <a:pt x="236" y="334"/>
                  <a:pt x="236" y="334"/>
                  <a:pt x="236" y="335"/>
                </a:cubicBezTo>
                <a:cubicBezTo>
                  <a:pt x="236" y="335"/>
                  <a:pt x="236" y="335"/>
                  <a:pt x="236" y="336"/>
                </a:cubicBezTo>
                <a:cubicBezTo>
                  <a:pt x="236" y="336"/>
                  <a:pt x="236" y="336"/>
                  <a:pt x="236" y="336"/>
                </a:cubicBezTo>
                <a:cubicBezTo>
                  <a:pt x="237" y="336"/>
                  <a:pt x="237" y="336"/>
                  <a:pt x="237" y="336"/>
                </a:cubicBezTo>
                <a:cubicBezTo>
                  <a:pt x="237" y="336"/>
                  <a:pt x="238" y="336"/>
                  <a:pt x="238" y="336"/>
                </a:cubicBezTo>
                <a:cubicBezTo>
                  <a:pt x="238" y="337"/>
                  <a:pt x="238" y="337"/>
                  <a:pt x="238" y="337"/>
                </a:cubicBezTo>
                <a:cubicBezTo>
                  <a:pt x="238" y="337"/>
                  <a:pt x="238" y="337"/>
                  <a:pt x="238" y="337"/>
                </a:cubicBezTo>
                <a:cubicBezTo>
                  <a:pt x="237" y="337"/>
                  <a:pt x="237" y="337"/>
                  <a:pt x="237" y="337"/>
                </a:cubicBezTo>
                <a:cubicBezTo>
                  <a:pt x="237" y="337"/>
                  <a:pt x="237" y="338"/>
                  <a:pt x="237" y="338"/>
                </a:cubicBezTo>
                <a:cubicBezTo>
                  <a:pt x="237" y="338"/>
                  <a:pt x="238" y="338"/>
                  <a:pt x="238" y="338"/>
                </a:cubicBezTo>
                <a:cubicBezTo>
                  <a:pt x="238" y="338"/>
                  <a:pt x="238" y="339"/>
                  <a:pt x="238" y="339"/>
                </a:cubicBezTo>
                <a:cubicBezTo>
                  <a:pt x="238" y="339"/>
                  <a:pt x="238" y="339"/>
                  <a:pt x="238" y="339"/>
                </a:cubicBezTo>
                <a:cubicBezTo>
                  <a:pt x="239" y="339"/>
                  <a:pt x="239" y="339"/>
                  <a:pt x="240" y="339"/>
                </a:cubicBezTo>
                <a:cubicBezTo>
                  <a:pt x="239" y="339"/>
                  <a:pt x="239" y="339"/>
                  <a:pt x="238" y="339"/>
                </a:cubicBezTo>
                <a:cubicBezTo>
                  <a:pt x="238" y="340"/>
                  <a:pt x="238" y="340"/>
                  <a:pt x="238" y="340"/>
                </a:cubicBezTo>
                <a:cubicBezTo>
                  <a:pt x="238" y="340"/>
                  <a:pt x="239" y="340"/>
                  <a:pt x="239" y="341"/>
                </a:cubicBezTo>
                <a:cubicBezTo>
                  <a:pt x="239" y="340"/>
                  <a:pt x="240" y="340"/>
                  <a:pt x="240" y="340"/>
                </a:cubicBezTo>
                <a:cubicBezTo>
                  <a:pt x="240" y="340"/>
                  <a:pt x="240" y="341"/>
                  <a:pt x="240" y="341"/>
                </a:cubicBezTo>
                <a:cubicBezTo>
                  <a:pt x="240" y="341"/>
                  <a:pt x="240" y="341"/>
                  <a:pt x="240" y="342"/>
                </a:cubicBezTo>
                <a:cubicBezTo>
                  <a:pt x="241" y="342"/>
                  <a:pt x="242" y="343"/>
                  <a:pt x="243" y="343"/>
                </a:cubicBezTo>
                <a:cubicBezTo>
                  <a:pt x="243" y="343"/>
                  <a:pt x="244" y="343"/>
                  <a:pt x="244" y="343"/>
                </a:cubicBezTo>
                <a:cubicBezTo>
                  <a:pt x="245" y="343"/>
                  <a:pt x="245" y="342"/>
                  <a:pt x="245" y="342"/>
                </a:cubicBezTo>
                <a:cubicBezTo>
                  <a:pt x="245" y="342"/>
                  <a:pt x="244" y="342"/>
                  <a:pt x="244" y="342"/>
                </a:cubicBezTo>
                <a:cubicBezTo>
                  <a:pt x="244" y="342"/>
                  <a:pt x="244" y="342"/>
                  <a:pt x="243" y="342"/>
                </a:cubicBezTo>
                <a:close/>
                <a:moveTo>
                  <a:pt x="249" y="330"/>
                </a:moveTo>
                <a:cubicBezTo>
                  <a:pt x="250" y="330"/>
                  <a:pt x="250" y="331"/>
                  <a:pt x="250" y="331"/>
                </a:cubicBezTo>
                <a:cubicBezTo>
                  <a:pt x="250" y="331"/>
                  <a:pt x="251" y="331"/>
                  <a:pt x="251" y="331"/>
                </a:cubicBezTo>
                <a:cubicBezTo>
                  <a:pt x="251" y="332"/>
                  <a:pt x="251" y="332"/>
                  <a:pt x="252" y="332"/>
                </a:cubicBezTo>
                <a:cubicBezTo>
                  <a:pt x="252" y="332"/>
                  <a:pt x="253" y="332"/>
                  <a:pt x="253" y="333"/>
                </a:cubicBezTo>
                <a:cubicBezTo>
                  <a:pt x="253" y="332"/>
                  <a:pt x="253" y="332"/>
                  <a:pt x="253" y="331"/>
                </a:cubicBezTo>
                <a:cubicBezTo>
                  <a:pt x="252" y="331"/>
                  <a:pt x="252" y="331"/>
                  <a:pt x="251" y="330"/>
                </a:cubicBezTo>
                <a:cubicBezTo>
                  <a:pt x="251" y="330"/>
                  <a:pt x="251" y="330"/>
                  <a:pt x="250" y="330"/>
                </a:cubicBezTo>
                <a:cubicBezTo>
                  <a:pt x="250" y="330"/>
                  <a:pt x="250" y="330"/>
                  <a:pt x="250" y="330"/>
                </a:cubicBezTo>
                <a:cubicBezTo>
                  <a:pt x="250" y="330"/>
                  <a:pt x="250" y="330"/>
                  <a:pt x="249" y="330"/>
                </a:cubicBezTo>
                <a:close/>
                <a:moveTo>
                  <a:pt x="574" y="143"/>
                </a:moveTo>
                <a:cubicBezTo>
                  <a:pt x="574" y="143"/>
                  <a:pt x="574" y="143"/>
                  <a:pt x="573" y="143"/>
                </a:cubicBezTo>
                <a:cubicBezTo>
                  <a:pt x="573" y="143"/>
                  <a:pt x="573" y="143"/>
                  <a:pt x="573" y="143"/>
                </a:cubicBezTo>
                <a:cubicBezTo>
                  <a:pt x="572" y="143"/>
                  <a:pt x="572" y="143"/>
                  <a:pt x="572" y="143"/>
                </a:cubicBezTo>
                <a:cubicBezTo>
                  <a:pt x="572" y="144"/>
                  <a:pt x="571" y="144"/>
                  <a:pt x="571" y="144"/>
                </a:cubicBezTo>
                <a:cubicBezTo>
                  <a:pt x="571" y="144"/>
                  <a:pt x="572" y="144"/>
                  <a:pt x="572" y="144"/>
                </a:cubicBezTo>
                <a:cubicBezTo>
                  <a:pt x="572" y="144"/>
                  <a:pt x="572" y="145"/>
                  <a:pt x="572" y="145"/>
                </a:cubicBezTo>
                <a:cubicBezTo>
                  <a:pt x="572" y="145"/>
                  <a:pt x="572" y="145"/>
                  <a:pt x="572" y="145"/>
                </a:cubicBezTo>
                <a:cubicBezTo>
                  <a:pt x="572" y="145"/>
                  <a:pt x="572" y="145"/>
                  <a:pt x="573" y="144"/>
                </a:cubicBezTo>
                <a:cubicBezTo>
                  <a:pt x="573" y="144"/>
                  <a:pt x="573" y="144"/>
                  <a:pt x="573" y="144"/>
                </a:cubicBezTo>
                <a:cubicBezTo>
                  <a:pt x="573" y="144"/>
                  <a:pt x="574" y="144"/>
                  <a:pt x="574" y="144"/>
                </a:cubicBezTo>
                <a:cubicBezTo>
                  <a:pt x="574" y="144"/>
                  <a:pt x="574" y="144"/>
                  <a:pt x="575" y="144"/>
                </a:cubicBezTo>
                <a:cubicBezTo>
                  <a:pt x="575" y="144"/>
                  <a:pt x="575" y="143"/>
                  <a:pt x="575" y="143"/>
                </a:cubicBezTo>
                <a:cubicBezTo>
                  <a:pt x="575" y="143"/>
                  <a:pt x="575" y="143"/>
                  <a:pt x="575" y="143"/>
                </a:cubicBezTo>
                <a:cubicBezTo>
                  <a:pt x="574" y="143"/>
                  <a:pt x="574" y="143"/>
                  <a:pt x="574" y="143"/>
                </a:cubicBezTo>
                <a:close/>
                <a:moveTo>
                  <a:pt x="329" y="160"/>
                </a:moveTo>
                <a:cubicBezTo>
                  <a:pt x="330" y="160"/>
                  <a:pt x="331" y="160"/>
                  <a:pt x="331" y="159"/>
                </a:cubicBezTo>
                <a:cubicBezTo>
                  <a:pt x="331" y="160"/>
                  <a:pt x="332" y="160"/>
                  <a:pt x="332" y="160"/>
                </a:cubicBezTo>
                <a:cubicBezTo>
                  <a:pt x="331" y="160"/>
                  <a:pt x="331" y="160"/>
                  <a:pt x="330" y="160"/>
                </a:cubicBezTo>
                <a:cubicBezTo>
                  <a:pt x="331" y="161"/>
                  <a:pt x="331" y="161"/>
                  <a:pt x="332" y="162"/>
                </a:cubicBezTo>
                <a:cubicBezTo>
                  <a:pt x="332" y="162"/>
                  <a:pt x="332" y="162"/>
                  <a:pt x="333" y="162"/>
                </a:cubicBezTo>
                <a:cubicBezTo>
                  <a:pt x="333" y="162"/>
                  <a:pt x="333" y="162"/>
                  <a:pt x="333" y="163"/>
                </a:cubicBezTo>
                <a:cubicBezTo>
                  <a:pt x="333" y="163"/>
                  <a:pt x="333" y="163"/>
                  <a:pt x="333" y="164"/>
                </a:cubicBezTo>
                <a:cubicBezTo>
                  <a:pt x="333" y="164"/>
                  <a:pt x="333" y="164"/>
                  <a:pt x="333" y="165"/>
                </a:cubicBezTo>
                <a:cubicBezTo>
                  <a:pt x="333" y="165"/>
                  <a:pt x="333" y="165"/>
                  <a:pt x="333" y="166"/>
                </a:cubicBezTo>
                <a:cubicBezTo>
                  <a:pt x="333" y="166"/>
                  <a:pt x="333" y="167"/>
                  <a:pt x="333" y="167"/>
                </a:cubicBezTo>
                <a:cubicBezTo>
                  <a:pt x="333" y="167"/>
                  <a:pt x="333" y="168"/>
                  <a:pt x="333" y="168"/>
                </a:cubicBezTo>
                <a:cubicBezTo>
                  <a:pt x="334" y="168"/>
                  <a:pt x="334" y="167"/>
                  <a:pt x="334" y="167"/>
                </a:cubicBezTo>
                <a:cubicBezTo>
                  <a:pt x="334" y="167"/>
                  <a:pt x="335" y="167"/>
                  <a:pt x="335" y="167"/>
                </a:cubicBezTo>
                <a:cubicBezTo>
                  <a:pt x="335" y="167"/>
                  <a:pt x="335" y="167"/>
                  <a:pt x="336" y="167"/>
                </a:cubicBezTo>
                <a:cubicBezTo>
                  <a:pt x="336" y="166"/>
                  <a:pt x="336" y="166"/>
                  <a:pt x="337" y="166"/>
                </a:cubicBezTo>
                <a:cubicBezTo>
                  <a:pt x="337" y="166"/>
                  <a:pt x="337" y="166"/>
                  <a:pt x="338" y="166"/>
                </a:cubicBezTo>
                <a:cubicBezTo>
                  <a:pt x="338" y="165"/>
                  <a:pt x="339" y="165"/>
                  <a:pt x="339" y="165"/>
                </a:cubicBezTo>
                <a:cubicBezTo>
                  <a:pt x="340" y="165"/>
                  <a:pt x="340" y="164"/>
                  <a:pt x="341" y="164"/>
                </a:cubicBezTo>
                <a:cubicBezTo>
                  <a:pt x="341" y="163"/>
                  <a:pt x="341" y="163"/>
                  <a:pt x="341" y="163"/>
                </a:cubicBezTo>
                <a:cubicBezTo>
                  <a:pt x="341" y="163"/>
                  <a:pt x="341" y="163"/>
                  <a:pt x="341" y="163"/>
                </a:cubicBezTo>
                <a:cubicBezTo>
                  <a:pt x="341" y="163"/>
                  <a:pt x="342" y="162"/>
                  <a:pt x="342" y="162"/>
                </a:cubicBezTo>
                <a:cubicBezTo>
                  <a:pt x="342" y="162"/>
                  <a:pt x="342" y="162"/>
                  <a:pt x="343" y="162"/>
                </a:cubicBezTo>
                <a:cubicBezTo>
                  <a:pt x="343" y="162"/>
                  <a:pt x="343" y="163"/>
                  <a:pt x="343" y="163"/>
                </a:cubicBezTo>
                <a:cubicBezTo>
                  <a:pt x="343" y="163"/>
                  <a:pt x="342" y="164"/>
                  <a:pt x="342" y="164"/>
                </a:cubicBezTo>
                <a:cubicBezTo>
                  <a:pt x="343" y="164"/>
                  <a:pt x="343" y="164"/>
                  <a:pt x="343" y="164"/>
                </a:cubicBezTo>
                <a:cubicBezTo>
                  <a:pt x="343" y="164"/>
                  <a:pt x="344" y="164"/>
                  <a:pt x="344" y="164"/>
                </a:cubicBezTo>
                <a:cubicBezTo>
                  <a:pt x="345" y="164"/>
                  <a:pt x="345" y="163"/>
                  <a:pt x="345" y="163"/>
                </a:cubicBezTo>
                <a:cubicBezTo>
                  <a:pt x="346" y="163"/>
                  <a:pt x="347" y="163"/>
                  <a:pt x="347" y="162"/>
                </a:cubicBezTo>
                <a:cubicBezTo>
                  <a:pt x="347" y="162"/>
                  <a:pt x="348" y="162"/>
                  <a:pt x="348" y="161"/>
                </a:cubicBezTo>
                <a:cubicBezTo>
                  <a:pt x="348" y="161"/>
                  <a:pt x="349" y="160"/>
                  <a:pt x="349" y="160"/>
                </a:cubicBezTo>
                <a:cubicBezTo>
                  <a:pt x="349" y="160"/>
                  <a:pt x="349" y="160"/>
                  <a:pt x="349" y="160"/>
                </a:cubicBezTo>
                <a:cubicBezTo>
                  <a:pt x="349" y="159"/>
                  <a:pt x="350" y="159"/>
                  <a:pt x="350" y="158"/>
                </a:cubicBezTo>
                <a:cubicBezTo>
                  <a:pt x="350" y="158"/>
                  <a:pt x="350" y="158"/>
                  <a:pt x="350" y="158"/>
                </a:cubicBezTo>
                <a:cubicBezTo>
                  <a:pt x="351" y="157"/>
                  <a:pt x="351" y="157"/>
                  <a:pt x="351" y="156"/>
                </a:cubicBezTo>
                <a:cubicBezTo>
                  <a:pt x="352" y="156"/>
                  <a:pt x="352" y="156"/>
                  <a:pt x="353" y="156"/>
                </a:cubicBezTo>
                <a:cubicBezTo>
                  <a:pt x="353" y="155"/>
                  <a:pt x="353" y="155"/>
                  <a:pt x="353" y="155"/>
                </a:cubicBezTo>
                <a:cubicBezTo>
                  <a:pt x="353" y="154"/>
                  <a:pt x="353" y="154"/>
                  <a:pt x="353" y="154"/>
                </a:cubicBezTo>
                <a:cubicBezTo>
                  <a:pt x="353" y="154"/>
                  <a:pt x="354" y="154"/>
                  <a:pt x="354" y="154"/>
                </a:cubicBezTo>
                <a:cubicBezTo>
                  <a:pt x="355" y="154"/>
                  <a:pt x="355" y="154"/>
                  <a:pt x="356" y="154"/>
                </a:cubicBezTo>
                <a:cubicBezTo>
                  <a:pt x="356" y="154"/>
                  <a:pt x="356" y="153"/>
                  <a:pt x="357" y="153"/>
                </a:cubicBezTo>
                <a:cubicBezTo>
                  <a:pt x="357" y="153"/>
                  <a:pt x="358" y="152"/>
                  <a:pt x="358" y="152"/>
                </a:cubicBezTo>
                <a:cubicBezTo>
                  <a:pt x="358" y="152"/>
                  <a:pt x="358" y="151"/>
                  <a:pt x="358" y="151"/>
                </a:cubicBezTo>
                <a:cubicBezTo>
                  <a:pt x="359" y="151"/>
                  <a:pt x="359" y="151"/>
                  <a:pt x="359" y="151"/>
                </a:cubicBezTo>
                <a:cubicBezTo>
                  <a:pt x="359" y="150"/>
                  <a:pt x="360" y="150"/>
                  <a:pt x="360" y="150"/>
                </a:cubicBezTo>
                <a:cubicBezTo>
                  <a:pt x="360" y="149"/>
                  <a:pt x="360" y="149"/>
                  <a:pt x="360" y="149"/>
                </a:cubicBezTo>
                <a:cubicBezTo>
                  <a:pt x="361" y="148"/>
                  <a:pt x="361" y="148"/>
                  <a:pt x="362" y="148"/>
                </a:cubicBezTo>
                <a:cubicBezTo>
                  <a:pt x="362" y="148"/>
                  <a:pt x="363" y="148"/>
                  <a:pt x="363" y="147"/>
                </a:cubicBezTo>
                <a:cubicBezTo>
                  <a:pt x="363" y="147"/>
                  <a:pt x="363" y="148"/>
                  <a:pt x="363" y="148"/>
                </a:cubicBezTo>
                <a:cubicBezTo>
                  <a:pt x="364" y="147"/>
                  <a:pt x="364" y="147"/>
                  <a:pt x="364" y="147"/>
                </a:cubicBezTo>
                <a:cubicBezTo>
                  <a:pt x="365" y="147"/>
                  <a:pt x="365" y="147"/>
                  <a:pt x="366" y="146"/>
                </a:cubicBezTo>
                <a:cubicBezTo>
                  <a:pt x="367" y="146"/>
                  <a:pt x="367" y="146"/>
                  <a:pt x="367" y="146"/>
                </a:cubicBezTo>
                <a:cubicBezTo>
                  <a:pt x="368" y="145"/>
                  <a:pt x="368" y="145"/>
                  <a:pt x="368" y="145"/>
                </a:cubicBezTo>
                <a:cubicBezTo>
                  <a:pt x="369" y="145"/>
                  <a:pt x="370" y="144"/>
                  <a:pt x="371" y="144"/>
                </a:cubicBezTo>
                <a:cubicBezTo>
                  <a:pt x="371" y="144"/>
                  <a:pt x="372" y="143"/>
                  <a:pt x="373" y="143"/>
                </a:cubicBezTo>
                <a:cubicBezTo>
                  <a:pt x="374" y="142"/>
                  <a:pt x="375" y="142"/>
                  <a:pt x="376" y="141"/>
                </a:cubicBezTo>
                <a:cubicBezTo>
                  <a:pt x="376" y="141"/>
                  <a:pt x="377" y="141"/>
                  <a:pt x="377" y="141"/>
                </a:cubicBezTo>
                <a:cubicBezTo>
                  <a:pt x="378" y="141"/>
                  <a:pt x="379" y="140"/>
                  <a:pt x="380" y="140"/>
                </a:cubicBezTo>
                <a:cubicBezTo>
                  <a:pt x="380" y="140"/>
                  <a:pt x="380" y="140"/>
                  <a:pt x="381" y="139"/>
                </a:cubicBezTo>
                <a:cubicBezTo>
                  <a:pt x="381" y="139"/>
                  <a:pt x="382" y="139"/>
                  <a:pt x="383" y="138"/>
                </a:cubicBezTo>
                <a:cubicBezTo>
                  <a:pt x="383" y="138"/>
                  <a:pt x="383" y="138"/>
                  <a:pt x="383" y="137"/>
                </a:cubicBezTo>
                <a:cubicBezTo>
                  <a:pt x="383" y="137"/>
                  <a:pt x="383" y="137"/>
                  <a:pt x="383" y="137"/>
                </a:cubicBezTo>
                <a:cubicBezTo>
                  <a:pt x="383" y="136"/>
                  <a:pt x="383" y="136"/>
                  <a:pt x="383" y="136"/>
                </a:cubicBezTo>
                <a:cubicBezTo>
                  <a:pt x="383" y="136"/>
                  <a:pt x="382" y="136"/>
                  <a:pt x="382" y="136"/>
                </a:cubicBezTo>
                <a:cubicBezTo>
                  <a:pt x="382" y="136"/>
                  <a:pt x="382" y="135"/>
                  <a:pt x="382" y="135"/>
                </a:cubicBezTo>
                <a:cubicBezTo>
                  <a:pt x="382" y="135"/>
                  <a:pt x="382" y="135"/>
                  <a:pt x="382" y="134"/>
                </a:cubicBezTo>
                <a:cubicBezTo>
                  <a:pt x="382" y="134"/>
                  <a:pt x="381" y="134"/>
                  <a:pt x="381" y="133"/>
                </a:cubicBezTo>
                <a:cubicBezTo>
                  <a:pt x="381" y="133"/>
                  <a:pt x="381" y="133"/>
                  <a:pt x="381" y="132"/>
                </a:cubicBezTo>
                <a:cubicBezTo>
                  <a:pt x="381" y="132"/>
                  <a:pt x="381" y="131"/>
                  <a:pt x="380" y="131"/>
                </a:cubicBezTo>
                <a:cubicBezTo>
                  <a:pt x="380" y="131"/>
                  <a:pt x="379" y="130"/>
                  <a:pt x="378" y="130"/>
                </a:cubicBezTo>
                <a:cubicBezTo>
                  <a:pt x="378" y="130"/>
                  <a:pt x="377" y="130"/>
                  <a:pt x="377" y="129"/>
                </a:cubicBezTo>
                <a:cubicBezTo>
                  <a:pt x="377" y="129"/>
                  <a:pt x="377" y="129"/>
                  <a:pt x="377" y="129"/>
                </a:cubicBezTo>
                <a:cubicBezTo>
                  <a:pt x="376" y="130"/>
                  <a:pt x="376" y="130"/>
                  <a:pt x="375" y="130"/>
                </a:cubicBezTo>
                <a:cubicBezTo>
                  <a:pt x="375" y="130"/>
                  <a:pt x="374" y="130"/>
                  <a:pt x="373" y="131"/>
                </a:cubicBezTo>
                <a:cubicBezTo>
                  <a:pt x="373" y="131"/>
                  <a:pt x="373" y="131"/>
                  <a:pt x="373" y="131"/>
                </a:cubicBezTo>
                <a:cubicBezTo>
                  <a:pt x="373" y="132"/>
                  <a:pt x="373" y="132"/>
                  <a:pt x="373" y="132"/>
                </a:cubicBezTo>
                <a:cubicBezTo>
                  <a:pt x="372" y="133"/>
                  <a:pt x="372" y="133"/>
                  <a:pt x="371" y="134"/>
                </a:cubicBezTo>
                <a:cubicBezTo>
                  <a:pt x="371" y="134"/>
                  <a:pt x="371" y="133"/>
                  <a:pt x="371" y="133"/>
                </a:cubicBezTo>
                <a:cubicBezTo>
                  <a:pt x="371" y="133"/>
                  <a:pt x="372" y="132"/>
                  <a:pt x="372" y="132"/>
                </a:cubicBezTo>
                <a:cubicBezTo>
                  <a:pt x="372" y="131"/>
                  <a:pt x="372" y="131"/>
                  <a:pt x="372" y="131"/>
                </a:cubicBezTo>
                <a:cubicBezTo>
                  <a:pt x="372" y="131"/>
                  <a:pt x="371" y="131"/>
                  <a:pt x="371" y="131"/>
                </a:cubicBezTo>
                <a:cubicBezTo>
                  <a:pt x="371" y="131"/>
                  <a:pt x="370" y="131"/>
                  <a:pt x="370" y="131"/>
                </a:cubicBezTo>
                <a:cubicBezTo>
                  <a:pt x="370" y="131"/>
                  <a:pt x="369" y="132"/>
                  <a:pt x="369" y="132"/>
                </a:cubicBezTo>
                <a:cubicBezTo>
                  <a:pt x="369" y="131"/>
                  <a:pt x="369" y="131"/>
                  <a:pt x="370" y="131"/>
                </a:cubicBezTo>
                <a:cubicBezTo>
                  <a:pt x="370" y="131"/>
                  <a:pt x="369" y="131"/>
                  <a:pt x="369" y="130"/>
                </a:cubicBezTo>
                <a:cubicBezTo>
                  <a:pt x="368" y="130"/>
                  <a:pt x="367" y="130"/>
                  <a:pt x="366" y="130"/>
                </a:cubicBezTo>
                <a:cubicBezTo>
                  <a:pt x="366" y="130"/>
                  <a:pt x="365" y="130"/>
                  <a:pt x="365" y="130"/>
                </a:cubicBezTo>
                <a:cubicBezTo>
                  <a:pt x="365" y="130"/>
                  <a:pt x="364" y="130"/>
                  <a:pt x="364" y="130"/>
                </a:cubicBezTo>
                <a:cubicBezTo>
                  <a:pt x="364" y="129"/>
                  <a:pt x="364" y="129"/>
                  <a:pt x="364" y="129"/>
                </a:cubicBezTo>
                <a:cubicBezTo>
                  <a:pt x="363" y="129"/>
                  <a:pt x="362" y="129"/>
                  <a:pt x="361" y="129"/>
                </a:cubicBezTo>
                <a:cubicBezTo>
                  <a:pt x="360" y="130"/>
                  <a:pt x="359" y="130"/>
                  <a:pt x="358" y="131"/>
                </a:cubicBezTo>
                <a:cubicBezTo>
                  <a:pt x="357" y="131"/>
                  <a:pt x="356" y="131"/>
                  <a:pt x="354" y="132"/>
                </a:cubicBezTo>
                <a:cubicBezTo>
                  <a:pt x="354" y="132"/>
                  <a:pt x="354" y="132"/>
                  <a:pt x="353" y="132"/>
                </a:cubicBezTo>
                <a:cubicBezTo>
                  <a:pt x="352" y="132"/>
                  <a:pt x="351" y="133"/>
                  <a:pt x="350" y="133"/>
                </a:cubicBezTo>
                <a:cubicBezTo>
                  <a:pt x="349" y="133"/>
                  <a:pt x="349" y="133"/>
                  <a:pt x="349" y="133"/>
                </a:cubicBezTo>
                <a:cubicBezTo>
                  <a:pt x="348" y="133"/>
                  <a:pt x="348" y="134"/>
                  <a:pt x="347" y="134"/>
                </a:cubicBezTo>
                <a:cubicBezTo>
                  <a:pt x="347" y="134"/>
                  <a:pt x="347" y="135"/>
                  <a:pt x="347" y="135"/>
                </a:cubicBezTo>
                <a:cubicBezTo>
                  <a:pt x="347" y="135"/>
                  <a:pt x="347" y="135"/>
                  <a:pt x="347" y="135"/>
                </a:cubicBezTo>
                <a:cubicBezTo>
                  <a:pt x="347" y="135"/>
                  <a:pt x="347" y="136"/>
                  <a:pt x="347" y="136"/>
                </a:cubicBezTo>
                <a:cubicBezTo>
                  <a:pt x="347" y="136"/>
                  <a:pt x="347" y="136"/>
                  <a:pt x="347" y="137"/>
                </a:cubicBezTo>
                <a:cubicBezTo>
                  <a:pt x="347" y="137"/>
                  <a:pt x="347" y="138"/>
                  <a:pt x="347" y="138"/>
                </a:cubicBezTo>
                <a:cubicBezTo>
                  <a:pt x="348" y="138"/>
                  <a:pt x="348" y="139"/>
                  <a:pt x="349" y="139"/>
                </a:cubicBezTo>
                <a:cubicBezTo>
                  <a:pt x="348" y="139"/>
                  <a:pt x="348" y="139"/>
                  <a:pt x="348" y="139"/>
                </a:cubicBezTo>
                <a:cubicBezTo>
                  <a:pt x="348" y="140"/>
                  <a:pt x="347" y="140"/>
                  <a:pt x="347" y="140"/>
                </a:cubicBezTo>
                <a:cubicBezTo>
                  <a:pt x="346" y="140"/>
                  <a:pt x="346" y="141"/>
                  <a:pt x="345" y="141"/>
                </a:cubicBezTo>
                <a:cubicBezTo>
                  <a:pt x="345" y="142"/>
                  <a:pt x="345" y="142"/>
                  <a:pt x="345" y="142"/>
                </a:cubicBezTo>
                <a:cubicBezTo>
                  <a:pt x="344" y="142"/>
                  <a:pt x="344" y="143"/>
                  <a:pt x="343" y="143"/>
                </a:cubicBezTo>
                <a:cubicBezTo>
                  <a:pt x="343" y="144"/>
                  <a:pt x="342" y="144"/>
                  <a:pt x="342" y="145"/>
                </a:cubicBezTo>
                <a:cubicBezTo>
                  <a:pt x="341" y="145"/>
                  <a:pt x="341" y="146"/>
                  <a:pt x="340" y="147"/>
                </a:cubicBezTo>
                <a:cubicBezTo>
                  <a:pt x="339" y="147"/>
                  <a:pt x="339" y="147"/>
                  <a:pt x="339" y="147"/>
                </a:cubicBezTo>
                <a:cubicBezTo>
                  <a:pt x="339" y="147"/>
                  <a:pt x="339" y="148"/>
                  <a:pt x="339" y="148"/>
                </a:cubicBezTo>
                <a:cubicBezTo>
                  <a:pt x="339" y="148"/>
                  <a:pt x="340" y="148"/>
                  <a:pt x="340" y="149"/>
                </a:cubicBezTo>
                <a:cubicBezTo>
                  <a:pt x="340" y="149"/>
                  <a:pt x="340" y="149"/>
                  <a:pt x="340" y="150"/>
                </a:cubicBezTo>
                <a:cubicBezTo>
                  <a:pt x="339" y="150"/>
                  <a:pt x="338" y="150"/>
                  <a:pt x="337" y="150"/>
                </a:cubicBezTo>
                <a:cubicBezTo>
                  <a:pt x="337" y="150"/>
                  <a:pt x="336" y="150"/>
                  <a:pt x="336" y="150"/>
                </a:cubicBezTo>
                <a:cubicBezTo>
                  <a:pt x="336" y="150"/>
                  <a:pt x="336" y="151"/>
                  <a:pt x="337" y="151"/>
                </a:cubicBezTo>
                <a:cubicBezTo>
                  <a:pt x="336" y="152"/>
                  <a:pt x="336" y="152"/>
                  <a:pt x="336" y="152"/>
                </a:cubicBezTo>
                <a:cubicBezTo>
                  <a:pt x="336" y="153"/>
                  <a:pt x="335" y="153"/>
                  <a:pt x="335" y="153"/>
                </a:cubicBezTo>
                <a:cubicBezTo>
                  <a:pt x="335" y="153"/>
                  <a:pt x="335" y="153"/>
                  <a:pt x="335" y="153"/>
                </a:cubicBezTo>
                <a:cubicBezTo>
                  <a:pt x="334" y="154"/>
                  <a:pt x="334" y="154"/>
                  <a:pt x="333" y="154"/>
                </a:cubicBezTo>
                <a:cubicBezTo>
                  <a:pt x="333" y="155"/>
                  <a:pt x="333" y="155"/>
                  <a:pt x="333" y="155"/>
                </a:cubicBezTo>
                <a:cubicBezTo>
                  <a:pt x="332" y="156"/>
                  <a:pt x="332" y="156"/>
                  <a:pt x="332" y="156"/>
                </a:cubicBezTo>
                <a:cubicBezTo>
                  <a:pt x="332" y="156"/>
                  <a:pt x="331" y="156"/>
                  <a:pt x="331" y="157"/>
                </a:cubicBezTo>
                <a:cubicBezTo>
                  <a:pt x="331" y="157"/>
                  <a:pt x="331" y="157"/>
                  <a:pt x="330" y="157"/>
                </a:cubicBezTo>
                <a:cubicBezTo>
                  <a:pt x="330" y="157"/>
                  <a:pt x="330" y="157"/>
                  <a:pt x="330" y="158"/>
                </a:cubicBezTo>
                <a:cubicBezTo>
                  <a:pt x="330" y="158"/>
                  <a:pt x="329" y="158"/>
                  <a:pt x="329" y="159"/>
                </a:cubicBezTo>
                <a:cubicBezTo>
                  <a:pt x="329" y="159"/>
                  <a:pt x="328" y="159"/>
                  <a:pt x="328" y="159"/>
                </a:cubicBezTo>
                <a:cubicBezTo>
                  <a:pt x="328" y="160"/>
                  <a:pt x="327" y="160"/>
                  <a:pt x="327" y="160"/>
                </a:cubicBezTo>
                <a:cubicBezTo>
                  <a:pt x="327" y="160"/>
                  <a:pt x="327" y="160"/>
                  <a:pt x="327" y="160"/>
                </a:cubicBezTo>
                <a:cubicBezTo>
                  <a:pt x="328" y="160"/>
                  <a:pt x="329" y="160"/>
                  <a:pt x="329" y="160"/>
                </a:cubicBezTo>
                <a:close/>
                <a:moveTo>
                  <a:pt x="371" y="107"/>
                </a:moveTo>
                <a:cubicBezTo>
                  <a:pt x="370" y="107"/>
                  <a:pt x="370" y="107"/>
                  <a:pt x="370" y="107"/>
                </a:cubicBezTo>
                <a:cubicBezTo>
                  <a:pt x="370" y="107"/>
                  <a:pt x="370" y="108"/>
                  <a:pt x="370" y="108"/>
                </a:cubicBezTo>
                <a:cubicBezTo>
                  <a:pt x="370" y="108"/>
                  <a:pt x="370" y="108"/>
                  <a:pt x="370" y="108"/>
                </a:cubicBezTo>
                <a:cubicBezTo>
                  <a:pt x="370" y="108"/>
                  <a:pt x="370" y="108"/>
                  <a:pt x="370" y="108"/>
                </a:cubicBezTo>
                <a:cubicBezTo>
                  <a:pt x="370" y="109"/>
                  <a:pt x="369" y="109"/>
                  <a:pt x="369" y="109"/>
                </a:cubicBezTo>
                <a:cubicBezTo>
                  <a:pt x="369" y="109"/>
                  <a:pt x="369" y="110"/>
                  <a:pt x="369" y="110"/>
                </a:cubicBezTo>
                <a:cubicBezTo>
                  <a:pt x="369" y="110"/>
                  <a:pt x="370" y="110"/>
                  <a:pt x="370" y="110"/>
                </a:cubicBezTo>
                <a:cubicBezTo>
                  <a:pt x="370" y="109"/>
                  <a:pt x="371" y="109"/>
                  <a:pt x="371" y="109"/>
                </a:cubicBezTo>
                <a:cubicBezTo>
                  <a:pt x="371" y="109"/>
                  <a:pt x="371" y="109"/>
                  <a:pt x="372" y="108"/>
                </a:cubicBezTo>
                <a:cubicBezTo>
                  <a:pt x="372" y="108"/>
                  <a:pt x="372" y="108"/>
                  <a:pt x="372" y="108"/>
                </a:cubicBezTo>
                <a:cubicBezTo>
                  <a:pt x="373" y="108"/>
                  <a:pt x="373" y="108"/>
                  <a:pt x="374" y="108"/>
                </a:cubicBezTo>
                <a:cubicBezTo>
                  <a:pt x="374" y="108"/>
                  <a:pt x="374" y="108"/>
                  <a:pt x="375" y="109"/>
                </a:cubicBezTo>
                <a:cubicBezTo>
                  <a:pt x="375" y="109"/>
                  <a:pt x="375" y="109"/>
                  <a:pt x="375" y="109"/>
                </a:cubicBezTo>
                <a:cubicBezTo>
                  <a:pt x="375" y="109"/>
                  <a:pt x="376" y="109"/>
                  <a:pt x="376" y="109"/>
                </a:cubicBezTo>
                <a:cubicBezTo>
                  <a:pt x="376" y="109"/>
                  <a:pt x="376" y="109"/>
                  <a:pt x="377" y="109"/>
                </a:cubicBezTo>
                <a:cubicBezTo>
                  <a:pt x="377" y="109"/>
                  <a:pt x="377" y="108"/>
                  <a:pt x="376" y="108"/>
                </a:cubicBezTo>
                <a:cubicBezTo>
                  <a:pt x="377" y="108"/>
                  <a:pt x="377" y="108"/>
                  <a:pt x="377" y="108"/>
                </a:cubicBezTo>
                <a:cubicBezTo>
                  <a:pt x="377" y="108"/>
                  <a:pt x="377" y="107"/>
                  <a:pt x="377" y="107"/>
                </a:cubicBezTo>
                <a:cubicBezTo>
                  <a:pt x="377" y="107"/>
                  <a:pt x="377" y="107"/>
                  <a:pt x="378" y="107"/>
                </a:cubicBezTo>
                <a:cubicBezTo>
                  <a:pt x="378" y="106"/>
                  <a:pt x="378" y="106"/>
                  <a:pt x="379" y="106"/>
                </a:cubicBezTo>
                <a:cubicBezTo>
                  <a:pt x="379" y="106"/>
                  <a:pt x="379" y="106"/>
                  <a:pt x="380" y="106"/>
                </a:cubicBezTo>
                <a:cubicBezTo>
                  <a:pt x="380" y="106"/>
                  <a:pt x="380" y="106"/>
                  <a:pt x="380" y="106"/>
                </a:cubicBezTo>
                <a:cubicBezTo>
                  <a:pt x="379" y="107"/>
                  <a:pt x="379" y="107"/>
                  <a:pt x="379" y="107"/>
                </a:cubicBezTo>
                <a:cubicBezTo>
                  <a:pt x="379" y="107"/>
                  <a:pt x="378" y="108"/>
                  <a:pt x="378" y="108"/>
                </a:cubicBezTo>
                <a:cubicBezTo>
                  <a:pt x="378" y="108"/>
                  <a:pt x="379" y="108"/>
                  <a:pt x="379" y="109"/>
                </a:cubicBezTo>
                <a:cubicBezTo>
                  <a:pt x="379" y="109"/>
                  <a:pt x="378" y="109"/>
                  <a:pt x="378" y="109"/>
                </a:cubicBezTo>
                <a:cubicBezTo>
                  <a:pt x="378" y="109"/>
                  <a:pt x="378" y="110"/>
                  <a:pt x="378" y="110"/>
                </a:cubicBezTo>
                <a:cubicBezTo>
                  <a:pt x="378" y="110"/>
                  <a:pt x="378" y="110"/>
                  <a:pt x="379" y="110"/>
                </a:cubicBezTo>
                <a:cubicBezTo>
                  <a:pt x="379" y="110"/>
                  <a:pt x="379" y="110"/>
                  <a:pt x="379" y="110"/>
                </a:cubicBezTo>
                <a:cubicBezTo>
                  <a:pt x="379" y="110"/>
                  <a:pt x="380" y="110"/>
                  <a:pt x="380" y="110"/>
                </a:cubicBezTo>
                <a:cubicBezTo>
                  <a:pt x="380" y="110"/>
                  <a:pt x="380" y="110"/>
                  <a:pt x="380" y="110"/>
                </a:cubicBezTo>
                <a:cubicBezTo>
                  <a:pt x="380" y="110"/>
                  <a:pt x="380" y="110"/>
                  <a:pt x="381" y="110"/>
                </a:cubicBezTo>
                <a:cubicBezTo>
                  <a:pt x="381" y="110"/>
                  <a:pt x="382" y="109"/>
                  <a:pt x="382" y="109"/>
                </a:cubicBezTo>
                <a:cubicBezTo>
                  <a:pt x="382" y="108"/>
                  <a:pt x="383" y="108"/>
                  <a:pt x="383" y="108"/>
                </a:cubicBezTo>
                <a:cubicBezTo>
                  <a:pt x="383" y="108"/>
                  <a:pt x="383" y="108"/>
                  <a:pt x="384" y="108"/>
                </a:cubicBezTo>
                <a:cubicBezTo>
                  <a:pt x="384" y="107"/>
                  <a:pt x="384" y="107"/>
                  <a:pt x="384" y="107"/>
                </a:cubicBezTo>
                <a:cubicBezTo>
                  <a:pt x="384" y="107"/>
                  <a:pt x="384" y="106"/>
                  <a:pt x="384" y="106"/>
                </a:cubicBezTo>
                <a:cubicBezTo>
                  <a:pt x="384" y="106"/>
                  <a:pt x="384" y="106"/>
                  <a:pt x="385" y="106"/>
                </a:cubicBezTo>
                <a:cubicBezTo>
                  <a:pt x="385" y="106"/>
                  <a:pt x="385" y="105"/>
                  <a:pt x="385" y="105"/>
                </a:cubicBezTo>
                <a:cubicBezTo>
                  <a:pt x="385" y="105"/>
                  <a:pt x="385" y="105"/>
                  <a:pt x="385" y="104"/>
                </a:cubicBezTo>
                <a:cubicBezTo>
                  <a:pt x="385" y="104"/>
                  <a:pt x="385" y="104"/>
                  <a:pt x="385" y="104"/>
                </a:cubicBezTo>
                <a:cubicBezTo>
                  <a:pt x="386" y="104"/>
                  <a:pt x="386" y="104"/>
                  <a:pt x="386" y="104"/>
                </a:cubicBezTo>
                <a:cubicBezTo>
                  <a:pt x="386" y="104"/>
                  <a:pt x="386" y="104"/>
                  <a:pt x="386" y="105"/>
                </a:cubicBezTo>
                <a:cubicBezTo>
                  <a:pt x="386" y="105"/>
                  <a:pt x="386" y="105"/>
                  <a:pt x="386" y="105"/>
                </a:cubicBezTo>
                <a:cubicBezTo>
                  <a:pt x="386" y="105"/>
                  <a:pt x="386" y="106"/>
                  <a:pt x="386" y="106"/>
                </a:cubicBezTo>
                <a:cubicBezTo>
                  <a:pt x="386" y="106"/>
                  <a:pt x="387" y="106"/>
                  <a:pt x="387" y="106"/>
                </a:cubicBezTo>
                <a:cubicBezTo>
                  <a:pt x="387" y="106"/>
                  <a:pt x="387" y="106"/>
                  <a:pt x="387" y="106"/>
                </a:cubicBezTo>
                <a:cubicBezTo>
                  <a:pt x="388" y="106"/>
                  <a:pt x="388" y="106"/>
                  <a:pt x="388" y="105"/>
                </a:cubicBezTo>
                <a:cubicBezTo>
                  <a:pt x="388" y="105"/>
                  <a:pt x="388" y="105"/>
                  <a:pt x="388" y="105"/>
                </a:cubicBezTo>
                <a:cubicBezTo>
                  <a:pt x="388" y="104"/>
                  <a:pt x="388" y="104"/>
                  <a:pt x="388" y="104"/>
                </a:cubicBezTo>
                <a:cubicBezTo>
                  <a:pt x="388" y="104"/>
                  <a:pt x="389" y="104"/>
                  <a:pt x="389" y="104"/>
                </a:cubicBezTo>
                <a:cubicBezTo>
                  <a:pt x="389" y="103"/>
                  <a:pt x="390" y="103"/>
                  <a:pt x="390" y="102"/>
                </a:cubicBezTo>
                <a:cubicBezTo>
                  <a:pt x="390" y="102"/>
                  <a:pt x="390" y="102"/>
                  <a:pt x="390" y="102"/>
                </a:cubicBezTo>
                <a:cubicBezTo>
                  <a:pt x="390" y="101"/>
                  <a:pt x="390" y="101"/>
                  <a:pt x="390" y="101"/>
                </a:cubicBezTo>
                <a:cubicBezTo>
                  <a:pt x="390" y="101"/>
                  <a:pt x="390" y="100"/>
                  <a:pt x="390" y="100"/>
                </a:cubicBezTo>
                <a:cubicBezTo>
                  <a:pt x="390" y="100"/>
                  <a:pt x="391" y="101"/>
                  <a:pt x="391" y="101"/>
                </a:cubicBezTo>
                <a:cubicBezTo>
                  <a:pt x="391" y="100"/>
                  <a:pt x="392" y="100"/>
                  <a:pt x="393" y="99"/>
                </a:cubicBezTo>
                <a:cubicBezTo>
                  <a:pt x="393" y="99"/>
                  <a:pt x="393" y="99"/>
                  <a:pt x="393" y="98"/>
                </a:cubicBezTo>
                <a:cubicBezTo>
                  <a:pt x="393" y="98"/>
                  <a:pt x="393" y="98"/>
                  <a:pt x="393" y="98"/>
                </a:cubicBezTo>
                <a:cubicBezTo>
                  <a:pt x="393" y="97"/>
                  <a:pt x="394" y="97"/>
                  <a:pt x="394" y="97"/>
                </a:cubicBezTo>
                <a:cubicBezTo>
                  <a:pt x="394" y="97"/>
                  <a:pt x="394" y="97"/>
                  <a:pt x="395" y="97"/>
                </a:cubicBezTo>
                <a:cubicBezTo>
                  <a:pt x="395" y="97"/>
                  <a:pt x="395" y="97"/>
                  <a:pt x="396" y="97"/>
                </a:cubicBezTo>
                <a:cubicBezTo>
                  <a:pt x="396" y="97"/>
                  <a:pt x="396" y="96"/>
                  <a:pt x="396" y="96"/>
                </a:cubicBezTo>
                <a:cubicBezTo>
                  <a:pt x="397" y="96"/>
                  <a:pt x="397" y="96"/>
                  <a:pt x="397" y="96"/>
                </a:cubicBezTo>
                <a:cubicBezTo>
                  <a:pt x="397" y="97"/>
                  <a:pt x="397" y="97"/>
                  <a:pt x="397" y="97"/>
                </a:cubicBezTo>
                <a:cubicBezTo>
                  <a:pt x="396" y="98"/>
                  <a:pt x="396" y="98"/>
                  <a:pt x="396" y="99"/>
                </a:cubicBezTo>
                <a:cubicBezTo>
                  <a:pt x="396" y="99"/>
                  <a:pt x="396" y="99"/>
                  <a:pt x="396" y="100"/>
                </a:cubicBezTo>
                <a:cubicBezTo>
                  <a:pt x="395" y="100"/>
                  <a:pt x="395" y="100"/>
                  <a:pt x="395" y="100"/>
                </a:cubicBezTo>
                <a:cubicBezTo>
                  <a:pt x="395" y="100"/>
                  <a:pt x="395" y="101"/>
                  <a:pt x="395" y="101"/>
                </a:cubicBezTo>
                <a:cubicBezTo>
                  <a:pt x="395" y="101"/>
                  <a:pt x="394" y="101"/>
                  <a:pt x="394" y="101"/>
                </a:cubicBezTo>
                <a:cubicBezTo>
                  <a:pt x="394" y="102"/>
                  <a:pt x="393" y="102"/>
                  <a:pt x="393" y="103"/>
                </a:cubicBezTo>
                <a:cubicBezTo>
                  <a:pt x="393" y="103"/>
                  <a:pt x="393" y="103"/>
                  <a:pt x="393" y="104"/>
                </a:cubicBezTo>
                <a:cubicBezTo>
                  <a:pt x="393" y="104"/>
                  <a:pt x="393" y="104"/>
                  <a:pt x="394" y="104"/>
                </a:cubicBezTo>
                <a:cubicBezTo>
                  <a:pt x="394" y="104"/>
                  <a:pt x="394" y="104"/>
                  <a:pt x="394" y="105"/>
                </a:cubicBezTo>
                <a:cubicBezTo>
                  <a:pt x="394" y="105"/>
                  <a:pt x="394" y="105"/>
                  <a:pt x="395" y="105"/>
                </a:cubicBezTo>
                <a:cubicBezTo>
                  <a:pt x="395" y="105"/>
                  <a:pt x="395" y="105"/>
                  <a:pt x="396" y="105"/>
                </a:cubicBezTo>
                <a:cubicBezTo>
                  <a:pt x="396" y="104"/>
                  <a:pt x="396" y="104"/>
                  <a:pt x="396" y="104"/>
                </a:cubicBezTo>
                <a:cubicBezTo>
                  <a:pt x="397" y="104"/>
                  <a:pt x="397" y="103"/>
                  <a:pt x="397" y="103"/>
                </a:cubicBezTo>
                <a:cubicBezTo>
                  <a:pt x="397" y="103"/>
                  <a:pt x="397" y="103"/>
                  <a:pt x="398" y="103"/>
                </a:cubicBezTo>
                <a:cubicBezTo>
                  <a:pt x="397" y="102"/>
                  <a:pt x="397" y="102"/>
                  <a:pt x="397" y="102"/>
                </a:cubicBezTo>
                <a:cubicBezTo>
                  <a:pt x="397" y="102"/>
                  <a:pt x="398" y="101"/>
                  <a:pt x="398" y="101"/>
                </a:cubicBezTo>
                <a:cubicBezTo>
                  <a:pt x="398" y="101"/>
                  <a:pt x="398" y="101"/>
                  <a:pt x="398" y="100"/>
                </a:cubicBezTo>
                <a:cubicBezTo>
                  <a:pt x="399" y="100"/>
                  <a:pt x="399" y="100"/>
                  <a:pt x="399" y="100"/>
                </a:cubicBezTo>
                <a:cubicBezTo>
                  <a:pt x="399" y="100"/>
                  <a:pt x="400" y="100"/>
                  <a:pt x="400" y="100"/>
                </a:cubicBezTo>
                <a:cubicBezTo>
                  <a:pt x="400" y="100"/>
                  <a:pt x="400" y="100"/>
                  <a:pt x="400" y="100"/>
                </a:cubicBezTo>
                <a:cubicBezTo>
                  <a:pt x="401" y="100"/>
                  <a:pt x="401" y="100"/>
                  <a:pt x="402" y="100"/>
                </a:cubicBezTo>
                <a:cubicBezTo>
                  <a:pt x="402" y="100"/>
                  <a:pt x="402" y="99"/>
                  <a:pt x="402" y="99"/>
                </a:cubicBezTo>
                <a:cubicBezTo>
                  <a:pt x="403" y="99"/>
                  <a:pt x="403" y="99"/>
                  <a:pt x="404" y="99"/>
                </a:cubicBezTo>
                <a:cubicBezTo>
                  <a:pt x="404" y="98"/>
                  <a:pt x="404" y="98"/>
                  <a:pt x="405" y="98"/>
                </a:cubicBezTo>
                <a:cubicBezTo>
                  <a:pt x="405" y="97"/>
                  <a:pt x="405" y="97"/>
                  <a:pt x="405" y="97"/>
                </a:cubicBezTo>
                <a:cubicBezTo>
                  <a:pt x="405" y="96"/>
                  <a:pt x="405" y="96"/>
                  <a:pt x="406" y="95"/>
                </a:cubicBezTo>
                <a:cubicBezTo>
                  <a:pt x="406" y="95"/>
                  <a:pt x="405" y="95"/>
                  <a:pt x="405" y="94"/>
                </a:cubicBezTo>
                <a:cubicBezTo>
                  <a:pt x="405" y="94"/>
                  <a:pt x="405" y="94"/>
                  <a:pt x="406" y="94"/>
                </a:cubicBezTo>
                <a:cubicBezTo>
                  <a:pt x="406" y="94"/>
                  <a:pt x="406" y="94"/>
                  <a:pt x="407" y="95"/>
                </a:cubicBezTo>
                <a:cubicBezTo>
                  <a:pt x="407" y="95"/>
                  <a:pt x="407" y="95"/>
                  <a:pt x="408" y="95"/>
                </a:cubicBezTo>
                <a:cubicBezTo>
                  <a:pt x="408" y="94"/>
                  <a:pt x="408" y="94"/>
                  <a:pt x="408" y="94"/>
                </a:cubicBezTo>
                <a:cubicBezTo>
                  <a:pt x="408" y="94"/>
                  <a:pt x="408" y="94"/>
                  <a:pt x="408" y="94"/>
                </a:cubicBezTo>
                <a:cubicBezTo>
                  <a:pt x="407" y="93"/>
                  <a:pt x="407" y="93"/>
                  <a:pt x="406" y="93"/>
                </a:cubicBezTo>
                <a:cubicBezTo>
                  <a:pt x="406" y="93"/>
                  <a:pt x="406" y="93"/>
                  <a:pt x="406" y="92"/>
                </a:cubicBezTo>
                <a:cubicBezTo>
                  <a:pt x="407" y="92"/>
                  <a:pt x="407" y="92"/>
                  <a:pt x="407" y="91"/>
                </a:cubicBezTo>
                <a:cubicBezTo>
                  <a:pt x="408" y="91"/>
                  <a:pt x="408" y="91"/>
                  <a:pt x="409" y="91"/>
                </a:cubicBezTo>
                <a:cubicBezTo>
                  <a:pt x="409" y="91"/>
                  <a:pt x="409" y="91"/>
                  <a:pt x="410" y="90"/>
                </a:cubicBezTo>
                <a:cubicBezTo>
                  <a:pt x="410" y="90"/>
                  <a:pt x="410" y="90"/>
                  <a:pt x="410" y="90"/>
                </a:cubicBezTo>
                <a:cubicBezTo>
                  <a:pt x="411" y="90"/>
                  <a:pt x="411" y="90"/>
                  <a:pt x="411" y="90"/>
                </a:cubicBezTo>
                <a:cubicBezTo>
                  <a:pt x="412" y="90"/>
                  <a:pt x="412" y="89"/>
                  <a:pt x="412" y="89"/>
                </a:cubicBezTo>
                <a:cubicBezTo>
                  <a:pt x="412" y="89"/>
                  <a:pt x="412" y="89"/>
                  <a:pt x="412" y="89"/>
                </a:cubicBezTo>
                <a:cubicBezTo>
                  <a:pt x="411" y="88"/>
                  <a:pt x="411" y="88"/>
                  <a:pt x="411" y="87"/>
                </a:cubicBezTo>
                <a:cubicBezTo>
                  <a:pt x="411" y="87"/>
                  <a:pt x="411" y="87"/>
                  <a:pt x="411" y="87"/>
                </a:cubicBezTo>
                <a:cubicBezTo>
                  <a:pt x="411" y="87"/>
                  <a:pt x="411" y="87"/>
                  <a:pt x="411" y="87"/>
                </a:cubicBezTo>
                <a:cubicBezTo>
                  <a:pt x="411" y="86"/>
                  <a:pt x="411" y="86"/>
                  <a:pt x="410" y="86"/>
                </a:cubicBezTo>
                <a:cubicBezTo>
                  <a:pt x="410" y="86"/>
                  <a:pt x="410" y="86"/>
                  <a:pt x="410" y="86"/>
                </a:cubicBezTo>
                <a:cubicBezTo>
                  <a:pt x="410" y="86"/>
                  <a:pt x="409" y="86"/>
                  <a:pt x="409" y="86"/>
                </a:cubicBezTo>
                <a:cubicBezTo>
                  <a:pt x="409" y="86"/>
                  <a:pt x="408" y="87"/>
                  <a:pt x="408" y="87"/>
                </a:cubicBezTo>
                <a:cubicBezTo>
                  <a:pt x="408" y="87"/>
                  <a:pt x="408" y="88"/>
                  <a:pt x="408" y="88"/>
                </a:cubicBezTo>
                <a:cubicBezTo>
                  <a:pt x="408" y="88"/>
                  <a:pt x="408" y="88"/>
                  <a:pt x="408" y="88"/>
                </a:cubicBezTo>
                <a:cubicBezTo>
                  <a:pt x="408" y="89"/>
                  <a:pt x="408" y="89"/>
                  <a:pt x="408" y="89"/>
                </a:cubicBezTo>
                <a:cubicBezTo>
                  <a:pt x="408" y="89"/>
                  <a:pt x="408" y="89"/>
                  <a:pt x="407" y="89"/>
                </a:cubicBezTo>
                <a:cubicBezTo>
                  <a:pt x="407" y="89"/>
                  <a:pt x="407" y="89"/>
                  <a:pt x="407" y="89"/>
                </a:cubicBezTo>
                <a:cubicBezTo>
                  <a:pt x="407" y="89"/>
                  <a:pt x="406" y="89"/>
                  <a:pt x="406" y="89"/>
                </a:cubicBezTo>
                <a:cubicBezTo>
                  <a:pt x="406" y="89"/>
                  <a:pt x="406" y="89"/>
                  <a:pt x="406" y="89"/>
                </a:cubicBezTo>
                <a:cubicBezTo>
                  <a:pt x="406" y="89"/>
                  <a:pt x="406" y="89"/>
                  <a:pt x="406" y="90"/>
                </a:cubicBezTo>
                <a:cubicBezTo>
                  <a:pt x="406" y="90"/>
                  <a:pt x="405" y="89"/>
                  <a:pt x="405" y="89"/>
                </a:cubicBezTo>
                <a:cubicBezTo>
                  <a:pt x="405" y="89"/>
                  <a:pt x="405" y="89"/>
                  <a:pt x="405" y="88"/>
                </a:cubicBezTo>
                <a:cubicBezTo>
                  <a:pt x="404" y="88"/>
                  <a:pt x="404" y="88"/>
                  <a:pt x="403" y="88"/>
                </a:cubicBezTo>
                <a:cubicBezTo>
                  <a:pt x="403" y="88"/>
                  <a:pt x="403" y="88"/>
                  <a:pt x="403" y="88"/>
                </a:cubicBezTo>
                <a:cubicBezTo>
                  <a:pt x="403" y="88"/>
                  <a:pt x="403" y="88"/>
                  <a:pt x="402" y="88"/>
                </a:cubicBezTo>
                <a:cubicBezTo>
                  <a:pt x="402" y="89"/>
                  <a:pt x="401" y="89"/>
                  <a:pt x="401" y="89"/>
                </a:cubicBezTo>
                <a:cubicBezTo>
                  <a:pt x="401" y="89"/>
                  <a:pt x="400" y="89"/>
                  <a:pt x="400" y="89"/>
                </a:cubicBezTo>
                <a:cubicBezTo>
                  <a:pt x="399" y="89"/>
                  <a:pt x="399" y="89"/>
                  <a:pt x="399" y="89"/>
                </a:cubicBezTo>
                <a:cubicBezTo>
                  <a:pt x="398" y="89"/>
                  <a:pt x="397" y="90"/>
                  <a:pt x="396" y="90"/>
                </a:cubicBezTo>
                <a:cubicBezTo>
                  <a:pt x="396" y="90"/>
                  <a:pt x="395" y="90"/>
                  <a:pt x="395" y="90"/>
                </a:cubicBezTo>
                <a:cubicBezTo>
                  <a:pt x="395" y="91"/>
                  <a:pt x="395" y="91"/>
                  <a:pt x="395" y="91"/>
                </a:cubicBezTo>
                <a:cubicBezTo>
                  <a:pt x="395" y="91"/>
                  <a:pt x="395" y="92"/>
                  <a:pt x="394" y="92"/>
                </a:cubicBezTo>
                <a:cubicBezTo>
                  <a:pt x="394" y="92"/>
                  <a:pt x="394" y="92"/>
                  <a:pt x="394" y="92"/>
                </a:cubicBezTo>
                <a:cubicBezTo>
                  <a:pt x="394" y="92"/>
                  <a:pt x="393" y="92"/>
                  <a:pt x="393" y="92"/>
                </a:cubicBezTo>
                <a:cubicBezTo>
                  <a:pt x="392" y="93"/>
                  <a:pt x="392" y="93"/>
                  <a:pt x="391" y="94"/>
                </a:cubicBezTo>
                <a:cubicBezTo>
                  <a:pt x="390" y="94"/>
                  <a:pt x="390" y="95"/>
                  <a:pt x="390" y="95"/>
                </a:cubicBezTo>
                <a:cubicBezTo>
                  <a:pt x="390" y="95"/>
                  <a:pt x="389" y="95"/>
                  <a:pt x="389" y="95"/>
                </a:cubicBezTo>
                <a:cubicBezTo>
                  <a:pt x="389" y="95"/>
                  <a:pt x="388" y="96"/>
                  <a:pt x="388" y="96"/>
                </a:cubicBezTo>
                <a:cubicBezTo>
                  <a:pt x="387" y="96"/>
                  <a:pt x="387" y="96"/>
                  <a:pt x="387" y="97"/>
                </a:cubicBezTo>
                <a:cubicBezTo>
                  <a:pt x="386" y="97"/>
                  <a:pt x="386" y="97"/>
                  <a:pt x="386" y="97"/>
                </a:cubicBezTo>
                <a:cubicBezTo>
                  <a:pt x="386" y="97"/>
                  <a:pt x="386" y="98"/>
                  <a:pt x="386" y="98"/>
                </a:cubicBezTo>
                <a:cubicBezTo>
                  <a:pt x="385" y="98"/>
                  <a:pt x="384" y="98"/>
                  <a:pt x="384" y="98"/>
                </a:cubicBezTo>
                <a:cubicBezTo>
                  <a:pt x="384" y="99"/>
                  <a:pt x="383" y="99"/>
                  <a:pt x="383" y="99"/>
                </a:cubicBezTo>
                <a:cubicBezTo>
                  <a:pt x="383" y="99"/>
                  <a:pt x="383" y="99"/>
                  <a:pt x="382" y="99"/>
                </a:cubicBezTo>
                <a:cubicBezTo>
                  <a:pt x="382" y="99"/>
                  <a:pt x="382" y="99"/>
                  <a:pt x="382" y="99"/>
                </a:cubicBezTo>
                <a:cubicBezTo>
                  <a:pt x="381" y="100"/>
                  <a:pt x="381" y="100"/>
                  <a:pt x="381" y="100"/>
                </a:cubicBezTo>
                <a:cubicBezTo>
                  <a:pt x="380" y="100"/>
                  <a:pt x="380" y="101"/>
                  <a:pt x="379" y="101"/>
                </a:cubicBezTo>
                <a:cubicBezTo>
                  <a:pt x="379" y="101"/>
                  <a:pt x="378" y="102"/>
                  <a:pt x="378" y="102"/>
                </a:cubicBezTo>
                <a:cubicBezTo>
                  <a:pt x="377" y="102"/>
                  <a:pt x="377" y="102"/>
                  <a:pt x="376" y="102"/>
                </a:cubicBezTo>
                <a:cubicBezTo>
                  <a:pt x="376" y="102"/>
                  <a:pt x="376" y="103"/>
                  <a:pt x="375" y="103"/>
                </a:cubicBezTo>
                <a:cubicBezTo>
                  <a:pt x="375" y="103"/>
                  <a:pt x="374" y="103"/>
                  <a:pt x="373" y="104"/>
                </a:cubicBezTo>
                <a:cubicBezTo>
                  <a:pt x="372" y="104"/>
                  <a:pt x="372" y="105"/>
                  <a:pt x="372" y="105"/>
                </a:cubicBezTo>
                <a:cubicBezTo>
                  <a:pt x="372" y="105"/>
                  <a:pt x="371" y="105"/>
                  <a:pt x="371" y="106"/>
                </a:cubicBezTo>
                <a:cubicBezTo>
                  <a:pt x="370" y="106"/>
                  <a:pt x="370" y="106"/>
                  <a:pt x="369" y="106"/>
                </a:cubicBezTo>
                <a:cubicBezTo>
                  <a:pt x="369" y="107"/>
                  <a:pt x="369" y="107"/>
                  <a:pt x="369" y="107"/>
                </a:cubicBezTo>
                <a:cubicBezTo>
                  <a:pt x="369" y="107"/>
                  <a:pt x="370" y="107"/>
                  <a:pt x="370" y="107"/>
                </a:cubicBezTo>
                <a:cubicBezTo>
                  <a:pt x="370" y="107"/>
                  <a:pt x="370" y="107"/>
                  <a:pt x="371" y="107"/>
                </a:cubicBezTo>
                <a:close/>
                <a:moveTo>
                  <a:pt x="411" y="96"/>
                </a:moveTo>
                <a:cubicBezTo>
                  <a:pt x="411" y="96"/>
                  <a:pt x="411" y="96"/>
                  <a:pt x="411" y="96"/>
                </a:cubicBezTo>
                <a:cubicBezTo>
                  <a:pt x="411" y="96"/>
                  <a:pt x="411" y="96"/>
                  <a:pt x="412" y="96"/>
                </a:cubicBezTo>
                <a:cubicBezTo>
                  <a:pt x="412" y="96"/>
                  <a:pt x="412" y="96"/>
                  <a:pt x="412" y="96"/>
                </a:cubicBezTo>
                <a:cubicBezTo>
                  <a:pt x="413" y="96"/>
                  <a:pt x="413" y="97"/>
                  <a:pt x="413" y="97"/>
                </a:cubicBezTo>
                <a:cubicBezTo>
                  <a:pt x="413" y="97"/>
                  <a:pt x="414" y="97"/>
                  <a:pt x="414" y="97"/>
                </a:cubicBezTo>
                <a:cubicBezTo>
                  <a:pt x="414" y="97"/>
                  <a:pt x="415" y="97"/>
                  <a:pt x="415" y="97"/>
                </a:cubicBezTo>
                <a:cubicBezTo>
                  <a:pt x="415" y="96"/>
                  <a:pt x="416" y="96"/>
                  <a:pt x="416" y="96"/>
                </a:cubicBezTo>
                <a:cubicBezTo>
                  <a:pt x="416" y="96"/>
                  <a:pt x="416" y="96"/>
                  <a:pt x="417" y="95"/>
                </a:cubicBezTo>
                <a:cubicBezTo>
                  <a:pt x="416" y="95"/>
                  <a:pt x="416" y="95"/>
                  <a:pt x="416" y="95"/>
                </a:cubicBezTo>
                <a:cubicBezTo>
                  <a:pt x="416" y="95"/>
                  <a:pt x="416" y="95"/>
                  <a:pt x="416" y="95"/>
                </a:cubicBezTo>
                <a:cubicBezTo>
                  <a:pt x="415" y="95"/>
                  <a:pt x="415" y="95"/>
                  <a:pt x="415" y="95"/>
                </a:cubicBezTo>
                <a:cubicBezTo>
                  <a:pt x="415" y="95"/>
                  <a:pt x="414" y="95"/>
                  <a:pt x="414" y="95"/>
                </a:cubicBezTo>
                <a:cubicBezTo>
                  <a:pt x="413" y="95"/>
                  <a:pt x="413" y="95"/>
                  <a:pt x="412" y="95"/>
                </a:cubicBezTo>
                <a:cubicBezTo>
                  <a:pt x="412" y="95"/>
                  <a:pt x="412" y="95"/>
                  <a:pt x="412" y="95"/>
                </a:cubicBezTo>
                <a:cubicBezTo>
                  <a:pt x="411" y="96"/>
                  <a:pt x="411" y="96"/>
                  <a:pt x="411" y="96"/>
                </a:cubicBezTo>
                <a:close/>
                <a:moveTo>
                  <a:pt x="321" y="180"/>
                </a:moveTo>
                <a:cubicBezTo>
                  <a:pt x="321" y="180"/>
                  <a:pt x="321" y="180"/>
                  <a:pt x="321" y="180"/>
                </a:cubicBezTo>
                <a:cubicBezTo>
                  <a:pt x="321" y="179"/>
                  <a:pt x="321" y="179"/>
                  <a:pt x="322" y="179"/>
                </a:cubicBezTo>
                <a:cubicBezTo>
                  <a:pt x="321" y="179"/>
                  <a:pt x="321" y="179"/>
                  <a:pt x="320" y="179"/>
                </a:cubicBezTo>
                <a:cubicBezTo>
                  <a:pt x="320" y="180"/>
                  <a:pt x="320" y="180"/>
                  <a:pt x="320" y="180"/>
                </a:cubicBezTo>
                <a:cubicBezTo>
                  <a:pt x="320" y="180"/>
                  <a:pt x="320" y="180"/>
                  <a:pt x="321" y="180"/>
                </a:cubicBezTo>
                <a:cubicBezTo>
                  <a:pt x="321" y="180"/>
                  <a:pt x="321" y="180"/>
                  <a:pt x="321" y="180"/>
                </a:cubicBezTo>
                <a:close/>
                <a:moveTo>
                  <a:pt x="248" y="332"/>
                </a:moveTo>
                <a:cubicBezTo>
                  <a:pt x="248" y="332"/>
                  <a:pt x="248" y="332"/>
                  <a:pt x="248" y="332"/>
                </a:cubicBezTo>
                <a:cubicBezTo>
                  <a:pt x="248" y="332"/>
                  <a:pt x="248" y="333"/>
                  <a:pt x="248" y="333"/>
                </a:cubicBezTo>
                <a:cubicBezTo>
                  <a:pt x="249" y="333"/>
                  <a:pt x="250" y="333"/>
                  <a:pt x="250" y="333"/>
                </a:cubicBezTo>
                <a:cubicBezTo>
                  <a:pt x="250" y="333"/>
                  <a:pt x="251" y="334"/>
                  <a:pt x="251" y="334"/>
                </a:cubicBezTo>
                <a:cubicBezTo>
                  <a:pt x="251" y="334"/>
                  <a:pt x="251" y="334"/>
                  <a:pt x="252" y="334"/>
                </a:cubicBezTo>
                <a:cubicBezTo>
                  <a:pt x="252" y="334"/>
                  <a:pt x="252" y="333"/>
                  <a:pt x="252" y="333"/>
                </a:cubicBezTo>
                <a:cubicBezTo>
                  <a:pt x="251" y="333"/>
                  <a:pt x="251" y="333"/>
                  <a:pt x="251" y="332"/>
                </a:cubicBezTo>
                <a:cubicBezTo>
                  <a:pt x="250" y="332"/>
                  <a:pt x="249" y="332"/>
                  <a:pt x="248" y="332"/>
                </a:cubicBezTo>
                <a:close/>
                <a:moveTo>
                  <a:pt x="424" y="85"/>
                </a:moveTo>
                <a:cubicBezTo>
                  <a:pt x="424" y="85"/>
                  <a:pt x="424" y="85"/>
                  <a:pt x="424" y="85"/>
                </a:cubicBezTo>
                <a:cubicBezTo>
                  <a:pt x="424" y="86"/>
                  <a:pt x="424" y="86"/>
                  <a:pt x="424" y="86"/>
                </a:cubicBezTo>
                <a:cubicBezTo>
                  <a:pt x="424" y="86"/>
                  <a:pt x="424" y="87"/>
                  <a:pt x="424" y="87"/>
                </a:cubicBezTo>
                <a:cubicBezTo>
                  <a:pt x="424" y="87"/>
                  <a:pt x="424" y="88"/>
                  <a:pt x="425" y="88"/>
                </a:cubicBezTo>
                <a:cubicBezTo>
                  <a:pt x="425" y="88"/>
                  <a:pt x="425" y="88"/>
                  <a:pt x="425" y="88"/>
                </a:cubicBezTo>
                <a:cubicBezTo>
                  <a:pt x="426" y="88"/>
                  <a:pt x="426" y="88"/>
                  <a:pt x="427" y="88"/>
                </a:cubicBezTo>
                <a:cubicBezTo>
                  <a:pt x="427" y="88"/>
                  <a:pt x="427" y="88"/>
                  <a:pt x="428" y="88"/>
                </a:cubicBezTo>
                <a:cubicBezTo>
                  <a:pt x="428" y="89"/>
                  <a:pt x="427" y="89"/>
                  <a:pt x="427" y="89"/>
                </a:cubicBezTo>
                <a:cubicBezTo>
                  <a:pt x="427" y="89"/>
                  <a:pt x="427" y="89"/>
                  <a:pt x="428" y="89"/>
                </a:cubicBezTo>
                <a:cubicBezTo>
                  <a:pt x="428" y="89"/>
                  <a:pt x="428" y="89"/>
                  <a:pt x="429" y="89"/>
                </a:cubicBezTo>
                <a:cubicBezTo>
                  <a:pt x="429" y="89"/>
                  <a:pt x="430" y="89"/>
                  <a:pt x="430" y="89"/>
                </a:cubicBezTo>
                <a:cubicBezTo>
                  <a:pt x="430" y="89"/>
                  <a:pt x="431" y="89"/>
                  <a:pt x="431" y="88"/>
                </a:cubicBezTo>
                <a:cubicBezTo>
                  <a:pt x="431" y="88"/>
                  <a:pt x="432" y="89"/>
                  <a:pt x="432" y="89"/>
                </a:cubicBezTo>
                <a:cubicBezTo>
                  <a:pt x="433" y="89"/>
                  <a:pt x="433" y="88"/>
                  <a:pt x="434" y="88"/>
                </a:cubicBezTo>
                <a:cubicBezTo>
                  <a:pt x="434" y="88"/>
                  <a:pt x="434" y="88"/>
                  <a:pt x="435" y="88"/>
                </a:cubicBezTo>
                <a:cubicBezTo>
                  <a:pt x="435" y="87"/>
                  <a:pt x="436" y="87"/>
                  <a:pt x="436" y="87"/>
                </a:cubicBezTo>
                <a:cubicBezTo>
                  <a:pt x="436" y="87"/>
                  <a:pt x="436" y="87"/>
                  <a:pt x="436" y="87"/>
                </a:cubicBezTo>
                <a:cubicBezTo>
                  <a:pt x="436" y="86"/>
                  <a:pt x="436" y="86"/>
                  <a:pt x="436" y="86"/>
                </a:cubicBezTo>
                <a:cubicBezTo>
                  <a:pt x="437" y="86"/>
                  <a:pt x="437" y="86"/>
                  <a:pt x="437" y="86"/>
                </a:cubicBezTo>
                <a:cubicBezTo>
                  <a:pt x="437" y="86"/>
                  <a:pt x="438" y="85"/>
                  <a:pt x="438" y="85"/>
                </a:cubicBezTo>
                <a:cubicBezTo>
                  <a:pt x="438" y="85"/>
                  <a:pt x="438" y="84"/>
                  <a:pt x="439" y="84"/>
                </a:cubicBezTo>
                <a:cubicBezTo>
                  <a:pt x="439" y="84"/>
                  <a:pt x="439" y="83"/>
                  <a:pt x="438" y="83"/>
                </a:cubicBezTo>
                <a:cubicBezTo>
                  <a:pt x="438" y="83"/>
                  <a:pt x="438" y="83"/>
                  <a:pt x="438" y="83"/>
                </a:cubicBezTo>
                <a:cubicBezTo>
                  <a:pt x="438" y="84"/>
                  <a:pt x="437" y="84"/>
                  <a:pt x="437" y="84"/>
                </a:cubicBezTo>
                <a:cubicBezTo>
                  <a:pt x="437" y="84"/>
                  <a:pt x="437" y="83"/>
                  <a:pt x="437" y="83"/>
                </a:cubicBezTo>
                <a:cubicBezTo>
                  <a:pt x="437" y="83"/>
                  <a:pt x="437" y="83"/>
                  <a:pt x="438" y="82"/>
                </a:cubicBezTo>
                <a:cubicBezTo>
                  <a:pt x="438" y="82"/>
                  <a:pt x="439" y="82"/>
                  <a:pt x="439" y="82"/>
                </a:cubicBezTo>
                <a:cubicBezTo>
                  <a:pt x="440" y="81"/>
                  <a:pt x="441" y="81"/>
                  <a:pt x="442" y="81"/>
                </a:cubicBezTo>
                <a:cubicBezTo>
                  <a:pt x="442" y="81"/>
                  <a:pt x="442" y="80"/>
                  <a:pt x="443" y="80"/>
                </a:cubicBezTo>
                <a:cubicBezTo>
                  <a:pt x="443" y="80"/>
                  <a:pt x="443" y="79"/>
                  <a:pt x="444" y="79"/>
                </a:cubicBezTo>
                <a:cubicBezTo>
                  <a:pt x="443" y="79"/>
                  <a:pt x="443" y="79"/>
                  <a:pt x="443" y="79"/>
                </a:cubicBezTo>
                <a:cubicBezTo>
                  <a:pt x="443" y="79"/>
                  <a:pt x="442" y="79"/>
                  <a:pt x="442" y="79"/>
                </a:cubicBezTo>
                <a:cubicBezTo>
                  <a:pt x="441" y="79"/>
                  <a:pt x="441" y="79"/>
                  <a:pt x="441" y="79"/>
                </a:cubicBezTo>
                <a:cubicBezTo>
                  <a:pt x="441" y="79"/>
                  <a:pt x="440" y="79"/>
                  <a:pt x="440" y="79"/>
                </a:cubicBezTo>
                <a:cubicBezTo>
                  <a:pt x="439" y="79"/>
                  <a:pt x="439" y="79"/>
                  <a:pt x="438" y="79"/>
                </a:cubicBezTo>
                <a:cubicBezTo>
                  <a:pt x="438" y="79"/>
                  <a:pt x="438" y="79"/>
                  <a:pt x="438" y="79"/>
                </a:cubicBezTo>
                <a:cubicBezTo>
                  <a:pt x="437" y="79"/>
                  <a:pt x="437" y="79"/>
                  <a:pt x="436" y="79"/>
                </a:cubicBezTo>
                <a:cubicBezTo>
                  <a:pt x="436" y="80"/>
                  <a:pt x="435" y="80"/>
                  <a:pt x="435" y="80"/>
                </a:cubicBezTo>
                <a:cubicBezTo>
                  <a:pt x="435" y="80"/>
                  <a:pt x="434" y="80"/>
                  <a:pt x="434" y="80"/>
                </a:cubicBezTo>
                <a:cubicBezTo>
                  <a:pt x="434" y="80"/>
                  <a:pt x="433" y="80"/>
                  <a:pt x="433" y="80"/>
                </a:cubicBezTo>
                <a:cubicBezTo>
                  <a:pt x="433" y="80"/>
                  <a:pt x="432" y="80"/>
                  <a:pt x="432" y="80"/>
                </a:cubicBezTo>
                <a:cubicBezTo>
                  <a:pt x="432" y="80"/>
                  <a:pt x="431" y="80"/>
                  <a:pt x="431" y="80"/>
                </a:cubicBezTo>
                <a:cubicBezTo>
                  <a:pt x="430" y="81"/>
                  <a:pt x="429" y="81"/>
                  <a:pt x="428" y="81"/>
                </a:cubicBezTo>
                <a:cubicBezTo>
                  <a:pt x="428" y="81"/>
                  <a:pt x="428" y="81"/>
                  <a:pt x="427" y="81"/>
                </a:cubicBezTo>
                <a:cubicBezTo>
                  <a:pt x="427" y="82"/>
                  <a:pt x="427" y="82"/>
                  <a:pt x="427" y="82"/>
                </a:cubicBezTo>
                <a:cubicBezTo>
                  <a:pt x="426" y="82"/>
                  <a:pt x="426" y="83"/>
                  <a:pt x="425" y="83"/>
                </a:cubicBezTo>
                <a:cubicBezTo>
                  <a:pt x="425" y="83"/>
                  <a:pt x="425" y="83"/>
                  <a:pt x="425" y="84"/>
                </a:cubicBezTo>
                <a:cubicBezTo>
                  <a:pt x="425" y="84"/>
                  <a:pt x="425" y="84"/>
                  <a:pt x="424" y="85"/>
                </a:cubicBezTo>
                <a:close/>
                <a:moveTo>
                  <a:pt x="419" y="91"/>
                </a:moveTo>
                <a:cubicBezTo>
                  <a:pt x="419" y="91"/>
                  <a:pt x="419" y="91"/>
                  <a:pt x="419" y="90"/>
                </a:cubicBezTo>
                <a:cubicBezTo>
                  <a:pt x="419" y="91"/>
                  <a:pt x="418" y="91"/>
                  <a:pt x="418" y="91"/>
                </a:cubicBezTo>
                <a:cubicBezTo>
                  <a:pt x="418" y="91"/>
                  <a:pt x="418" y="91"/>
                  <a:pt x="418" y="91"/>
                </a:cubicBezTo>
                <a:cubicBezTo>
                  <a:pt x="418" y="92"/>
                  <a:pt x="418" y="92"/>
                  <a:pt x="418" y="92"/>
                </a:cubicBezTo>
                <a:cubicBezTo>
                  <a:pt x="418" y="91"/>
                  <a:pt x="419" y="91"/>
                  <a:pt x="419" y="91"/>
                </a:cubicBezTo>
                <a:close/>
                <a:moveTo>
                  <a:pt x="420" y="83"/>
                </a:moveTo>
                <a:cubicBezTo>
                  <a:pt x="421" y="84"/>
                  <a:pt x="421" y="84"/>
                  <a:pt x="421" y="84"/>
                </a:cubicBezTo>
                <a:cubicBezTo>
                  <a:pt x="422" y="84"/>
                  <a:pt x="422" y="84"/>
                  <a:pt x="422" y="84"/>
                </a:cubicBezTo>
                <a:cubicBezTo>
                  <a:pt x="423" y="84"/>
                  <a:pt x="423" y="84"/>
                  <a:pt x="424" y="83"/>
                </a:cubicBezTo>
                <a:cubicBezTo>
                  <a:pt x="424" y="83"/>
                  <a:pt x="424" y="83"/>
                  <a:pt x="425" y="82"/>
                </a:cubicBezTo>
                <a:cubicBezTo>
                  <a:pt x="424" y="82"/>
                  <a:pt x="424" y="82"/>
                  <a:pt x="424" y="82"/>
                </a:cubicBezTo>
                <a:cubicBezTo>
                  <a:pt x="424" y="81"/>
                  <a:pt x="424" y="81"/>
                  <a:pt x="424" y="81"/>
                </a:cubicBezTo>
                <a:cubicBezTo>
                  <a:pt x="424" y="81"/>
                  <a:pt x="424" y="81"/>
                  <a:pt x="424" y="81"/>
                </a:cubicBezTo>
                <a:cubicBezTo>
                  <a:pt x="424" y="80"/>
                  <a:pt x="424" y="80"/>
                  <a:pt x="424" y="79"/>
                </a:cubicBezTo>
                <a:cubicBezTo>
                  <a:pt x="424" y="80"/>
                  <a:pt x="424" y="80"/>
                  <a:pt x="423" y="80"/>
                </a:cubicBezTo>
                <a:cubicBezTo>
                  <a:pt x="423" y="80"/>
                  <a:pt x="423" y="80"/>
                  <a:pt x="423" y="80"/>
                </a:cubicBezTo>
                <a:cubicBezTo>
                  <a:pt x="422" y="80"/>
                  <a:pt x="422" y="80"/>
                  <a:pt x="422" y="80"/>
                </a:cubicBezTo>
                <a:cubicBezTo>
                  <a:pt x="421" y="80"/>
                  <a:pt x="421" y="80"/>
                  <a:pt x="421" y="81"/>
                </a:cubicBezTo>
                <a:cubicBezTo>
                  <a:pt x="421" y="81"/>
                  <a:pt x="420" y="81"/>
                  <a:pt x="420" y="81"/>
                </a:cubicBezTo>
                <a:cubicBezTo>
                  <a:pt x="420" y="81"/>
                  <a:pt x="420" y="81"/>
                  <a:pt x="420" y="82"/>
                </a:cubicBezTo>
                <a:cubicBezTo>
                  <a:pt x="420" y="82"/>
                  <a:pt x="420" y="82"/>
                  <a:pt x="420" y="83"/>
                </a:cubicBezTo>
                <a:cubicBezTo>
                  <a:pt x="420" y="83"/>
                  <a:pt x="420" y="83"/>
                  <a:pt x="420" y="83"/>
                </a:cubicBezTo>
                <a:close/>
                <a:moveTo>
                  <a:pt x="417" y="108"/>
                </a:moveTo>
                <a:cubicBezTo>
                  <a:pt x="417" y="108"/>
                  <a:pt x="417" y="108"/>
                  <a:pt x="416" y="108"/>
                </a:cubicBezTo>
                <a:cubicBezTo>
                  <a:pt x="416" y="108"/>
                  <a:pt x="415" y="108"/>
                  <a:pt x="415" y="108"/>
                </a:cubicBezTo>
                <a:cubicBezTo>
                  <a:pt x="415" y="108"/>
                  <a:pt x="414" y="109"/>
                  <a:pt x="414" y="109"/>
                </a:cubicBezTo>
                <a:cubicBezTo>
                  <a:pt x="414" y="109"/>
                  <a:pt x="414" y="108"/>
                  <a:pt x="413" y="108"/>
                </a:cubicBezTo>
                <a:cubicBezTo>
                  <a:pt x="414" y="108"/>
                  <a:pt x="414" y="108"/>
                  <a:pt x="414" y="108"/>
                </a:cubicBezTo>
                <a:cubicBezTo>
                  <a:pt x="415" y="108"/>
                  <a:pt x="415" y="108"/>
                  <a:pt x="416" y="108"/>
                </a:cubicBezTo>
                <a:cubicBezTo>
                  <a:pt x="416" y="107"/>
                  <a:pt x="416" y="107"/>
                  <a:pt x="416" y="107"/>
                </a:cubicBezTo>
                <a:cubicBezTo>
                  <a:pt x="416" y="107"/>
                  <a:pt x="416" y="106"/>
                  <a:pt x="415" y="106"/>
                </a:cubicBezTo>
                <a:cubicBezTo>
                  <a:pt x="415" y="105"/>
                  <a:pt x="415" y="105"/>
                  <a:pt x="414" y="105"/>
                </a:cubicBezTo>
                <a:cubicBezTo>
                  <a:pt x="414" y="105"/>
                  <a:pt x="414" y="105"/>
                  <a:pt x="414" y="105"/>
                </a:cubicBezTo>
                <a:cubicBezTo>
                  <a:pt x="415" y="104"/>
                  <a:pt x="415" y="104"/>
                  <a:pt x="415" y="104"/>
                </a:cubicBezTo>
                <a:cubicBezTo>
                  <a:pt x="415" y="104"/>
                  <a:pt x="415" y="104"/>
                  <a:pt x="415" y="104"/>
                </a:cubicBezTo>
                <a:cubicBezTo>
                  <a:pt x="415" y="104"/>
                  <a:pt x="414" y="103"/>
                  <a:pt x="414" y="103"/>
                </a:cubicBezTo>
                <a:cubicBezTo>
                  <a:pt x="414" y="103"/>
                  <a:pt x="414" y="103"/>
                  <a:pt x="414" y="103"/>
                </a:cubicBezTo>
                <a:cubicBezTo>
                  <a:pt x="414" y="103"/>
                  <a:pt x="414" y="103"/>
                  <a:pt x="413" y="103"/>
                </a:cubicBezTo>
                <a:cubicBezTo>
                  <a:pt x="413" y="103"/>
                  <a:pt x="413" y="103"/>
                  <a:pt x="413" y="103"/>
                </a:cubicBezTo>
                <a:cubicBezTo>
                  <a:pt x="412" y="103"/>
                  <a:pt x="412" y="103"/>
                  <a:pt x="412" y="103"/>
                </a:cubicBezTo>
                <a:cubicBezTo>
                  <a:pt x="412" y="103"/>
                  <a:pt x="411" y="103"/>
                  <a:pt x="411" y="103"/>
                </a:cubicBezTo>
                <a:cubicBezTo>
                  <a:pt x="410" y="103"/>
                  <a:pt x="410" y="104"/>
                  <a:pt x="409" y="104"/>
                </a:cubicBezTo>
                <a:cubicBezTo>
                  <a:pt x="409" y="104"/>
                  <a:pt x="409" y="104"/>
                  <a:pt x="408" y="103"/>
                </a:cubicBezTo>
                <a:cubicBezTo>
                  <a:pt x="409" y="103"/>
                  <a:pt x="409" y="103"/>
                  <a:pt x="409" y="102"/>
                </a:cubicBezTo>
                <a:cubicBezTo>
                  <a:pt x="409" y="102"/>
                  <a:pt x="410" y="102"/>
                  <a:pt x="410" y="102"/>
                </a:cubicBezTo>
                <a:cubicBezTo>
                  <a:pt x="410" y="101"/>
                  <a:pt x="409" y="101"/>
                  <a:pt x="409" y="101"/>
                </a:cubicBezTo>
                <a:cubicBezTo>
                  <a:pt x="409" y="101"/>
                  <a:pt x="408" y="101"/>
                  <a:pt x="408" y="100"/>
                </a:cubicBezTo>
                <a:cubicBezTo>
                  <a:pt x="407" y="101"/>
                  <a:pt x="406" y="101"/>
                  <a:pt x="406" y="101"/>
                </a:cubicBezTo>
                <a:cubicBezTo>
                  <a:pt x="405" y="101"/>
                  <a:pt x="405" y="101"/>
                  <a:pt x="405" y="101"/>
                </a:cubicBezTo>
                <a:cubicBezTo>
                  <a:pt x="404" y="102"/>
                  <a:pt x="403" y="102"/>
                  <a:pt x="402" y="102"/>
                </a:cubicBezTo>
                <a:cubicBezTo>
                  <a:pt x="401" y="103"/>
                  <a:pt x="401" y="103"/>
                  <a:pt x="401" y="103"/>
                </a:cubicBezTo>
                <a:cubicBezTo>
                  <a:pt x="401" y="103"/>
                  <a:pt x="402" y="103"/>
                  <a:pt x="402" y="103"/>
                </a:cubicBezTo>
                <a:cubicBezTo>
                  <a:pt x="402" y="103"/>
                  <a:pt x="402" y="104"/>
                  <a:pt x="402" y="104"/>
                </a:cubicBezTo>
                <a:cubicBezTo>
                  <a:pt x="403" y="104"/>
                  <a:pt x="403" y="104"/>
                  <a:pt x="404" y="104"/>
                </a:cubicBezTo>
                <a:cubicBezTo>
                  <a:pt x="404" y="104"/>
                  <a:pt x="404" y="104"/>
                  <a:pt x="404" y="104"/>
                </a:cubicBezTo>
                <a:cubicBezTo>
                  <a:pt x="404" y="104"/>
                  <a:pt x="404" y="104"/>
                  <a:pt x="403" y="104"/>
                </a:cubicBezTo>
                <a:cubicBezTo>
                  <a:pt x="403" y="104"/>
                  <a:pt x="402" y="104"/>
                  <a:pt x="402" y="104"/>
                </a:cubicBezTo>
                <a:cubicBezTo>
                  <a:pt x="402" y="104"/>
                  <a:pt x="401" y="104"/>
                  <a:pt x="401" y="104"/>
                </a:cubicBezTo>
                <a:cubicBezTo>
                  <a:pt x="401" y="104"/>
                  <a:pt x="401" y="104"/>
                  <a:pt x="400" y="104"/>
                </a:cubicBezTo>
                <a:cubicBezTo>
                  <a:pt x="400" y="104"/>
                  <a:pt x="400" y="104"/>
                  <a:pt x="399" y="104"/>
                </a:cubicBezTo>
                <a:cubicBezTo>
                  <a:pt x="399" y="105"/>
                  <a:pt x="398" y="105"/>
                  <a:pt x="398" y="105"/>
                </a:cubicBezTo>
                <a:cubicBezTo>
                  <a:pt x="398" y="105"/>
                  <a:pt x="398" y="105"/>
                  <a:pt x="397" y="105"/>
                </a:cubicBezTo>
                <a:cubicBezTo>
                  <a:pt x="397" y="106"/>
                  <a:pt x="397" y="106"/>
                  <a:pt x="397" y="106"/>
                </a:cubicBezTo>
                <a:cubicBezTo>
                  <a:pt x="396" y="106"/>
                  <a:pt x="396" y="107"/>
                  <a:pt x="396" y="107"/>
                </a:cubicBezTo>
                <a:cubicBezTo>
                  <a:pt x="396" y="107"/>
                  <a:pt x="395" y="107"/>
                  <a:pt x="395" y="108"/>
                </a:cubicBezTo>
                <a:cubicBezTo>
                  <a:pt x="395" y="108"/>
                  <a:pt x="395" y="108"/>
                  <a:pt x="396" y="108"/>
                </a:cubicBezTo>
                <a:cubicBezTo>
                  <a:pt x="397" y="108"/>
                  <a:pt x="398" y="108"/>
                  <a:pt x="398" y="108"/>
                </a:cubicBezTo>
                <a:cubicBezTo>
                  <a:pt x="399" y="108"/>
                  <a:pt x="399" y="108"/>
                  <a:pt x="400" y="108"/>
                </a:cubicBezTo>
                <a:cubicBezTo>
                  <a:pt x="400" y="108"/>
                  <a:pt x="400" y="108"/>
                  <a:pt x="401" y="108"/>
                </a:cubicBezTo>
                <a:cubicBezTo>
                  <a:pt x="401" y="108"/>
                  <a:pt x="401" y="108"/>
                  <a:pt x="402" y="108"/>
                </a:cubicBezTo>
                <a:cubicBezTo>
                  <a:pt x="402" y="108"/>
                  <a:pt x="402" y="108"/>
                  <a:pt x="402" y="108"/>
                </a:cubicBezTo>
                <a:cubicBezTo>
                  <a:pt x="402" y="108"/>
                  <a:pt x="402" y="108"/>
                  <a:pt x="401" y="108"/>
                </a:cubicBezTo>
                <a:cubicBezTo>
                  <a:pt x="401" y="108"/>
                  <a:pt x="400" y="108"/>
                  <a:pt x="400" y="108"/>
                </a:cubicBezTo>
                <a:cubicBezTo>
                  <a:pt x="399" y="108"/>
                  <a:pt x="398" y="109"/>
                  <a:pt x="397" y="109"/>
                </a:cubicBezTo>
                <a:cubicBezTo>
                  <a:pt x="397" y="109"/>
                  <a:pt x="396" y="109"/>
                  <a:pt x="395" y="110"/>
                </a:cubicBezTo>
                <a:cubicBezTo>
                  <a:pt x="395" y="110"/>
                  <a:pt x="395" y="110"/>
                  <a:pt x="394" y="110"/>
                </a:cubicBezTo>
                <a:cubicBezTo>
                  <a:pt x="394" y="110"/>
                  <a:pt x="394" y="110"/>
                  <a:pt x="393" y="110"/>
                </a:cubicBezTo>
                <a:cubicBezTo>
                  <a:pt x="393" y="111"/>
                  <a:pt x="392" y="111"/>
                  <a:pt x="392" y="112"/>
                </a:cubicBezTo>
                <a:cubicBezTo>
                  <a:pt x="392" y="112"/>
                  <a:pt x="391" y="113"/>
                  <a:pt x="391" y="113"/>
                </a:cubicBezTo>
                <a:cubicBezTo>
                  <a:pt x="391" y="113"/>
                  <a:pt x="391" y="113"/>
                  <a:pt x="391" y="113"/>
                </a:cubicBezTo>
                <a:cubicBezTo>
                  <a:pt x="391" y="113"/>
                  <a:pt x="392" y="113"/>
                  <a:pt x="392" y="113"/>
                </a:cubicBezTo>
                <a:cubicBezTo>
                  <a:pt x="393" y="113"/>
                  <a:pt x="394" y="113"/>
                  <a:pt x="394" y="113"/>
                </a:cubicBezTo>
                <a:cubicBezTo>
                  <a:pt x="395" y="113"/>
                  <a:pt x="395" y="112"/>
                  <a:pt x="396" y="112"/>
                </a:cubicBezTo>
                <a:cubicBezTo>
                  <a:pt x="396" y="112"/>
                  <a:pt x="396" y="112"/>
                  <a:pt x="397" y="112"/>
                </a:cubicBezTo>
                <a:cubicBezTo>
                  <a:pt x="397" y="112"/>
                  <a:pt x="397" y="112"/>
                  <a:pt x="398" y="112"/>
                </a:cubicBezTo>
                <a:cubicBezTo>
                  <a:pt x="398" y="112"/>
                  <a:pt x="398" y="112"/>
                  <a:pt x="399" y="112"/>
                </a:cubicBezTo>
                <a:cubicBezTo>
                  <a:pt x="398" y="112"/>
                  <a:pt x="398" y="113"/>
                  <a:pt x="397" y="113"/>
                </a:cubicBezTo>
                <a:cubicBezTo>
                  <a:pt x="397" y="113"/>
                  <a:pt x="396" y="113"/>
                  <a:pt x="396" y="113"/>
                </a:cubicBezTo>
                <a:cubicBezTo>
                  <a:pt x="396" y="114"/>
                  <a:pt x="395" y="114"/>
                  <a:pt x="395" y="114"/>
                </a:cubicBezTo>
                <a:cubicBezTo>
                  <a:pt x="395" y="114"/>
                  <a:pt x="394" y="114"/>
                  <a:pt x="394" y="114"/>
                </a:cubicBezTo>
                <a:cubicBezTo>
                  <a:pt x="393" y="114"/>
                  <a:pt x="393" y="114"/>
                  <a:pt x="392" y="114"/>
                </a:cubicBezTo>
                <a:cubicBezTo>
                  <a:pt x="391" y="114"/>
                  <a:pt x="391" y="115"/>
                  <a:pt x="390" y="115"/>
                </a:cubicBezTo>
                <a:cubicBezTo>
                  <a:pt x="390" y="115"/>
                  <a:pt x="389" y="115"/>
                  <a:pt x="389" y="115"/>
                </a:cubicBezTo>
                <a:cubicBezTo>
                  <a:pt x="389" y="115"/>
                  <a:pt x="388" y="115"/>
                  <a:pt x="388" y="115"/>
                </a:cubicBezTo>
                <a:cubicBezTo>
                  <a:pt x="387" y="116"/>
                  <a:pt x="387" y="116"/>
                  <a:pt x="386" y="117"/>
                </a:cubicBezTo>
                <a:cubicBezTo>
                  <a:pt x="386" y="117"/>
                  <a:pt x="386" y="117"/>
                  <a:pt x="387" y="117"/>
                </a:cubicBezTo>
                <a:cubicBezTo>
                  <a:pt x="387" y="118"/>
                  <a:pt x="387" y="118"/>
                  <a:pt x="387" y="118"/>
                </a:cubicBezTo>
                <a:cubicBezTo>
                  <a:pt x="386" y="118"/>
                  <a:pt x="386" y="118"/>
                  <a:pt x="385" y="118"/>
                </a:cubicBezTo>
                <a:cubicBezTo>
                  <a:pt x="385" y="119"/>
                  <a:pt x="385" y="119"/>
                  <a:pt x="386" y="119"/>
                </a:cubicBezTo>
                <a:cubicBezTo>
                  <a:pt x="386" y="119"/>
                  <a:pt x="387" y="119"/>
                  <a:pt x="388" y="119"/>
                </a:cubicBezTo>
                <a:cubicBezTo>
                  <a:pt x="388" y="119"/>
                  <a:pt x="389" y="119"/>
                  <a:pt x="389" y="120"/>
                </a:cubicBezTo>
                <a:cubicBezTo>
                  <a:pt x="390" y="120"/>
                  <a:pt x="390" y="120"/>
                  <a:pt x="390" y="119"/>
                </a:cubicBezTo>
                <a:cubicBezTo>
                  <a:pt x="390" y="119"/>
                  <a:pt x="390" y="119"/>
                  <a:pt x="390" y="119"/>
                </a:cubicBezTo>
                <a:cubicBezTo>
                  <a:pt x="390" y="119"/>
                  <a:pt x="390" y="119"/>
                  <a:pt x="391" y="119"/>
                </a:cubicBezTo>
                <a:cubicBezTo>
                  <a:pt x="391" y="119"/>
                  <a:pt x="391" y="119"/>
                  <a:pt x="391" y="119"/>
                </a:cubicBezTo>
                <a:cubicBezTo>
                  <a:pt x="391" y="119"/>
                  <a:pt x="392" y="119"/>
                  <a:pt x="392" y="120"/>
                </a:cubicBezTo>
                <a:cubicBezTo>
                  <a:pt x="392" y="120"/>
                  <a:pt x="392" y="120"/>
                  <a:pt x="392" y="120"/>
                </a:cubicBezTo>
                <a:cubicBezTo>
                  <a:pt x="393" y="120"/>
                  <a:pt x="393" y="120"/>
                  <a:pt x="393" y="120"/>
                </a:cubicBezTo>
                <a:cubicBezTo>
                  <a:pt x="394" y="120"/>
                  <a:pt x="394" y="120"/>
                  <a:pt x="394" y="120"/>
                </a:cubicBezTo>
                <a:cubicBezTo>
                  <a:pt x="394" y="120"/>
                  <a:pt x="394" y="119"/>
                  <a:pt x="394" y="119"/>
                </a:cubicBezTo>
                <a:cubicBezTo>
                  <a:pt x="394" y="119"/>
                  <a:pt x="394" y="119"/>
                  <a:pt x="395" y="119"/>
                </a:cubicBezTo>
                <a:cubicBezTo>
                  <a:pt x="395" y="119"/>
                  <a:pt x="395" y="119"/>
                  <a:pt x="396" y="119"/>
                </a:cubicBezTo>
                <a:cubicBezTo>
                  <a:pt x="395" y="119"/>
                  <a:pt x="395" y="119"/>
                  <a:pt x="395" y="119"/>
                </a:cubicBezTo>
                <a:cubicBezTo>
                  <a:pt x="395" y="120"/>
                  <a:pt x="395" y="120"/>
                  <a:pt x="395" y="120"/>
                </a:cubicBezTo>
                <a:cubicBezTo>
                  <a:pt x="396" y="120"/>
                  <a:pt x="396" y="120"/>
                  <a:pt x="397" y="120"/>
                </a:cubicBezTo>
                <a:cubicBezTo>
                  <a:pt x="397" y="120"/>
                  <a:pt x="397" y="120"/>
                  <a:pt x="398" y="120"/>
                </a:cubicBezTo>
                <a:cubicBezTo>
                  <a:pt x="398" y="119"/>
                  <a:pt x="398" y="119"/>
                  <a:pt x="398" y="119"/>
                </a:cubicBezTo>
                <a:cubicBezTo>
                  <a:pt x="398" y="119"/>
                  <a:pt x="399" y="118"/>
                  <a:pt x="400" y="118"/>
                </a:cubicBezTo>
                <a:cubicBezTo>
                  <a:pt x="400" y="118"/>
                  <a:pt x="400" y="117"/>
                  <a:pt x="400" y="117"/>
                </a:cubicBezTo>
                <a:cubicBezTo>
                  <a:pt x="400" y="117"/>
                  <a:pt x="400" y="117"/>
                  <a:pt x="400" y="117"/>
                </a:cubicBezTo>
                <a:cubicBezTo>
                  <a:pt x="400" y="117"/>
                  <a:pt x="401" y="117"/>
                  <a:pt x="401" y="117"/>
                </a:cubicBezTo>
                <a:cubicBezTo>
                  <a:pt x="401" y="117"/>
                  <a:pt x="401" y="117"/>
                  <a:pt x="401" y="117"/>
                </a:cubicBezTo>
                <a:cubicBezTo>
                  <a:pt x="402" y="116"/>
                  <a:pt x="402" y="116"/>
                  <a:pt x="403" y="116"/>
                </a:cubicBezTo>
                <a:cubicBezTo>
                  <a:pt x="403" y="116"/>
                  <a:pt x="403" y="116"/>
                  <a:pt x="403" y="116"/>
                </a:cubicBezTo>
                <a:cubicBezTo>
                  <a:pt x="403" y="116"/>
                  <a:pt x="403" y="117"/>
                  <a:pt x="402" y="117"/>
                </a:cubicBezTo>
                <a:cubicBezTo>
                  <a:pt x="402" y="117"/>
                  <a:pt x="402" y="118"/>
                  <a:pt x="401" y="118"/>
                </a:cubicBezTo>
                <a:cubicBezTo>
                  <a:pt x="401" y="118"/>
                  <a:pt x="401" y="118"/>
                  <a:pt x="401" y="118"/>
                </a:cubicBezTo>
                <a:cubicBezTo>
                  <a:pt x="402" y="118"/>
                  <a:pt x="402" y="118"/>
                  <a:pt x="403" y="118"/>
                </a:cubicBezTo>
                <a:cubicBezTo>
                  <a:pt x="403" y="118"/>
                  <a:pt x="404" y="118"/>
                  <a:pt x="404" y="118"/>
                </a:cubicBezTo>
                <a:cubicBezTo>
                  <a:pt x="404" y="118"/>
                  <a:pt x="404" y="118"/>
                  <a:pt x="405" y="118"/>
                </a:cubicBezTo>
                <a:cubicBezTo>
                  <a:pt x="405" y="118"/>
                  <a:pt x="405" y="118"/>
                  <a:pt x="406" y="118"/>
                </a:cubicBezTo>
                <a:cubicBezTo>
                  <a:pt x="406" y="117"/>
                  <a:pt x="406" y="117"/>
                  <a:pt x="407" y="117"/>
                </a:cubicBezTo>
                <a:cubicBezTo>
                  <a:pt x="407" y="117"/>
                  <a:pt x="407" y="117"/>
                  <a:pt x="408" y="116"/>
                </a:cubicBezTo>
                <a:cubicBezTo>
                  <a:pt x="408" y="117"/>
                  <a:pt x="408" y="117"/>
                  <a:pt x="408" y="117"/>
                </a:cubicBezTo>
                <a:cubicBezTo>
                  <a:pt x="408" y="117"/>
                  <a:pt x="409" y="117"/>
                  <a:pt x="409" y="117"/>
                </a:cubicBezTo>
                <a:cubicBezTo>
                  <a:pt x="409" y="117"/>
                  <a:pt x="410" y="117"/>
                  <a:pt x="410" y="117"/>
                </a:cubicBezTo>
                <a:cubicBezTo>
                  <a:pt x="411" y="117"/>
                  <a:pt x="411" y="116"/>
                  <a:pt x="412" y="116"/>
                </a:cubicBezTo>
                <a:cubicBezTo>
                  <a:pt x="412" y="116"/>
                  <a:pt x="412" y="116"/>
                  <a:pt x="412" y="116"/>
                </a:cubicBezTo>
                <a:cubicBezTo>
                  <a:pt x="412" y="116"/>
                  <a:pt x="413" y="116"/>
                  <a:pt x="413" y="116"/>
                </a:cubicBezTo>
                <a:cubicBezTo>
                  <a:pt x="414" y="116"/>
                  <a:pt x="414" y="115"/>
                  <a:pt x="414" y="115"/>
                </a:cubicBezTo>
                <a:cubicBezTo>
                  <a:pt x="414" y="115"/>
                  <a:pt x="414" y="115"/>
                  <a:pt x="415" y="115"/>
                </a:cubicBezTo>
                <a:cubicBezTo>
                  <a:pt x="414" y="116"/>
                  <a:pt x="414" y="116"/>
                  <a:pt x="414" y="116"/>
                </a:cubicBezTo>
                <a:cubicBezTo>
                  <a:pt x="414" y="116"/>
                  <a:pt x="414" y="116"/>
                  <a:pt x="414" y="116"/>
                </a:cubicBezTo>
                <a:cubicBezTo>
                  <a:pt x="413" y="117"/>
                  <a:pt x="412" y="117"/>
                  <a:pt x="411" y="117"/>
                </a:cubicBezTo>
                <a:cubicBezTo>
                  <a:pt x="411" y="118"/>
                  <a:pt x="410" y="118"/>
                  <a:pt x="410" y="118"/>
                </a:cubicBezTo>
                <a:cubicBezTo>
                  <a:pt x="410" y="118"/>
                  <a:pt x="410" y="118"/>
                  <a:pt x="409" y="118"/>
                </a:cubicBezTo>
                <a:cubicBezTo>
                  <a:pt x="409" y="118"/>
                  <a:pt x="408" y="118"/>
                  <a:pt x="408" y="118"/>
                </a:cubicBezTo>
                <a:cubicBezTo>
                  <a:pt x="407" y="118"/>
                  <a:pt x="407" y="118"/>
                  <a:pt x="406" y="119"/>
                </a:cubicBezTo>
                <a:cubicBezTo>
                  <a:pt x="405" y="119"/>
                  <a:pt x="405" y="119"/>
                  <a:pt x="404" y="119"/>
                </a:cubicBezTo>
                <a:cubicBezTo>
                  <a:pt x="404" y="119"/>
                  <a:pt x="403" y="120"/>
                  <a:pt x="403" y="120"/>
                </a:cubicBezTo>
                <a:cubicBezTo>
                  <a:pt x="402" y="120"/>
                  <a:pt x="402" y="120"/>
                  <a:pt x="402" y="120"/>
                </a:cubicBezTo>
                <a:cubicBezTo>
                  <a:pt x="401" y="120"/>
                  <a:pt x="401" y="120"/>
                  <a:pt x="400" y="121"/>
                </a:cubicBezTo>
                <a:cubicBezTo>
                  <a:pt x="400" y="121"/>
                  <a:pt x="400" y="121"/>
                  <a:pt x="399" y="121"/>
                </a:cubicBezTo>
                <a:cubicBezTo>
                  <a:pt x="399" y="121"/>
                  <a:pt x="398" y="121"/>
                  <a:pt x="398" y="121"/>
                </a:cubicBezTo>
                <a:cubicBezTo>
                  <a:pt x="397" y="122"/>
                  <a:pt x="396" y="122"/>
                  <a:pt x="396" y="122"/>
                </a:cubicBezTo>
                <a:cubicBezTo>
                  <a:pt x="396" y="122"/>
                  <a:pt x="396" y="123"/>
                  <a:pt x="396" y="123"/>
                </a:cubicBezTo>
                <a:cubicBezTo>
                  <a:pt x="396" y="123"/>
                  <a:pt x="396" y="124"/>
                  <a:pt x="396" y="124"/>
                </a:cubicBezTo>
                <a:cubicBezTo>
                  <a:pt x="396" y="124"/>
                  <a:pt x="396" y="124"/>
                  <a:pt x="396" y="125"/>
                </a:cubicBezTo>
                <a:cubicBezTo>
                  <a:pt x="397" y="125"/>
                  <a:pt x="397" y="125"/>
                  <a:pt x="398" y="125"/>
                </a:cubicBezTo>
                <a:cubicBezTo>
                  <a:pt x="398" y="125"/>
                  <a:pt x="398" y="125"/>
                  <a:pt x="398" y="125"/>
                </a:cubicBezTo>
                <a:cubicBezTo>
                  <a:pt x="399" y="125"/>
                  <a:pt x="400" y="125"/>
                  <a:pt x="400" y="125"/>
                </a:cubicBezTo>
                <a:cubicBezTo>
                  <a:pt x="401" y="125"/>
                  <a:pt x="401" y="125"/>
                  <a:pt x="402" y="125"/>
                </a:cubicBezTo>
                <a:cubicBezTo>
                  <a:pt x="403" y="125"/>
                  <a:pt x="403" y="125"/>
                  <a:pt x="404" y="125"/>
                </a:cubicBezTo>
                <a:cubicBezTo>
                  <a:pt x="404" y="125"/>
                  <a:pt x="405" y="124"/>
                  <a:pt x="405" y="124"/>
                </a:cubicBezTo>
                <a:cubicBezTo>
                  <a:pt x="406" y="124"/>
                  <a:pt x="406" y="124"/>
                  <a:pt x="407" y="124"/>
                </a:cubicBezTo>
                <a:cubicBezTo>
                  <a:pt x="407" y="124"/>
                  <a:pt x="407" y="124"/>
                  <a:pt x="407" y="124"/>
                </a:cubicBezTo>
                <a:cubicBezTo>
                  <a:pt x="408" y="124"/>
                  <a:pt x="408" y="124"/>
                  <a:pt x="409" y="124"/>
                </a:cubicBezTo>
                <a:cubicBezTo>
                  <a:pt x="409" y="123"/>
                  <a:pt x="409" y="123"/>
                  <a:pt x="410" y="123"/>
                </a:cubicBezTo>
                <a:cubicBezTo>
                  <a:pt x="410" y="123"/>
                  <a:pt x="410" y="123"/>
                  <a:pt x="410" y="123"/>
                </a:cubicBezTo>
                <a:cubicBezTo>
                  <a:pt x="411" y="123"/>
                  <a:pt x="411" y="123"/>
                  <a:pt x="411" y="122"/>
                </a:cubicBezTo>
                <a:cubicBezTo>
                  <a:pt x="411" y="122"/>
                  <a:pt x="411" y="122"/>
                  <a:pt x="412" y="122"/>
                </a:cubicBezTo>
                <a:cubicBezTo>
                  <a:pt x="412" y="122"/>
                  <a:pt x="412" y="122"/>
                  <a:pt x="413" y="121"/>
                </a:cubicBezTo>
                <a:cubicBezTo>
                  <a:pt x="413" y="121"/>
                  <a:pt x="413" y="121"/>
                  <a:pt x="413" y="121"/>
                </a:cubicBezTo>
                <a:cubicBezTo>
                  <a:pt x="413" y="121"/>
                  <a:pt x="413" y="121"/>
                  <a:pt x="413" y="120"/>
                </a:cubicBezTo>
                <a:cubicBezTo>
                  <a:pt x="414" y="120"/>
                  <a:pt x="414" y="120"/>
                  <a:pt x="414" y="120"/>
                </a:cubicBezTo>
                <a:cubicBezTo>
                  <a:pt x="415" y="120"/>
                  <a:pt x="415" y="120"/>
                  <a:pt x="415" y="120"/>
                </a:cubicBezTo>
                <a:cubicBezTo>
                  <a:pt x="415" y="120"/>
                  <a:pt x="415" y="119"/>
                  <a:pt x="415" y="119"/>
                </a:cubicBezTo>
                <a:cubicBezTo>
                  <a:pt x="416" y="119"/>
                  <a:pt x="416" y="119"/>
                  <a:pt x="416" y="119"/>
                </a:cubicBezTo>
                <a:cubicBezTo>
                  <a:pt x="417" y="119"/>
                  <a:pt x="417" y="119"/>
                  <a:pt x="418" y="119"/>
                </a:cubicBezTo>
                <a:cubicBezTo>
                  <a:pt x="418" y="119"/>
                  <a:pt x="418" y="119"/>
                  <a:pt x="418" y="119"/>
                </a:cubicBezTo>
                <a:cubicBezTo>
                  <a:pt x="419" y="119"/>
                  <a:pt x="419" y="119"/>
                  <a:pt x="420" y="119"/>
                </a:cubicBezTo>
                <a:cubicBezTo>
                  <a:pt x="420" y="119"/>
                  <a:pt x="420" y="118"/>
                  <a:pt x="420" y="118"/>
                </a:cubicBezTo>
                <a:cubicBezTo>
                  <a:pt x="421" y="118"/>
                  <a:pt x="421" y="118"/>
                  <a:pt x="422" y="117"/>
                </a:cubicBezTo>
                <a:cubicBezTo>
                  <a:pt x="422" y="117"/>
                  <a:pt x="422" y="117"/>
                  <a:pt x="423" y="117"/>
                </a:cubicBezTo>
                <a:cubicBezTo>
                  <a:pt x="423" y="117"/>
                  <a:pt x="423" y="117"/>
                  <a:pt x="423" y="117"/>
                </a:cubicBezTo>
                <a:cubicBezTo>
                  <a:pt x="423" y="116"/>
                  <a:pt x="423" y="116"/>
                  <a:pt x="423" y="116"/>
                </a:cubicBezTo>
                <a:cubicBezTo>
                  <a:pt x="424" y="116"/>
                  <a:pt x="424" y="116"/>
                  <a:pt x="424" y="116"/>
                </a:cubicBezTo>
                <a:cubicBezTo>
                  <a:pt x="424" y="116"/>
                  <a:pt x="424" y="116"/>
                  <a:pt x="425" y="116"/>
                </a:cubicBezTo>
                <a:cubicBezTo>
                  <a:pt x="424" y="117"/>
                  <a:pt x="424" y="117"/>
                  <a:pt x="424" y="117"/>
                </a:cubicBezTo>
                <a:cubicBezTo>
                  <a:pt x="424" y="117"/>
                  <a:pt x="424" y="117"/>
                  <a:pt x="424" y="117"/>
                </a:cubicBezTo>
                <a:cubicBezTo>
                  <a:pt x="425" y="117"/>
                  <a:pt x="425" y="117"/>
                  <a:pt x="426" y="117"/>
                </a:cubicBezTo>
                <a:cubicBezTo>
                  <a:pt x="426" y="117"/>
                  <a:pt x="426" y="117"/>
                  <a:pt x="427" y="117"/>
                </a:cubicBezTo>
                <a:cubicBezTo>
                  <a:pt x="427" y="117"/>
                  <a:pt x="427" y="117"/>
                  <a:pt x="427" y="116"/>
                </a:cubicBezTo>
                <a:cubicBezTo>
                  <a:pt x="427" y="116"/>
                  <a:pt x="428" y="116"/>
                  <a:pt x="428" y="116"/>
                </a:cubicBezTo>
                <a:cubicBezTo>
                  <a:pt x="428" y="116"/>
                  <a:pt x="428" y="116"/>
                  <a:pt x="428" y="116"/>
                </a:cubicBezTo>
                <a:cubicBezTo>
                  <a:pt x="428" y="116"/>
                  <a:pt x="429" y="116"/>
                  <a:pt x="429" y="116"/>
                </a:cubicBezTo>
                <a:cubicBezTo>
                  <a:pt x="428" y="116"/>
                  <a:pt x="428" y="117"/>
                  <a:pt x="428" y="117"/>
                </a:cubicBezTo>
                <a:cubicBezTo>
                  <a:pt x="428" y="117"/>
                  <a:pt x="428" y="117"/>
                  <a:pt x="429" y="117"/>
                </a:cubicBezTo>
                <a:cubicBezTo>
                  <a:pt x="429" y="117"/>
                  <a:pt x="430" y="117"/>
                  <a:pt x="430" y="117"/>
                </a:cubicBezTo>
                <a:cubicBezTo>
                  <a:pt x="431" y="117"/>
                  <a:pt x="431" y="117"/>
                  <a:pt x="432" y="117"/>
                </a:cubicBezTo>
                <a:cubicBezTo>
                  <a:pt x="432" y="116"/>
                  <a:pt x="433" y="116"/>
                  <a:pt x="434" y="116"/>
                </a:cubicBezTo>
                <a:cubicBezTo>
                  <a:pt x="434" y="115"/>
                  <a:pt x="434" y="115"/>
                  <a:pt x="434" y="115"/>
                </a:cubicBezTo>
                <a:cubicBezTo>
                  <a:pt x="435" y="115"/>
                  <a:pt x="435" y="115"/>
                  <a:pt x="435" y="115"/>
                </a:cubicBezTo>
                <a:cubicBezTo>
                  <a:pt x="436" y="115"/>
                  <a:pt x="436" y="115"/>
                  <a:pt x="436" y="115"/>
                </a:cubicBezTo>
                <a:cubicBezTo>
                  <a:pt x="436" y="115"/>
                  <a:pt x="437" y="115"/>
                  <a:pt x="437" y="115"/>
                </a:cubicBezTo>
                <a:cubicBezTo>
                  <a:pt x="437" y="115"/>
                  <a:pt x="437" y="114"/>
                  <a:pt x="437" y="114"/>
                </a:cubicBezTo>
                <a:cubicBezTo>
                  <a:pt x="437" y="114"/>
                  <a:pt x="437" y="114"/>
                  <a:pt x="437" y="114"/>
                </a:cubicBezTo>
                <a:cubicBezTo>
                  <a:pt x="437" y="114"/>
                  <a:pt x="438" y="114"/>
                  <a:pt x="438" y="114"/>
                </a:cubicBezTo>
                <a:cubicBezTo>
                  <a:pt x="438" y="114"/>
                  <a:pt x="438" y="114"/>
                  <a:pt x="438" y="113"/>
                </a:cubicBezTo>
                <a:cubicBezTo>
                  <a:pt x="438" y="113"/>
                  <a:pt x="438" y="113"/>
                  <a:pt x="438" y="113"/>
                </a:cubicBezTo>
                <a:cubicBezTo>
                  <a:pt x="438" y="113"/>
                  <a:pt x="439" y="112"/>
                  <a:pt x="439" y="112"/>
                </a:cubicBezTo>
                <a:cubicBezTo>
                  <a:pt x="439" y="112"/>
                  <a:pt x="440" y="112"/>
                  <a:pt x="440" y="112"/>
                </a:cubicBezTo>
                <a:cubicBezTo>
                  <a:pt x="440" y="111"/>
                  <a:pt x="441" y="111"/>
                  <a:pt x="441" y="110"/>
                </a:cubicBezTo>
                <a:cubicBezTo>
                  <a:pt x="441" y="110"/>
                  <a:pt x="441" y="110"/>
                  <a:pt x="441" y="110"/>
                </a:cubicBezTo>
                <a:cubicBezTo>
                  <a:pt x="441" y="110"/>
                  <a:pt x="441" y="110"/>
                  <a:pt x="441" y="110"/>
                </a:cubicBezTo>
                <a:cubicBezTo>
                  <a:pt x="441" y="109"/>
                  <a:pt x="441" y="109"/>
                  <a:pt x="442" y="109"/>
                </a:cubicBezTo>
                <a:cubicBezTo>
                  <a:pt x="442" y="109"/>
                  <a:pt x="442" y="109"/>
                  <a:pt x="443" y="109"/>
                </a:cubicBezTo>
                <a:cubicBezTo>
                  <a:pt x="443" y="108"/>
                  <a:pt x="443" y="108"/>
                  <a:pt x="444" y="108"/>
                </a:cubicBezTo>
                <a:cubicBezTo>
                  <a:pt x="444" y="107"/>
                  <a:pt x="444" y="106"/>
                  <a:pt x="445" y="106"/>
                </a:cubicBezTo>
                <a:cubicBezTo>
                  <a:pt x="445" y="105"/>
                  <a:pt x="445" y="105"/>
                  <a:pt x="445" y="104"/>
                </a:cubicBezTo>
                <a:cubicBezTo>
                  <a:pt x="445" y="104"/>
                  <a:pt x="444" y="104"/>
                  <a:pt x="444" y="104"/>
                </a:cubicBezTo>
                <a:cubicBezTo>
                  <a:pt x="444" y="104"/>
                  <a:pt x="444" y="103"/>
                  <a:pt x="443" y="103"/>
                </a:cubicBezTo>
                <a:cubicBezTo>
                  <a:pt x="443" y="103"/>
                  <a:pt x="442" y="103"/>
                  <a:pt x="442" y="103"/>
                </a:cubicBezTo>
                <a:cubicBezTo>
                  <a:pt x="441" y="103"/>
                  <a:pt x="441" y="103"/>
                  <a:pt x="441" y="103"/>
                </a:cubicBezTo>
                <a:cubicBezTo>
                  <a:pt x="440" y="104"/>
                  <a:pt x="440" y="104"/>
                  <a:pt x="439" y="104"/>
                </a:cubicBezTo>
                <a:cubicBezTo>
                  <a:pt x="439" y="105"/>
                  <a:pt x="439" y="105"/>
                  <a:pt x="439" y="105"/>
                </a:cubicBezTo>
                <a:cubicBezTo>
                  <a:pt x="439" y="105"/>
                  <a:pt x="439" y="106"/>
                  <a:pt x="439" y="106"/>
                </a:cubicBezTo>
                <a:cubicBezTo>
                  <a:pt x="439" y="106"/>
                  <a:pt x="439" y="106"/>
                  <a:pt x="439" y="106"/>
                </a:cubicBezTo>
                <a:cubicBezTo>
                  <a:pt x="439" y="106"/>
                  <a:pt x="439" y="106"/>
                  <a:pt x="439" y="107"/>
                </a:cubicBezTo>
                <a:cubicBezTo>
                  <a:pt x="439" y="107"/>
                  <a:pt x="438" y="107"/>
                  <a:pt x="438" y="107"/>
                </a:cubicBezTo>
                <a:cubicBezTo>
                  <a:pt x="438" y="107"/>
                  <a:pt x="437" y="107"/>
                  <a:pt x="437" y="108"/>
                </a:cubicBezTo>
                <a:cubicBezTo>
                  <a:pt x="437" y="108"/>
                  <a:pt x="437" y="107"/>
                  <a:pt x="437" y="107"/>
                </a:cubicBezTo>
                <a:cubicBezTo>
                  <a:pt x="437" y="107"/>
                  <a:pt x="437" y="107"/>
                  <a:pt x="437" y="106"/>
                </a:cubicBezTo>
                <a:cubicBezTo>
                  <a:pt x="437" y="106"/>
                  <a:pt x="437" y="106"/>
                  <a:pt x="437" y="105"/>
                </a:cubicBezTo>
                <a:cubicBezTo>
                  <a:pt x="437" y="105"/>
                  <a:pt x="436" y="105"/>
                  <a:pt x="436" y="105"/>
                </a:cubicBezTo>
                <a:cubicBezTo>
                  <a:pt x="435" y="105"/>
                  <a:pt x="435" y="105"/>
                  <a:pt x="435" y="105"/>
                </a:cubicBezTo>
                <a:cubicBezTo>
                  <a:pt x="435" y="106"/>
                  <a:pt x="434" y="106"/>
                  <a:pt x="434" y="106"/>
                </a:cubicBezTo>
                <a:cubicBezTo>
                  <a:pt x="434" y="107"/>
                  <a:pt x="433" y="107"/>
                  <a:pt x="432" y="107"/>
                </a:cubicBezTo>
                <a:cubicBezTo>
                  <a:pt x="432" y="108"/>
                  <a:pt x="432" y="108"/>
                  <a:pt x="432" y="108"/>
                </a:cubicBezTo>
                <a:cubicBezTo>
                  <a:pt x="432" y="108"/>
                  <a:pt x="432" y="108"/>
                  <a:pt x="431" y="108"/>
                </a:cubicBezTo>
                <a:cubicBezTo>
                  <a:pt x="431" y="108"/>
                  <a:pt x="432" y="107"/>
                  <a:pt x="432" y="107"/>
                </a:cubicBezTo>
                <a:cubicBezTo>
                  <a:pt x="432" y="107"/>
                  <a:pt x="433" y="106"/>
                  <a:pt x="433" y="106"/>
                </a:cubicBezTo>
                <a:cubicBezTo>
                  <a:pt x="434" y="105"/>
                  <a:pt x="434" y="105"/>
                  <a:pt x="435" y="105"/>
                </a:cubicBezTo>
                <a:cubicBezTo>
                  <a:pt x="435" y="104"/>
                  <a:pt x="435" y="104"/>
                  <a:pt x="435" y="104"/>
                </a:cubicBezTo>
                <a:cubicBezTo>
                  <a:pt x="435" y="104"/>
                  <a:pt x="435" y="103"/>
                  <a:pt x="435" y="103"/>
                </a:cubicBezTo>
                <a:cubicBezTo>
                  <a:pt x="434" y="103"/>
                  <a:pt x="434" y="104"/>
                  <a:pt x="433" y="104"/>
                </a:cubicBezTo>
                <a:cubicBezTo>
                  <a:pt x="433" y="104"/>
                  <a:pt x="433" y="104"/>
                  <a:pt x="432" y="104"/>
                </a:cubicBezTo>
                <a:cubicBezTo>
                  <a:pt x="432" y="104"/>
                  <a:pt x="432" y="104"/>
                  <a:pt x="432" y="104"/>
                </a:cubicBezTo>
                <a:cubicBezTo>
                  <a:pt x="432" y="104"/>
                  <a:pt x="432" y="104"/>
                  <a:pt x="432" y="104"/>
                </a:cubicBezTo>
                <a:cubicBezTo>
                  <a:pt x="432" y="104"/>
                  <a:pt x="432" y="104"/>
                  <a:pt x="432" y="103"/>
                </a:cubicBezTo>
                <a:cubicBezTo>
                  <a:pt x="433" y="103"/>
                  <a:pt x="433" y="103"/>
                  <a:pt x="434" y="102"/>
                </a:cubicBezTo>
                <a:cubicBezTo>
                  <a:pt x="434" y="102"/>
                  <a:pt x="434" y="102"/>
                  <a:pt x="434" y="102"/>
                </a:cubicBezTo>
                <a:cubicBezTo>
                  <a:pt x="435" y="102"/>
                  <a:pt x="435" y="102"/>
                  <a:pt x="435" y="101"/>
                </a:cubicBezTo>
                <a:cubicBezTo>
                  <a:pt x="435" y="101"/>
                  <a:pt x="435" y="100"/>
                  <a:pt x="434" y="100"/>
                </a:cubicBezTo>
                <a:cubicBezTo>
                  <a:pt x="434" y="100"/>
                  <a:pt x="434" y="100"/>
                  <a:pt x="434" y="100"/>
                </a:cubicBezTo>
                <a:cubicBezTo>
                  <a:pt x="434" y="99"/>
                  <a:pt x="434" y="99"/>
                  <a:pt x="434" y="99"/>
                </a:cubicBezTo>
                <a:cubicBezTo>
                  <a:pt x="434" y="98"/>
                  <a:pt x="434" y="98"/>
                  <a:pt x="434" y="98"/>
                </a:cubicBezTo>
                <a:cubicBezTo>
                  <a:pt x="434" y="98"/>
                  <a:pt x="434" y="98"/>
                  <a:pt x="434" y="97"/>
                </a:cubicBezTo>
                <a:cubicBezTo>
                  <a:pt x="434" y="97"/>
                  <a:pt x="434" y="97"/>
                  <a:pt x="434" y="97"/>
                </a:cubicBezTo>
                <a:cubicBezTo>
                  <a:pt x="435" y="97"/>
                  <a:pt x="435" y="97"/>
                  <a:pt x="435" y="96"/>
                </a:cubicBezTo>
                <a:cubicBezTo>
                  <a:pt x="435" y="96"/>
                  <a:pt x="436" y="96"/>
                  <a:pt x="436" y="96"/>
                </a:cubicBezTo>
                <a:cubicBezTo>
                  <a:pt x="435" y="96"/>
                  <a:pt x="435" y="96"/>
                  <a:pt x="435" y="95"/>
                </a:cubicBezTo>
                <a:cubicBezTo>
                  <a:pt x="435" y="95"/>
                  <a:pt x="435" y="95"/>
                  <a:pt x="435" y="95"/>
                </a:cubicBezTo>
                <a:cubicBezTo>
                  <a:pt x="435" y="95"/>
                  <a:pt x="434" y="95"/>
                  <a:pt x="433" y="95"/>
                </a:cubicBezTo>
                <a:cubicBezTo>
                  <a:pt x="433" y="95"/>
                  <a:pt x="433" y="95"/>
                  <a:pt x="433" y="95"/>
                </a:cubicBezTo>
                <a:cubicBezTo>
                  <a:pt x="432" y="96"/>
                  <a:pt x="431" y="97"/>
                  <a:pt x="430" y="97"/>
                </a:cubicBezTo>
                <a:cubicBezTo>
                  <a:pt x="430" y="97"/>
                  <a:pt x="429" y="98"/>
                  <a:pt x="429" y="98"/>
                </a:cubicBezTo>
                <a:cubicBezTo>
                  <a:pt x="429" y="98"/>
                  <a:pt x="429" y="98"/>
                  <a:pt x="429" y="99"/>
                </a:cubicBezTo>
                <a:cubicBezTo>
                  <a:pt x="429" y="99"/>
                  <a:pt x="429" y="99"/>
                  <a:pt x="429" y="99"/>
                </a:cubicBezTo>
                <a:cubicBezTo>
                  <a:pt x="429" y="99"/>
                  <a:pt x="428" y="99"/>
                  <a:pt x="428" y="99"/>
                </a:cubicBezTo>
                <a:cubicBezTo>
                  <a:pt x="428" y="99"/>
                  <a:pt x="427" y="99"/>
                  <a:pt x="427" y="99"/>
                </a:cubicBezTo>
                <a:cubicBezTo>
                  <a:pt x="427" y="99"/>
                  <a:pt x="427" y="100"/>
                  <a:pt x="426" y="100"/>
                </a:cubicBezTo>
                <a:cubicBezTo>
                  <a:pt x="426" y="100"/>
                  <a:pt x="426" y="101"/>
                  <a:pt x="425" y="101"/>
                </a:cubicBezTo>
                <a:cubicBezTo>
                  <a:pt x="426" y="101"/>
                  <a:pt x="426" y="102"/>
                  <a:pt x="426" y="102"/>
                </a:cubicBezTo>
                <a:cubicBezTo>
                  <a:pt x="426" y="102"/>
                  <a:pt x="426" y="102"/>
                  <a:pt x="426" y="103"/>
                </a:cubicBezTo>
                <a:cubicBezTo>
                  <a:pt x="427" y="103"/>
                  <a:pt x="427" y="103"/>
                  <a:pt x="427" y="103"/>
                </a:cubicBezTo>
                <a:cubicBezTo>
                  <a:pt x="427" y="103"/>
                  <a:pt x="428" y="103"/>
                  <a:pt x="428" y="104"/>
                </a:cubicBezTo>
                <a:cubicBezTo>
                  <a:pt x="428" y="104"/>
                  <a:pt x="428" y="104"/>
                  <a:pt x="428" y="105"/>
                </a:cubicBezTo>
                <a:cubicBezTo>
                  <a:pt x="427" y="105"/>
                  <a:pt x="427" y="105"/>
                  <a:pt x="427" y="105"/>
                </a:cubicBezTo>
                <a:cubicBezTo>
                  <a:pt x="426" y="105"/>
                  <a:pt x="425" y="106"/>
                  <a:pt x="425" y="106"/>
                </a:cubicBezTo>
                <a:cubicBezTo>
                  <a:pt x="425" y="106"/>
                  <a:pt x="424" y="106"/>
                  <a:pt x="424" y="106"/>
                </a:cubicBezTo>
                <a:cubicBezTo>
                  <a:pt x="424" y="106"/>
                  <a:pt x="424" y="106"/>
                  <a:pt x="424" y="107"/>
                </a:cubicBezTo>
                <a:cubicBezTo>
                  <a:pt x="424" y="107"/>
                  <a:pt x="424" y="107"/>
                  <a:pt x="425" y="107"/>
                </a:cubicBezTo>
                <a:cubicBezTo>
                  <a:pt x="425" y="107"/>
                  <a:pt x="425" y="107"/>
                  <a:pt x="425" y="108"/>
                </a:cubicBezTo>
                <a:cubicBezTo>
                  <a:pt x="425" y="108"/>
                  <a:pt x="426" y="108"/>
                  <a:pt x="426" y="108"/>
                </a:cubicBezTo>
                <a:cubicBezTo>
                  <a:pt x="426" y="108"/>
                  <a:pt x="426" y="109"/>
                  <a:pt x="427" y="109"/>
                </a:cubicBezTo>
                <a:cubicBezTo>
                  <a:pt x="426" y="109"/>
                  <a:pt x="426" y="110"/>
                  <a:pt x="425" y="110"/>
                </a:cubicBezTo>
                <a:cubicBezTo>
                  <a:pt x="425" y="110"/>
                  <a:pt x="425" y="110"/>
                  <a:pt x="426" y="110"/>
                </a:cubicBezTo>
                <a:cubicBezTo>
                  <a:pt x="426" y="110"/>
                  <a:pt x="426" y="110"/>
                  <a:pt x="426" y="111"/>
                </a:cubicBezTo>
                <a:cubicBezTo>
                  <a:pt x="426" y="111"/>
                  <a:pt x="425" y="111"/>
                  <a:pt x="425" y="111"/>
                </a:cubicBezTo>
                <a:cubicBezTo>
                  <a:pt x="425" y="111"/>
                  <a:pt x="424" y="111"/>
                  <a:pt x="424" y="110"/>
                </a:cubicBezTo>
                <a:cubicBezTo>
                  <a:pt x="423" y="110"/>
                  <a:pt x="423" y="111"/>
                  <a:pt x="422" y="111"/>
                </a:cubicBezTo>
                <a:cubicBezTo>
                  <a:pt x="422" y="111"/>
                  <a:pt x="421" y="111"/>
                  <a:pt x="421" y="111"/>
                </a:cubicBezTo>
                <a:cubicBezTo>
                  <a:pt x="421" y="111"/>
                  <a:pt x="420" y="111"/>
                  <a:pt x="420" y="111"/>
                </a:cubicBezTo>
                <a:cubicBezTo>
                  <a:pt x="420" y="111"/>
                  <a:pt x="419" y="111"/>
                  <a:pt x="419" y="111"/>
                </a:cubicBezTo>
                <a:cubicBezTo>
                  <a:pt x="419" y="111"/>
                  <a:pt x="419" y="111"/>
                  <a:pt x="419" y="111"/>
                </a:cubicBezTo>
                <a:cubicBezTo>
                  <a:pt x="419" y="111"/>
                  <a:pt x="418" y="111"/>
                  <a:pt x="418" y="111"/>
                </a:cubicBezTo>
                <a:cubicBezTo>
                  <a:pt x="418" y="111"/>
                  <a:pt x="417" y="112"/>
                  <a:pt x="417" y="112"/>
                </a:cubicBezTo>
                <a:cubicBezTo>
                  <a:pt x="417" y="112"/>
                  <a:pt x="416" y="112"/>
                  <a:pt x="416" y="112"/>
                </a:cubicBezTo>
                <a:cubicBezTo>
                  <a:pt x="416" y="111"/>
                  <a:pt x="416" y="111"/>
                  <a:pt x="416" y="110"/>
                </a:cubicBezTo>
                <a:cubicBezTo>
                  <a:pt x="416" y="110"/>
                  <a:pt x="416" y="110"/>
                  <a:pt x="417" y="110"/>
                </a:cubicBezTo>
                <a:cubicBezTo>
                  <a:pt x="417" y="109"/>
                  <a:pt x="417" y="109"/>
                  <a:pt x="417" y="108"/>
                </a:cubicBezTo>
                <a:close/>
                <a:moveTo>
                  <a:pt x="369" y="109"/>
                </a:moveTo>
                <a:cubicBezTo>
                  <a:pt x="369" y="109"/>
                  <a:pt x="369" y="109"/>
                  <a:pt x="369" y="108"/>
                </a:cubicBezTo>
                <a:cubicBezTo>
                  <a:pt x="369" y="108"/>
                  <a:pt x="369" y="108"/>
                  <a:pt x="369" y="108"/>
                </a:cubicBezTo>
                <a:cubicBezTo>
                  <a:pt x="368" y="108"/>
                  <a:pt x="368" y="108"/>
                  <a:pt x="368" y="108"/>
                </a:cubicBezTo>
                <a:cubicBezTo>
                  <a:pt x="367" y="108"/>
                  <a:pt x="367" y="108"/>
                  <a:pt x="367" y="109"/>
                </a:cubicBezTo>
                <a:cubicBezTo>
                  <a:pt x="367" y="109"/>
                  <a:pt x="368" y="109"/>
                  <a:pt x="368" y="109"/>
                </a:cubicBezTo>
                <a:cubicBezTo>
                  <a:pt x="368" y="109"/>
                  <a:pt x="368" y="109"/>
                  <a:pt x="369" y="109"/>
                </a:cubicBezTo>
                <a:close/>
                <a:moveTo>
                  <a:pt x="628" y="262"/>
                </a:moveTo>
                <a:cubicBezTo>
                  <a:pt x="628" y="262"/>
                  <a:pt x="628" y="261"/>
                  <a:pt x="628" y="261"/>
                </a:cubicBezTo>
                <a:cubicBezTo>
                  <a:pt x="628" y="261"/>
                  <a:pt x="628" y="261"/>
                  <a:pt x="628" y="261"/>
                </a:cubicBezTo>
                <a:cubicBezTo>
                  <a:pt x="628" y="261"/>
                  <a:pt x="628" y="261"/>
                  <a:pt x="628" y="261"/>
                </a:cubicBezTo>
                <a:cubicBezTo>
                  <a:pt x="628" y="261"/>
                  <a:pt x="627" y="262"/>
                  <a:pt x="627" y="262"/>
                </a:cubicBezTo>
                <a:cubicBezTo>
                  <a:pt x="627" y="262"/>
                  <a:pt x="628" y="262"/>
                  <a:pt x="628" y="262"/>
                </a:cubicBezTo>
                <a:cubicBezTo>
                  <a:pt x="628" y="262"/>
                  <a:pt x="628" y="262"/>
                  <a:pt x="628" y="262"/>
                </a:cubicBezTo>
                <a:close/>
                <a:moveTo>
                  <a:pt x="537" y="73"/>
                </a:moveTo>
                <a:cubicBezTo>
                  <a:pt x="537" y="73"/>
                  <a:pt x="537" y="72"/>
                  <a:pt x="537" y="72"/>
                </a:cubicBezTo>
                <a:cubicBezTo>
                  <a:pt x="537" y="72"/>
                  <a:pt x="537" y="72"/>
                  <a:pt x="536" y="72"/>
                </a:cubicBezTo>
                <a:cubicBezTo>
                  <a:pt x="536" y="72"/>
                  <a:pt x="536" y="72"/>
                  <a:pt x="536" y="72"/>
                </a:cubicBezTo>
                <a:cubicBezTo>
                  <a:pt x="536" y="73"/>
                  <a:pt x="536" y="73"/>
                  <a:pt x="536" y="73"/>
                </a:cubicBezTo>
                <a:cubicBezTo>
                  <a:pt x="536" y="73"/>
                  <a:pt x="535" y="73"/>
                  <a:pt x="535" y="74"/>
                </a:cubicBezTo>
                <a:cubicBezTo>
                  <a:pt x="535" y="74"/>
                  <a:pt x="535" y="74"/>
                  <a:pt x="535" y="74"/>
                </a:cubicBezTo>
                <a:cubicBezTo>
                  <a:pt x="535" y="74"/>
                  <a:pt x="535" y="74"/>
                  <a:pt x="535" y="74"/>
                </a:cubicBezTo>
                <a:cubicBezTo>
                  <a:pt x="536" y="74"/>
                  <a:pt x="536" y="73"/>
                  <a:pt x="537" y="73"/>
                </a:cubicBezTo>
                <a:cubicBezTo>
                  <a:pt x="537" y="73"/>
                  <a:pt x="537" y="73"/>
                  <a:pt x="537" y="73"/>
                </a:cubicBezTo>
                <a:close/>
                <a:moveTo>
                  <a:pt x="606" y="170"/>
                </a:moveTo>
                <a:cubicBezTo>
                  <a:pt x="607" y="170"/>
                  <a:pt x="607" y="170"/>
                  <a:pt x="607" y="170"/>
                </a:cubicBezTo>
                <a:cubicBezTo>
                  <a:pt x="607" y="170"/>
                  <a:pt x="607" y="169"/>
                  <a:pt x="606" y="169"/>
                </a:cubicBezTo>
                <a:cubicBezTo>
                  <a:pt x="606" y="170"/>
                  <a:pt x="606" y="170"/>
                  <a:pt x="606" y="170"/>
                </a:cubicBezTo>
                <a:cubicBezTo>
                  <a:pt x="606" y="170"/>
                  <a:pt x="606" y="170"/>
                  <a:pt x="605" y="170"/>
                </a:cubicBezTo>
                <a:cubicBezTo>
                  <a:pt x="605" y="170"/>
                  <a:pt x="605" y="171"/>
                  <a:pt x="605" y="171"/>
                </a:cubicBezTo>
                <a:cubicBezTo>
                  <a:pt x="605" y="171"/>
                  <a:pt x="606" y="171"/>
                  <a:pt x="606" y="171"/>
                </a:cubicBezTo>
                <a:cubicBezTo>
                  <a:pt x="606" y="171"/>
                  <a:pt x="606" y="170"/>
                  <a:pt x="606" y="170"/>
                </a:cubicBezTo>
                <a:close/>
                <a:moveTo>
                  <a:pt x="632" y="273"/>
                </a:moveTo>
                <a:cubicBezTo>
                  <a:pt x="633" y="273"/>
                  <a:pt x="633" y="273"/>
                  <a:pt x="633" y="273"/>
                </a:cubicBezTo>
                <a:cubicBezTo>
                  <a:pt x="633" y="272"/>
                  <a:pt x="633" y="272"/>
                  <a:pt x="633" y="272"/>
                </a:cubicBezTo>
                <a:cubicBezTo>
                  <a:pt x="633" y="272"/>
                  <a:pt x="632" y="272"/>
                  <a:pt x="632" y="272"/>
                </a:cubicBezTo>
                <a:cubicBezTo>
                  <a:pt x="632" y="272"/>
                  <a:pt x="632" y="272"/>
                  <a:pt x="632" y="272"/>
                </a:cubicBezTo>
                <a:cubicBezTo>
                  <a:pt x="632" y="272"/>
                  <a:pt x="632" y="272"/>
                  <a:pt x="632" y="272"/>
                </a:cubicBezTo>
                <a:cubicBezTo>
                  <a:pt x="632" y="272"/>
                  <a:pt x="632" y="272"/>
                  <a:pt x="631" y="272"/>
                </a:cubicBezTo>
                <a:cubicBezTo>
                  <a:pt x="631" y="272"/>
                  <a:pt x="631" y="272"/>
                  <a:pt x="631" y="272"/>
                </a:cubicBezTo>
                <a:cubicBezTo>
                  <a:pt x="632" y="273"/>
                  <a:pt x="632" y="273"/>
                  <a:pt x="632" y="273"/>
                </a:cubicBezTo>
                <a:cubicBezTo>
                  <a:pt x="632" y="273"/>
                  <a:pt x="632" y="273"/>
                  <a:pt x="632" y="273"/>
                </a:cubicBezTo>
                <a:close/>
                <a:moveTo>
                  <a:pt x="601" y="168"/>
                </a:moveTo>
                <a:cubicBezTo>
                  <a:pt x="601" y="168"/>
                  <a:pt x="601" y="168"/>
                  <a:pt x="601" y="168"/>
                </a:cubicBezTo>
                <a:cubicBezTo>
                  <a:pt x="601" y="168"/>
                  <a:pt x="601" y="167"/>
                  <a:pt x="601" y="167"/>
                </a:cubicBezTo>
                <a:cubicBezTo>
                  <a:pt x="601" y="167"/>
                  <a:pt x="601" y="167"/>
                  <a:pt x="600" y="167"/>
                </a:cubicBezTo>
                <a:cubicBezTo>
                  <a:pt x="600" y="167"/>
                  <a:pt x="600" y="167"/>
                  <a:pt x="600" y="167"/>
                </a:cubicBezTo>
                <a:cubicBezTo>
                  <a:pt x="600" y="168"/>
                  <a:pt x="600" y="168"/>
                  <a:pt x="600" y="168"/>
                </a:cubicBezTo>
                <a:cubicBezTo>
                  <a:pt x="600" y="168"/>
                  <a:pt x="601" y="168"/>
                  <a:pt x="601" y="168"/>
                </a:cubicBezTo>
                <a:close/>
                <a:moveTo>
                  <a:pt x="596" y="65"/>
                </a:moveTo>
                <a:cubicBezTo>
                  <a:pt x="596" y="65"/>
                  <a:pt x="595" y="65"/>
                  <a:pt x="595" y="65"/>
                </a:cubicBezTo>
                <a:cubicBezTo>
                  <a:pt x="595" y="65"/>
                  <a:pt x="595" y="65"/>
                  <a:pt x="595" y="65"/>
                </a:cubicBezTo>
                <a:cubicBezTo>
                  <a:pt x="595" y="65"/>
                  <a:pt x="595" y="65"/>
                  <a:pt x="596" y="65"/>
                </a:cubicBezTo>
                <a:cubicBezTo>
                  <a:pt x="596" y="65"/>
                  <a:pt x="596" y="65"/>
                  <a:pt x="597" y="65"/>
                </a:cubicBezTo>
                <a:cubicBezTo>
                  <a:pt x="597" y="65"/>
                  <a:pt x="597" y="65"/>
                  <a:pt x="597" y="65"/>
                </a:cubicBezTo>
                <a:cubicBezTo>
                  <a:pt x="597" y="65"/>
                  <a:pt x="596" y="65"/>
                  <a:pt x="596" y="65"/>
                </a:cubicBezTo>
                <a:close/>
                <a:moveTo>
                  <a:pt x="630" y="273"/>
                </a:moveTo>
                <a:cubicBezTo>
                  <a:pt x="630" y="273"/>
                  <a:pt x="629" y="273"/>
                  <a:pt x="629" y="273"/>
                </a:cubicBezTo>
                <a:cubicBezTo>
                  <a:pt x="629" y="273"/>
                  <a:pt x="629" y="273"/>
                  <a:pt x="629" y="274"/>
                </a:cubicBezTo>
                <a:cubicBezTo>
                  <a:pt x="629" y="274"/>
                  <a:pt x="629" y="274"/>
                  <a:pt x="629" y="274"/>
                </a:cubicBezTo>
                <a:cubicBezTo>
                  <a:pt x="629" y="274"/>
                  <a:pt x="629" y="274"/>
                  <a:pt x="630" y="274"/>
                </a:cubicBezTo>
                <a:cubicBezTo>
                  <a:pt x="630" y="274"/>
                  <a:pt x="630" y="274"/>
                  <a:pt x="630" y="274"/>
                </a:cubicBezTo>
                <a:cubicBezTo>
                  <a:pt x="630" y="273"/>
                  <a:pt x="631" y="273"/>
                  <a:pt x="631" y="273"/>
                </a:cubicBezTo>
                <a:cubicBezTo>
                  <a:pt x="631" y="273"/>
                  <a:pt x="630" y="273"/>
                  <a:pt x="630" y="273"/>
                </a:cubicBezTo>
                <a:cubicBezTo>
                  <a:pt x="630" y="273"/>
                  <a:pt x="630" y="273"/>
                  <a:pt x="630" y="273"/>
                </a:cubicBezTo>
                <a:cubicBezTo>
                  <a:pt x="630" y="273"/>
                  <a:pt x="630" y="273"/>
                  <a:pt x="630" y="273"/>
                </a:cubicBezTo>
                <a:cubicBezTo>
                  <a:pt x="630" y="273"/>
                  <a:pt x="630" y="273"/>
                  <a:pt x="630" y="273"/>
                </a:cubicBezTo>
                <a:cubicBezTo>
                  <a:pt x="630" y="273"/>
                  <a:pt x="630" y="273"/>
                  <a:pt x="630" y="273"/>
                </a:cubicBezTo>
                <a:close/>
                <a:moveTo>
                  <a:pt x="585" y="162"/>
                </a:moveTo>
                <a:cubicBezTo>
                  <a:pt x="585" y="162"/>
                  <a:pt x="585" y="162"/>
                  <a:pt x="586" y="162"/>
                </a:cubicBezTo>
                <a:cubicBezTo>
                  <a:pt x="586" y="162"/>
                  <a:pt x="586" y="162"/>
                  <a:pt x="586" y="162"/>
                </a:cubicBezTo>
                <a:cubicBezTo>
                  <a:pt x="586" y="162"/>
                  <a:pt x="586" y="162"/>
                  <a:pt x="586" y="162"/>
                </a:cubicBezTo>
                <a:cubicBezTo>
                  <a:pt x="585" y="162"/>
                  <a:pt x="585" y="162"/>
                  <a:pt x="585" y="162"/>
                </a:cubicBezTo>
                <a:close/>
                <a:moveTo>
                  <a:pt x="589" y="154"/>
                </a:moveTo>
                <a:cubicBezTo>
                  <a:pt x="589" y="154"/>
                  <a:pt x="589" y="154"/>
                  <a:pt x="589" y="154"/>
                </a:cubicBezTo>
                <a:cubicBezTo>
                  <a:pt x="589" y="154"/>
                  <a:pt x="590" y="154"/>
                  <a:pt x="590" y="154"/>
                </a:cubicBezTo>
                <a:cubicBezTo>
                  <a:pt x="590" y="153"/>
                  <a:pt x="590" y="153"/>
                  <a:pt x="590" y="153"/>
                </a:cubicBezTo>
                <a:cubicBezTo>
                  <a:pt x="590" y="153"/>
                  <a:pt x="590" y="153"/>
                  <a:pt x="589" y="153"/>
                </a:cubicBezTo>
                <a:cubicBezTo>
                  <a:pt x="589" y="153"/>
                  <a:pt x="589" y="153"/>
                  <a:pt x="589" y="154"/>
                </a:cubicBezTo>
                <a:close/>
                <a:moveTo>
                  <a:pt x="576" y="76"/>
                </a:moveTo>
                <a:cubicBezTo>
                  <a:pt x="576" y="76"/>
                  <a:pt x="575" y="76"/>
                  <a:pt x="575" y="77"/>
                </a:cubicBezTo>
                <a:cubicBezTo>
                  <a:pt x="575" y="77"/>
                  <a:pt x="576" y="77"/>
                  <a:pt x="576" y="77"/>
                </a:cubicBezTo>
                <a:cubicBezTo>
                  <a:pt x="576" y="77"/>
                  <a:pt x="576" y="77"/>
                  <a:pt x="577" y="77"/>
                </a:cubicBezTo>
                <a:cubicBezTo>
                  <a:pt x="577" y="77"/>
                  <a:pt x="576" y="76"/>
                  <a:pt x="576" y="76"/>
                </a:cubicBezTo>
                <a:close/>
                <a:moveTo>
                  <a:pt x="591" y="164"/>
                </a:moveTo>
                <a:cubicBezTo>
                  <a:pt x="591" y="164"/>
                  <a:pt x="590" y="164"/>
                  <a:pt x="590" y="164"/>
                </a:cubicBezTo>
                <a:cubicBezTo>
                  <a:pt x="591" y="164"/>
                  <a:pt x="591" y="164"/>
                  <a:pt x="591" y="164"/>
                </a:cubicBezTo>
                <a:cubicBezTo>
                  <a:pt x="591" y="164"/>
                  <a:pt x="592" y="164"/>
                  <a:pt x="592" y="164"/>
                </a:cubicBezTo>
                <a:cubicBezTo>
                  <a:pt x="592" y="164"/>
                  <a:pt x="592" y="164"/>
                  <a:pt x="591" y="164"/>
                </a:cubicBezTo>
                <a:cubicBezTo>
                  <a:pt x="591" y="164"/>
                  <a:pt x="591" y="164"/>
                  <a:pt x="591" y="164"/>
                </a:cubicBezTo>
                <a:close/>
                <a:moveTo>
                  <a:pt x="587" y="153"/>
                </a:moveTo>
                <a:cubicBezTo>
                  <a:pt x="587" y="153"/>
                  <a:pt x="587" y="154"/>
                  <a:pt x="587" y="154"/>
                </a:cubicBezTo>
                <a:cubicBezTo>
                  <a:pt x="587" y="154"/>
                  <a:pt x="587" y="154"/>
                  <a:pt x="587" y="154"/>
                </a:cubicBezTo>
                <a:cubicBezTo>
                  <a:pt x="587" y="154"/>
                  <a:pt x="588" y="154"/>
                  <a:pt x="588" y="154"/>
                </a:cubicBezTo>
                <a:cubicBezTo>
                  <a:pt x="588" y="153"/>
                  <a:pt x="588" y="153"/>
                  <a:pt x="589" y="153"/>
                </a:cubicBezTo>
                <a:cubicBezTo>
                  <a:pt x="588" y="153"/>
                  <a:pt x="588" y="153"/>
                  <a:pt x="588" y="153"/>
                </a:cubicBezTo>
                <a:cubicBezTo>
                  <a:pt x="588" y="153"/>
                  <a:pt x="588" y="153"/>
                  <a:pt x="588" y="153"/>
                </a:cubicBezTo>
                <a:cubicBezTo>
                  <a:pt x="587" y="153"/>
                  <a:pt x="587" y="153"/>
                  <a:pt x="587" y="153"/>
                </a:cubicBezTo>
                <a:close/>
                <a:moveTo>
                  <a:pt x="545" y="82"/>
                </a:moveTo>
                <a:cubicBezTo>
                  <a:pt x="545" y="82"/>
                  <a:pt x="545" y="82"/>
                  <a:pt x="545" y="82"/>
                </a:cubicBezTo>
                <a:cubicBezTo>
                  <a:pt x="545" y="81"/>
                  <a:pt x="545" y="81"/>
                  <a:pt x="545" y="81"/>
                </a:cubicBezTo>
                <a:cubicBezTo>
                  <a:pt x="545" y="81"/>
                  <a:pt x="544" y="81"/>
                  <a:pt x="544" y="81"/>
                </a:cubicBezTo>
                <a:cubicBezTo>
                  <a:pt x="544" y="81"/>
                  <a:pt x="544" y="81"/>
                  <a:pt x="544" y="81"/>
                </a:cubicBezTo>
                <a:cubicBezTo>
                  <a:pt x="544" y="81"/>
                  <a:pt x="544" y="81"/>
                  <a:pt x="544" y="81"/>
                </a:cubicBezTo>
                <a:cubicBezTo>
                  <a:pt x="544" y="82"/>
                  <a:pt x="544" y="82"/>
                  <a:pt x="544" y="82"/>
                </a:cubicBezTo>
                <a:cubicBezTo>
                  <a:pt x="544" y="82"/>
                  <a:pt x="545" y="82"/>
                  <a:pt x="545" y="82"/>
                </a:cubicBezTo>
                <a:close/>
                <a:moveTo>
                  <a:pt x="478" y="82"/>
                </a:moveTo>
                <a:cubicBezTo>
                  <a:pt x="478" y="81"/>
                  <a:pt x="478" y="81"/>
                  <a:pt x="478" y="81"/>
                </a:cubicBezTo>
                <a:cubicBezTo>
                  <a:pt x="478" y="80"/>
                  <a:pt x="478" y="80"/>
                  <a:pt x="478" y="80"/>
                </a:cubicBezTo>
                <a:cubicBezTo>
                  <a:pt x="477" y="80"/>
                  <a:pt x="477" y="79"/>
                  <a:pt x="476" y="79"/>
                </a:cubicBezTo>
                <a:cubicBezTo>
                  <a:pt x="475" y="79"/>
                  <a:pt x="475" y="79"/>
                  <a:pt x="474" y="79"/>
                </a:cubicBezTo>
                <a:cubicBezTo>
                  <a:pt x="473" y="79"/>
                  <a:pt x="473" y="80"/>
                  <a:pt x="472" y="80"/>
                </a:cubicBezTo>
                <a:cubicBezTo>
                  <a:pt x="472" y="80"/>
                  <a:pt x="472" y="80"/>
                  <a:pt x="472" y="81"/>
                </a:cubicBezTo>
                <a:cubicBezTo>
                  <a:pt x="472" y="81"/>
                  <a:pt x="472" y="81"/>
                  <a:pt x="472" y="82"/>
                </a:cubicBezTo>
                <a:cubicBezTo>
                  <a:pt x="472" y="82"/>
                  <a:pt x="473" y="82"/>
                  <a:pt x="473" y="82"/>
                </a:cubicBezTo>
                <a:cubicBezTo>
                  <a:pt x="474" y="82"/>
                  <a:pt x="474" y="82"/>
                  <a:pt x="474" y="83"/>
                </a:cubicBezTo>
                <a:cubicBezTo>
                  <a:pt x="475" y="83"/>
                  <a:pt x="475" y="83"/>
                  <a:pt x="475" y="82"/>
                </a:cubicBezTo>
                <a:cubicBezTo>
                  <a:pt x="476" y="82"/>
                  <a:pt x="476" y="82"/>
                  <a:pt x="476" y="82"/>
                </a:cubicBezTo>
                <a:cubicBezTo>
                  <a:pt x="477" y="82"/>
                  <a:pt x="477" y="82"/>
                  <a:pt x="478" y="82"/>
                </a:cubicBezTo>
                <a:cubicBezTo>
                  <a:pt x="478" y="82"/>
                  <a:pt x="478" y="82"/>
                  <a:pt x="478" y="82"/>
                </a:cubicBezTo>
                <a:close/>
                <a:moveTo>
                  <a:pt x="461" y="106"/>
                </a:moveTo>
                <a:cubicBezTo>
                  <a:pt x="461" y="105"/>
                  <a:pt x="461" y="105"/>
                  <a:pt x="461" y="105"/>
                </a:cubicBezTo>
                <a:cubicBezTo>
                  <a:pt x="460" y="105"/>
                  <a:pt x="460" y="105"/>
                  <a:pt x="460" y="105"/>
                </a:cubicBezTo>
                <a:cubicBezTo>
                  <a:pt x="460" y="105"/>
                  <a:pt x="460" y="104"/>
                  <a:pt x="460" y="104"/>
                </a:cubicBezTo>
                <a:cubicBezTo>
                  <a:pt x="460" y="104"/>
                  <a:pt x="459" y="104"/>
                  <a:pt x="459" y="104"/>
                </a:cubicBezTo>
                <a:cubicBezTo>
                  <a:pt x="459" y="105"/>
                  <a:pt x="458" y="105"/>
                  <a:pt x="458" y="105"/>
                </a:cubicBezTo>
                <a:cubicBezTo>
                  <a:pt x="458" y="105"/>
                  <a:pt x="458" y="105"/>
                  <a:pt x="458" y="105"/>
                </a:cubicBezTo>
                <a:cubicBezTo>
                  <a:pt x="457" y="105"/>
                  <a:pt x="457" y="106"/>
                  <a:pt x="457" y="106"/>
                </a:cubicBezTo>
                <a:cubicBezTo>
                  <a:pt x="457" y="106"/>
                  <a:pt x="458" y="106"/>
                  <a:pt x="458" y="106"/>
                </a:cubicBezTo>
                <a:cubicBezTo>
                  <a:pt x="458" y="106"/>
                  <a:pt x="457" y="106"/>
                  <a:pt x="457" y="106"/>
                </a:cubicBezTo>
                <a:cubicBezTo>
                  <a:pt x="457" y="106"/>
                  <a:pt x="457" y="106"/>
                  <a:pt x="456" y="106"/>
                </a:cubicBezTo>
                <a:cubicBezTo>
                  <a:pt x="456" y="106"/>
                  <a:pt x="456" y="107"/>
                  <a:pt x="456" y="107"/>
                </a:cubicBezTo>
                <a:cubicBezTo>
                  <a:pt x="456" y="107"/>
                  <a:pt x="455" y="107"/>
                  <a:pt x="455" y="107"/>
                </a:cubicBezTo>
                <a:cubicBezTo>
                  <a:pt x="455" y="107"/>
                  <a:pt x="455" y="108"/>
                  <a:pt x="455" y="108"/>
                </a:cubicBezTo>
                <a:cubicBezTo>
                  <a:pt x="455" y="108"/>
                  <a:pt x="456" y="108"/>
                  <a:pt x="456" y="108"/>
                </a:cubicBezTo>
                <a:cubicBezTo>
                  <a:pt x="456" y="108"/>
                  <a:pt x="456" y="108"/>
                  <a:pt x="456" y="108"/>
                </a:cubicBezTo>
                <a:cubicBezTo>
                  <a:pt x="457" y="108"/>
                  <a:pt x="457" y="108"/>
                  <a:pt x="457" y="108"/>
                </a:cubicBezTo>
                <a:cubicBezTo>
                  <a:pt x="457" y="108"/>
                  <a:pt x="457" y="107"/>
                  <a:pt x="457" y="107"/>
                </a:cubicBezTo>
                <a:cubicBezTo>
                  <a:pt x="458" y="107"/>
                  <a:pt x="458" y="107"/>
                  <a:pt x="459" y="107"/>
                </a:cubicBezTo>
                <a:cubicBezTo>
                  <a:pt x="459" y="107"/>
                  <a:pt x="459" y="107"/>
                  <a:pt x="459" y="107"/>
                </a:cubicBezTo>
                <a:cubicBezTo>
                  <a:pt x="460" y="107"/>
                  <a:pt x="460" y="107"/>
                  <a:pt x="460" y="107"/>
                </a:cubicBezTo>
                <a:cubicBezTo>
                  <a:pt x="461" y="107"/>
                  <a:pt x="461" y="107"/>
                  <a:pt x="461" y="107"/>
                </a:cubicBezTo>
                <a:cubicBezTo>
                  <a:pt x="462" y="107"/>
                  <a:pt x="462" y="107"/>
                  <a:pt x="463" y="106"/>
                </a:cubicBezTo>
                <a:cubicBezTo>
                  <a:pt x="463" y="106"/>
                  <a:pt x="464" y="106"/>
                  <a:pt x="464" y="106"/>
                </a:cubicBezTo>
                <a:cubicBezTo>
                  <a:pt x="464" y="106"/>
                  <a:pt x="465" y="106"/>
                  <a:pt x="465" y="106"/>
                </a:cubicBezTo>
                <a:cubicBezTo>
                  <a:pt x="467" y="106"/>
                  <a:pt x="468" y="106"/>
                  <a:pt x="470" y="106"/>
                </a:cubicBezTo>
                <a:cubicBezTo>
                  <a:pt x="470" y="106"/>
                  <a:pt x="471" y="106"/>
                  <a:pt x="471" y="106"/>
                </a:cubicBezTo>
                <a:cubicBezTo>
                  <a:pt x="471" y="106"/>
                  <a:pt x="470" y="106"/>
                  <a:pt x="470" y="106"/>
                </a:cubicBezTo>
                <a:cubicBezTo>
                  <a:pt x="470" y="106"/>
                  <a:pt x="469" y="106"/>
                  <a:pt x="469" y="106"/>
                </a:cubicBezTo>
                <a:cubicBezTo>
                  <a:pt x="468" y="107"/>
                  <a:pt x="468" y="107"/>
                  <a:pt x="467" y="107"/>
                </a:cubicBezTo>
                <a:cubicBezTo>
                  <a:pt x="467" y="107"/>
                  <a:pt x="467" y="107"/>
                  <a:pt x="466" y="107"/>
                </a:cubicBezTo>
                <a:cubicBezTo>
                  <a:pt x="466" y="108"/>
                  <a:pt x="465" y="108"/>
                  <a:pt x="464" y="108"/>
                </a:cubicBezTo>
                <a:cubicBezTo>
                  <a:pt x="464" y="108"/>
                  <a:pt x="464" y="108"/>
                  <a:pt x="464" y="108"/>
                </a:cubicBezTo>
                <a:cubicBezTo>
                  <a:pt x="464" y="108"/>
                  <a:pt x="465" y="108"/>
                  <a:pt x="465" y="108"/>
                </a:cubicBezTo>
                <a:cubicBezTo>
                  <a:pt x="465" y="108"/>
                  <a:pt x="465" y="108"/>
                  <a:pt x="466" y="108"/>
                </a:cubicBezTo>
                <a:cubicBezTo>
                  <a:pt x="465" y="108"/>
                  <a:pt x="465" y="108"/>
                  <a:pt x="465" y="109"/>
                </a:cubicBezTo>
                <a:cubicBezTo>
                  <a:pt x="464" y="109"/>
                  <a:pt x="464" y="109"/>
                  <a:pt x="463" y="109"/>
                </a:cubicBezTo>
                <a:cubicBezTo>
                  <a:pt x="463" y="109"/>
                  <a:pt x="463" y="109"/>
                  <a:pt x="462" y="109"/>
                </a:cubicBezTo>
                <a:cubicBezTo>
                  <a:pt x="462" y="109"/>
                  <a:pt x="462" y="109"/>
                  <a:pt x="462" y="109"/>
                </a:cubicBezTo>
                <a:cubicBezTo>
                  <a:pt x="462" y="109"/>
                  <a:pt x="462" y="109"/>
                  <a:pt x="462" y="110"/>
                </a:cubicBezTo>
                <a:cubicBezTo>
                  <a:pt x="462" y="110"/>
                  <a:pt x="462" y="110"/>
                  <a:pt x="462" y="110"/>
                </a:cubicBezTo>
                <a:cubicBezTo>
                  <a:pt x="461" y="110"/>
                  <a:pt x="461" y="110"/>
                  <a:pt x="461" y="110"/>
                </a:cubicBezTo>
                <a:cubicBezTo>
                  <a:pt x="461" y="110"/>
                  <a:pt x="461" y="110"/>
                  <a:pt x="460" y="110"/>
                </a:cubicBezTo>
                <a:cubicBezTo>
                  <a:pt x="461" y="110"/>
                  <a:pt x="461" y="110"/>
                  <a:pt x="461" y="110"/>
                </a:cubicBezTo>
                <a:cubicBezTo>
                  <a:pt x="461" y="110"/>
                  <a:pt x="461" y="110"/>
                  <a:pt x="461" y="110"/>
                </a:cubicBezTo>
                <a:cubicBezTo>
                  <a:pt x="461" y="110"/>
                  <a:pt x="461" y="110"/>
                  <a:pt x="461" y="111"/>
                </a:cubicBezTo>
                <a:cubicBezTo>
                  <a:pt x="462" y="111"/>
                  <a:pt x="462" y="111"/>
                  <a:pt x="462" y="110"/>
                </a:cubicBezTo>
                <a:cubicBezTo>
                  <a:pt x="462" y="111"/>
                  <a:pt x="462" y="111"/>
                  <a:pt x="462" y="111"/>
                </a:cubicBezTo>
                <a:cubicBezTo>
                  <a:pt x="462" y="111"/>
                  <a:pt x="463" y="111"/>
                  <a:pt x="463" y="111"/>
                </a:cubicBezTo>
                <a:cubicBezTo>
                  <a:pt x="463" y="111"/>
                  <a:pt x="463" y="111"/>
                  <a:pt x="462" y="112"/>
                </a:cubicBezTo>
                <a:cubicBezTo>
                  <a:pt x="462" y="111"/>
                  <a:pt x="462" y="111"/>
                  <a:pt x="462" y="111"/>
                </a:cubicBezTo>
                <a:cubicBezTo>
                  <a:pt x="462" y="111"/>
                  <a:pt x="461" y="111"/>
                  <a:pt x="461" y="111"/>
                </a:cubicBezTo>
                <a:cubicBezTo>
                  <a:pt x="461" y="111"/>
                  <a:pt x="461" y="112"/>
                  <a:pt x="461" y="112"/>
                </a:cubicBezTo>
                <a:cubicBezTo>
                  <a:pt x="461" y="112"/>
                  <a:pt x="461" y="112"/>
                  <a:pt x="461" y="112"/>
                </a:cubicBezTo>
                <a:cubicBezTo>
                  <a:pt x="461" y="112"/>
                  <a:pt x="461" y="113"/>
                  <a:pt x="461" y="113"/>
                </a:cubicBezTo>
                <a:cubicBezTo>
                  <a:pt x="461" y="113"/>
                  <a:pt x="461" y="113"/>
                  <a:pt x="461" y="113"/>
                </a:cubicBezTo>
                <a:cubicBezTo>
                  <a:pt x="461" y="113"/>
                  <a:pt x="462" y="114"/>
                  <a:pt x="462" y="114"/>
                </a:cubicBezTo>
                <a:cubicBezTo>
                  <a:pt x="462" y="114"/>
                  <a:pt x="463" y="113"/>
                  <a:pt x="463" y="113"/>
                </a:cubicBezTo>
                <a:cubicBezTo>
                  <a:pt x="463" y="113"/>
                  <a:pt x="463" y="113"/>
                  <a:pt x="464" y="114"/>
                </a:cubicBezTo>
                <a:cubicBezTo>
                  <a:pt x="464" y="113"/>
                  <a:pt x="464" y="113"/>
                  <a:pt x="464" y="113"/>
                </a:cubicBezTo>
                <a:cubicBezTo>
                  <a:pt x="464" y="113"/>
                  <a:pt x="464" y="113"/>
                  <a:pt x="464" y="113"/>
                </a:cubicBezTo>
                <a:cubicBezTo>
                  <a:pt x="465" y="113"/>
                  <a:pt x="465" y="112"/>
                  <a:pt x="466" y="112"/>
                </a:cubicBezTo>
                <a:cubicBezTo>
                  <a:pt x="466" y="112"/>
                  <a:pt x="465" y="113"/>
                  <a:pt x="465" y="113"/>
                </a:cubicBezTo>
                <a:cubicBezTo>
                  <a:pt x="465" y="113"/>
                  <a:pt x="465" y="113"/>
                  <a:pt x="465" y="113"/>
                </a:cubicBezTo>
                <a:cubicBezTo>
                  <a:pt x="466" y="113"/>
                  <a:pt x="466" y="113"/>
                  <a:pt x="466" y="113"/>
                </a:cubicBezTo>
                <a:cubicBezTo>
                  <a:pt x="466" y="113"/>
                  <a:pt x="467" y="113"/>
                  <a:pt x="467" y="112"/>
                </a:cubicBezTo>
                <a:cubicBezTo>
                  <a:pt x="467" y="112"/>
                  <a:pt x="467" y="113"/>
                  <a:pt x="467" y="113"/>
                </a:cubicBezTo>
                <a:cubicBezTo>
                  <a:pt x="468" y="113"/>
                  <a:pt x="468" y="113"/>
                  <a:pt x="468" y="113"/>
                </a:cubicBezTo>
                <a:cubicBezTo>
                  <a:pt x="469" y="113"/>
                  <a:pt x="470" y="113"/>
                  <a:pt x="471" y="113"/>
                </a:cubicBezTo>
                <a:cubicBezTo>
                  <a:pt x="471" y="112"/>
                  <a:pt x="471" y="112"/>
                  <a:pt x="472" y="112"/>
                </a:cubicBezTo>
                <a:cubicBezTo>
                  <a:pt x="471" y="112"/>
                  <a:pt x="471" y="111"/>
                  <a:pt x="471" y="111"/>
                </a:cubicBezTo>
                <a:cubicBezTo>
                  <a:pt x="471" y="111"/>
                  <a:pt x="471" y="111"/>
                  <a:pt x="471" y="111"/>
                </a:cubicBezTo>
                <a:cubicBezTo>
                  <a:pt x="471" y="111"/>
                  <a:pt x="471" y="110"/>
                  <a:pt x="471" y="110"/>
                </a:cubicBezTo>
                <a:cubicBezTo>
                  <a:pt x="472" y="110"/>
                  <a:pt x="472" y="110"/>
                  <a:pt x="472" y="111"/>
                </a:cubicBezTo>
                <a:cubicBezTo>
                  <a:pt x="472" y="111"/>
                  <a:pt x="472" y="111"/>
                  <a:pt x="472" y="111"/>
                </a:cubicBezTo>
                <a:cubicBezTo>
                  <a:pt x="472" y="111"/>
                  <a:pt x="473" y="112"/>
                  <a:pt x="473" y="112"/>
                </a:cubicBezTo>
                <a:cubicBezTo>
                  <a:pt x="473" y="112"/>
                  <a:pt x="473" y="112"/>
                  <a:pt x="473" y="111"/>
                </a:cubicBezTo>
                <a:cubicBezTo>
                  <a:pt x="473" y="111"/>
                  <a:pt x="473" y="111"/>
                  <a:pt x="473" y="111"/>
                </a:cubicBezTo>
                <a:cubicBezTo>
                  <a:pt x="473" y="111"/>
                  <a:pt x="473" y="111"/>
                  <a:pt x="473" y="110"/>
                </a:cubicBezTo>
                <a:cubicBezTo>
                  <a:pt x="473" y="110"/>
                  <a:pt x="473" y="110"/>
                  <a:pt x="473" y="110"/>
                </a:cubicBezTo>
                <a:cubicBezTo>
                  <a:pt x="473" y="110"/>
                  <a:pt x="474" y="110"/>
                  <a:pt x="474" y="109"/>
                </a:cubicBezTo>
                <a:cubicBezTo>
                  <a:pt x="473" y="110"/>
                  <a:pt x="473" y="110"/>
                  <a:pt x="473" y="110"/>
                </a:cubicBezTo>
                <a:cubicBezTo>
                  <a:pt x="472" y="110"/>
                  <a:pt x="472" y="110"/>
                  <a:pt x="472" y="110"/>
                </a:cubicBezTo>
                <a:cubicBezTo>
                  <a:pt x="472" y="110"/>
                  <a:pt x="472" y="109"/>
                  <a:pt x="472" y="109"/>
                </a:cubicBezTo>
                <a:cubicBezTo>
                  <a:pt x="472" y="109"/>
                  <a:pt x="473" y="109"/>
                  <a:pt x="473" y="109"/>
                </a:cubicBezTo>
                <a:cubicBezTo>
                  <a:pt x="473" y="108"/>
                  <a:pt x="474" y="108"/>
                  <a:pt x="474" y="108"/>
                </a:cubicBezTo>
                <a:cubicBezTo>
                  <a:pt x="474" y="108"/>
                  <a:pt x="474" y="108"/>
                  <a:pt x="474" y="108"/>
                </a:cubicBezTo>
                <a:cubicBezTo>
                  <a:pt x="474" y="107"/>
                  <a:pt x="474" y="107"/>
                  <a:pt x="474" y="107"/>
                </a:cubicBezTo>
                <a:cubicBezTo>
                  <a:pt x="474" y="107"/>
                  <a:pt x="475" y="107"/>
                  <a:pt x="475" y="107"/>
                </a:cubicBezTo>
                <a:cubicBezTo>
                  <a:pt x="475" y="107"/>
                  <a:pt x="475" y="107"/>
                  <a:pt x="476" y="107"/>
                </a:cubicBezTo>
                <a:cubicBezTo>
                  <a:pt x="476" y="107"/>
                  <a:pt x="476" y="107"/>
                  <a:pt x="476" y="107"/>
                </a:cubicBezTo>
                <a:cubicBezTo>
                  <a:pt x="476" y="107"/>
                  <a:pt x="476" y="108"/>
                  <a:pt x="476" y="108"/>
                </a:cubicBezTo>
                <a:cubicBezTo>
                  <a:pt x="476" y="108"/>
                  <a:pt x="476" y="107"/>
                  <a:pt x="476" y="107"/>
                </a:cubicBezTo>
                <a:cubicBezTo>
                  <a:pt x="477" y="107"/>
                  <a:pt x="477" y="106"/>
                  <a:pt x="477" y="106"/>
                </a:cubicBezTo>
                <a:cubicBezTo>
                  <a:pt x="477" y="106"/>
                  <a:pt x="477" y="105"/>
                  <a:pt x="477" y="105"/>
                </a:cubicBezTo>
                <a:cubicBezTo>
                  <a:pt x="477" y="105"/>
                  <a:pt x="476" y="105"/>
                  <a:pt x="476" y="105"/>
                </a:cubicBezTo>
                <a:cubicBezTo>
                  <a:pt x="476" y="105"/>
                  <a:pt x="476" y="105"/>
                  <a:pt x="476" y="105"/>
                </a:cubicBezTo>
                <a:cubicBezTo>
                  <a:pt x="476" y="105"/>
                  <a:pt x="476" y="105"/>
                  <a:pt x="476" y="104"/>
                </a:cubicBezTo>
                <a:cubicBezTo>
                  <a:pt x="476" y="104"/>
                  <a:pt x="477" y="104"/>
                  <a:pt x="477" y="104"/>
                </a:cubicBezTo>
                <a:cubicBezTo>
                  <a:pt x="477" y="104"/>
                  <a:pt x="477" y="104"/>
                  <a:pt x="478" y="104"/>
                </a:cubicBezTo>
                <a:cubicBezTo>
                  <a:pt x="478" y="104"/>
                  <a:pt x="478" y="104"/>
                  <a:pt x="478" y="103"/>
                </a:cubicBezTo>
                <a:cubicBezTo>
                  <a:pt x="478" y="103"/>
                  <a:pt x="478" y="103"/>
                  <a:pt x="478" y="103"/>
                </a:cubicBezTo>
                <a:cubicBezTo>
                  <a:pt x="478" y="103"/>
                  <a:pt x="479" y="102"/>
                  <a:pt x="479" y="102"/>
                </a:cubicBezTo>
                <a:cubicBezTo>
                  <a:pt x="479" y="102"/>
                  <a:pt x="479" y="102"/>
                  <a:pt x="479" y="102"/>
                </a:cubicBezTo>
                <a:cubicBezTo>
                  <a:pt x="479" y="101"/>
                  <a:pt x="480" y="101"/>
                  <a:pt x="480" y="100"/>
                </a:cubicBezTo>
                <a:cubicBezTo>
                  <a:pt x="481" y="100"/>
                  <a:pt x="481" y="100"/>
                  <a:pt x="481" y="100"/>
                </a:cubicBezTo>
                <a:cubicBezTo>
                  <a:pt x="481" y="100"/>
                  <a:pt x="481" y="99"/>
                  <a:pt x="481" y="99"/>
                </a:cubicBezTo>
                <a:cubicBezTo>
                  <a:pt x="481" y="99"/>
                  <a:pt x="481" y="99"/>
                  <a:pt x="481" y="98"/>
                </a:cubicBezTo>
                <a:cubicBezTo>
                  <a:pt x="481" y="98"/>
                  <a:pt x="482" y="98"/>
                  <a:pt x="482" y="97"/>
                </a:cubicBezTo>
                <a:cubicBezTo>
                  <a:pt x="482" y="97"/>
                  <a:pt x="482" y="97"/>
                  <a:pt x="483" y="96"/>
                </a:cubicBezTo>
                <a:cubicBezTo>
                  <a:pt x="483" y="96"/>
                  <a:pt x="483" y="96"/>
                  <a:pt x="483" y="96"/>
                </a:cubicBezTo>
                <a:cubicBezTo>
                  <a:pt x="483" y="96"/>
                  <a:pt x="482" y="95"/>
                  <a:pt x="482" y="95"/>
                </a:cubicBezTo>
                <a:cubicBezTo>
                  <a:pt x="482" y="95"/>
                  <a:pt x="482" y="95"/>
                  <a:pt x="481" y="95"/>
                </a:cubicBezTo>
                <a:cubicBezTo>
                  <a:pt x="481" y="95"/>
                  <a:pt x="481" y="95"/>
                  <a:pt x="480" y="95"/>
                </a:cubicBezTo>
                <a:cubicBezTo>
                  <a:pt x="481" y="95"/>
                  <a:pt x="481" y="95"/>
                  <a:pt x="481" y="95"/>
                </a:cubicBezTo>
                <a:cubicBezTo>
                  <a:pt x="481" y="94"/>
                  <a:pt x="481" y="94"/>
                  <a:pt x="481" y="94"/>
                </a:cubicBezTo>
                <a:cubicBezTo>
                  <a:pt x="481" y="94"/>
                  <a:pt x="481" y="94"/>
                  <a:pt x="481" y="94"/>
                </a:cubicBezTo>
                <a:cubicBezTo>
                  <a:pt x="481" y="94"/>
                  <a:pt x="481" y="94"/>
                  <a:pt x="481" y="93"/>
                </a:cubicBezTo>
                <a:cubicBezTo>
                  <a:pt x="481" y="93"/>
                  <a:pt x="481" y="93"/>
                  <a:pt x="480" y="93"/>
                </a:cubicBezTo>
                <a:cubicBezTo>
                  <a:pt x="480" y="93"/>
                  <a:pt x="480" y="93"/>
                  <a:pt x="480" y="93"/>
                </a:cubicBezTo>
                <a:cubicBezTo>
                  <a:pt x="480" y="93"/>
                  <a:pt x="480" y="93"/>
                  <a:pt x="480" y="93"/>
                </a:cubicBezTo>
                <a:cubicBezTo>
                  <a:pt x="480" y="94"/>
                  <a:pt x="480" y="94"/>
                  <a:pt x="480" y="94"/>
                </a:cubicBezTo>
                <a:cubicBezTo>
                  <a:pt x="480" y="94"/>
                  <a:pt x="480" y="94"/>
                  <a:pt x="479" y="94"/>
                </a:cubicBezTo>
                <a:cubicBezTo>
                  <a:pt x="479" y="94"/>
                  <a:pt x="479" y="94"/>
                  <a:pt x="478" y="94"/>
                </a:cubicBezTo>
                <a:cubicBezTo>
                  <a:pt x="478" y="94"/>
                  <a:pt x="478" y="95"/>
                  <a:pt x="478" y="95"/>
                </a:cubicBezTo>
                <a:cubicBezTo>
                  <a:pt x="478" y="95"/>
                  <a:pt x="478" y="95"/>
                  <a:pt x="478" y="96"/>
                </a:cubicBezTo>
                <a:cubicBezTo>
                  <a:pt x="478" y="96"/>
                  <a:pt x="477" y="96"/>
                  <a:pt x="477" y="96"/>
                </a:cubicBezTo>
                <a:cubicBezTo>
                  <a:pt x="477" y="96"/>
                  <a:pt x="477" y="96"/>
                  <a:pt x="477" y="96"/>
                </a:cubicBezTo>
                <a:cubicBezTo>
                  <a:pt x="477" y="97"/>
                  <a:pt x="476" y="97"/>
                  <a:pt x="476" y="97"/>
                </a:cubicBezTo>
                <a:cubicBezTo>
                  <a:pt x="476" y="97"/>
                  <a:pt x="476" y="97"/>
                  <a:pt x="476" y="97"/>
                </a:cubicBezTo>
                <a:cubicBezTo>
                  <a:pt x="476" y="97"/>
                  <a:pt x="476" y="97"/>
                  <a:pt x="475" y="97"/>
                </a:cubicBezTo>
                <a:cubicBezTo>
                  <a:pt x="476" y="96"/>
                  <a:pt x="476" y="96"/>
                  <a:pt x="476" y="96"/>
                </a:cubicBezTo>
                <a:cubicBezTo>
                  <a:pt x="476" y="95"/>
                  <a:pt x="476" y="95"/>
                  <a:pt x="476" y="94"/>
                </a:cubicBezTo>
                <a:cubicBezTo>
                  <a:pt x="476" y="94"/>
                  <a:pt x="476" y="94"/>
                  <a:pt x="475" y="94"/>
                </a:cubicBezTo>
                <a:cubicBezTo>
                  <a:pt x="475" y="94"/>
                  <a:pt x="475" y="94"/>
                  <a:pt x="475" y="94"/>
                </a:cubicBezTo>
                <a:cubicBezTo>
                  <a:pt x="474" y="94"/>
                  <a:pt x="474" y="94"/>
                  <a:pt x="474" y="94"/>
                </a:cubicBezTo>
                <a:cubicBezTo>
                  <a:pt x="474" y="94"/>
                  <a:pt x="473" y="94"/>
                  <a:pt x="473" y="94"/>
                </a:cubicBezTo>
                <a:cubicBezTo>
                  <a:pt x="473" y="94"/>
                  <a:pt x="473" y="94"/>
                  <a:pt x="472" y="94"/>
                </a:cubicBezTo>
                <a:cubicBezTo>
                  <a:pt x="472" y="94"/>
                  <a:pt x="471" y="95"/>
                  <a:pt x="471" y="95"/>
                </a:cubicBezTo>
                <a:cubicBezTo>
                  <a:pt x="471" y="95"/>
                  <a:pt x="471" y="95"/>
                  <a:pt x="470" y="95"/>
                </a:cubicBezTo>
                <a:cubicBezTo>
                  <a:pt x="470" y="95"/>
                  <a:pt x="470" y="95"/>
                  <a:pt x="470" y="95"/>
                </a:cubicBezTo>
                <a:cubicBezTo>
                  <a:pt x="470" y="96"/>
                  <a:pt x="469" y="96"/>
                  <a:pt x="469" y="96"/>
                </a:cubicBezTo>
                <a:cubicBezTo>
                  <a:pt x="469" y="96"/>
                  <a:pt x="468" y="96"/>
                  <a:pt x="468" y="96"/>
                </a:cubicBezTo>
                <a:cubicBezTo>
                  <a:pt x="468" y="97"/>
                  <a:pt x="468" y="97"/>
                  <a:pt x="468" y="97"/>
                </a:cubicBezTo>
                <a:cubicBezTo>
                  <a:pt x="468" y="97"/>
                  <a:pt x="468" y="97"/>
                  <a:pt x="468" y="98"/>
                </a:cubicBezTo>
                <a:cubicBezTo>
                  <a:pt x="468" y="98"/>
                  <a:pt x="469" y="98"/>
                  <a:pt x="469" y="98"/>
                </a:cubicBezTo>
                <a:cubicBezTo>
                  <a:pt x="469" y="99"/>
                  <a:pt x="470" y="99"/>
                  <a:pt x="470" y="99"/>
                </a:cubicBezTo>
                <a:cubicBezTo>
                  <a:pt x="470" y="99"/>
                  <a:pt x="470" y="99"/>
                  <a:pt x="470" y="99"/>
                </a:cubicBezTo>
                <a:cubicBezTo>
                  <a:pt x="470" y="99"/>
                  <a:pt x="470" y="99"/>
                  <a:pt x="469" y="99"/>
                </a:cubicBezTo>
                <a:cubicBezTo>
                  <a:pt x="469" y="99"/>
                  <a:pt x="469" y="99"/>
                  <a:pt x="468" y="99"/>
                </a:cubicBezTo>
                <a:cubicBezTo>
                  <a:pt x="468" y="100"/>
                  <a:pt x="468" y="100"/>
                  <a:pt x="468" y="100"/>
                </a:cubicBezTo>
                <a:cubicBezTo>
                  <a:pt x="469" y="100"/>
                  <a:pt x="469" y="100"/>
                  <a:pt x="470" y="100"/>
                </a:cubicBezTo>
                <a:cubicBezTo>
                  <a:pt x="470" y="100"/>
                  <a:pt x="470" y="100"/>
                  <a:pt x="470" y="101"/>
                </a:cubicBezTo>
                <a:cubicBezTo>
                  <a:pt x="470" y="101"/>
                  <a:pt x="470" y="101"/>
                  <a:pt x="469" y="101"/>
                </a:cubicBezTo>
                <a:cubicBezTo>
                  <a:pt x="469" y="101"/>
                  <a:pt x="469" y="102"/>
                  <a:pt x="469" y="102"/>
                </a:cubicBezTo>
                <a:cubicBezTo>
                  <a:pt x="470" y="102"/>
                  <a:pt x="470" y="102"/>
                  <a:pt x="470" y="103"/>
                </a:cubicBezTo>
                <a:cubicBezTo>
                  <a:pt x="470" y="103"/>
                  <a:pt x="469" y="103"/>
                  <a:pt x="469" y="103"/>
                </a:cubicBezTo>
                <a:cubicBezTo>
                  <a:pt x="469" y="103"/>
                  <a:pt x="468" y="103"/>
                  <a:pt x="468" y="103"/>
                </a:cubicBezTo>
                <a:cubicBezTo>
                  <a:pt x="468" y="103"/>
                  <a:pt x="468" y="103"/>
                  <a:pt x="468" y="103"/>
                </a:cubicBezTo>
                <a:cubicBezTo>
                  <a:pt x="468" y="103"/>
                  <a:pt x="468" y="102"/>
                  <a:pt x="468" y="102"/>
                </a:cubicBezTo>
                <a:cubicBezTo>
                  <a:pt x="467" y="102"/>
                  <a:pt x="467" y="101"/>
                  <a:pt x="467" y="100"/>
                </a:cubicBezTo>
                <a:cubicBezTo>
                  <a:pt x="467" y="100"/>
                  <a:pt x="466" y="100"/>
                  <a:pt x="466" y="100"/>
                </a:cubicBezTo>
                <a:cubicBezTo>
                  <a:pt x="466" y="100"/>
                  <a:pt x="466" y="100"/>
                  <a:pt x="466" y="100"/>
                </a:cubicBezTo>
                <a:cubicBezTo>
                  <a:pt x="466" y="99"/>
                  <a:pt x="466" y="99"/>
                  <a:pt x="466" y="99"/>
                </a:cubicBezTo>
                <a:cubicBezTo>
                  <a:pt x="466" y="99"/>
                  <a:pt x="466" y="99"/>
                  <a:pt x="466" y="99"/>
                </a:cubicBezTo>
                <a:cubicBezTo>
                  <a:pt x="465" y="99"/>
                  <a:pt x="465" y="99"/>
                  <a:pt x="465" y="98"/>
                </a:cubicBezTo>
                <a:cubicBezTo>
                  <a:pt x="465" y="98"/>
                  <a:pt x="465" y="98"/>
                  <a:pt x="465" y="98"/>
                </a:cubicBezTo>
                <a:cubicBezTo>
                  <a:pt x="464" y="98"/>
                  <a:pt x="464" y="98"/>
                  <a:pt x="464" y="98"/>
                </a:cubicBezTo>
                <a:cubicBezTo>
                  <a:pt x="464" y="98"/>
                  <a:pt x="463" y="98"/>
                  <a:pt x="463" y="98"/>
                </a:cubicBezTo>
                <a:cubicBezTo>
                  <a:pt x="463" y="98"/>
                  <a:pt x="463" y="99"/>
                  <a:pt x="463" y="99"/>
                </a:cubicBezTo>
                <a:cubicBezTo>
                  <a:pt x="462" y="99"/>
                  <a:pt x="462" y="99"/>
                  <a:pt x="462" y="100"/>
                </a:cubicBezTo>
                <a:cubicBezTo>
                  <a:pt x="462" y="100"/>
                  <a:pt x="462" y="100"/>
                  <a:pt x="462" y="100"/>
                </a:cubicBezTo>
                <a:cubicBezTo>
                  <a:pt x="462" y="100"/>
                  <a:pt x="462" y="100"/>
                  <a:pt x="462" y="100"/>
                </a:cubicBezTo>
                <a:cubicBezTo>
                  <a:pt x="462" y="100"/>
                  <a:pt x="463" y="100"/>
                  <a:pt x="463" y="100"/>
                </a:cubicBezTo>
                <a:cubicBezTo>
                  <a:pt x="463" y="100"/>
                  <a:pt x="463" y="100"/>
                  <a:pt x="464" y="100"/>
                </a:cubicBezTo>
                <a:cubicBezTo>
                  <a:pt x="463" y="100"/>
                  <a:pt x="463" y="100"/>
                  <a:pt x="463" y="101"/>
                </a:cubicBezTo>
                <a:cubicBezTo>
                  <a:pt x="462" y="101"/>
                  <a:pt x="462" y="101"/>
                  <a:pt x="462" y="101"/>
                </a:cubicBezTo>
                <a:cubicBezTo>
                  <a:pt x="462" y="101"/>
                  <a:pt x="462" y="102"/>
                  <a:pt x="461" y="102"/>
                </a:cubicBezTo>
                <a:cubicBezTo>
                  <a:pt x="461" y="102"/>
                  <a:pt x="461" y="102"/>
                  <a:pt x="461" y="103"/>
                </a:cubicBezTo>
                <a:cubicBezTo>
                  <a:pt x="462" y="103"/>
                  <a:pt x="462" y="103"/>
                  <a:pt x="462" y="103"/>
                </a:cubicBezTo>
                <a:cubicBezTo>
                  <a:pt x="462" y="103"/>
                  <a:pt x="462" y="103"/>
                  <a:pt x="462" y="103"/>
                </a:cubicBezTo>
                <a:cubicBezTo>
                  <a:pt x="462" y="103"/>
                  <a:pt x="461" y="103"/>
                  <a:pt x="461" y="104"/>
                </a:cubicBezTo>
                <a:cubicBezTo>
                  <a:pt x="461" y="104"/>
                  <a:pt x="461" y="104"/>
                  <a:pt x="461" y="104"/>
                </a:cubicBezTo>
                <a:cubicBezTo>
                  <a:pt x="461" y="104"/>
                  <a:pt x="461" y="105"/>
                  <a:pt x="462" y="105"/>
                </a:cubicBezTo>
                <a:cubicBezTo>
                  <a:pt x="462" y="105"/>
                  <a:pt x="462" y="105"/>
                  <a:pt x="462" y="105"/>
                </a:cubicBezTo>
                <a:cubicBezTo>
                  <a:pt x="462" y="106"/>
                  <a:pt x="462" y="106"/>
                  <a:pt x="461" y="106"/>
                </a:cubicBezTo>
                <a:cubicBezTo>
                  <a:pt x="461" y="106"/>
                  <a:pt x="461" y="106"/>
                  <a:pt x="461" y="106"/>
                </a:cubicBezTo>
                <a:close/>
                <a:moveTo>
                  <a:pt x="475" y="75"/>
                </a:moveTo>
                <a:cubicBezTo>
                  <a:pt x="475" y="75"/>
                  <a:pt x="476" y="74"/>
                  <a:pt x="476" y="74"/>
                </a:cubicBezTo>
                <a:cubicBezTo>
                  <a:pt x="475" y="74"/>
                  <a:pt x="475" y="74"/>
                  <a:pt x="475" y="75"/>
                </a:cubicBezTo>
                <a:cubicBezTo>
                  <a:pt x="474" y="75"/>
                  <a:pt x="474" y="75"/>
                  <a:pt x="473" y="75"/>
                </a:cubicBezTo>
                <a:cubicBezTo>
                  <a:pt x="473" y="76"/>
                  <a:pt x="473" y="76"/>
                  <a:pt x="473" y="76"/>
                </a:cubicBezTo>
                <a:cubicBezTo>
                  <a:pt x="474" y="76"/>
                  <a:pt x="474" y="76"/>
                  <a:pt x="474" y="76"/>
                </a:cubicBezTo>
                <a:cubicBezTo>
                  <a:pt x="474" y="76"/>
                  <a:pt x="475" y="76"/>
                  <a:pt x="475" y="75"/>
                </a:cubicBezTo>
                <a:cubicBezTo>
                  <a:pt x="475" y="75"/>
                  <a:pt x="475" y="75"/>
                  <a:pt x="475" y="75"/>
                </a:cubicBezTo>
                <a:close/>
                <a:moveTo>
                  <a:pt x="469" y="74"/>
                </a:moveTo>
                <a:cubicBezTo>
                  <a:pt x="469" y="74"/>
                  <a:pt x="469" y="75"/>
                  <a:pt x="469" y="75"/>
                </a:cubicBezTo>
                <a:cubicBezTo>
                  <a:pt x="469" y="75"/>
                  <a:pt x="470" y="75"/>
                  <a:pt x="470" y="75"/>
                </a:cubicBezTo>
                <a:cubicBezTo>
                  <a:pt x="470" y="75"/>
                  <a:pt x="471" y="74"/>
                  <a:pt x="471" y="74"/>
                </a:cubicBezTo>
                <a:cubicBezTo>
                  <a:pt x="471" y="74"/>
                  <a:pt x="471" y="74"/>
                  <a:pt x="472" y="74"/>
                </a:cubicBezTo>
                <a:cubicBezTo>
                  <a:pt x="472" y="74"/>
                  <a:pt x="473" y="74"/>
                  <a:pt x="474" y="74"/>
                </a:cubicBezTo>
                <a:cubicBezTo>
                  <a:pt x="474" y="74"/>
                  <a:pt x="475" y="74"/>
                  <a:pt x="476" y="73"/>
                </a:cubicBezTo>
                <a:cubicBezTo>
                  <a:pt x="476" y="74"/>
                  <a:pt x="476" y="74"/>
                  <a:pt x="476" y="74"/>
                </a:cubicBezTo>
                <a:cubicBezTo>
                  <a:pt x="477" y="73"/>
                  <a:pt x="477" y="73"/>
                  <a:pt x="478" y="73"/>
                </a:cubicBezTo>
                <a:cubicBezTo>
                  <a:pt x="478" y="73"/>
                  <a:pt x="478" y="73"/>
                  <a:pt x="478" y="74"/>
                </a:cubicBezTo>
                <a:cubicBezTo>
                  <a:pt x="478" y="74"/>
                  <a:pt x="477" y="74"/>
                  <a:pt x="477" y="74"/>
                </a:cubicBezTo>
                <a:cubicBezTo>
                  <a:pt x="477" y="74"/>
                  <a:pt x="477" y="74"/>
                  <a:pt x="477" y="74"/>
                </a:cubicBezTo>
                <a:cubicBezTo>
                  <a:pt x="477" y="75"/>
                  <a:pt x="477" y="75"/>
                  <a:pt x="477" y="75"/>
                </a:cubicBezTo>
                <a:cubicBezTo>
                  <a:pt x="478" y="75"/>
                  <a:pt x="478" y="75"/>
                  <a:pt x="479" y="75"/>
                </a:cubicBezTo>
                <a:cubicBezTo>
                  <a:pt x="479" y="75"/>
                  <a:pt x="480" y="75"/>
                  <a:pt x="480" y="75"/>
                </a:cubicBezTo>
                <a:cubicBezTo>
                  <a:pt x="480" y="75"/>
                  <a:pt x="481" y="76"/>
                  <a:pt x="481" y="76"/>
                </a:cubicBezTo>
                <a:cubicBezTo>
                  <a:pt x="481" y="76"/>
                  <a:pt x="482" y="76"/>
                  <a:pt x="482" y="76"/>
                </a:cubicBezTo>
                <a:cubicBezTo>
                  <a:pt x="482" y="76"/>
                  <a:pt x="482" y="76"/>
                  <a:pt x="483" y="76"/>
                </a:cubicBezTo>
                <a:cubicBezTo>
                  <a:pt x="482" y="76"/>
                  <a:pt x="482" y="76"/>
                  <a:pt x="482" y="76"/>
                </a:cubicBezTo>
                <a:cubicBezTo>
                  <a:pt x="482" y="77"/>
                  <a:pt x="482" y="77"/>
                  <a:pt x="482" y="77"/>
                </a:cubicBezTo>
                <a:cubicBezTo>
                  <a:pt x="482" y="78"/>
                  <a:pt x="481" y="79"/>
                  <a:pt x="481" y="80"/>
                </a:cubicBezTo>
                <a:cubicBezTo>
                  <a:pt x="481" y="80"/>
                  <a:pt x="482" y="81"/>
                  <a:pt x="482" y="81"/>
                </a:cubicBezTo>
                <a:cubicBezTo>
                  <a:pt x="482" y="81"/>
                  <a:pt x="482" y="81"/>
                  <a:pt x="483" y="81"/>
                </a:cubicBezTo>
                <a:cubicBezTo>
                  <a:pt x="483" y="81"/>
                  <a:pt x="483" y="81"/>
                  <a:pt x="483" y="81"/>
                </a:cubicBezTo>
                <a:cubicBezTo>
                  <a:pt x="484" y="81"/>
                  <a:pt x="484" y="81"/>
                  <a:pt x="484" y="81"/>
                </a:cubicBezTo>
                <a:cubicBezTo>
                  <a:pt x="485" y="81"/>
                  <a:pt x="485" y="81"/>
                  <a:pt x="485" y="81"/>
                </a:cubicBezTo>
                <a:cubicBezTo>
                  <a:pt x="485" y="81"/>
                  <a:pt x="486" y="81"/>
                  <a:pt x="486" y="81"/>
                </a:cubicBezTo>
                <a:cubicBezTo>
                  <a:pt x="486" y="80"/>
                  <a:pt x="487" y="80"/>
                  <a:pt x="487" y="80"/>
                </a:cubicBezTo>
                <a:cubicBezTo>
                  <a:pt x="487" y="80"/>
                  <a:pt x="487" y="79"/>
                  <a:pt x="487" y="79"/>
                </a:cubicBezTo>
                <a:cubicBezTo>
                  <a:pt x="488" y="79"/>
                  <a:pt x="488" y="79"/>
                  <a:pt x="488" y="79"/>
                </a:cubicBezTo>
                <a:cubicBezTo>
                  <a:pt x="488" y="78"/>
                  <a:pt x="489" y="78"/>
                  <a:pt x="489" y="78"/>
                </a:cubicBezTo>
                <a:cubicBezTo>
                  <a:pt x="489" y="77"/>
                  <a:pt x="489" y="77"/>
                  <a:pt x="489" y="77"/>
                </a:cubicBezTo>
                <a:cubicBezTo>
                  <a:pt x="489" y="76"/>
                  <a:pt x="489" y="76"/>
                  <a:pt x="489" y="76"/>
                </a:cubicBezTo>
                <a:cubicBezTo>
                  <a:pt x="489" y="75"/>
                  <a:pt x="490" y="75"/>
                  <a:pt x="490" y="75"/>
                </a:cubicBezTo>
                <a:cubicBezTo>
                  <a:pt x="490" y="74"/>
                  <a:pt x="489" y="74"/>
                  <a:pt x="489" y="74"/>
                </a:cubicBezTo>
                <a:cubicBezTo>
                  <a:pt x="489" y="74"/>
                  <a:pt x="489" y="74"/>
                  <a:pt x="489" y="74"/>
                </a:cubicBezTo>
                <a:cubicBezTo>
                  <a:pt x="489" y="74"/>
                  <a:pt x="489" y="74"/>
                  <a:pt x="490" y="73"/>
                </a:cubicBezTo>
                <a:cubicBezTo>
                  <a:pt x="490" y="73"/>
                  <a:pt x="490" y="73"/>
                  <a:pt x="490" y="72"/>
                </a:cubicBezTo>
                <a:cubicBezTo>
                  <a:pt x="490" y="72"/>
                  <a:pt x="491" y="72"/>
                  <a:pt x="491" y="72"/>
                </a:cubicBezTo>
                <a:cubicBezTo>
                  <a:pt x="491" y="72"/>
                  <a:pt x="492" y="72"/>
                  <a:pt x="492" y="71"/>
                </a:cubicBezTo>
                <a:cubicBezTo>
                  <a:pt x="492" y="71"/>
                  <a:pt x="493" y="71"/>
                  <a:pt x="493" y="70"/>
                </a:cubicBezTo>
                <a:cubicBezTo>
                  <a:pt x="493" y="70"/>
                  <a:pt x="493" y="70"/>
                  <a:pt x="493" y="69"/>
                </a:cubicBezTo>
                <a:cubicBezTo>
                  <a:pt x="493" y="69"/>
                  <a:pt x="493" y="69"/>
                  <a:pt x="493" y="69"/>
                </a:cubicBezTo>
                <a:cubicBezTo>
                  <a:pt x="493" y="69"/>
                  <a:pt x="493" y="68"/>
                  <a:pt x="494" y="68"/>
                </a:cubicBezTo>
                <a:cubicBezTo>
                  <a:pt x="494" y="68"/>
                  <a:pt x="494" y="68"/>
                  <a:pt x="494" y="68"/>
                </a:cubicBezTo>
                <a:cubicBezTo>
                  <a:pt x="494" y="67"/>
                  <a:pt x="493" y="67"/>
                  <a:pt x="493" y="67"/>
                </a:cubicBezTo>
                <a:cubicBezTo>
                  <a:pt x="493" y="67"/>
                  <a:pt x="493" y="67"/>
                  <a:pt x="493" y="66"/>
                </a:cubicBezTo>
                <a:cubicBezTo>
                  <a:pt x="492" y="66"/>
                  <a:pt x="492" y="66"/>
                  <a:pt x="492" y="66"/>
                </a:cubicBezTo>
                <a:cubicBezTo>
                  <a:pt x="492" y="66"/>
                  <a:pt x="491" y="66"/>
                  <a:pt x="491" y="66"/>
                </a:cubicBezTo>
                <a:cubicBezTo>
                  <a:pt x="490" y="67"/>
                  <a:pt x="490" y="67"/>
                  <a:pt x="490" y="67"/>
                </a:cubicBezTo>
                <a:cubicBezTo>
                  <a:pt x="489" y="67"/>
                  <a:pt x="489" y="67"/>
                  <a:pt x="489" y="66"/>
                </a:cubicBezTo>
                <a:cubicBezTo>
                  <a:pt x="489" y="66"/>
                  <a:pt x="489" y="66"/>
                  <a:pt x="489" y="66"/>
                </a:cubicBezTo>
                <a:cubicBezTo>
                  <a:pt x="490" y="65"/>
                  <a:pt x="491" y="65"/>
                  <a:pt x="491" y="65"/>
                </a:cubicBezTo>
                <a:cubicBezTo>
                  <a:pt x="491" y="65"/>
                  <a:pt x="491" y="65"/>
                  <a:pt x="491" y="64"/>
                </a:cubicBezTo>
                <a:cubicBezTo>
                  <a:pt x="491" y="64"/>
                  <a:pt x="490" y="64"/>
                  <a:pt x="490" y="64"/>
                </a:cubicBezTo>
                <a:cubicBezTo>
                  <a:pt x="490" y="64"/>
                  <a:pt x="490" y="63"/>
                  <a:pt x="490" y="63"/>
                </a:cubicBezTo>
                <a:cubicBezTo>
                  <a:pt x="490" y="63"/>
                  <a:pt x="490" y="63"/>
                  <a:pt x="490" y="62"/>
                </a:cubicBezTo>
                <a:cubicBezTo>
                  <a:pt x="490" y="62"/>
                  <a:pt x="489" y="62"/>
                  <a:pt x="489" y="62"/>
                </a:cubicBezTo>
                <a:cubicBezTo>
                  <a:pt x="489" y="62"/>
                  <a:pt x="488" y="62"/>
                  <a:pt x="488" y="62"/>
                </a:cubicBezTo>
                <a:cubicBezTo>
                  <a:pt x="488" y="63"/>
                  <a:pt x="487" y="63"/>
                  <a:pt x="487" y="63"/>
                </a:cubicBezTo>
                <a:cubicBezTo>
                  <a:pt x="486" y="63"/>
                  <a:pt x="486" y="64"/>
                  <a:pt x="485" y="64"/>
                </a:cubicBezTo>
                <a:cubicBezTo>
                  <a:pt x="485" y="64"/>
                  <a:pt x="485" y="64"/>
                  <a:pt x="485" y="64"/>
                </a:cubicBezTo>
                <a:cubicBezTo>
                  <a:pt x="485" y="65"/>
                  <a:pt x="484" y="65"/>
                  <a:pt x="484" y="65"/>
                </a:cubicBezTo>
                <a:cubicBezTo>
                  <a:pt x="484" y="65"/>
                  <a:pt x="484" y="65"/>
                  <a:pt x="483" y="65"/>
                </a:cubicBezTo>
                <a:cubicBezTo>
                  <a:pt x="483" y="65"/>
                  <a:pt x="483" y="65"/>
                  <a:pt x="483" y="65"/>
                </a:cubicBezTo>
                <a:cubicBezTo>
                  <a:pt x="483" y="64"/>
                  <a:pt x="484" y="64"/>
                  <a:pt x="484" y="64"/>
                </a:cubicBezTo>
                <a:cubicBezTo>
                  <a:pt x="484" y="64"/>
                  <a:pt x="484" y="63"/>
                  <a:pt x="485" y="63"/>
                </a:cubicBezTo>
                <a:cubicBezTo>
                  <a:pt x="485" y="63"/>
                  <a:pt x="484" y="63"/>
                  <a:pt x="484" y="62"/>
                </a:cubicBezTo>
                <a:cubicBezTo>
                  <a:pt x="484" y="62"/>
                  <a:pt x="485" y="61"/>
                  <a:pt x="485" y="61"/>
                </a:cubicBezTo>
                <a:cubicBezTo>
                  <a:pt x="484" y="61"/>
                  <a:pt x="484" y="61"/>
                  <a:pt x="484" y="60"/>
                </a:cubicBezTo>
                <a:cubicBezTo>
                  <a:pt x="484" y="60"/>
                  <a:pt x="483" y="60"/>
                  <a:pt x="483" y="60"/>
                </a:cubicBezTo>
                <a:cubicBezTo>
                  <a:pt x="483" y="60"/>
                  <a:pt x="483" y="60"/>
                  <a:pt x="483" y="60"/>
                </a:cubicBezTo>
                <a:cubicBezTo>
                  <a:pt x="482" y="59"/>
                  <a:pt x="482" y="59"/>
                  <a:pt x="481" y="59"/>
                </a:cubicBezTo>
                <a:cubicBezTo>
                  <a:pt x="481" y="60"/>
                  <a:pt x="480" y="60"/>
                  <a:pt x="480" y="60"/>
                </a:cubicBezTo>
                <a:cubicBezTo>
                  <a:pt x="479" y="60"/>
                  <a:pt x="479" y="60"/>
                  <a:pt x="478" y="60"/>
                </a:cubicBezTo>
                <a:cubicBezTo>
                  <a:pt x="478" y="60"/>
                  <a:pt x="478" y="61"/>
                  <a:pt x="477" y="61"/>
                </a:cubicBezTo>
                <a:cubicBezTo>
                  <a:pt x="477" y="61"/>
                  <a:pt x="477" y="61"/>
                  <a:pt x="476" y="61"/>
                </a:cubicBezTo>
                <a:cubicBezTo>
                  <a:pt x="476" y="61"/>
                  <a:pt x="476" y="60"/>
                  <a:pt x="476" y="60"/>
                </a:cubicBezTo>
                <a:cubicBezTo>
                  <a:pt x="476" y="60"/>
                  <a:pt x="476" y="60"/>
                  <a:pt x="475" y="60"/>
                </a:cubicBezTo>
                <a:cubicBezTo>
                  <a:pt x="475" y="60"/>
                  <a:pt x="475" y="60"/>
                  <a:pt x="475" y="61"/>
                </a:cubicBezTo>
                <a:cubicBezTo>
                  <a:pt x="475" y="61"/>
                  <a:pt x="474" y="61"/>
                  <a:pt x="474" y="61"/>
                </a:cubicBezTo>
                <a:cubicBezTo>
                  <a:pt x="474" y="61"/>
                  <a:pt x="474" y="62"/>
                  <a:pt x="473" y="62"/>
                </a:cubicBezTo>
                <a:cubicBezTo>
                  <a:pt x="473" y="62"/>
                  <a:pt x="473" y="63"/>
                  <a:pt x="473" y="63"/>
                </a:cubicBezTo>
                <a:cubicBezTo>
                  <a:pt x="473" y="63"/>
                  <a:pt x="472" y="64"/>
                  <a:pt x="472" y="64"/>
                </a:cubicBezTo>
                <a:cubicBezTo>
                  <a:pt x="472" y="64"/>
                  <a:pt x="472" y="64"/>
                  <a:pt x="472" y="65"/>
                </a:cubicBezTo>
                <a:cubicBezTo>
                  <a:pt x="473" y="65"/>
                  <a:pt x="473" y="65"/>
                  <a:pt x="473" y="65"/>
                </a:cubicBezTo>
                <a:cubicBezTo>
                  <a:pt x="473" y="65"/>
                  <a:pt x="474" y="64"/>
                  <a:pt x="474" y="64"/>
                </a:cubicBezTo>
                <a:cubicBezTo>
                  <a:pt x="474" y="64"/>
                  <a:pt x="475" y="64"/>
                  <a:pt x="475" y="64"/>
                </a:cubicBezTo>
                <a:cubicBezTo>
                  <a:pt x="475" y="64"/>
                  <a:pt x="475" y="64"/>
                  <a:pt x="476" y="64"/>
                </a:cubicBezTo>
                <a:cubicBezTo>
                  <a:pt x="475" y="64"/>
                  <a:pt x="475" y="65"/>
                  <a:pt x="474" y="65"/>
                </a:cubicBezTo>
                <a:cubicBezTo>
                  <a:pt x="474" y="65"/>
                  <a:pt x="473" y="66"/>
                  <a:pt x="473" y="66"/>
                </a:cubicBezTo>
                <a:cubicBezTo>
                  <a:pt x="473" y="66"/>
                  <a:pt x="472" y="67"/>
                  <a:pt x="472" y="67"/>
                </a:cubicBezTo>
                <a:cubicBezTo>
                  <a:pt x="472" y="67"/>
                  <a:pt x="472" y="67"/>
                  <a:pt x="472" y="67"/>
                </a:cubicBezTo>
                <a:cubicBezTo>
                  <a:pt x="473" y="67"/>
                  <a:pt x="473" y="67"/>
                  <a:pt x="474" y="67"/>
                </a:cubicBezTo>
                <a:cubicBezTo>
                  <a:pt x="474" y="66"/>
                  <a:pt x="475" y="66"/>
                  <a:pt x="475" y="65"/>
                </a:cubicBezTo>
                <a:cubicBezTo>
                  <a:pt x="475" y="65"/>
                  <a:pt x="476" y="65"/>
                  <a:pt x="476" y="65"/>
                </a:cubicBezTo>
                <a:cubicBezTo>
                  <a:pt x="476" y="65"/>
                  <a:pt x="476" y="65"/>
                  <a:pt x="477" y="65"/>
                </a:cubicBezTo>
                <a:cubicBezTo>
                  <a:pt x="477" y="65"/>
                  <a:pt x="477" y="65"/>
                  <a:pt x="478" y="65"/>
                </a:cubicBezTo>
                <a:cubicBezTo>
                  <a:pt x="477" y="65"/>
                  <a:pt x="477" y="66"/>
                  <a:pt x="477" y="66"/>
                </a:cubicBezTo>
                <a:cubicBezTo>
                  <a:pt x="477" y="66"/>
                  <a:pt x="477" y="66"/>
                  <a:pt x="477" y="66"/>
                </a:cubicBezTo>
                <a:cubicBezTo>
                  <a:pt x="476" y="67"/>
                  <a:pt x="476" y="67"/>
                  <a:pt x="475" y="67"/>
                </a:cubicBezTo>
                <a:cubicBezTo>
                  <a:pt x="475" y="68"/>
                  <a:pt x="475" y="68"/>
                  <a:pt x="475" y="68"/>
                </a:cubicBezTo>
                <a:cubicBezTo>
                  <a:pt x="475" y="68"/>
                  <a:pt x="475" y="68"/>
                  <a:pt x="476" y="68"/>
                </a:cubicBezTo>
                <a:cubicBezTo>
                  <a:pt x="476" y="68"/>
                  <a:pt x="477" y="68"/>
                  <a:pt x="477" y="68"/>
                </a:cubicBezTo>
                <a:cubicBezTo>
                  <a:pt x="478" y="68"/>
                  <a:pt x="478" y="68"/>
                  <a:pt x="478" y="68"/>
                </a:cubicBezTo>
                <a:cubicBezTo>
                  <a:pt x="478" y="68"/>
                  <a:pt x="478" y="68"/>
                  <a:pt x="477" y="69"/>
                </a:cubicBezTo>
                <a:cubicBezTo>
                  <a:pt x="477" y="69"/>
                  <a:pt x="476" y="69"/>
                  <a:pt x="476" y="69"/>
                </a:cubicBezTo>
                <a:cubicBezTo>
                  <a:pt x="475" y="69"/>
                  <a:pt x="475" y="69"/>
                  <a:pt x="475" y="70"/>
                </a:cubicBezTo>
                <a:cubicBezTo>
                  <a:pt x="475" y="70"/>
                  <a:pt x="475" y="70"/>
                  <a:pt x="475" y="70"/>
                </a:cubicBezTo>
                <a:cubicBezTo>
                  <a:pt x="475" y="70"/>
                  <a:pt x="475" y="70"/>
                  <a:pt x="476" y="70"/>
                </a:cubicBezTo>
                <a:cubicBezTo>
                  <a:pt x="476" y="70"/>
                  <a:pt x="476" y="70"/>
                  <a:pt x="476" y="70"/>
                </a:cubicBezTo>
                <a:cubicBezTo>
                  <a:pt x="475" y="71"/>
                  <a:pt x="475" y="71"/>
                  <a:pt x="474" y="72"/>
                </a:cubicBezTo>
                <a:cubicBezTo>
                  <a:pt x="474" y="72"/>
                  <a:pt x="474" y="72"/>
                  <a:pt x="474" y="72"/>
                </a:cubicBezTo>
                <a:cubicBezTo>
                  <a:pt x="474" y="72"/>
                  <a:pt x="473" y="71"/>
                  <a:pt x="473" y="71"/>
                </a:cubicBezTo>
                <a:cubicBezTo>
                  <a:pt x="473" y="71"/>
                  <a:pt x="472" y="71"/>
                  <a:pt x="472" y="71"/>
                </a:cubicBezTo>
                <a:cubicBezTo>
                  <a:pt x="471" y="71"/>
                  <a:pt x="471" y="71"/>
                  <a:pt x="471" y="70"/>
                </a:cubicBezTo>
                <a:cubicBezTo>
                  <a:pt x="470" y="71"/>
                  <a:pt x="469" y="71"/>
                  <a:pt x="468" y="72"/>
                </a:cubicBezTo>
                <a:cubicBezTo>
                  <a:pt x="469" y="72"/>
                  <a:pt x="469" y="72"/>
                  <a:pt x="469" y="72"/>
                </a:cubicBezTo>
                <a:cubicBezTo>
                  <a:pt x="468" y="73"/>
                  <a:pt x="468" y="73"/>
                  <a:pt x="468" y="74"/>
                </a:cubicBezTo>
                <a:cubicBezTo>
                  <a:pt x="468" y="74"/>
                  <a:pt x="469" y="74"/>
                  <a:pt x="469" y="74"/>
                </a:cubicBezTo>
                <a:close/>
                <a:moveTo>
                  <a:pt x="467" y="95"/>
                </a:moveTo>
                <a:cubicBezTo>
                  <a:pt x="467" y="95"/>
                  <a:pt x="467" y="95"/>
                  <a:pt x="467" y="95"/>
                </a:cubicBezTo>
                <a:cubicBezTo>
                  <a:pt x="468" y="95"/>
                  <a:pt x="468" y="95"/>
                  <a:pt x="469" y="94"/>
                </a:cubicBezTo>
                <a:cubicBezTo>
                  <a:pt x="469" y="94"/>
                  <a:pt x="469" y="94"/>
                  <a:pt x="469" y="94"/>
                </a:cubicBezTo>
                <a:cubicBezTo>
                  <a:pt x="470" y="94"/>
                  <a:pt x="470" y="94"/>
                  <a:pt x="471" y="93"/>
                </a:cubicBezTo>
                <a:cubicBezTo>
                  <a:pt x="471" y="93"/>
                  <a:pt x="472" y="93"/>
                  <a:pt x="472" y="93"/>
                </a:cubicBezTo>
                <a:cubicBezTo>
                  <a:pt x="472" y="93"/>
                  <a:pt x="473" y="93"/>
                  <a:pt x="473" y="93"/>
                </a:cubicBezTo>
                <a:cubicBezTo>
                  <a:pt x="473" y="93"/>
                  <a:pt x="473" y="93"/>
                  <a:pt x="472" y="93"/>
                </a:cubicBezTo>
                <a:cubicBezTo>
                  <a:pt x="472" y="93"/>
                  <a:pt x="471" y="93"/>
                  <a:pt x="471" y="93"/>
                </a:cubicBezTo>
                <a:cubicBezTo>
                  <a:pt x="470" y="93"/>
                  <a:pt x="470" y="93"/>
                  <a:pt x="469" y="93"/>
                </a:cubicBezTo>
                <a:cubicBezTo>
                  <a:pt x="469" y="93"/>
                  <a:pt x="469" y="94"/>
                  <a:pt x="468" y="94"/>
                </a:cubicBezTo>
                <a:cubicBezTo>
                  <a:pt x="468" y="94"/>
                  <a:pt x="468" y="94"/>
                  <a:pt x="468" y="94"/>
                </a:cubicBezTo>
                <a:cubicBezTo>
                  <a:pt x="467" y="94"/>
                  <a:pt x="467" y="94"/>
                  <a:pt x="466" y="94"/>
                </a:cubicBezTo>
                <a:cubicBezTo>
                  <a:pt x="466" y="95"/>
                  <a:pt x="466" y="95"/>
                  <a:pt x="466" y="95"/>
                </a:cubicBezTo>
                <a:cubicBezTo>
                  <a:pt x="466" y="95"/>
                  <a:pt x="466" y="95"/>
                  <a:pt x="466" y="95"/>
                </a:cubicBezTo>
                <a:cubicBezTo>
                  <a:pt x="466" y="95"/>
                  <a:pt x="466" y="95"/>
                  <a:pt x="467" y="95"/>
                </a:cubicBezTo>
                <a:close/>
                <a:moveTo>
                  <a:pt x="475" y="92"/>
                </a:moveTo>
                <a:cubicBezTo>
                  <a:pt x="475" y="92"/>
                  <a:pt x="475" y="92"/>
                  <a:pt x="475" y="92"/>
                </a:cubicBezTo>
                <a:cubicBezTo>
                  <a:pt x="475" y="93"/>
                  <a:pt x="475" y="93"/>
                  <a:pt x="475" y="93"/>
                </a:cubicBezTo>
                <a:cubicBezTo>
                  <a:pt x="475" y="93"/>
                  <a:pt x="475" y="93"/>
                  <a:pt x="476" y="93"/>
                </a:cubicBezTo>
                <a:cubicBezTo>
                  <a:pt x="476" y="93"/>
                  <a:pt x="476" y="93"/>
                  <a:pt x="476" y="94"/>
                </a:cubicBezTo>
                <a:cubicBezTo>
                  <a:pt x="476" y="93"/>
                  <a:pt x="476" y="93"/>
                  <a:pt x="477" y="93"/>
                </a:cubicBezTo>
                <a:cubicBezTo>
                  <a:pt x="476" y="93"/>
                  <a:pt x="476" y="93"/>
                  <a:pt x="476" y="93"/>
                </a:cubicBezTo>
                <a:cubicBezTo>
                  <a:pt x="476" y="93"/>
                  <a:pt x="476" y="92"/>
                  <a:pt x="475" y="92"/>
                </a:cubicBezTo>
                <a:close/>
                <a:moveTo>
                  <a:pt x="518" y="60"/>
                </a:moveTo>
                <a:cubicBezTo>
                  <a:pt x="518" y="60"/>
                  <a:pt x="517" y="60"/>
                  <a:pt x="517" y="60"/>
                </a:cubicBezTo>
                <a:cubicBezTo>
                  <a:pt x="517" y="60"/>
                  <a:pt x="517" y="61"/>
                  <a:pt x="517" y="61"/>
                </a:cubicBezTo>
                <a:cubicBezTo>
                  <a:pt x="518" y="61"/>
                  <a:pt x="518" y="61"/>
                  <a:pt x="518" y="61"/>
                </a:cubicBezTo>
                <a:cubicBezTo>
                  <a:pt x="518" y="61"/>
                  <a:pt x="519" y="61"/>
                  <a:pt x="519" y="61"/>
                </a:cubicBezTo>
                <a:cubicBezTo>
                  <a:pt x="519" y="61"/>
                  <a:pt x="520" y="60"/>
                  <a:pt x="520" y="60"/>
                </a:cubicBezTo>
                <a:cubicBezTo>
                  <a:pt x="521" y="60"/>
                  <a:pt x="521" y="60"/>
                  <a:pt x="521" y="60"/>
                </a:cubicBezTo>
                <a:cubicBezTo>
                  <a:pt x="521" y="60"/>
                  <a:pt x="522" y="60"/>
                  <a:pt x="522" y="60"/>
                </a:cubicBezTo>
                <a:cubicBezTo>
                  <a:pt x="522" y="60"/>
                  <a:pt x="522" y="60"/>
                  <a:pt x="522" y="60"/>
                </a:cubicBezTo>
                <a:cubicBezTo>
                  <a:pt x="521" y="61"/>
                  <a:pt x="521" y="61"/>
                  <a:pt x="521" y="61"/>
                </a:cubicBezTo>
                <a:cubicBezTo>
                  <a:pt x="520" y="61"/>
                  <a:pt x="520" y="61"/>
                  <a:pt x="520" y="62"/>
                </a:cubicBezTo>
                <a:cubicBezTo>
                  <a:pt x="520" y="62"/>
                  <a:pt x="521" y="62"/>
                  <a:pt x="521" y="62"/>
                </a:cubicBezTo>
                <a:cubicBezTo>
                  <a:pt x="521" y="62"/>
                  <a:pt x="521" y="62"/>
                  <a:pt x="522" y="62"/>
                </a:cubicBezTo>
                <a:cubicBezTo>
                  <a:pt x="522" y="61"/>
                  <a:pt x="522" y="61"/>
                  <a:pt x="522" y="61"/>
                </a:cubicBezTo>
                <a:cubicBezTo>
                  <a:pt x="523" y="61"/>
                  <a:pt x="523" y="61"/>
                  <a:pt x="523" y="61"/>
                </a:cubicBezTo>
                <a:cubicBezTo>
                  <a:pt x="524" y="60"/>
                  <a:pt x="524" y="60"/>
                  <a:pt x="524" y="60"/>
                </a:cubicBezTo>
                <a:cubicBezTo>
                  <a:pt x="524" y="60"/>
                  <a:pt x="524" y="60"/>
                  <a:pt x="524" y="60"/>
                </a:cubicBezTo>
                <a:cubicBezTo>
                  <a:pt x="524" y="61"/>
                  <a:pt x="524" y="61"/>
                  <a:pt x="524" y="61"/>
                </a:cubicBezTo>
                <a:cubicBezTo>
                  <a:pt x="524" y="61"/>
                  <a:pt x="524" y="61"/>
                  <a:pt x="525" y="61"/>
                </a:cubicBezTo>
                <a:cubicBezTo>
                  <a:pt x="525" y="61"/>
                  <a:pt x="526" y="61"/>
                  <a:pt x="526" y="61"/>
                </a:cubicBezTo>
                <a:cubicBezTo>
                  <a:pt x="527" y="61"/>
                  <a:pt x="527" y="61"/>
                  <a:pt x="527" y="61"/>
                </a:cubicBezTo>
                <a:cubicBezTo>
                  <a:pt x="527" y="61"/>
                  <a:pt x="526" y="61"/>
                  <a:pt x="526" y="61"/>
                </a:cubicBezTo>
                <a:cubicBezTo>
                  <a:pt x="526" y="61"/>
                  <a:pt x="526" y="62"/>
                  <a:pt x="526" y="62"/>
                </a:cubicBezTo>
                <a:cubicBezTo>
                  <a:pt x="526" y="62"/>
                  <a:pt x="527" y="62"/>
                  <a:pt x="527" y="62"/>
                </a:cubicBezTo>
                <a:cubicBezTo>
                  <a:pt x="527" y="62"/>
                  <a:pt x="528" y="61"/>
                  <a:pt x="528" y="61"/>
                </a:cubicBezTo>
                <a:cubicBezTo>
                  <a:pt x="529" y="61"/>
                  <a:pt x="529" y="61"/>
                  <a:pt x="530" y="62"/>
                </a:cubicBezTo>
                <a:cubicBezTo>
                  <a:pt x="531" y="62"/>
                  <a:pt x="532" y="61"/>
                  <a:pt x="533" y="61"/>
                </a:cubicBezTo>
                <a:cubicBezTo>
                  <a:pt x="533" y="61"/>
                  <a:pt x="533" y="62"/>
                  <a:pt x="533" y="62"/>
                </a:cubicBezTo>
                <a:cubicBezTo>
                  <a:pt x="532" y="62"/>
                  <a:pt x="531" y="62"/>
                  <a:pt x="531" y="62"/>
                </a:cubicBezTo>
                <a:cubicBezTo>
                  <a:pt x="530" y="62"/>
                  <a:pt x="530" y="62"/>
                  <a:pt x="529" y="62"/>
                </a:cubicBezTo>
                <a:cubicBezTo>
                  <a:pt x="529" y="62"/>
                  <a:pt x="528" y="62"/>
                  <a:pt x="528" y="62"/>
                </a:cubicBezTo>
                <a:cubicBezTo>
                  <a:pt x="527" y="62"/>
                  <a:pt x="527" y="63"/>
                  <a:pt x="526" y="63"/>
                </a:cubicBezTo>
                <a:cubicBezTo>
                  <a:pt x="526" y="63"/>
                  <a:pt x="526" y="63"/>
                  <a:pt x="526" y="63"/>
                </a:cubicBezTo>
                <a:cubicBezTo>
                  <a:pt x="527" y="63"/>
                  <a:pt x="527" y="63"/>
                  <a:pt x="528" y="63"/>
                </a:cubicBezTo>
                <a:cubicBezTo>
                  <a:pt x="529" y="63"/>
                  <a:pt x="529" y="63"/>
                  <a:pt x="530" y="63"/>
                </a:cubicBezTo>
                <a:cubicBezTo>
                  <a:pt x="531" y="63"/>
                  <a:pt x="532" y="63"/>
                  <a:pt x="533" y="63"/>
                </a:cubicBezTo>
                <a:cubicBezTo>
                  <a:pt x="533" y="63"/>
                  <a:pt x="533" y="63"/>
                  <a:pt x="534" y="63"/>
                </a:cubicBezTo>
                <a:cubicBezTo>
                  <a:pt x="533" y="63"/>
                  <a:pt x="532" y="63"/>
                  <a:pt x="531" y="64"/>
                </a:cubicBezTo>
                <a:cubicBezTo>
                  <a:pt x="531" y="63"/>
                  <a:pt x="530" y="63"/>
                  <a:pt x="530" y="63"/>
                </a:cubicBezTo>
                <a:cubicBezTo>
                  <a:pt x="529" y="64"/>
                  <a:pt x="529" y="64"/>
                  <a:pt x="528" y="64"/>
                </a:cubicBezTo>
                <a:cubicBezTo>
                  <a:pt x="527" y="64"/>
                  <a:pt x="527" y="64"/>
                  <a:pt x="526" y="64"/>
                </a:cubicBezTo>
                <a:cubicBezTo>
                  <a:pt x="526" y="64"/>
                  <a:pt x="526" y="64"/>
                  <a:pt x="525" y="64"/>
                </a:cubicBezTo>
                <a:cubicBezTo>
                  <a:pt x="525" y="64"/>
                  <a:pt x="524" y="64"/>
                  <a:pt x="524" y="64"/>
                </a:cubicBezTo>
                <a:cubicBezTo>
                  <a:pt x="523" y="63"/>
                  <a:pt x="523" y="63"/>
                  <a:pt x="522" y="63"/>
                </a:cubicBezTo>
                <a:cubicBezTo>
                  <a:pt x="522" y="63"/>
                  <a:pt x="522" y="63"/>
                  <a:pt x="522" y="64"/>
                </a:cubicBezTo>
                <a:cubicBezTo>
                  <a:pt x="521" y="64"/>
                  <a:pt x="521" y="64"/>
                  <a:pt x="521" y="64"/>
                </a:cubicBezTo>
                <a:cubicBezTo>
                  <a:pt x="520" y="64"/>
                  <a:pt x="520" y="65"/>
                  <a:pt x="519" y="65"/>
                </a:cubicBezTo>
                <a:cubicBezTo>
                  <a:pt x="519" y="65"/>
                  <a:pt x="518" y="65"/>
                  <a:pt x="518" y="65"/>
                </a:cubicBezTo>
                <a:cubicBezTo>
                  <a:pt x="518" y="66"/>
                  <a:pt x="518" y="66"/>
                  <a:pt x="518" y="67"/>
                </a:cubicBezTo>
                <a:cubicBezTo>
                  <a:pt x="519" y="67"/>
                  <a:pt x="519" y="67"/>
                  <a:pt x="520" y="67"/>
                </a:cubicBezTo>
                <a:cubicBezTo>
                  <a:pt x="520" y="67"/>
                  <a:pt x="520" y="68"/>
                  <a:pt x="520" y="68"/>
                </a:cubicBezTo>
                <a:cubicBezTo>
                  <a:pt x="520" y="68"/>
                  <a:pt x="520" y="68"/>
                  <a:pt x="519" y="68"/>
                </a:cubicBezTo>
                <a:cubicBezTo>
                  <a:pt x="519" y="68"/>
                  <a:pt x="519" y="68"/>
                  <a:pt x="519" y="67"/>
                </a:cubicBezTo>
                <a:cubicBezTo>
                  <a:pt x="518" y="67"/>
                  <a:pt x="518" y="67"/>
                  <a:pt x="518" y="67"/>
                </a:cubicBezTo>
                <a:cubicBezTo>
                  <a:pt x="518" y="68"/>
                  <a:pt x="518" y="69"/>
                  <a:pt x="517" y="69"/>
                </a:cubicBezTo>
                <a:cubicBezTo>
                  <a:pt x="518" y="69"/>
                  <a:pt x="518" y="70"/>
                  <a:pt x="518" y="70"/>
                </a:cubicBezTo>
                <a:cubicBezTo>
                  <a:pt x="518" y="70"/>
                  <a:pt x="518" y="70"/>
                  <a:pt x="519" y="70"/>
                </a:cubicBezTo>
                <a:cubicBezTo>
                  <a:pt x="519" y="70"/>
                  <a:pt x="519" y="70"/>
                  <a:pt x="519" y="70"/>
                </a:cubicBezTo>
                <a:cubicBezTo>
                  <a:pt x="519" y="70"/>
                  <a:pt x="520" y="70"/>
                  <a:pt x="520" y="70"/>
                </a:cubicBezTo>
                <a:cubicBezTo>
                  <a:pt x="520" y="70"/>
                  <a:pt x="520" y="70"/>
                  <a:pt x="521" y="70"/>
                </a:cubicBezTo>
                <a:cubicBezTo>
                  <a:pt x="521" y="70"/>
                  <a:pt x="521" y="70"/>
                  <a:pt x="522" y="70"/>
                </a:cubicBezTo>
                <a:cubicBezTo>
                  <a:pt x="521" y="70"/>
                  <a:pt x="521" y="70"/>
                  <a:pt x="521" y="70"/>
                </a:cubicBezTo>
                <a:cubicBezTo>
                  <a:pt x="521" y="71"/>
                  <a:pt x="520" y="71"/>
                  <a:pt x="520" y="71"/>
                </a:cubicBezTo>
                <a:cubicBezTo>
                  <a:pt x="520" y="71"/>
                  <a:pt x="519" y="71"/>
                  <a:pt x="519" y="70"/>
                </a:cubicBezTo>
                <a:cubicBezTo>
                  <a:pt x="518" y="71"/>
                  <a:pt x="518" y="71"/>
                  <a:pt x="517" y="71"/>
                </a:cubicBezTo>
                <a:cubicBezTo>
                  <a:pt x="517" y="71"/>
                  <a:pt x="518" y="72"/>
                  <a:pt x="518" y="72"/>
                </a:cubicBezTo>
                <a:cubicBezTo>
                  <a:pt x="518" y="72"/>
                  <a:pt x="518" y="72"/>
                  <a:pt x="518" y="73"/>
                </a:cubicBezTo>
                <a:cubicBezTo>
                  <a:pt x="518" y="72"/>
                  <a:pt x="519" y="72"/>
                  <a:pt x="519" y="72"/>
                </a:cubicBezTo>
                <a:cubicBezTo>
                  <a:pt x="519" y="72"/>
                  <a:pt x="519" y="73"/>
                  <a:pt x="518" y="73"/>
                </a:cubicBezTo>
                <a:cubicBezTo>
                  <a:pt x="519" y="73"/>
                  <a:pt x="519" y="74"/>
                  <a:pt x="519" y="74"/>
                </a:cubicBezTo>
                <a:cubicBezTo>
                  <a:pt x="519" y="74"/>
                  <a:pt x="519" y="74"/>
                  <a:pt x="520" y="74"/>
                </a:cubicBezTo>
                <a:cubicBezTo>
                  <a:pt x="520" y="74"/>
                  <a:pt x="520" y="74"/>
                  <a:pt x="521" y="74"/>
                </a:cubicBezTo>
                <a:cubicBezTo>
                  <a:pt x="521" y="74"/>
                  <a:pt x="521" y="74"/>
                  <a:pt x="521" y="75"/>
                </a:cubicBezTo>
                <a:cubicBezTo>
                  <a:pt x="521" y="75"/>
                  <a:pt x="522" y="75"/>
                  <a:pt x="522" y="75"/>
                </a:cubicBezTo>
                <a:cubicBezTo>
                  <a:pt x="523" y="75"/>
                  <a:pt x="524" y="75"/>
                  <a:pt x="525" y="75"/>
                </a:cubicBezTo>
                <a:cubicBezTo>
                  <a:pt x="525" y="75"/>
                  <a:pt x="526" y="75"/>
                  <a:pt x="526" y="75"/>
                </a:cubicBezTo>
                <a:cubicBezTo>
                  <a:pt x="526" y="75"/>
                  <a:pt x="526" y="74"/>
                  <a:pt x="526" y="74"/>
                </a:cubicBezTo>
                <a:cubicBezTo>
                  <a:pt x="526" y="74"/>
                  <a:pt x="526" y="74"/>
                  <a:pt x="526" y="73"/>
                </a:cubicBezTo>
                <a:cubicBezTo>
                  <a:pt x="527" y="73"/>
                  <a:pt x="527" y="73"/>
                  <a:pt x="528" y="73"/>
                </a:cubicBezTo>
                <a:cubicBezTo>
                  <a:pt x="528" y="73"/>
                  <a:pt x="528" y="74"/>
                  <a:pt x="528" y="74"/>
                </a:cubicBezTo>
                <a:cubicBezTo>
                  <a:pt x="528" y="74"/>
                  <a:pt x="528" y="74"/>
                  <a:pt x="528" y="74"/>
                </a:cubicBezTo>
                <a:cubicBezTo>
                  <a:pt x="528" y="75"/>
                  <a:pt x="528" y="75"/>
                  <a:pt x="528" y="75"/>
                </a:cubicBezTo>
                <a:cubicBezTo>
                  <a:pt x="529" y="75"/>
                  <a:pt x="529" y="75"/>
                  <a:pt x="529" y="75"/>
                </a:cubicBezTo>
                <a:cubicBezTo>
                  <a:pt x="529" y="74"/>
                  <a:pt x="529" y="74"/>
                  <a:pt x="530" y="73"/>
                </a:cubicBezTo>
                <a:cubicBezTo>
                  <a:pt x="529" y="72"/>
                  <a:pt x="529" y="72"/>
                  <a:pt x="529" y="72"/>
                </a:cubicBezTo>
                <a:cubicBezTo>
                  <a:pt x="529" y="71"/>
                  <a:pt x="529" y="71"/>
                  <a:pt x="529" y="70"/>
                </a:cubicBezTo>
                <a:cubicBezTo>
                  <a:pt x="530" y="70"/>
                  <a:pt x="530" y="70"/>
                  <a:pt x="531" y="69"/>
                </a:cubicBezTo>
                <a:cubicBezTo>
                  <a:pt x="531" y="69"/>
                  <a:pt x="531" y="69"/>
                  <a:pt x="531" y="68"/>
                </a:cubicBezTo>
                <a:cubicBezTo>
                  <a:pt x="531" y="69"/>
                  <a:pt x="531" y="69"/>
                  <a:pt x="531" y="69"/>
                </a:cubicBezTo>
                <a:cubicBezTo>
                  <a:pt x="531" y="70"/>
                  <a:pt x="530" y="70"/>
                  <a:pt x="530" y="71"/>
                </a:cubicBezTo>
                <a:cubicBezTo>
                  <a:pt x="530" y="71"/>
                  <a:pt x="530" y="72"/>
                  <a:pt x="530" y="72"/>
                </a:cubicBezTo>
                <a:cubicBezTo>
                  <a:pt x="530" y="72"/>
                  <a:pt x="530" y="72"/>
                  <a:pt x="530" y="73"/>
                </a:cubicBezTo>
                <a:cubicBezTo>
                  <a:pt x="530" y="73"/>
                  <a:pt x="530" y="74"/>
                  <a:pt x="530" y="74"/>
                </a:cubicBezTo>
                <a:cubicBezTo>
                  <a:pt x="531" y="74"/>
                  <a:pt x="531" y="74"/>
                  <a:pt x="531" y="75"/>
                </a:cubicBezTo>
                <a:cubicBezTo>
                  <a:pt x="531" y="75"/>
                  <a:pt x="531" y="75"/>
                  <a:pt x="531" y="75"/>
                </a:cubicBezTo>
                <a:cubicBezTo>
                  <a:pt x="531" y="75"/>
                  <a:pt x="531" y="75"/>
                  <a:pt x="531" y="75"/>
                </a:cubicBezTo>
                <a:cubicBezTo>
                  <a:pt x="532" y="75"/>
                  <a:pt x="532" y="75"/>
                  <a:pt x="532" y="75"/>
                </a:cubicBezTo>
                <a:cubicBezTo>
                  <a:pt x="532" y="74"/>
                  <a:pt x="532" y="74"/>
                  <a:pt x="533" y="74"/>
                </a:cubicBezTo>
                <a:cubicBezTo>
                  <a:pt x="533" y="73"/>
                  <a:pt x="534" y="73"/>
                  <a:pt x="534" y="72"/>
                </a:cubicBezTo>
                <a:cubicBezTo>
                  <a:pt x="534" y="72"/>
                  <a:pt x="534" y="71"/>
                  <a:pt x="535" y="70"/>
                </a:cubicBezTo>
                <a:cubicBezTo>
                  <a:pt x="535" y="70"/>
                  <a:pt x="535" y="70"/>
                  <a:pt x="535" y="70"/>
                </a:cubicBezTo>
                <a:cubicBezTo>
                  <a:pt x="535" y="70"/>
                  <a:pt x="536" y="70"/>
                  <a:pt x="536" y="70"/>
                </a:cubicBezTo>
                <a:cubicBezTo>
                  <a:pt x="536" y="71"/>
                  <a:pt x="535" y="71"/>
                  <a:pt x="535" y="71"/>
                </a:cubicBezTo>
                <a:cubicBezTo>
                  <a:pt x="535" y="72"/>
                  <a:pt x="535" y="72"/>
                  <a:pt x="535" y="72"/>
                </a:cubicBezTo>
                <a:cubicBezTo>
                  <a:pt x="536" y="72"/>
                  <a:pt x="536" y="72"/>
                  <a:pt x="536" y="72"/>
                </a:cubicBezTo>
                <a:cubicBezTo>
                  <a:pt x="537" y="71"/>
                  <a:pt x="537" y="71"/>
                  <a:pt x="538" y="71"/>
                </a:cubicBezTo>
                <a:cubicBezTo>
                  <a:pt x="538" y="71"/>
                  <a:pt x="538" y="70"/>
                  <a:pt x="538" y="70"/>
                </a:cubicBezTo>
                <a:cubicBezTo>
                  <a:pt x="538" y="70"/>
                  <a:pt x="538" y="70"/>
                  <a:pt x="538" y="69"/>
                </a:cubicBezTo>
                <a:cubicBezTo>
                  <a:pt x="538" y="69"/>
                  <a:pt x="537" y="69"/>
                  <a:pt x="537" y="70"/>
                </a:cubicBezTo>
                <a:cubicBezTo>
                  <a:pt x="537" y="69"/>
                  <a:pt x="537" y="69"/>
                  <a:pt x="537" y="69"/>
                </a:cubicBezTo>
                <a:cubicBezTo>
                  <a:pt x="537" y="69"/>
                  <a:pt x="538" y="69"/>
                  <a:pt x="538" y="69"/>
                </a:cubicBezTo>
                <a:cubicBezTo>
                  <a:pt x="538" y="68"/>
                  <a:pt x="538" y="68"/>
                  <a:pt x="538" y="68"/>
                </a:cubicBezTo>
                <a:cubicBezTo>
                  <a:pt x="538" y="68"/>
                  <a:pt x="538" y="68"/>
                  <a:pt x="537" y="67"/>
                </a:cubicBezTo>
                <a:cubicBezTo>
                  <a:pt x="537" y="67"/>
                  <a:pt x="537" y="67"/>
                  <a:pt x="537" y="67"/>
                </a:cubicBezTo>
                <a:cubicBezTo>
                  <a:pt x="538" y="66"/>
                  <a:pt x="538" y="66"/>
                  <a:pt x="539" y="66"/>
                </a:cubicBezTo>
                <a:cubicBezTo>
                  <a:pt x="539" y="65"/>
                  <a:pt x="539" y="65"/>
                  <a:pt x="539" y="64"/>
                </a:cubicBezTo>
                <a:cubicBezTo>
                  <a:pt x="539" y="64"/>
                  <a:pt x="540" y="64"/>
                  <a:pt x="540" y="64"/>
                </a:cubicBezTo>
                <a:cubicBezTo>
                  <a:pt x="540" y="64"/>
                  <a:pt x="540" y="63"/>
                  <a:pt x="541" y="63"/>
                </a:cubicBezTo>
                <a:cubicBezTo>
                  <a:pt x="541" y="63"/>
                  <a:pt x="541" y="64"/>
                  <a:pt x="541" y="64"/>
                </a:cubicBezTo>
                <a:cubicBezTo>
                  <a:pt x="541" y="64"/>
                  <a:pt x="541" y="64"/>
                  <a:pt x="541" y="64"/>
                </a:cubicBezTo>
                <a:cubicBezTo>
                  <a:pt x="541" y="64"/>
                  <a:pt x="540" y="64"/>
                  <a:pt x="540" y="65"/>
                </a:cubicBezTo>
                <a:cubicBezTo>
                  <a:pt x="540" y="65"/>
                  <a:pt x="540" y="65"/>
                  <a:pt x="540" y="66"/>
                </a:cubicBezTo>
                <a:cubicBezTo>
                  <a:pt x="539" y="66"/>
                  <a:pt x="539" y="67"/>
                  <a:pt x="539" y="67"/>
                </a:cubicBezTo>
                <a:cubicBezTo>
                  <a:pt x="539" y="67"/>
                  <a:pt x="539" y="68"/>
                  <a:pt x="539" y="68"/>
                </a:cubicBezTo>
                <a:cubicBezTo>
                  <a:pt x="539" y="68"/>
                  <a:pt x="539" y="68"/>
                  <a:pt x="539" y="69"/>
                </a:cubicBezTo>
                <a:cubicBezTo>
                  <a:pt x="540" y="69"/>
                  <a:pt x="540" y="69"/>
                  <a:pt x="540" y="69"/>
                </a:cubicBezTo>
                <a:cubicBezTo>
                  <a:pt x="540" y="69"/>
                  <a:pt x="540" y="69"/>
                  <a:pt x="540" y="69"/>
                </a:cubicBezTo>
                <a:cubicBezTo>
                  <a:pt x="541" y="68"/>
                  <a:pt x="541" y="68"/>
                  <a:pt x="541" y="67"/>
                </a:cubicBezTo>
                <a:cubicBezTo>
                  <a:pt x="542" y="67"/>
                  <a:pt x="543" y="66"/>
                  <a:pt x="543" y="66"/>
                </a:cubicBezTo>
                <a:cubicBezTo>
                  <a:pt x="543" y="65"/>
                  <a:pt x="544" y="65"/>
                  <a:pt x="544" y="65"/>
                </a:cubicBezTo>
                <a:cubicBezTo>
                  <a:pt x="544" y="65"/>
                  <a:pt x="544" y="64"/>
                  <a:pt x="544" y="64"/>
                </a:cubicBezTo>
                <a:cubicBezTo>
                  <a:pt x="544" y="64"/>
                  <a:pt x="544" y="63"/>
                  <a:pt x="544" y="63"/>
                </a:cubicBezTo>
                <a:cubicBezTo>
                  <a:pt x="544" y="63"/>
                  <a:pt x="545" y="63"/>
                  <a:pt x="545" y="63"/>
                </a:cubicBezTo>
                <a:cubicBezTo>
                  <a:pt x="545" y="63"/>
                  <a:pt x="545" y="63"/>
                  <a:pt x="545" y="63"/>
                </a:cubicBezTo>
                <a:cubicBezTo>
                  <a:pt x="545" y="63"/>
                  <a:pt x="545" y="63"/>
                  <a:pt x="545" y="63"/>
                </a:cubicBezTo>
                <a:cubicBezTo>
                  <a:pt x="545" y="64"/>
                  <a:pt x="545" y="64"/>
                  <a:pt x="545" y="64"/>
                </a:cubicBezTo>
                <a:cubicBezTo>
                  <a:pt x="545" y="64"/>
                  <a:pt x="546" y="64"/>
                  <a:pt x="546" y="64"/>
                </a:cubicBezTo>
                <a:cubicBezTo>
                  <a:pt x="546" y="63"/>
                  <a:pt x="547" y="63"/>
                  <a:pt x="547" y="63"/>
                </a:cubicBezTo>
                <a:cubicBezTo>
                  <a:pt x="547" y="63"/>
                  <a:pt x="548" y="62"/>
                  <a:pt x="548" y="62"/>
                </a:cubicBezTo>
                <a:cubicBezTo>
                  <a:pt x="549" y="62"/>
                  <a:pt x="549" y="62"/>
                  <a:pt x="550" y="62"/>
                </a:cubicBezTo>
                <a:cubicBezTo>
                  <a:pt x="551" y="62"/>
                  <a:pt x="551" y="62"/>
                  <a:pt x="552" y="61"/>
                </a:cubicBezTo>
                <a:cubicBezTo>
                  <a:pt x="552" y="61"/>
                  <a:pt x="553" y="61"/>
                  <a:pt x="553" y="61"/>
                </a:cubicBezTo>
                <a:cubicBezTo>
                  <a:pt x="553" y="61"/>
                  <a:pt x="553" y="61"/>
                  <a:pt x="554" y="60"/>
                </a:cubicBezTo>
                <a:cubicBezTo>
                  <a:pt x="554" y="60"/>
                  <a:pt x="554" y="60"/>
                  <a:pt x="555" y="60"/>
                </a:cubicBezTo>
                <a:cubicBezTo>
                  <a:pt x="555" y="60"/>
                  <a:pt x="555" y="59"/>
                  <a:pt x="555" y="59"/>
                </a:cubicBezTo>
                <a:cubicBezTo>
                  <a:pt x="555" y="59"/>
                  <a:pt x="555" y="59"/>
                  <a:pt x="555" y="59"/>
                </a:cubicBezTo>
                <a:cubicBezTo>
                  <a:pt x="555" y="59"/>
                  <a:pt x="555" y="58"/>
                  <a:pt x="555" y="58"/>
                </a:cubicBezTo>
                <a:cubicBezTo>
                  <a:pt x="555" y="58"/>
                  <a:pt x="555" y="58"/>
                  <a:pt x="554" y="58"/>
                </a:cubicBezTo>
                <a:cubicBezTo>
                  <a:pt x="554" y="58"/>
                  <a:pt x="554" y="57"/>
                  <a:pt x="555" y="57"/>
                </a:cubicBezTo>
                <a:cubicBezTo>
                  <a:pt x="554" y="56"/>
                  <a:pt x="554" y="56"/>
                  <a:pt x="554" y="55"/>
                </a:cubicBezTo>
                <a:cubicBezTo>
                  <a:pt x="554" y="55"/>
                  <a:pt x="554" y="55"/>
                  <a:pt x="554" y="55"/>
                </a:cubicBezTo>
                <a:cubicBezTo>
                  <a:pt x="554" y="56"/>
                  <a:pt x="553" y="56"/>
                  <a:pt x="553" y="56"/>
                </a:cubicBezTo>
                <a:cubicBezTo>
                  <a:pt x="553" y="57"/>
                  <a:pt x="552" y="57"/>
                  <a:pt x="552" y="58"/>
                </a:cubicBezTo>
                <a:cubicBezTo>
                  <a:pt x="552" y="58"/>
                  <a:pt x="551" y="58"/>
                  <a:pt x="551" y="58"/>
                </a:cubicBezTo>
                <a:cubicBezTo>
                  <a:pt x="551" y="58"/>
                  <a:pt x="551" y="58"/>
                  <a:pt x="551" y="57"/>
                </a:cubicBezTo>
                <a:cubicBezTo>
                  <a:pt x="551" y="57"/>
                  <a:pt x="552" y="57"/>
                  <a:pt x="552" y="57"/>
                </a:cubicBezTo>
                <a:cubicBezTo>
                  <a:pt x="552" y="56"/>
                  <a:pt x="553" y="56"/>
                  <a:pt x="553" y="56"/>
                </a:cubicBezTo>
                <a:cubicBezTo>
                  <a:pt x="553" y="56"/>
                  <a:pt x="553" y="55"/>
                  <a:pt x="553" y="55"/>
                </a:cubicBezTo>
                <a:cubicBezTo>
                  <a:pt x="553" y="55"/>
                  <a:pt x="552" y="55"/>
                  <a:pt x="552" y="55"/>
                </a:cubicBezTo>
                <a:cubicBezTo>
                  <a:pt x="551" y="55"/>
                  <a:pt x="551" y="54"/>
                  <a:pt x="551" y="54"/>
                </a:cubicBezTo>
                <a:cubicBezTo>
                  <a:pt x="551" y="54"/>
                  <a:pt x="551" y="54"/>
                  <a:pt x="551" y="54"/>
                </a:cubicBezTo>
                <a:cubicBezTo>
                  <a:pt x="550" y="54"/>
                  <a:pt x="550" y="55"/>
                  <a:pt x="550" y="55"/>
                </a:cubicBezTo>
                <a:cubicBezTo>
                  <a:pt x="550" y="55"/>
                  <a:pt x="550" y="55"/>
                  <a:pt x="550" y="55"/>
                </a:cubicBezTo>
                <a:cubicBezTo>
                  <a:pt x="550" y="55"/>
                  <a:pt x="549" y="55"/>
                  <a:pt x="549" y="55"/>
                </a:cubicBezTo>
                <a:cubicBezTo>
                  <a:pt x="549" y="55"/>
                  <a:pt x="548" y="55"/>
                  <a:pt x="548" y="55"/>
                </a:cubicBezTo>
                <a:cubicBezTo>
                  <a:pt x="548" y="55"/>
                  <a:pt x="547" y="56"/>
                  <a:pt x="547" y="56"/>
                </a:cubicBezTo>
                <a:cubicBezTo>
                  <a:pt x="547" y="56"/>
                  <a:pt x="546" y="56"/>
                  <a:pt x="546" y="56"/>
                </a:cubicBezTo>
                <a:cubicBezTo>
                  <a:pt x="546" y="56"/>
                  <a:pt x="546" y="56"/>
                  <a:pt x="546" y="56"/>
                </a:cubicBezTo>
                <a:cubicBezTo>
                  <a:pt x="547" y="55"/>
                  <a:pt x="548" y="55"/>
                  <a:pt x="549" y="54"/>
                </a:cubicBezTo>
                <a:cubicBezTo>
                  <a:pt x="550" y="54"/>
                  <a:pt x="550" y="54"/>
                  <a:pt x="550" y="54"/>
                </a:cubicBezTo>
                <a:cubicBezTo>
                  <a:pt x="551" y="53"/>
                  <a:pt x="551" y="53"/>
                  <a:pt x="552" y="52"/>
                </a:cubicBezTo>
                <a:cubicBezTo>
                  <a:pt x="552" y="52"/>
                  <a:pt x="552" y="52"/>
                  <a:pt x="553" y="52"/>
                </a:cubicBezTo>
                <a:cubicBezTo>
                  <a:pt x="553" y="51"/>
                  <a:pt x="553" y="51"/>
                  <a:pt x="554" y="50"/>
                </a:cubicBezTo>
                <a:cubicBezTo>
                  <a:pt x="554" y="50"/>
                  <a:pt x="554" y="49"/>
                  <a:pt x="554" y="49"/>
                </a:cubicBezTo>
                <a:cubicBezTo>
                  <a:pt x="554" y="49"/>
                  <a:pt x="554" y="49"/>
                  <a:pt x="554" y="49"/>
                </a:cubicBezTo>
                <a:cubicBezTo>
                  <a:pt x="553" y="49"/>
                  <a:pt x="553" y="49"/>
                  <a:pt x="553" y="49"/>
                </a:cubicBezTo>
                <a:cubicBezTo>
                  <a:pt x="552" y="49"/>
                  <a:pt x="552" y="49"/>
                  <a:pt x="552" y="49"/>
                </a:cubicBezTo>
                <a:cubicBezTo>
                  <a:pt x="552" y="49"/>
                  <a:pt x="552" y="49"/>
                  <a:pt x="552" y="49"/>
                </a:cubicBezTo>
                <a:cubicBezTo>
                  <a:pt x="552" y="49"/>
                  <a:pt x="552" y="49"/>
                  <a:pt x="552" y="49"/>
                </a:cubicBezTo>
                <a:cubicBezTo>
                  <a:pt x="552" y="48"/>
                  <a:pt x="552" y="48"/>
                  <a:pt x="553" y="48"/>
                </a:cubicBezTo>
                <a:cubicBezTo>
                  <a:pt x="553" y="48"/>
                  <a:pt x="553" y="48"/>
                  <a:pt x="553" y="48"/>
                </a:cubicBezTo>
                <a:cubicBezTo>
                  <a:pt x="554" y="48"/>
                  <a:pt x="554" y="48"/>
                  <a:pt x="554" y="48"/>
                </a:cubicBezTo>
                <a:cubicBezTo>
                  <a:pt x="554" y="47"/>
                  <a:pt x="554" y="47"/>
                  <a:pt x="554" y="47"/>
                </a:cubicBezTo>
                <a:cubicBezTo>
                  <a:pt x="554" y="46"/>
                  <a:pt x="554" y="46"/>
                  <a:pt x="555" y="46"/>
                </a:cubicBezTo>
                <a:cubicBezTo>
                  <a:pt x="555" y="46"/>
                  <a:pt x="555" y="45"/>
                  <a:pt x="555" y="45"/>
                </a:cubicBezTo>
                <a:cubicBezTo>
                  <a:pt x="554" y="45"/>
                  <a:pt x="554" y="45"/>
                  <a:pt x="554" y="45"/>
                </a:cubicBezTo>
                <a:cubicBezTo>
                  <a:pt x="554" y="45"/>
                  <a:pt x="554" y="44"/>
                  <a:pt x="554" y="44"/>
                </a:cubicBezTo>
                <a:cubicBezTo>
                  <a:pt x="554" y="44"/>
                  <a:pt x="553" y="44"/>
                  <a:pt x="553" y="44"/>
                </a:cubicBezTo>
                <a:cubicBezTo>
                  <a:pt x="553" y="44"/>
                  <a:pt x="552" y="45"/>
                  <a:pt x="552" y="45"/>
                </a:cubicBezTo>
                <a:cubicBezTo>
                  <a:pt x="552" y="45"/>
                  <a:pt x="551" y="46"/>
                  <a:pt x="551" y="47"/>
                </a:cubicBezTo>
                <a:cubicBezTo>
                  <a:pt x="551" y="47"/>
                  <a:pt x="551" y="47"/>
                  <a:pt x="551" y="47"/>
                </a:cubicBezTo>
                <a:cubicBezTo>
                  <a:pt x="551" y="48"/>
                  <a:pt x="551" y="48"/>
                  <a:pt x="552" y="48"/>
                </a:cubicBezTo>
                <a:cubicBezTo>
                  <a:pt x="551" y="48"/>
                  <a:pt x="551" y="48"/>
                  <a:pt x="551" y="49"/>
                </a:cubicBezTo>
                <a:cubicBezTo>
                  <a:pt x="551" y="49"/>
                  <a:pt x="550" y="49"/>
                  <a:pt x="550" y="49"/>
                </a:cubicBezTo>
                <a:cubicBezTo>
                  <a:pt x="550" y="49"/>
                  <a:pt x="550" y="49"/>
                  <a:pt x="550" y="49"/>
                </a:cubicBezTo>
                <a:cubicBezTo>
                  <a:pt x="550" y="49"/>
                  <a:pt x="550" y="49"/>
                  <a:pt x="550" y="48"/>
                </a:cubicBezTo>
                <a:cubicBezTo>
                  <a:pt x="550" y="48"/>
                  <a:pt x="550" y="48"/>
                  <a:pt x="549" y="48"/>
                </a:cubicBezTo>
                <a:cubicBezTo>
                  <a:pt x="549" y="48"/>
                  <a:pt x="549" y="48"/>
                  <a:pt x="549" y="48"/>
                </a:cubicBezTo>
                <a:cubicBezTo>
                  <a:pt x="550" y="47"/>
                  <a:pt x="550" y="47"/>
                  <a:pt x="550" y="46"/>
                </a:cubicBezTo>
                <a:cubicBezTo>
                  <a:pt x="550" y="46"/>
                  <a:pt x="550" y="46"/>
                  <a:pt x="550" y="46"/>
                </a:cubicBezTo>
                <a:cubicBezTo>
                  <a:pt x="550" y="45"/>
                  <a:pt x="550" y="45"/>
                  <a:pt x="550" y="45"/>
                </a:cubicBezTo>
                <a:cubicBezTo>
                  <a:pt x="550" y="45"/>
                  <a:pt x="550" y="45"/>
                  <a:pt x="550" y="45"/>
                </a:cubicBezTo>
                <a:cubicBezTo>
                  <a:pt x="551" y="45"/>
                  <a:pt x="551" y="45"/>
                  <a:pt x="551" y="45"/>
                </a:cubicBezTo>
                <a:cubicBezTo>
                  <a:pt x="551" y="45"/>
                  <a:pt x="551" y="44"/>
                  <a:pt x="550" y="44"/>
                </a:cubicBezTo>
                <a:cubicBezTo>
                  <a:pt x="550" y="44"/>
                  <a:pt x="550" y="44"/>
                  <a:pt x="550" y="43"/>
                </a:cubicBezTo>
                <a:cubicBezTo>
                  <a:pt x="549" y="43"/>
                  <a:pt x="549" y="44"/>
                  <a:pt x="548" y="44"/>
                </a:cubicBezTo>
                <a:cubicBezTo>
                  <a:pt x="548" y="44"/>
                  <a:pt x="548" y="44"/>
                  <a:pt x="547" y="44"/>
                </a:cubicBezTo>
                <a:cubicBezTo>
                  <a:pt x="547" y="44"/>
                  <a:pt x="547" y="45"/>
                  <a:pt x="547" y="45"/>
                </a:cubicBezTo>
                <a:cubicBezTo>
                  <a:pt x="547" y="45"/>
                  <a:pt x="546" y="45"/>
                  <a:pt x="546" y="44"/>
                </a:cubicBezTo>
                <a:cubicBezTo>
                  <a:pt x="546" y="44"/>
                  <a:pt x="546" y="44"/>
                  <a:pt x="546" y="44"/>
                </a:cubicBezTo>
                <a:cubicBezTo>
                  <a:pt x="546" y="44"/>
                  <a:pt x="546" y="44"/>
                  <a:pt x="546" y="43"/>
                </a:cubicBezTo>
                <a:cubicBezTo>
                  <a:pt x="546" y="43"/>
                  <a:pt x="545" y="43"/>
                  <a:pt x="545" y="42"/>
                </a:cubicBezTo>
                <a:cubicBezTo>
                  <a:pt x="545" y="42"/>
                  <a:pt x="545" y="41"/>
                  <a:pt x="545" y="41"/>
                </a:cubicBezTo>
                <a:cubicBezTo>
                  <a:pt x="545" y="40"/>
                  <a:pt x="545" y="40"/>
                  <a:pt x="545" y="40"/>
                </a:cubicBezTo>
                <a:cubicBezTo>
                  <a:pt x="545" y="39"/>
                  <a:pt x="545" y="39"/>
                  <a:pt x="545" y="39"/>
                </a:cubicBezTo>
                <a:cubicBezTo>
                  <a:pt x="545" y="38"/>
                  <a:pt x="545" y="38"/>
                  <a:pt x="545" y="38"/>
                </a:cubicBezTo>
                <a:cubicBezTo>
                  <a:pt x="545" y="37"/>
                  <a:pt x="545" y="37"/>
                  <a:pt x="545" y="37"/>
                </a:cubicBezTo>
                <a:cubicBezTo>
                  <a:pt x="545" y="36"/>
                  <a:pt x="545" y="36"/>
                  <a:pt x="545" y="35"/>
                </a:cubicBezTo>
                <a:cubicBezTo>
                  <a:pt x="545" y="35"/>
                  <a:pt x="545" y="35"/>
                  <a:pt x="545" y="34"/>
                </a:cubicBezTo>
                <a:cubicBezTo>
                  <a:pt x="545" y="34"/>
                  <a:pt x="545" y="34"/>
                  <a:pt x="544" y="34"/>
                </a:cubicBezTo>
                <a:cubicBezTo>
                  <a:pt x="544" y="34"/>
                  <a:pt x="544" y="33"/>
                  <a:pt x="544" y="33"/>
                </a:cubicBezTo>
                <a:cubicBezTo>
                  <a:pt x="543" y="33"/>
                  <a:pt x="542" y="33"/>
                  <a:pt x="542" y="33"/>
                </a:cubicBezTo>
                <a:cubicBezTo>
                  <a:pt x="542" y="32"/>
                  <a:pt x="541" y="32"/>
                  <a:pt x="541" y="32"/>
                </a:cubicBezTo>
                <a:cubicBezTo>
                  <a:pt x="541" y="32"/>
                  <a:pt x="540" y="32"/>
                  <a:pt x="539" y="32"/>
                </a:cubicBezTo>
                <a:cubicBezTo>
                  <a:pt x="539" y="32"/>
                  <a:pt x="539" y="32"/>
                  <a:pt x="539" y="32"/>
                </a:cubicBezTo>
                <a:cubicBezTo>
                  <a:pt x="539" y="32"/>
                  <a:pt x="539" y="33"/>
                  <a:pt x="539" y="33"/>
                </a:cubicBezTo>
                <a:cubicBezTo>
                  <a:pt x="539" y="33"/>
                  <a:pt x="539" y="33"/>
                  <a:pt x="539" y="33"/>
                </a:cubicBezTo>
                <a:cubicBezTo>
                  <a:pt x="538" y="33"/>
                  <a:pt x="537" y="33"/>
                  <a:pt x="537" y="32"/>
                </a:cubicBezTo>
                <a:cubicBezTo>
                  <a:pt x="536" y="33"/>
                  <a:pt x="536" y="33"/>
                  <a:pt x="535" y="33"/>
                </a:cubicBezTo>
                <a:cubicBezTo>
                  <a:pt x="535" y="33"/>
                  <a:pt x="535" y="33"/>
                  <a:pt x="536" y="34"/>
                </a:cubicBezTo>
                <a:cubicBezTo>
                  <a:pt x="535" y="34"/>
                  <a:pt x="535" y="34"/>
                  <a:pt x="535" y="35"/>
                </a:cubicBezTo>
                <a:cubicBezTo>
                  <a:pt x="535" y="35"/>
                  <a:pt x="535" y="35"/>
                  <a:pt x="536" y="35"/>
                </a:cubicBezTo>
                <a:cubicBezTo>
                  <a:pt x="536" y="35"/>
                  <a:pt x="537" y="35"/>
                  <a:pt x="537" y="35"/>
                </a:cubicBezTo>
                <a:cubicBezTo>
                  <a:pt x="537" y="35"/>
                  <a:pt x="538" y="35"/>
                  <a:pt x="538" y="34"/>
                </a:cubicBezTo>
                <a:cubicBezTo>
                  <a:pt x="539" y="34"/>
                  <a:pt x="539" y="34"/>
                  <a:pt x="540" y="35"/>
                </a:cubicBezTo>
                <a:cubicBezTo>
                  <a:pt x="540" y="35"/>
                  <a:pt x="540" y="35"/>
                  <a:pt x="540" y="35"/>
                </a:cubicBezTo>
                <a:cubicBezTo>
                  <a:pt x="541" y="35"/>
                  <a:pt x="541" y="35"/>
                  <a:pt x="541" y="35"/>
                </a:cubicBezTo>
                <a:cubicBezTo>
                  <a:pt x="541" y="35"/>
                  <a:pt x="541" y="35"/>
                  <a:pt x="541" y="35"/>
                </a:cubicBezTo>
                <a:cubicBezTo>
                  <a:pt x="541" y="36"/>
                  <a:pt x="540" y="36"/>
                  <a:pt x="540" y="37"/>
                </a:cubicBezTo>
                <a:cubicBezTo>
                  <a:pt x="539" y="37"/>
                  <a:pt x="539" y="37"/>
                  <a:pt x="539" y="37"/>
                </a:cubicBezTo>
                <a:cubicBezTo>
                  <a:pt x="538" y="37"/>
                  <a:pt x="538" y="37"/>
                  <a:pt x="537" y="37"/>
                </a:cubicBezTo>
                <a:cubicBezTo>
                  <a:pt x="537" y="37"/>
                  <a:pt x="537" y="37"/>
                  <a:pt x="536" y="37"/>
                </a:cubicBezTo>
                <a:cubicBezTo>
                  <a:pt x="536" y="37"/>
                  <a:pt x="535" y="37"/>
                  <a:pt x="535" y="37"/>
                </a:cubicBezTo>
                <a:cubicBezTo>
                  <a:pt x="535" y="37"/>
                  <a:pt x="536" y="37"/>
                  <a:pt x="536" y="38"/>
                </a:cubicBezTo>
                <a:cubicBezTo>
                  <a:pt x="536" y="38"/>
                  <a:pt x="536" y="37"/>
                  <a:pt x="537" y="37"/>
                </a:cubicBezTo>
                <a:cubicBezTo>
                  <a:pt x="536" y="38"/>
                  <a:pt x="536" y="38"/>
                  <a:pt x="536" y="38"/>
                </a:cubicBezTo>
                <a:cubicBezTo>
                  <a:pt x="535" y="38"/>
                  <a:pt x="535" y="38"/>
                  <a:pt x="535" y="39"/>
                </a:cubicBezTo>
                <a:cubicBezTo>
                  <a:pt x="534" y="38"/>
                  <a:pt x="534" y="38"/>
                  <a:pt x="533" y="38"/>
                </a:cubicBezTo>
                <a:cubicBezTo>
                  <a:pt x="532" y="38"/>
                  <a:pt x="532" y="39"/>
                  <a:pt x="531" y="39"/>
                </a:cubicBezTo>
                <a:cubicBezTo>
                  <a:pt x="531" y="39"/>
                  <a:pt x="531" y="40"/>
                  <a:pt x="531" y="40"/>
                </a:cubicBezTo>
                <a:cubicBezTo>
                  <a:pt x="531" y="40"/>
                  <a:pt x="530" y="40"/>
                  <a:pt x="530" y="40"/>
                </a:cubicBezTo>
                <a:cubicBezTo>
                  <a:pt x="530" y="41"/>
                  <a:pt x="530" y="41"/>
                  <a:pt x="530" y="41"/>
                </a:cubicBezTo>
                <a:cubicBezTo>
                  <a:pt x="531" y="41"/>
                  <a:pt x="531" y="41"/>
                  <a:pt x="531" y="41"/>
                </a:cubicBezTo>
                <a:cubicBezTo>
                  <a:pt x="532" y="41"/>
                  <a:pt x="532" y="41"/>
                  <a:pt x="532" y="42"/>
                </a:cubicBezTo>
                <a:cubicBezTo>
                  <a:pt x="532" y="42"/>
                  <a:pt x="533" y="42"/>
                  <a:pt x="533" y="42"/>
                </a:cubicBezTo>
                <a:cubicBezTo>
                  <a:pt x="533" y="42"/>
                  <a:pt x="533" y="42"/>
                  <a:pt x="533" y="42"/>
                </a:cubicBezTo>
                <a:cubicBezTo>
                  <a:pt x="533" y="42"/>
                  <a:pt x="533" y="42"/>
                  <a:pt x="533" y="42"/>
                </a:cubicBezTo>
                <a:cubicBezTo>
                  <a:pt x="532" y="43"/>
                  <a:pt x="532" y="43"/>
                  <a:pt x="532" y="43"/>
                </a:cubicBezTo>
                <a:cubicBezTo>
                  <a:pt x="533" y="43"/>
                  <a:pt x="533" y="43"/>
                  <a:pt x="533" y="43"/>
                </a:cubicBezTo>
                <a:cubicBezTo>
                  <a:pt x="533" y="43"/>
                  <a:pt x="533" y="44"/>
                  <a:pt x="533" y="44"/>
                </a:cubicBezTo>
                <a:cubicBezTo>
                  <a:pt x="533" y="44"/>
                  <a:pt x="533" y="44"/>
                  <a:pt x="532" y="44"/>
                </a:cubicBezTo>
                <a:cubicBezTo>
                  <a:pt x="532" y="44"/>
                  <a:pt x="532" y="44"/>
                  <a:pt x="531" y="44"/>
                </a:cubicBezTo>
                <a:cubicBezTo>
                  <a:pt x="531" y="44"/>
                  <a:pt x="531" y="44"/>
                  <a:pt x="530" y="44"/>
                </a:cubicBezTo>
                <a:cubicBezTo>
                  <a:pt x="530" y="44"/>
                  <a:pt x="529" y="44"/>
                  <a:pt x="529" y="44"/>
                </a:cubicBezTo>
                <a:cubicBezTo>
                  <a:pt x="529" y="44"/>
                  <a:pt x="528" y="44"/>
                  <a:pt x="528" y="44"/>
                </a:cubicBezTo>
                <a:cubicBezTo>
                  <a:pt x="528" y="44"/>
                  <a:pt x="527" y="44"/>
                  <a:pt x="527" y="44"/>
                </a:cubicBezTo>
                <a:cubicBezTo>
                  <a:pt x="527" y="44"/>
                  <a:pt x="527" y="45"/>
                  <a:pt x="527" y="45"/>
                </a:cubicBezTo>
                <a:cubicBezTo>
                  <a:pt x="527" y="45"/>
                  <a:pt x="527" y="45"/>
                  <a:pt x="528" y="45"/>
                </a:cubicBezTo>
                <a:cubicBezTo>
                  <a:pt x="528" y="46"/>
                  <a:pt x="527" y="46"/>
                  <a:pt x="527" y="46"/>
                </a:cubicBezTo>
                <a:cubicBezTo>
                  <a:pt x="527" y="46"/>
                  <a:pt x="527" y="46"/>
                  <a:pt x="527" y="46"/>
                </a:cubicBezTo>
                <a:cubicBezTo>
                  <a:pt x="527" y="46"/>
                  <a:pt x="527" y="46"/>
                  <a:pt x="527" y="45"/>
                </a:cubicBezTo>
                <a:cubicBezTo>
                  <a:pt x="526" y="45"/>
                  <a:pt x="526" y="45"/>
                  <a:pt x="526" y="45"/>
                </a:cubicBezTo>
                <a:cubicBezTo>
                  <a:pt x="525" y="45"/>
                  <a:pt x="525" y="45"/>
                  <a:pt x="524" y="45"/>
                </a:cubicBezTo>
                <a:cubicBezTo>
                  <a:pt x="524" y="45"/>
                  <a:pt x="524" y="45"/>
                  <a:pt x="524" y="45"/>
                </a:cubicBezTo>
                <a:cubicBezTo>
                  <a:pt x="523" y="45"/>
                  <a:pt x="523" y="45"/>
                  <a:pt x="523" y="45"/>
                </a:cubicBezTo>
                <a:cubicBezTo>
                  <a:pt x="523" y="45"/>
                  <a:pt x="522" y="45"/>
                  <a:pt x="522" y="45"/>
                </a:cubicBezTo>
                <a:cubicBezTo>
                  <a:pt x="522" y="45"/>
                  <a:pt x="522" y="45"/>
                  <a:pt x="522" y="46"/>
                </a:cubicBezTo>
                <a:cubicBezTo>
                  <a:pt x="522" y="46"/>
                  <a:pt x="522" y="46"/>
                  <a:pt x="523" y="46"/>
                </a:cubicBezTo>
                <a:cubicBezTo>
                  <a:pt x="523" y="47"/>
                  <a:pt x="523" y="47"/>
                  <a:pt x="523" y="47"/>
                </a:cubicBezTo>
                <a:cubicBezTo>
                  <a:pt x="523" y="47"/>
                  <a:pt x="523" y="48"/>
                  <a:pt x="523" y="48"/>
                </a:cubicBezTo>
                <a:cubicBezTo>
                  <a:pt x="524" y="48"/>
                  <a:pt x="524" y="48"/>
                  <a:pt x="524" y="48"/>
                </a:cubicBezTo>
                <a:cubicBezTo>
                  <a:pt x="525" y="48"/>
                  <a:pt x="525" y="48"/>
                  <a:pt x="526" y="48"/>
                </a:cubicBezTo>
                <a:cubicBezTo>
                  <a:pt x="526" y="48"/>
                  <a:pt x="526" y="48"/>
                  <a:pt x="526" y="48"/>
                </a:cubicBezTo>
                <a:cubicBezTo>
                  <a:pt x="526" y="48"/>
                  <a:pt x="526" y="48"/>
                  <a:pt x="526" y="49"/>
                </a:cubicBezTo>
                <a:cubicBezTo>
                  <a:pt x="526" y="49"/>
                  <a:pt x="525" y="49"/>
                  <a:pt x="525" y="49"/>
                </a:cubicBezTo>
                <a:cubicBezTo>
                  <a:pt x="525" y="49"/>
                  <a:pt x="526" y="49"/>
                  <a:pt x="526" y="49"/>
                </a:cubicBezTo>
                <a:cubicBezTo>
                  <a:pt x="526" y="49"/>
                  <a:pt x="527" y="49"/>
                  <a:pt x="527" y="49"/>
                </a:cubicBezTo>
                <a:cubicBezTo>
                  <a:pt x="527" y="50"/>
                  <a:pt x="528" y="50"/>
                  <a:pt x="528" y="50"/>
                </a:cubicBezTo>
                <a:cubicBezTo>
                  <a:pt x="529" y="50"/>
                  <a:pt x="529" y="49"/>
                  <a:pt x="530" y="49"/>
                </a:cubicBezTo>
                <a:cubicBezTo>
                  <a:pt x="530" y="49"/>
                  <a:pt x="530" y="49"/>
                  <a:pt x="530" y="49"/>
                </a:cubicBezTo>
                <a:cubicBezTo>
                  <a:pt x="530" y="49"/>
                  <a:pt x="531" y="49"/>
                  <a:pt x="531" y="49"/>
                </a:cubicBezTo>
                <a:cubicBezTo>
                  <a:pt x="531" y="49"/>
                  <a:pt x="531" y="49"/>
                  <a:pt x="531" y="49"/>
                </a:cubicBezTo>
                <a:cubicBezTo>
                  <a:pt x="531" y="49"/>
                  <a:pt x="530" y="50"/>
                  <a:pt x="530" y="50"/>
                </a:cubicBezTo>
                <a:cubicBezTo>
                  <a:pt x="530" y="50"/>
                  <a:pt x="530" y="51"/>
                  <a:pt x="530" y="51"/>
                </a:cubicBezTo>
                <a:cubicBezTo>
                  <a:pt x="530" y="51"/>
                  <a:pt x="529" y="51"/>
                  <a:pt x="529" y="51"/>
                </a:cubicBezTo>
                <a:cubicBezTo>
                  <a:pt x="529" y="51"/>
                  <a:pt x="528" y="51"/>
                  <a:pt x="527" y="51"/>
                </a:cubicBezTo>
                <a:cubicBezTo>
                  <a:pt x="526" y="51"/>
                  <a:pt x="525" y="51"/>
                  <a:pt x="524" y="51"/>
                </a:cubicBezTo>
                <a:cubicBezTo>
                  <a:pt x="524" y="51"/>
                  <a:pt x="523" y="50"/>
                  <a:pt x="523" y="50"/>
                </a:cubicBezTo>
                <a:cubicBezTo>
                  <a:pt x="522" y="50"/>
                  <a:pt x="522" y="50"/>
                  <a:pt x="522" y="50"/>
                </a:cubicBezTo>
                <a:cubicBezTo>
                  <a:pt x="522" y="50"/>
                  <a:pt x="521" y="50"/>
                  <a:pt x="521" y="50"/>
                </a:cubicBezTo>
                <a:cubicBezTo>
                  <a:pt x="521" y="50"/>
                  <a:pt x="521" y="50"/>
                  <a:pt x="521" y="50"/>
                </a:cubicBezTo>
                <a:cubicBezTo>
                  <a:pt x="521" y="50"/>
                  <a:pt x="521" y="51"/>
                  <a:pt x="520" y="51"/>
                </a:cubicBezTo>
                <a:cubicBezTo>
                  <a:pt x="521" y="51"/>
                  <a:pt x="521" y="51"/>
                  <a:pt x="521" y="51"/>
                </a:cubicBezTo>
                <a:cubicBezTo>
                  <a:pt x="521" y="51"/>
                  <a:pt x="520" y="51"/>
                  <a:pt x="520" y="52"/>
                </a:cubicBezTo>
                <a:cubicBezTo>
                  <a:pt x="520" y="52"/>
                  <a:pt x="521" y="52"/>
                  <a:pt x="521" y="53"/>
                </a:cubicBezTo>
                <a:cubicBezTo>
                  <a:pt x="521" y="53"/>
                  <a:pt x="520" y="53"/>
                  <a:pt x="520" y="53"/>
                </a:cubicBezTo>
                <a:cubicBezTo>
                  <a:pt x="520" y="53"/>
                  <a:pt x="520" y="53"/>
                  <a:pt x="519" y="53"/>
                </a:cubicBezTo>
                <a:cubicBezTo>
                  <a:pt x="519" y="53"/>
                  <a:pt x="520" y="54"/>
                  <a:pt x="520" y="54"/>
                </a:cubicBezTo>
                <a:cubicBezTo>
                  <a:pt x="519" y="54"/>
                  <a:pt x="519" y="54"/>
                  <a:pt x="519" y="54"/>
                </a:cubicBezTo>
                <a:cubicBezTo>
                  <a:pt x="519" y="55"/>
                  <a:pt x="519" y="55"/>
                  <a:pt x="519" y="56"/>
                </a:cubicBezTo>
                <a:cubicBezTo>
                  <a:pt x="520" y="56"/>
                  <a:pt x="520" y="56"/>
                  <a:pt x="520" y="56"/>
                </a:cubicBezTo>
                <a:cubicBezTo>
                  <a:pt x="521" y="56"/>
                  <a:pt x="521" y="56"/>
                  <a:pt x="522" y="56"/>
                </a:cubicBezTo>
                <a:cubicBezTo>
                  <a:pt x="522" y="56"/>
                  <a:pt x="523" y="56"/>
                  <a:pt x="523" y="56"/>
                </a:cubicBezTo>
                <a:cubicBezTo>
                  <a:pt x="524" y="56"/>
                  <a:pt x="524" y="56"/>
                  <a:pt x="524" y="56"/>
                </a:cubicBezTo>
                <a:cubicBezTo>
                  <a:pt x="524" y="56"/>
                  <a:pt x="524" y="56"/>
                  <a:pt x="524" y="56"/>
                </a:cubicBezTo>
                <a:cubicBezTo>
                  <a:pt x="524" y="56"/>
                  <a:pt x="524" y="56"/>
                  <a:pt x="524" y="56"/>
                </a:cubicBezTo>
                <a:cubicBezTo>
                  <a:pt x="523" y="56"/>
                  <a:pt x="523" y="56"/>
                  <a:pt x="522" y="56"/>
                </a:cubicBezTo>
                <a:cubicBezTo>
                  <a:pt x="522" y="57"/>
                  <a:pt x="521" y="57"/>
                  <a:pt x="520" y="57"/>
                </a:cubicBezTo>
                <a:cubicBezTo>
                  <a:pt x="520" y="57"/>
                  <a:pt x="520" y="57"/>
                  <a:pt x="520" y="57"/>
                </a:cubicBezTo>
                <a:cubicBezTo>
                  <a:pt x="519" y="57"/>
                  <a:pt x="519" y="57"/>
                  <a:pt x="519" y="57"/>
                </a:cubicBezTo>
                <a:cubicBezTo>
                  <a:pt x="518" y="58"/>
                  <a:pt x="518" y="58"/>
                  <a:pt x="517" y="59"/>
                </a:cubicBezTo>
                <a:cubicBezTo>
                  <a:pt x="517" y="59"/>
                  <a:pt x="517" y="59"/>
                  <a:pt x="517" y="59"/>
                </a:cubicBezTo>
                <a:cubicBezTo>
                  <a:pt x="517" y="59"/>
                  <a:pt x="518" y="59"/>
                  <a:pt x="518" y="60"/>
                </a:cubicBezTo>
                <a:cubicBezTo>
                  <a:pt x="518" y="60"/>
                  <a:pt x="518" y="60"/>
                  <a:pt x="518" y="60"/>
                </a:cubicBezTo>
                <a:close/>
                <a:moveTo>
                  <a:pt x="529" y="43"/>
                </a:moveTo>
                <a:cubicBezTo>
                  <a:pt x="529" y="43"/>
                  <a:pt x="529" y="43"/>
                  <a:pt x="530" y="43"/>
                </a:cubicBezTo>
                <a:cubicBezTo>
                  <a:pt x="530" y="43"/>
                  <a:pt x="530" y="43"/>
                  <a:pt x="530" y="43"/>
                </a:cubicBezTo>
                <a:cubicBezTo>
                  <a:pt x="530" y="43"/>
                  <a:pt x="530" y="42"/>
                  <a:pt x="530" y="42"/>
                </a:cubicBezTo>
                <a:cubicBezTo>
                  <a:pt x="530" y="42"/>
                  <a:pt x="529" y="42"/>
                  <a:pt x="529" y="42"/>
                </a:cubicBezTo>
                <a:cubicBezTo>
                  <a:pt x="529" y="42"/>
                  <a:pt x="529" y="42"/>
                  <a:pt x="528" y="42"/>
                </a:cubicBezTo>
                <a:cubicBezTo>
                  <a:pt x="528" y="42"/>
                  <a:pt x="528" y="43"/>
                  <a:pt x="528" y="43"/>
                </a:cubicBezTo>
                <a:cubicBezTo>
                  <a:pt x="528" y="43"/>
                  <a:pt x="527" y="43"/>
                  <a:pt x="527" y="43"/>
                </a:cubicBezTo>
                <a:cubicBezTo>
                  <a:pt x="527" y="43"/>
                  <a:pt x="528" y="43"/>
                  <a:pt x="528" y="43"/>
                </a:cubicBezTo>
                <a:cubicBezTo>
                  <a:pt x="528" y="43"/>
                  <a:pt x="529" y="43"/>
                  <a:pt x="529" y="43"/>
                </a:cubicBezTo>
                <a:close/>
                <a:moveTo>
                  <a:pt x="506" y="53"/>
                </a:moveTo>
                <a:cubicBezTo>
                  <a:pt x="506" y="52"/>
                  <a:pt x="506" y="52"/>
                  <a:pt x="507" y="52"/>
                </a:cubicBezTo>
                <a:cubicBezTo>
                  <a:pt x="507" y="52"/>
                  <a:pt x="507" y="53"/>
                  <a:pt x="507" y="53"/>
                </a:cubicBezTo>
                <a:cubicBezTo>
                  <a:pt x="507" y="53"/>
                  <a:pt x="506" y="53"/>
                  <a:pt x="506" y="54"/>
                </a:cubicBezTo>
                <a:cubicBezTo>
                  <a:pt x="506" y="54"/>
                  <a:pt x="506" y="54"/>
                  <a:pt x="506" y="54"/>
                </a:cubicBezTo>
                <a:cubicBezTo>
                  <a:pt x="506" y="54"/>
                  <a:pt x="507" y="54"/>
                  <a:pt x="507" y="54"/>
                </a:cubicBezTo>
                <a:cubicBezTo>
                  <a:pt x="507" y="55"/>
                  <a:pt x="507" y="55"/>
                  <a:pt x="507" y="55"/>
                </a:cubicBezTo>
                <a:cubicBezTo>
                  <a:pt x="508" y="55"/>
                  <a:pt x="508" y="54"/>
                  <a:pt x="508" y="54"/>
                </a:cubicBezTo>
                <a:cubicBezTo>
                  <a:pt x="509" y="53"/>
                  <a:pt x="509" y="53"/>
                  <a:pt x="509" y="53"/>
                </a:cubicBezTo>
                <a:cubicBezTo>
                  <a:pt x="509" y="53"/>
                  <a:pt x="509" y="52"/>
                  <a:pt x="509" y="52"/>
                </a:cubicBezTo>
                <a:cubicBezTo>
                  <a:pt x="509" y="52"/>
                  <a:pt x="510" y="51"/>
                  <a:pt x="510" y="51"/>
                </a:cubicBezTo>
                <a:cubicBezTo>
                  <a:pt x="510" y="51"/>
                  <a:pt x="511" y="50"/>
                  <a:pt x="511" y="50"/>
                </a:cubicBezTo>
                <a:cubicBezTo>
                  <a:pt x="511" y="50"/>
                  <a:pt x="511" y="50"/>
                  <a:pt x="510" y="50"/>
                </a:cubicBezTo>
                <a:cubicBezTo>
                  <a:pt x="510" y="50"/>
                  <a:pt x="509" y="50"/>
                  <a:pt x="509" y="50"/>
                </a:cubicBezTo>
                <a:cubicBezTo>
                  <a:pt x="509" y="50"/>
                  <a:pt x="508" y="50"/>
                  <a:pt x="508" y="50"/>
                </a:cubicBezTo>
                <a:cubicBezTo>
                  <a:pt x="508" y="50"/>
                  <a:pt x="508" y="49"/>
                  <a:pt x="508" y="49"/>
                </a:cubicBezTo>
                <a:cubicBezTo>
                  <a:pt x="508" y="49"/>
                  <a:pt x="508" y="49"/>
                  <a:pt x="508" y="49"/>
                </a:cubicBezTo>
                <a:cubicBezTo>
                  <a:pt x="507" y="50"/>
                  <a:pt x="507" y="50"/>
                  <a:pt x="507" y="50"/>
                </a:cubicBezTo>
                <a:cubicBezTo>
                  <a:pt x="506" y="50"/>
                  <a:pt x="505" y="51"/>
                  <a:pt x="505" y="51"/>
                </a:cubicBezTo>
                <a:cubicBezTo>
                  <a:pt x="505" y="51"/>
                  <a:pt x="505" y="51"/>
                  <a:pt x="505" y="52"/>
                </a:cubicBezTo>
                <a:cubicBezTo>
                  <a:pt x="505" y="52"/>
                  <a:pt x="504" y="52"/>
                  <a:pt x="504" y="52"/>
                </a:cubicBezTo>
                <a:cubicBezTo>
                  <a:pt x="504" y="52"/>
                  <a:pt x="504" y="52"/>
                  <a:pt x="504" y="53"/>
                </a:cubicBezTo>
                <a:cubicBezTo>
                  <a:pt x="505" y="53"/>
                  <a:pt x="505" y="53"/>
                  <a:pt x="506" y="53"/>
                </a:cubicBezTo>
                <a:close/>
                <a:moveTo>
                  <a:pt x="496" y="78"/>
                </a:moveTo>
                <a:cubicBezTo>
                  <a:pt x="496" y="78"/>
                  <a:pt x="497" y="78"/>
                  <a:pt x="497" y="78"/>
                </a:cubicBezTo>
                <a:cubicBezTo>
                  <a:pt x="497" y="79"/>
                  <a:pt x="496" y="79"/>
                  <a:pt x="496" y="79"/>
                </a:cubicBezTo>
                <a:cubicBezTo>
                  <a:pt x="496" y="79"/>
                  <a:pt x="496" y="80"/>
                  <a:pt x="497" y="80"/>
                </a:cubicBezTo>
                <a:cubicBezTo>
                  <a:pt x="497" y="80"/>
                  <a:pt x="497" y="80"/>
                  <a:pt x="498" y="79"/>
                </a:cubicBezTo>
                <a:cubicBezTo>
                  <a:pt x="498" y="79"/>
                  <a:pt x="498" y="79"/>
                  <a:pt x="498" y="79"/>
                </a:cubicBezTo>
                <a:cubicBezTo>
                  <a:pt x="498" y="79"/>
                  <a:pt x="498" y="79"/>
                  <a:pt x="499" y="79"/>
                </a:cubicBezTo>
                <a:cubicBezTo>
                  <a:pt x="499" y="79"/>
                  <a:pt x="499" y="79"/>
                  <a:pt x="499" y="79"/>
                </a:cubicBezTo>
                <a:cubicBezTo>
                  <a:pt x="499" y="79"/>
                  <a:pt x="500" y="79"/>
                  <a:pt x="500" y="79"/>
                </a:cubicBezTo>
                <a:cubicBezTo>
                  <a:pt x="501" y="79"/>
                  <a:pt x="501" y="79"/>
                  <a:pt x="502" y="79"/>
                </a:cubicBezTo>
                <a:cubicBezTo>
                  <a:pt x="502" y="79"/>
                  <a:pt x="502" y="79"/>
                  <a:pt x="503" y="79"/>
                </a:cubicBezTo>
                <a:cubicBezTo>
                  <a:pt x="503" y="78"/>
                  <a:pt x="504" y="78"/>
                  <a:pt x="504" y="78"/>
                </a:cubicBezTo>
                <a:cubicBezTo>
                  <a:pt x="504" y="78"/>
                  <a:pt x="504" y="78"/>
                  <a:pt x="505" y="78"/>
                </a:cubicBezTo>
                <a:cubicBezTo>
                  <a:pt x="505" y="78"/>
                  <a:pt x="505" y="78"/>
                  <a:pt x="505" y="78"/>
                </a:cubicBezTo>
                <a:cubicBezTo>
                  <a:pt x="505" y="78"/>
                  <a:pt x="505" y="78"/>
                  <a:pt x="506" y="78"/>
                </a:cubicBezTo>
                <a:cubicBezTo>
                  <a:pt x="506" y="78"/>
                  <a:pt x="506" y="78"/>
                  <a:pt x="506" y="78"/>
                </a:cubicBezTo>
                <a:cubicBezTo>
                  <a:pt x="507" y="77"/>
                  <a:pt x="507" y="77"/>
                  <a:pt x="508" y="77"/>
                </a:cubicBezTo>
                <a:cubicBezTo>
                  <a:pt x="508" y="76"/>
                  <a:pt x="508" y="76"/>
                  <a:pt x="508" y="76"/>
                </a:cubicBezTo>
                <a:cubicBezTo>
                  <a:pt x="508" y="76"/>
                  <a:pt x="508" y="75"/>
                  <a:pt x="507" y="75"/>
                </a:cubicBezTo>
                <a:cubicBezTo>
                  <a:pt x="507" y="75"/>
                  <a:pt x="507" y="75"/>
                  <a:pt x="507" y="75"/>
                </a:cubicBezTo>
                <a:cubicBezTo>
                  <a:pt x="507" y="75"/>
                  <a:pt x="506" y="75"/>
                  <a:pt x="506" y="75"/>
                </a:cubicBezTo>
                <a:cubicBezTo>
                  <a:pt x="506" y="75"/>
                  <a:pt x="507" y="75"/>
                  <a:pt x="507" y="74"/>
                </a:cubicBezTo>
                <a:cubicBezTo>
                  <a:pt x="507" y="74"/>
                  <a:pt x="508" y="74"/>
                  <a:pt x="508" y="74"/>
                </a:cubicBezTo>
                <a:cubicBezTo>
                  <a:pt x="508" y="74"/>
                  <a:pt x="508" y="74"/>
                  <a:pt x="509" y="74"/>
                </a:cubicBezTo>
                <a:cubicBezTo>
                  <a:pt x="509" y="73"/>
                  <a:pt x="509" y="73"/>
                  <a:pt x="510" y="73"/>
                </a:cubicBezTo>
                <a:cubicBezTo>
                  <a:pt x="509" y="72"/>
                  <a:pt x="509" y="72"/>
                  <a:pt x="509" y="72"/>
                </a:cubicBezTo>
                <a:cubicBezTo>
                  <a:pt x="509" y="71"/>
                  <a:pt x="508" y="71"/>
                  <a:pt x="508" y="71"/>
                </a:cubicBezTo>
                <a:cubicBezTo>
                  <a:pt x="508" y="71"/>
                  <a:pt x="508" y="71"/>
                  <a:pt x="508" y="71"/>
                </a:cubicBezTo>
                <a:cubicBezTo>
                  <a:pt x="508" y="71"/>
                  <a:pt x="507" y="71"/>
                  <a:pt x="507" y="71"/>
                </a:cubicBezTo>
                <a:cubicBezTo>
                  <a:pt x="507" y="71"/>
                  <a:pt x="506" y="70"/>
                  <a:pt x="506" y="70"/>
                </a:cubicBezTo>
                <a:cubicBezTo>
                  <a:pt x="506" y="70"/>
                  <a:pt x="506" y="70"/>
                  <a:pt x="506" y="70"/>
                </a:cubicBezTo>
                <a:cubicBezTo>
                  <a:pt x="506" y="70"/>
                  <a:pt x="505" y="70"/>
                  <a:pt x="505" y="70"/>
                </a:cubicBezTo>
                <a:cubicBezTo>
                  <a:pt x="505" y="70"/>
                  <a:pt x="505" y="69"/>
                  <a:pt x="505" y="69"/>
                </a:cubicBezTo>
                <a:cubicBezTo>
                  <a:pt x="505" y="69"/>
                  <a:pt x="504" y="69"/>
                  <a:pt x="504" y="69"/>
                </a:cubicBezTo>
                <a:cubicBezTo>
                  <a:pt x="504" y="69"/>
                  <a:pt x="504" y="69"/>
                  <a:pt x="504" y="69"/>
                </a:cubicBezTo>
                <a:cubicBezTo>
                  <a:pt x="504" y="68"/>
                  <a:pt x="504" y="68"/>
                  <a:pt x="504" y="68"/>
                </a:cubicBezTo>
                <a:cubicBezTo>
                  <a:pt x="503" y="68"/>
                  <a:pt x="503" y="68"/>
                  <a:pt x="503" y="67"/>
                </a:cubicBezTo>
                <a:cubicBezTo>
                  <a:pt x="502" y="67"/>
                  <a:pt x="502" y="67"/>
                  <a:pt x="501" y="67"/>
                </a:cubicBezTo>
                <a:cubicBezTo>
                  <a:pt x="501" y="67"/>
                  <a:pt x="500" y="67"/>
                  <a:pt x="500" y="67"/>
                </a:cubicBezTo>
                <a:cubicBezTo>
                  <a:pt x="500" y="67"/>
                  <a:pt x="499" y="67"/>
                  <a:pt x="499" y="68"/>
                </a:cubicBezTo>
                <a:cubicBezTo>
                  <a:pt x="499" y="68"/>
                  <a:pt x="498" y="68"/>
                  <a:pt x="498" y="69"/>
                </a:cubicBezTo>
                <a:cubicBezTo>
                  <a:pt x="498" y="69"/>
                  <a:pt x="498" y="69"/>
                  <a:pt x="498" y="70"/>
                </a:cubicBezTo>
                <a:cubicBezTo>
                  <a:pt x="498" y="70"/>
                  <a:pt x="498" y="70"/>
                  <a:pt x="497" y="70"/>
                </a:cubicBezTo>
                <a:cubicBezTo>
                  <a:pt x="497" y="70"/>
                  <a:pt x="497" y="70"/>
                  <a:pt x="497" y="70"/>
                </a:cubicBezTo>
                <a:cubicBezTo>
                  <a:pt x="496" y="71"/>
                  <a:pt x="496" y="71"/>
                  <a:pt x="496" y="71"/>
                </a:cubicBezTo>
                <a:cubicBezTo>
                  <a:pt x="496" y="72"/>
                  <a:pt x="496" y="72"/>
                  <a:pt x="496" y="73"/>
                </a:cubicBezTo>
                <a:cubicBezTo>
                  <a:pt x="496" y="73"/>
                  <a:pt x="496" y="73"/>
                  <a:pt x="496" y="73"/>
                </a:cubicBezTo>
                <a:cubicBezTo>
                  <a:pt x="496" y="74"/>
                  <a:pt x="496" y="74"/>
                  <a:pt x="497" y="74"/>
                </a:cubicBezTo>
                <a:cubicBezTo>
                  <a:pt x="496" y="74"/>
                  <a:pt x="496" y="74"/>
                  <a:pt x="495" y="74"/>
                </a:cubicBezTo>
                <a:cubicBezTo>
                  <a:pt x="496" y="74"/>
                  <a:pt x="496" y="74"/>
                  <a:pt x="496" y="75"/>
                </a:cubicBezTo>
                <a:cubicBezTo>
                  <a:pt x="496" y="75"/>
                  <a:pt x="497" y="75"/>
                  <a:pt x="497" y="75"/>
                </a:cubicBezTo>
                <a:cubicBezTo>
                  <a:pt x="498" y="75"/>
                  <a:pt x="498" y="75"/>
                  <a:pt x="499" y="75"/>
                </a:cubicBezTo>
                <a:cubicBezTo>
                  <a:pt x="499" y="76"/>
                  <a:pt x="499" y="76"/>
                  <a:pt x="499" y="76"/>
                </a:cubicBezTo>
                <a:cubicBezTo>
                  <a:pt x="498" y="76"/>
                  <a:pt x="498" y="76"/>
                  <a:pt x="498" y="76"/>
                </a:cubicBezTo>
                <a:cubicBezTo>
                  <a:pt x="498" y="76"/>
                  <a:pt x="497" y="76"/>
                  <a:pt x="497" y="76"/>
                </a:cubicBezTo>
                <a:cubicBezTo>
                  <a:pt x="496" y="76"/>
                  <a:pt x="496" y="76"/>
                  <a:pt x="495" y="76"/>
                </a:cubicBezTo>
                <a:cubicBezTo>
                  <a:pt x="495" y="76"/>
                  <a:pt x="495" y="76"/>
                  <a:pt x="495" y="77"/>
                </a:cubicBezTo>
                <a:cubicBezTo>
                  <a:pt x="495" y="77"/>
                  <a:pt x="495" y="77"/>
                  <a:pt x="495" y="77"/>
                </a:cubicBezTo>
                <a:cubicBezTo>
                  <a:pt x="495" y="77"/>
                  <a:pt x="495" y="77"/>
                  <a:pt x="496" y="77"/>
                </a:cubicBezTo>
                <a:cubicBezTo>
                  <a:pt x="496" y="78"/>
                  <a:pt x="496" y="78"/>
                  <a:pt x="496" y="78"/>
                </a:cubicBezTo>
                <a:close/>
                <a:moveTo>
                  <a:pt x="517" y="86"/>
                </a:moveTo>
                <a:cubicBezTo>
                  <a:pt x="517" y="86"/>
                  <a:pt x="517" y="86"/>
                  <a:pt x="517" y="86"/>
                </a:cubicBezTo>
                <a:cubicBezTo>
                  <a:pt x="518" y="87"/>
                  <a:pt x="518" y="87"/>
                  <a:pt x="518" y="87"/>
                </a:cubicBezTo>
                <a:cubicBezTo>
                  <a:pt x="519" y="87"/>
                  <a:pt x="519" y="87"/>
                  <a:pt x="520" y="86"/>
                </a:cubicBezTo>
                <a:cubicBezTo>
                  <a:pt x="520" y="86"/>
                  <a:pt x="520" y="86"/>
                  <a:pt x="521" y="86"/>
                </a:cubicBezTo>
                <a:cubicBezTo>
                  <a:pt x="521" y="85"/>
                  <a:pt x="522" y="85"/>
                  <a:pt x="522" y="84"/>
                </a:cubicBezTo>
                <a:cubicBezTo>
                  <a:pt x="522" y="84"/>
                  <a:pt x="522" y="84"/>
                  <a:pt x="522" y="84"/>
                </a:cubicBezTo>
                <a:cubicBezTo>
                  <a:pt x="522" y="84"/>
                  <a:pt x="521" y="84"/>
                  <a:pt x="521" y="84"/>
                </a:cubicBezTo>
                <a:cubicBezTo>
                  <a:pt x="521" y="84"/>
                  <a:pt x="521" y="84"/>
                  <a:pt x="521" y="83"/>
                </a:cubicBezTo>
                <a:cubicBezTo>
                  <a:pt x="521" y="83"/>
                  <a:pt x="521" y="83"/>
                  <a:pt x="521" y="83"/>
                </a:cubicBezTo>
                <a:cubicBezTo>
                  <a:pt x="520" y="83"/>
                  <a:pt x="520" y="83"/>
                  <a:pt x="520" y="83"/>
                </a:cubicBezTo>
                <a:cubicBezTo>
                  <a:pt x="519" y="83"/>
                  <a:pt x="519" y="83"/>
                  <a:pt x="519" y="83"/>
                </a:cubicBezTo>
                <a:cubicBezTo>
                  <a:pt x="519" y="83"/>
                  <a:pt x="518" y="83"/>
                  <a:pt x="518" y="83"/>
                </a:cubicBezTo>
                <a:cubicBezTo>
                  <a:pt x="518" y="83"/>
                  <a:pt x="517" y="83"/>
                  <a:pt x="517" y="84"/>
                </a:cubicBezTo>
                <a:cubicBezTo>
                  <a:pt x="517" y="84"/>
                  <a:pt x="517" y="84"/>
                  <a:pt x="517" y="84"/>
                </a:cubicBezTo>
                <a:cubicBezTo>
                  <a:pt x="517" y="85"/>
                  <a:pt x="517" y="85"/>
                  <a:pt x="517" y="85"/>
                </a:cubicBezTo>
                <a:cubicBezTo>
                  <a:pt x="517" y="85"/>
                  <a:pt x="517" y="86"/>
                  <a:pt x="517" y="86"/>
                </a:cubicBezTo>
                <a:close/>
                <a:moveTo>
                  <a:pt x="549" y="65"/>
                </a:moveTo>
                <a:cubicBezTo>
                  <a:pt x="549" y="64"/>
                  <a:pt x="550" y="64"/>
                  <a:pt x="550" y="64"/>
                </a:cubicBezTo>
                <a:cubicBezTo>
                  <a:pt x="550" y="64"/>
                  <a:pt x="551" y="64"/>
                  <a:pt x="551" y="64"/>
                </a:cubicBezTo>
                <a:cubicBezTo>
                  <a:pt x="552" y="63"/>
                  <a:pt x="552" y="63"/>
                  <a:pt x="552" y="63"/>
                </a:cubicBezTo>
                <a:cubicBezTo>
                  <a:pt x="551" y="63"/>
                  <a:pt x="551" y="63"/>
                  <a:pt x="550" y="63"/>
                </a:cubicBezTo>
                <a:cubicBezTo>
                  <a:pt x="550" y="63"/>
                  <a:pt x="550" y="63"/>
                  <a:pt x="549" y="63"/>
                </a:cubicBezTo>
                <a:cubicBezTo>
                  <a:pt x="549" y="63"/>
                  <a:pt x="549" y="63"/>
                  <a:pt x="548" y="63"/>
                </a:cubicBezTo>
                <a:cubicBezTo>
                  <a:pt x="548" y="63"/>
                  <a:pt x="548" y="63"/>
                  <a:pt x="547" y="63"/>
                </a:cubicBezTo>
                <a:cubicBezTo>
                  <a:pt x="547" y="64"/>
                  <a:pt x="547" y="64"/>
                  <a:pt x="546" y="65"/>
                </a:cubicBezTo>
                <a:cubicBezTo>
                  <a:pt x="546" y="65"/>
                  <a:pt x="546" y="65"/>
                  <a:pt x="546" y="65"/>
                </a:cubicBezTo>
                <a:cubicBezTo>
                  <a:pt x="547" y="65"/>
                  <a:pt x="547" y="65"/>
                  <a:pt x="547" y="65"/>
                </a:cubicBezTo>
                <a:cubicBezTo>
                  <a:pt x="548" y="65"/>
                  <a:pt x="548" y="65"/>
                  <a:pt x="549" y="65"/>
                </a:cubicBezTo>
                <a:close/>
                <a:moveTo>
                  <a:pt x="585" y="211"/>
                </a:moveTo>
                <a:cubicBezTo>
                  <a:pt x="584" y="211"/>
                  <a:pt x="584" y="211"/>
                  <a:pt x="584" y="211"/>
                </a:cubicBezTo>
                <a:cubicBezTo>
                  <a:pt x="584" y="211"/>
                  <a:pt x="584" y="211"/>
                  <a:pt x="584" y="211"/>
                </a:cubicBezTo>
                <a:cubicBezTo>
                  <a:pt x="585" y="211"/>
                  <a:pt x="585" y="212"/>
                  <a:pt x="585" y="212"/>
                </a:cubicBezTo>
                <a:cubicBezTo>
                  <a:pt x="585" y="212"/>
                  <a:pt x="585" y="212"/>
                  <a:pt x="586" y="212"/>
                </a:cubicBezTo>
                <a:cubicBezTo>
                  <a:pt x="586" y="212"/>
                  <a:pt x="586" y="212"/>
                  <a:pt x="586" y="212"/>
                </a:cubicBezTo>
                <a:cubicBezTo>
                  <a:pt x="586" y="212"/>
                  <a:pt x="586" y="212"/>
                  <a:pt x="586" y="212"/>
                </a:cubicBezTo>
                <a:cubicBezTo>
                  <a:pt x="587" y="212"/>
                  <a:pt x="587" y="212"/>
                  <a:pt x="587" y="212"/>
                </a:cubicBezTo>
                <a:cubicBezTo>
                  <a:pt x="587" y="212"/>
                  <a:pt x="587" y="212"/>
                  <a:pt x="587" y="212"/>
                </a:cubicBezTo>
                <a:cubicBezTo>
                  <a:pt x="587" y="212"/>
                  <a:pt x="587" y="212"/>
                  <a:pt x="587" y="212"/>
                </a:cubicBezTo>
                <a:cubicBezTo>
                  <a:pt x="587" y="212"/>
                  <a:pt x="587" y="212"/>
                  <a:pt x="588" y="212"/>
                </a:cubicBezTo>
                <a:cubicBezTo>
                  <a:pt x="588" y="211"/>
                  <a:pt x="588" y="211"/>
                  <a:pt x="588" y="211"/>
                </a:cubicBezTo>
                <a:cubicBezTo>
                  <a:pt x="588" y="211"/>
                  <a:pt x="588" y="211"/>
                  <a:pt x="588" y="211"/>
                </a:cubicBezTo>
                <a:cubicBezTo>
                  <a:pt x="588" y="211"/>
                  <a:pt x="588" y="211"/>
                  <a:pt x="588" y="211"/>
                </a:cubicBezTo>
                <a:cubicBezTo>
                  <a:pt x="588" y="210"/>
                  <a:pt x="587" y="210"/>
                  <a:pt x="587" y="210"/>
                </a:cubicBezTo>
                <a:cubicBezTo>
                  <a:pt x="586" y="210"/>
                  <a:pt x="586" y="210"/>
                  <a:pt x="585" y="210"/>
                </a:cubicBezTo>
                <a:cubicBezTo>
                  <a:pt x="585" y="211"/>
                  <a:pt x="585" y="211"/>
                  <a:pt x="585" y="211"/>
                </a:cubicBezTo>
                <a:close/>
                <a:moveTo>
                  <a:pt x="571" y="219"/>
                </a:moveTo>
                <a:cubicBezTo>
                  <a:pt x="571" y="219"/>
                  <a:pt x="571" y="219"/>
                  <a:pt x="570" y="219"/>
                </a:cubicBezTo>
                <a:cubicBezTo>
                  <a:pt x="570" y="219"/>
                  <a:pt x="569" y="220"/>
                  <a:pt x="569" y="220"/>
                </a:cubicBezTo>
                <a:cubicBezTo>
                  <a:pt x="569" y="220"/>
                  <a:pt x="569" y="220"/>
                  <a:pt x="569" y="220"/>
                </a:cubicBezTo>
                <a:cubicBezTo>
                  <a:pt x="569" y="220"/>
                  <a:pt x="569" y="220"/>
                  <a:pt x="569" y="221"/>
                </a:cubicBezTo>
                <a:cubicBezTo>
                  <a:pt x="569" y="221"/>
                  <a:pt x="569" y="221"/>
                  <a:pt x="568" y="221"/>
                </a:cubicBezTo>
                <a:cubicBezTo>
                  <a:pt x="569" y="221"/>
                  <a:pt x="569" y="222"/>
                  <a:pt x="569" y="222"/>
                </a:cubicBezTo>
                <a:cubicBezTo>
                  <a:pt x="569" y="222"/>
                  <a:pt x="569" y="222"/>
                  <a:pt x="569" y="222"/>
                </a:cubicBezTo>
                <a:cubicBezTo>
                  <a:pt x="569" y="221"/>
                  <a:pt x="570" y="221"/>
                  <a:pt x="570" y="221"/>
                </a:cubicBezTo>
                <a:cubicBezTo>
                  <a:pt x="570" y="221"/>
                  <a:pt x="571" y="221"/>
                  <a:pt x="571" y="221"/>
                </a:cubicBezTo>
                <a:cubicBezTo>
                  <a:pt x="571" y="221"/>
                  <a:pt x="571" y="220"/>
                  <a:pt x="571" y="220"/>
                </a:cubicBezTo>
                <a:cubicBezTo>
                  <a:pt x="571" y="220"/>
                  <a:pt x="572" y="220"/>
                  <a:pt x="572" y="220"/>
                </a:cubicBezTo>
                <a:cubicBezTo>
                  <a:pt x="572" y="220"/>
                  <a:pt x="572" y="219"/>
                  <a:pt x="572" y="219"/>
                </a:cubicBezTo>
                <a:cubicBezTo>
                  <a:pt x="572" y="219"/>
                  <a:pt x="572" y="219"/>
                  <a:pt x="572" y="219"/>
                </a:cubicBezTo>
                <a:cubicBezTo>
                  <a:pt x="572" y="219"/>
                  <a:pt x="572" y="219"/>
                  <a:pt x="572" y="219"/>
                </a:cubicBezTo>
                <a:cubicBezTo>
                  <a:pt x="571" y="219"/>
                  <a:pt x="571" y="219"/>
                  <a:pt x="571" y="219"/>
                </a:cubicBezTo>
                <a:close/>
                <a:moveTo>
                  <a:pt x="541" y="209"/>
                </a:moveTo>
                <a:cubicBezTo>
                  <a:pt x="541" y="209"/>
                  <a:pt x="541" y="209"/>
                  <a:pt x="541" y="209"/>
                </a:cubicBezTo>
                <a:cubicBezTo>
                  <a:pt x="541" y="209"/>
                  <a:pt x="540" y="209"/>
                  <a:pt x="540" y="209"/>
                </a:cubicBezTo>
                <a:cubicBezTo>
                  <a:pt x="541" y="209"/>
                  <a:pt x="541" y="209"/>
                  <a:pt x="541" y="209"/>
                </a:cubicBezTo>
                <a:cubicBezTo>
                  <a:pt x="542" y="209"/>
                  <a:pt x="542" y="209"/>
                  <a:pt x="542" y="209"/>
                </a:cubicBezTo>
                <a:cubicBezTo>
                  <a:pt x="542" y="209"/>
                  <a:pt x="543" y="209"/>
                  <a:pt x="543" y="209"/>
                </a:cubicBezTo>
                <a:cubicBezTo>
                  <a:pt x="543" y="209"/>
                  <a:pt x="544" y="209"/>
                  <a:pt x="544" y="209"/>
                </a:cubicBezTo>
                <a:cubicBezTo>
                  <a:pt x="544" y="209"/>
                  <a:pt x="544" y="209"/>
                  <a:pt x="544" y="209"/>
                </a:cubicBezTo>
                <a:cubicBezTo>
                  <a:pt x="543" y="209"/>
                  <a:pt x="543" y="209"/>
                  <a:pt x="543" y="209"/>
                </a:cubicBezTo>
                <a:cubicBezTo>
                  <a:pt x="542" y="209"/>
                  <a:pt x="542" y="209"/>
                  <a:pt x="541" y="209"/>
                </a:cubicBezTo>
                <a:close/>
                <a:moveTo>
                  <a:pt x="586" y="210"/>
                </a:moveTo>
                <a:cubicBezTo>
                  <a:pt x="587" y="210"/>
                  <a:pt x="587" y="210"/>
                  <a:pt x="587" y="210"/>
                </a:cubicBezTo>
                <a:cubicBezTo>
                  <a:pt x="588" y="210"/>
                  <a:pt x="588" y="210"/>
                  <a:pt x="588" y="210"/>
                </a:cubicBezTo>
                <a:cubicBezTo>
                  <a:pt x="588" y="210"/>
                  <a:pt x="588" y="210"/>
                  <a:pt x="587" y="209"/>
                </a:cubicBezTo>
                <a:cubicBezTo>
                  <a:pt x="587" y="209"/>
                  <a:pt x="587" y="209"/>
                  <a:pt x="587" y="209"/>
                </a:cubicBezTo>
                <a:cubicBezTo>
                  <a:pt x="587" y="209"/>
                  <a:pt x="587" y="209"/>
                  <a:pt x="587" y="209"/>
                </a:cubicBezTo>
                <a:cubicBezTo>
                  <a:pt x="586" y="209"/>
                  <a:pt x="586" y="208"/>
                  <a:pt x="586" y="208"/>
                </a:cubicBezTo>
                <a:cubicBezTo>
                  <a:pt x="586" y="209"/>
                  <a:pt x="586" y="209"/>
                  <a:pt x="586" y="209"/>
                </a:cubicBezTo>
                <a:cubicBezTo>
                  <a:pt x="586" y="209"/>
                  <a:pt x="586" y="209"/>
                  <a:pt x="586" y="209"/>
                </a:cubicBezTo>
                <a:cubicBezTo>
                  <a:pt x="586" y="209"/>
                  <a:pt x="586" y="209"/>
                  <a:pt x="586" y="209"/>
                </a:cubicBezTo>
                <a:cubicBezTo>
                  <a:pt x="586" y="209"/>
                  <a:pt x="586" y="210"/>
                  <a:pt x="586" y="210"/>
                </a:cubicBezTo>
                <a:close/>
                <a:moveTo>
                  <a:pt x="560" y="207"/>
                </a:moveTo>
                <a:cubicBezTo>
                  <a:pt x="560" y="207"/>
                  <a:pt x="561" y="207"/>
                  <a:pt x="561" y="207"/>
                </a:cubicBezTo>
                <a:cubicBezTo>
                  <a:pt x="561" y="207"/>
                  <a:pt x="561" y="207"/>
                  <a:pt x="561" y="207"/>
                </a:cubicBezTo>
                <a:cubicBezTo>
                  <a:pt x="562" y="207"/>
                  <a:pt x="562" y="207"/>
                  <a:pt x="562" y="207"/>
                </a:cubicBezTo>
                <a:cubicBezTo>
                  <a:pt x="562" y="207"/>
                  <a:pt x="562" y="207"/>
                  <a:pt x="562" y="207"/>
                </a:cubicBezTo>
                <a:cubicBezTo>
                  <a:pt x="562" y="207"/>
                  <a:pt x="562" y="207"/>
                  <a:pt x="562" y="207"/>
                </a:cubicBezTo>
                <a:cubicBezTo>
                  <a:pt x="562" y="207"/>
                  <a:pt x="562" y="206"/>
                  <a:pt x="562" y="206"/>
                </a:cubicBezTo>
                <a:cubicBezTo>
                  <a:pt x="562" y="206"/>
                  <a:pt x="562" y="206"/>
                  <a:pt x="561" y="206"/>
                </a:cubicBezTo>
                <a:cubicBezTo>
                  <a:pt x="561" y="206"/>
                  <a:pt x="561" y="206"/>
                  <a:pt x="561" y="206"/>
                </a:cubicBezTo>
                <a:cubicBezTo>
                  <a:pt x="561" y="206"/>
                  <a:pt x="560" y="206"/>
                  <a:pt x="560" y="206"/>
                </a:cubicBezTo>
                <a:cubicBezTo>
                  <a:pt x="560" y="206"/>
                  <a:pt x="560" y="206"/>
                  <a:pt x="559" y="206"/>
                </a:cubicBezTo>
                <a:cubicBezTo>
                  <a:pt x="559" y="206"/>
                  <a:pt x="559" y="206"/>
                  <a:pt x="558" y="206"/>
                </a:cubicBezTo>
                <a:cubicBezTo>
                  <a:pt x="558" y="206"/>
                  <a:pt x="558" y="206"/>
                  <a:pt x="558" y="206"/>
                </a:cubicBezTo>
                <a:cubicBezTo>
                  <a:pt x="558" y="206"/>
                  <a:pt x="558" y="206"/>
                  <a:pt x="558" y="206"/>
                </a:cubicBezTo>
                <a:cubicBezTo>
                  <a:pt x="559" y="206"/>
                  <a:pt x="559" y="206"/>
                  <a:pt x="560" y="206"/>
                </a:cubicBezTo>
                <a:cubicBezTo>
                  <a:pt x="560" y="206"/>
                  <a:pt x="560" y="206"/>
                  <a:pt x="560" y="206"/>
                </a:cubicBezTo>
                <a:cubicBezTo>
                  <a:pt x="560" y="206"/>
                  <a:pt x="560" y="206"/>
                  <a:pt x="560" y="207"/>
                </a:cubicBezTo>
                <a:cubicBezTo>
                  <a:pt x="560" y="207"/>
                  <a:pt x="560" y="207"/>
                  <a:pt x="560" y="207"/>
                </a:cubicBezTo>
                <a:close/>
                <a:moveTo>
                  <a:pt x="268" y="348"/>
                </a:moveTo>
                <a:cubicBezTo>
                  <a:pt x="268" y="348"/>
                  <a:pt x="268" y="347"/>
                  <a:pt x="268" y="347"/>
                </a:cubicBezTo>
                <a:cubicBezTo>
                  <a:pt x="267" y="347"/>
                  <a:pt x="267" y="348"/>
                  <a:pt x="266" y="348"/>
                </a:cubicBezTo>
                <a:cubicBezTo>
                  <a:pt x="267" y="348"/>
                  <a:pt x="267" y="348"/>
                  <a:pt x="268" y="348"/>
                </a:cubicBezTo>
                <a:close/>
                <a:moveTo>
                  <a:pt x="268" y="346"/>
                </a:moveTo>
                <a:cubicBezTo>
                  <a:pt x="268" y="346"/>
                  <a:pt x="268" y="346"/>
                  <a:pt x="267" y="346"/>
                </a:cubicBezTo>
                <a:cubicBezTo>
                  <a:pt x="267" y="346"/>
                  <a:pt x="267" y="346"/>
                  <a:pt x="267" y="346"/>
                </a:cubicBezTo>
                <a:cubicBezTo>
                  <a:pt x="267" y="346"/>
                  <a:pt x="267" y="346"/>
                  <a:pt x="267" y="347"/>
                </a:cubicBezTo>
                <a:cubicBezTo>
                  <a:pt x="267" y="347"/>
                  <a:pt x="267" y="347"/>
                  <a:pt x="267" y="347"/>
                </a:cubicBezTo>
                <a:cubicBezTo>
                  <a:pt x="267" y="347"/>
                  <a:pt x="267" y="347"/>
                  <a:pt x="268" y="347"/>
                </a:cubicBezTo>
                <a:cubicBezTo>
                  <a:pt x="268" y="346"/>
                  <a:pt x="268" y="346"/>
                  <a:pt x="268" y="346"/>
                </a:cubicBezTo>
                <a:close/>
                <a:moveTo>
                  <a:pt x="425" y="171"/>
                </a:moveTo>
                <a:cubicBezTo>
                  <a:pt x="425" y="171"/>
                  <a:pt x="425" y="171"/>
                  <a:pt x="425" y="171"/>
                </a:cubicBezTo>
                <a:cubicBezTo>
                  <a:pt x="425" y="171"/>
                  <a:pt x="425" y="171"/>
                  <a:pt x="425" y="171"/>
                </a:cubicBezTo>
                <a:cubicBezTo>
                  <a:pt x="425" y="171"/>
                  <a:pt x="425" y="171"/>
                  <a:pt x="425" y="170"/>
                </a:cubicBezTo>
                <a:cubicBezTo>
                  <a:pt x="425" y="170"/>
                  <a:pt x="425" y="170"/>
                  <a:pt x="425" y="170"/>
                </a:cubicBezTo>
                <a:cubicBezTo>
                  <a:pt x="425" y="170"/>
                  <a:pt x="425" y="170"/>
                  <a:pt x="425" y="171"/>
                </a:cubicBezTo>
                <a:close/>
                <a:moveTo>
                  <a:pt x="258" y="335"/>
                </a:moveTo>
                <a:cubicBezTo>
                  <a:pt x="258" y="335"/>
                  <a:pt x="258" y="335"/>
                  <a:pt x="258" y="335"/>
                </a:cubicBezTo>
                <a:cubicBezTo>
                  <a:pt x="258" y="336"/>
                  <a:pt x="258" y="336"/>
                  <a:pt x="258" y="336"/>
                </a:cubicBezTo>
                <a:cubicBezTo>
                  <a:pt x="258" y="336"/>
                  <a:pt x="258" y="336"/>
                  <a:pt x="259" y="336"/>
                </a:cubicBezTo>
                <a:cubicBezTo>
                  <a:pt x="259" y="336"/>
                  <a:pt x="259" y="336"/>
                  <a:pt x="259" y="336"/>
                </a:cubicBezTo>
                <a:cubicBezTo>
                  <a:pt x="259" y="335"/>
                  <a:pt x="259" y="335"/>
                  <a:pt x="259" y="335"/>
                </a:cubicBezTo>
                <a:cubicBezTo>
                  <a:pt x="259" y="335"/>
                  <a:pt x="259" y="335"/>
                  <a:pt x="258" y="335"/>
                </a:cubicBezTo>
                <a:close/>
                <a:moveTo>
                  <a:pt x="590" y="206"/>
                </a:moveTo>
                <a:cubicBezTo>
                  <a:pt x="590" y="205"/>
                  <a:pt x="590" y="205"/>
                  <a:pt x="590" y="205"/>
                </a:cubicBezTo>
                <a:cubicBezTo>
                  <a:pt x="590" y="205"/>
                  <a:pt x="590" y="205"/>
                  <a:pt x="590" y="205"/>
                </a:cubicBezTo>
                <a:cubicBezTo>
                  <a:pt x="591" y="205"/>
                  <a:pt x="591" y="204"/>
                  <a:pt x="591" y="204"/>
                </a:cubicBezTo>
                <a:cubicBezTo>
                  <a:pt x="591" y="204"/>
                  <a:pt x="591" y="204"/>
                  <a:pt x="591" y="204"/>
                </a:cubicBezTo>
                <a:cubicBezTo>
                  <a:pt x="590" y="204"/>
                  <a:pt x="590" y="204"/>
                  <a:pt x="590" y="204"/>
                </a:cubicBezTo>
                <a:cubicBezTo>
                  <a:pt x="590" y="204"/>
                  <a:pt x="590" y="204"/>
                  <a:pt x="589" y="204"/>
                </a:cubicBezTo>
                <a:cubicBezTo>
                  <a:pt x="589" y="204"/>
                  <a:pt x="589" y="205"/>
                  <a:pt x="588" y="205"/>
                </a:cubicBezTo>
                <a:cubicBezTo>
                  <a:pt x="588" y="205"/>
                  <a:pt x="588" y="205"/>
                  <a:pt x="588" y="205"/>
                </a:cubicBezTo>
                <a:cubicBezTo>
                  <a:pt x="588" y="205"/>
                  <a:pt x="588" y="205"/>
                  <a:pt x="588" y="205"/>
                </a:cubicBezTo>
                <a:cubicBezTo>
                  <a:pt x="588" y="205"/>
                  <a:pt x="589" y="205"/>
                  <a:pt x="589" y="205"/>
                </a:cubicBezTo>
                <a:cubicBezTo>
                  <a:pt x="589" y="205"/>
                  <a:pt x="590" y="205"/>
                  <a:pt x="590" y="206"/>
                </a:cubicBezTo>
                <a:close/>
                <a:moveTo>
                  <a:pt x="265" y="346"/>
                </a:moveTo>
                <a:cubicBezTo>
                  <a:pt x="266" y="346"/>
                  <a:pt x="266" y="346"/>
                  <a:pt x="266" y="346"/>
                </a:cubicBezTo>
                <a:cubicBezTo>
                  <a:pt x="266" y="346"/>
                  <a:pt x="266" y="346"/>
                  <a:pt x="266" y="346"/>
                </a:cubicBezTo>
                <a:cubicBezTo>
                  <a:pt x="266" y="346"/>
                  <a:pt x="265" y="346"/>
                  <a:pt x="265" y="346"/>
                </a:cubicBezTo>
                <a:close/>
                <a:moveTo>
                  <a:pt x="588" y="191"/>
                </a:moveTo>
                <a:cubicBezTo>
                  <a:pt x="588" y="191"/>
                  <a:pt x="588" y="191"/>
                  <a:pt x="589" y="191"/>
                </a:cubicBezTo>
                <a:cubicBezTo>
                  <a:pt x="589" y="190"/>
                  <a:pt x="589" y="190"/>
                  <a:pt x="589" y="190"/>
                </a:cubicBezTo>
                <a:cubicBezTo>
                  <a:pt x="589" y="190"/>
                  <a:pt x="589" y="190"/>
                  <a:pt x="590" y="190"/>
                </a:cubicBezTo>
                <a:cubicBezTo>
                  <a:pt x="590" y="189"/>
                  <a:pt x="589" y="189"/>
                  <a:pt x="589" y="189"/>
                </a:cubicBezTo>
                <a:cubicBezTo>
                  <a:pt x="589" y="189"/>
                  <a:pt x="589" y="190"/>
                  <a:pt x="589" y="190"/>
                </a:cubicBezTo>
                <a:cubicBezTo>
                  <a:pt x="588" y="190"/>
                  <a:pt x="588" y="190"/>
                  <a:pt x="588" y="191"/>
                </a:cubicBezTo>
                <a:close/>
                <a:moveTo>
                  <a:pt x="532" y="169"/>
                </a:moveTo>
                <a:cubicBezTo>
                  <a:pt x="532" y="169"/>
                  <a:pt x="532" y="169"/>
                  <a:pt x="532" y="170"/>
                </a:cubicBezTo>
                <a:cubicBezTo>
                  <a:pt x="532" y="170"/>
                  <a:pt x="532" y="170"/>
                  <a:pt x="532" y="170"/>
                </a:cubicBezTo>
                <a:cubicBezTo>
                  <a:pt x="533" y="170"/>
                  <a:pt x="533" y="170"/>
                  <a:pt x="533" y="170"/>
                </a:cubicBezTo>
                <a:cubicBezTo>
                  <a:pt x="533" y="170"/>
                  <a:pt x="533" y="170"/>
                  <a:pt x="533" y="170"/>
                </a:cubicBezTo>
                <a:cubicBezTo>
                  <a:pt x="533" y="169"/>
                  <a:pt x="533" y="169"/>
                  <a:pt x="534" y="169"/>
                </a:cubicBezTo>
                <a:cubicBezTo>
                  <a:pt x="534" y="169"/>
                  <a:pt x="534" y="169"/>
                  <a:pt x="534" y="169"/>
                </a:cubicBezTo>
                <a:cubicBezTo>
                  <a:pt x="533" y="169"/>
                  <a:pt x="533" y="169"/>
                  <a:pt x="533" y="169"/>
                </a:cubicBezTo>
                <a:cubicBezTo>
                  <a:pt x="532" y="169"/>
                  <a:pt x="532" y="169"/>
                  <a:pt x="532" y="169"/>
                </a:cubicBezTo>
                <a:close/>
                <a:moveTo>
                  <a:pt x="531" y="158"/>
                </a:moveTo>
                <a:cubicBezTo>
                  <a:pt x="530" y="158"/>
                  <a:pt x="530" y="158"/>
                  <a:pt x="530" y="157"/>
                </a:cubicBezTo>
                <a:cubicBezTo>
                  <a:pt x="529" y="157"/>
                  <a:pt x="529" y="157"/>
                  <a:pt x="529" y="158"/>
                </a:cubicBezTo>
                <a:cubicBezTo>
                  <a:pt x="529" y="158"/>
                  <a:pt x="529" y="158"/>
                  <a:pt x="529" y="158"/>
                </a:cubicBezTo>
                <a:cubicBezTo>
                  <a:pt x="529" y="158"/>
                  <a:pt x="528" y="158"/>
                  <a:pt x="528" y="159"/>
                </a:cubicBezTo>
                <a:cubicBezTo>
                  <a:pt x="528" y="158"/>
                  <a:pt x="528" y="158"/>
                  <a:pt x="529" y="158"/>
                </a:cubicBezTo>
                <a:cubicBezTo>
                  <a:pt x="529" y="159"/>
                  <a:pt x="529" y="159"/>
                  <a:pt x="529" y="159"/>
                </a:cubicBezTo>
                <a:cubicBezTo>
                  <a:pt x="529" y="159"/>
                  <a:pt x="529" y="159"/>
                  <a:pt x="529" y="159"/>
                </a:cubicBezTo>
                <a:cubicBezTo>
                  <a:pt x="529" y="159"/>
                  <a:pt x="529" y="159"/>
                  <a:pt x="529" y="159"/>
                </a:cubicBezTo>
                <a:cubicBezTo>
                  <a:pt x="529" y="159"/>
                  <a:pt x="530" y="159"/>
                  <a:pt x="530" y="160"/>
                </a:cubicBezTo>
                <a:cubicBezTo>
                  <a:pt x="530" y="159"/>
                  <a:pt x="530" y="159"/>
                  <a:pt x="530" y="159"/>
                </a:cubicBezTo>
                <a:cubicBezTo>
                  <a:pt x="530" y="159"/>
                  <a:pt x="530" y="159"/>
                  <a:pt x="530" y="159"/>
                </a:cubicBezTo>
                <a:cubicBezTo>
                  <a:pt x="530" y="159"/>
                  <a:pt x="531" y="159"/>
                  <a:pt x="531" y="159"/>
                </a:cubicBezTo>
                <a:cubicBezTo>
                  <a:pt x="531" y="159"/>
                  <a:pt x="532" y="159"/>
                  <a:pt x="532" y="158"/>
                </a:cubicBezTo>
                <a:cubicBezTo>
                  <a:pt x="532" y="158"/>
                  <a:pt x="532" y="158"/>
                  <a:pt x="532" y="158"/>
                </a:cubicBezTo>
                <a:cubicBezTo>
                  <a:pt x="532" y="158"/>
                  <a:pt x="533" y="158"/>
                  <a:pt x="533" y="158"/>
                </a:cubicBezTo>
                <a:cubicBezTo>
                  <a:pt x="533" y="158"/>
                  <a:pt x="532" y="158"/>
                  <a:pt x="532" y="158"/>
                </a:cubicBezTo>
                <a:cubicBezTo>
                  <a:pt x="532" y="158"/>
                  <a:pt x="531" y="158"/>
                  <a:pt x="531" y="158"/>
                </a:cubicBezTo>
                <a:close/>
                <a:moveTo>
                  <a:pt x="551" y="169"/>
                </a:moveTo>
                <a:cubicBezTo>
                  <a:pt x="551" y="169"/>
                  <a:pt x="551" y="169"/>
                  <a:pt x="551" y="170"/>
                </a:cubicBezTo>
                <a:cubicBezTo>
                  <a:pt x="551" y="170"/>
                  <a:pt x="551" y="170"/>
                  <a:pt x="551" y="170"/>
                </a:cubicBezTo>
                <a:cubicBezTo>
                  <a:pt x="551" y="170"/>
                  <a:pt x="552" y="171"/>
                  <a:pt x="552" y="171"/>
                </a:cubicBezTo>
                <a:cubicBezTo>
                  <a:pt x="552" y="171"/>
                  <a:pt x="552" y="171"/>
                  <a:pt x="552" y="171"/>
                </a:cubicBezTo>
                <a:cubicBezTo>
                  <a:pt x="552" y="171"/>
                  <a:pt x="553" y="171"/>
                  <a:pt x="553" y="171"/>
                </a:cubicBezTo>
                <a:cubicBezTo>
                  <a:pt x="553" y="171"/>
                  <a:pt x="553" y="171"/>
                  <a:pt x="554" y="171"/>
                </a:cubicBezTo>
                <a:cubicBezTo>
                  <a:pt x="554" y="171"/>
                  <a:pt x="554" y="171"/>
                  <a:pt x="554" y="171"/>
                </a:cubicBezTo>
                <a:cubicBezTo>
                  <a:pt x="555" y="171"/>
                  <a:pt x="555" y="171"/>
                  <a:pt x="555" y="171"/>
                </a:cubicBezTo>
                <a:cubicBezTo>
                  <a:pt x="556" y="171"/>
                  <a:pt x="556" y="171"/>
                  <a:pt x="556" y="171"/>
                </a:cubicBezTo>
                <a:cubicBezTo>
                  <a:pt x="557" y="170"/>
                  <a:pt x="557" y="170"/>
                  <a:pt x="557" y="170"/>
                </a:cubicBezTo>
                <a:cubicBezTo>
                  <a:pt x="557" y="170"/>
                  <a:pt x="556" y="170"/>
                  <a:pt x="556" y="170"/>
                </a:cubicBezTo>
                <a:cubicBezTo>
                  <a:pt x="556" y="169"/>
                  <a:pt x="556" y="169"/>
                  <a:pt x="556" y="169"/>
                </a:cubicBezTo>
                <a:cubicBezTo>
                  <a:pt x="556" y="169"/>
                  <a:pt x="555" y="169"/>
                  <a:pt x="555" y="169"/>
                </a:cubicBezTo>
                <a:cubicBezTo>
                  <a:pt x="555" y="169"/>
                  <a:pt x="555" y="169"/>
                  <a:pt x="554" y="169"/>
                </a:cubicBezTo>
                <a:cubicBezTo>
                  <a:pt x="554" y="169"/>
                  <a:pt x="554" y="169"/>
                  <a:pt x="554" y="169"/>
                </a:cubicBezTo>
                <a:cubicBezTo>
                  <a:pt x="553" y="169"/>
                  <a:pt x="553" y="169"/>
                  <a:pt x="553" y="169"/>
                </a:cubicBezTo>
                <a:cubicBezTo>
                  <a:pt x="553" y="169"/>
                  <a:pt x="553" y="169"/>
                  <a:pt x="553" y="169"/>
                </a:cubicBezTo>
                <a:cubicBezTo>
                  <a:pt x="553" y="169"/>
                  <a:pt x="553" y="168"/>
                  <a:pt x="553" y="168"/>
                </a:cubicBezTo>
                <a:cubicBezTo>
                  <a:pt x="553" y="168"/>
                  <a:pt x="553" y="168"/>
                  <a:pt x="553" y="168"/>
                </a:cubicBezTo>
                <a:cubicBezTo>
                  <a:pt x="552" y="169"/>
                  <a:pt x="552" y="169"/>
                  <a:pt x="552" y="169"/>
                </a:cubicBezTo>
                <a:cubicBezTo>
                  <a:pt x="552" y="169"/>
                  <a:pt x="552" y="169"/>
                  <a:pt x="552" y="169"/>
                </a:cubicBezTo>
                <a:cubicBezTo>
                  <a:pt x="551" y="169"/>
                  <a:pt x="551" y="169"/>
                  <a:pt x="551" y="169"/>
                </a:cubicBezTo>
                <a:close/>
                <a:moveTo>
                  <a:pt x="529" y="202"/>
                </a:moveTo>
                <a:cubicBezTo>
                  <a:pt x="528" y="202"/>
                  <a:pt x="528" y="201"/>
                  <a:pt x="528" y="201"/>
                </a:cubicBezTo>
                <a:cubicBezTo>
                  <a:pt x="528" y="201"/>
                  <a:pt x="527" y="202"/>
                  <a:pt x="527" y="202"/>
                </a:cubicBezTo>
                <a:cubicBezTo>
                  <a:pt x="527" y="202"/>
                  <a:pt x="527" y="202"/>
                  <a:pt x="527" y="202"/>
                </a:cubicBezTo>
                <a:cubicBezTo>
                  <a:pt x="527" y="202"/>
                  <a:pt x="528" y="202"/>
                  <a:pt x="528" y="202"/>
                </a:cubicBezTo>
                <a:cubicBezTo>
                  <a:pt x="528" y="202"/>
                  <a:pt x="528" y="202"/>
                  <a:pt x="529" y="202"/>
                </a:cubicBezTo>
                <a:close/>
                <a:moveTo>
                  <a:pt x="553" y="166"/>
                </a:moveTo>
                <a:cubicBezTo>
                  <a:pt x="553" y="166"/>
                  <a:pt x="553" y="166"/>
                  <a:pt x="553" y="165"/>
                </a:cubicBezTo>
                <a:cubicBezTo>
                  <a:pt x="553" y="165"/>
                  <a:pt x="553" y="165"/>
                  <a:pt x="553" y="165"/>
                </a:cubicBezTo>
                <a:cubicBezTo>
                  <a:pt x="553" y="165"/>
                  <a:pt x="552" y="165"/>
                  <a:pt x="552" y="164"/>
                </a:cubicBezTo>
                <a:cubicBezTo>
                  <a:pt x="552" y="165"/>
                  <a:pt x="552" y="165"/>
                  <a:pt x="552" y="165"/>
                </a:cubicBezTo>
                <a:cubicBezTo>
                  <a:pt x="552" y="166"/>
                  <a:pt x="552" y="166"/>
                  <a:pt x="552" y="166"/>
                </a:cubicBezTo>
                <a:cubicBezTo>
                  <a:pt x="553" y="166"/>
                  <a:pt x="553" y="166"/>
                  <a:pt x="553" y="166"/>
                </a:cubicBezTo>
                <a:close/>
                <a:moveTo>
                  <a:pt x="534" y="167"/>
                </a:moveTo>
                <a:cubicBezTo>
                  <a:pt x="534" y="167"/>
                  <a:pt x="534" y="167"/>
                  <a:pt x="534" y="167"/>
                </a:cubicBezTo>
                <a:cubicBezTo>
                  <a:pt x="534" y="167"/>
                  <a:pt x="534" y="167"/>
                  <a:pt x="533" y="166"/>
                </a:cubicBezTo>
                <a:cubicBezTo>
                  <a:pt x="533" y="166"/>
                  <a:pt x="533" y="166"/>
                  <a:pt x="533" y="166"/>
                </a:cubicBezTo>
                <a:cubicBezTo>
                  <a:pt x="533" y="167"/>
                  <a:pt x="533" y="167"/>
                  <a:pt x="533" y="167"/>
                </a:cubicBezTo>
                <a:cubicBezTo>
                  <a:pt x="533" y="167"/>
                  <a:pt x="533" y="167"/>
                  <a:pt x="533" y="168"/>
                </a:cubicBezTo>
                <a:cubicBezTo>
                  <a:pt x="533" y="168"/>
                  <a:pt x="533" y="168"/>
                  <a:pt x="533" y="168"/>
                </a:cubicBezTo>
                <a:cubicBezTo>
                  <a:pt x="533" y="168"/>
                  <a:pt x="534" y="168"/>
                  <a:pt x="534" y="168"/>
                </a:cubicBezTo>
                <a:cubicBezTo>
                  <a:pt x="534" y="167"/>
                  <a:pt x="534" y="167"/>
                  <a:pt x="534" y="167"/>
                </a:cubicBezTo>
                <a:close/>
                <a:moveTo>
                  <a:pt x="541" y="155"/>
                </a:moveTo>
                <a:cubicBezTo>
                  <a:pt x="541" y="155"/>
                  <a:pt x="541" y="155"/>
                  <a:pt x="541" y="155"/>
                </a:cubicBezTo>
                <a:cubicBezTo>
                  <a:pt x="541" y="155"/>
                  <a:pt x="541" y="155"/>
                  <a:pt x="541" y="155"/>
                </a:cubicBezTo>
                <a:cubicBezTo>
                  <a:pt x="541" y="155"/>
                  <a:pt x="541" y="155"/>
                  <a:pt x="541" y="154"/>
                </a:cubicBezTo>
                <a:cubicBezTo>
                  <a:pt x="541" y="155"/>
                  <a:pt x="541" y="155"/>
                  <a:pt x="541" y="155"/>
                </a:cubicBezTo>
                <a:close/>
                <a:moveTo>
                  <a:pt x="540" y="171"/>
                </a:moveTo>
                <a:cubicBezTo>
                  <a:pt x="540" y="172"/>
                  <a:pt x="540" y="172"/>
                  <a:pt x="539" y="172"/>
                </a:cubicBezTo>
                <a:cubicBezTo>
                  <a:pt x="539" y="173"/>
                  <a:pt x="538" y="173"/>
                  <a:pt x="538" y="174"/>
                </a:cubicBezTo>
                <a:cubicBezTo>
                  <a:pt x="538" y="174"/>
                  <a:pt x="538" y="174"/>
                  <a:pt x="538" y="174"/>
                </a:cubicBezTo>
                <a:cubicBezTo>
                  <a:pt x="538" y="175"/>
                  <a:pt x="538" y="175"/>
                  <a:pt x="538" y="175"/>
                </a:cubicBezTo>
                <a:cubicBezTo>
                  <a:pt x="538" y="175"/>
                  <a:pt x="538" y="175"/>
                  <a:pt x="539" y="175"/>
                </a:cubicBezTo>
                <a:cubicBezTo>
                  <a:pt x="539" y="176"/>
                  <a:pt x="538" y="176"/>
                  <a:pt x="538" y="176"/>
                </a:cubicBezTo>
                <a:cubicBezTo>
                  <a:pt x="538" y="176"/>
                  <a:pt x="539" y="176"/>
                  <a:pt x="539" y="177"/>
                </a:cubicBezTo>
                <a:cubicBezTo>
                  <a:pt x="539" y="176"/>
                  <a:pt x="539" y="176"/>
                  <a:pt x="539" y="176"/>
                </a:cubicBezTo>
                <a:cubicBezTo>
                  <a:pt x="540" y="176"/>
                  <a:pt x="540" y="176"/>
                  <a:pt x="540" y="176"/>
                </a:cubicBezTo>
                <a:cubicBezTo>
                  <a:pt x="541" y="176"/>
                  <a:pt x="541" y="176"/>
                  <a:pt x="542" y="176"/>
                </a:cubicBezTo>
                <a:cubicBezTo>
                  <a:pt x="542" y="176"/>
                  <a:pt x="542" y="176"/>
                  <a:pt x="543" y="176"/>
                </a:cubicBezTo>
                <a:cubicBezTo>
                  <a:pt x="543" y="176"/>
                  <a:pt x="543" y="176"/>
                  <a:pt x="544" y="175"/>
                </a:cubicBezTo>
                <a:cubicBezTo>
                  <a:pt x="544" y="175"/>
                  <a:pt x="544" y="175"/>
                  <a:pt x="545" y="175"/>
                </a:cubicBezTo>
                <a:cubicBezTo>
                  <a:pt x="545" y="175"/>
                  <a:pt x="545" y="175"/>
                  <a:pt x="545" y="175"/>
                </a:cubicBezTo>
                <a:cubicBezTo>
                  <a:pt x="545" y="175"/>
                  <a:pt x="546" y="174"/>
                  <a:pt x="546" y="174"/>
                </a:cubicBezTo>
                <a:cubicBezTo>
                  <a:pt x="546" y="174"/>
                  <a:pt x="547" y="174"/>
                  <a:pt x="547" y="174"/>
                </a:cubicBezTo>
                <a:cubicBezTo>
                  <a:pt x="547" y="173"/>
                  <a:pt x="547" y="173"/>
                  <a:pt x="547" y="173"/>
                </a:cubicBezTo>
                <a:cubicBezTo>
                  <a:pt x="548" y="172"/>
                  <a:pt x="548" y="172"/>
                  <a:pt x="549" y="171"/>
                </a:cubicBezTo>
                <a:cubicBezTo>
                  <a:pt x="549" y="171"/>
                  <a:pt x="548" y="171"/>
                  <a:pt x="548" y="171"/>
                </a:cubicBezTo>
                <a:cubicBezTo>
                  <a:pt x="549" y="170"/>
                  <a:pt x="549" y="170"/>
                  <a:pt x="549" y="170"/>
                </a:cubicBezTo>
                <a:cubicBezTo>
                  <a:pt x="549" y="170"/>
                  <a:pt x="549" y="169"/>
                  <a:pt x="550" y="169"/>
                </a:cubicBezTo>
                <a:cubicBezTo>
                  <a:pt x="550" y="169"/>
                  <a:pt x="550" y="169"/>
                  <a:pt x="550" y="168"/>
                </a:cubicBezTo>
                <a:cubicBezTo>
                  <a:pt x="549" y="168"/>
                  <a:pt x="549" y="168"/>
                  <a:pt x="549" y="168"/>
                </a:cubicBezTo>
                <a:cubicBezTo>
                  <a:pt x="549" y="168"/>
                  <a:pt x="548" y="168"/>
                  <a:pt x="548" y="167"/>
                </a:cubicBezTo>
                <a:cubicBezTo>
                  <a:pt x="548" y="167"/>
                  <a:pt x="548" y="168"/>
                  <a:pt x="548" y="168"/>
                </a:cubicBezTo>
                <a:cubicBezTo>
                  <a:pt x="547" y="167"/>
                  <a:pt x="547" y="167"/>
                  <a:pt x="547" y="167"/>
                </a:cubicBezTo>
                <a:cubicBezTo>
                  <a:pt x="546" y="167"/>
                  <a:pt x="546" y="167"/>
                  <a:pt x="546" y="167"/>
                </a:cubicBezTo>
                <a:cubicBezTo>
                  <a:pt x="545" y="167"/>
                  <a:pt x="545" y="168"/>
                  <a:pt x="545" y="168"/>
                </a:cubicBezTo>
                <a:cubicBezTo>
                  <a:pt x="544" y="168"/>
                  <a:pt x="544" y="168"/>
                  <a:pt x="544" y="168"/>
                </a:cubicBezTo>
                <a:cubicBezTo>
                  <a:pt x="544" y="168"/>
                  <a:pt x="544" y="168"/>
                  <a:pt x="543" y="168"/>
                </a:cubicBezTo>
                <a:cubicBezTo>
                  <a:pt x="543" y="168"/>
                  <a:pt x="543" y="168"/>
                  <a:pt x="543" y="168"/>
                </a:cubicBezTo>
                <a:cubicBezTo>
                  <a:pt x="543" y="169"/>
                  <a:pt x="542" y="169"/>
                  <a:pt x="542" y="169"/>
                </a:cubicBezTo>
                <a:cubicBezTo>
                  <a:pt x="541" y="170"/>
                  <a:pt x="541" y="170"/>
                  <a:pt x="541" y="171"/>
                </a:cubicBezTo>
                <a:cubicBezTo>
                  <a:pt x="540" y="171"/>
                  <a:pt x="540" y="171"/>
                  <a:pt x="540" y="171"/>
                </a:cubicBezTo>
                <a:close/>
                <a:moveTo>
                  <a:pt x="544" y="161"/>
                </a:moveTo>
                <a:cubicBezTo>
                  <a:pt x="545" y="161"/>
                  <a:pt x="545" y="161"/>
                  <a:pt x="545" y="161"/>
                </a:cubicBezTo>
                <a:cubicBezTo>
                  <a:pt x="545" y="161"/>
                  <a:pt x="545" y="161"/>
                  <a:pt x="545" y="160"/>
                </a:cubicBezTo>
                <a:cubicBezTo>
                  <a:pt x="545" y="160"/>
                  <a:pt x="545" y="160"/>
                  <a:pt x="545" y="160"/>
                </a:cubicBezTo>
                <a:cubicBezTo>
                  <a:pt x="545" y="160"/>
                  <a:pt x="544" y="160"/>
                  <a:pt x="544" y="160"/>
                </a:cubicBezTo>
                <a:cubicBezTo>
                  <a:pt x="544" y="160"/>
                  <a:pt x="543" y="160"/>
                  <a:pt x="543" y="160"/>
                </a:cubicBezTo>
                <a:cubicBezTo>
                  <a:pt x="543" y="160"/>
                  <a:pt x="543" y="161"/>
                  <a:pt x="543" y="161"/>
                </a:cubicBezTo>
                <a:cubicBezTo>
                  <a:pt x="543" y="161"/>
                  <a:pt x="542" y="161"/>
                  <a:pt x="542" y="161"/>
                </a:cubicBezTo>
                <a:cubicBezTo>
                  <a:pt x="543" y="162"/>
                  <a:pt x="543" y="162"/>
                  <a:pt x="543" y="162"/>
                </a:cubicBezTo>
                <a:cubicBezTo>
                  <a:pt x="543" y="162"/>
                  <a:pt x="544" y="162"/>
                  <a:pt x="544" y="162"/>
                </a:cubicBezTo>
                <a:cubicBezTo>
                  <a:pt x="544" y="162"/>
                  <a:pt x="544" y="162"/>
                  <a:pt x="544" y="161"/>
                </a:cubicBezTo>
                <a:close/>
                <a:moveTo>
                  <a:pt x="537" y="161"/>
                </a:moveTo>
                <a:cubicBezTo>
                  <a:pt x="536" y="161"/>
                  <a:pt x="536" y="161"/>
                  <a:pt x="536" y="161"/>
                </a:cubicBezTo>
                <a:cubicBezTo>
                  <a:pt x="536" y="162"/>
                  <a:pt x="535" y="162"/>
                  <a:pt x="535" y="162"/>
                </a:cubicBezTo>
                <a:cubicBezTo>
                  <a:pt x="535" y="162"/>
                  <a:pt x="535" y="162"/>
                  <a:pt x="534" y="163"/>
                </a:cubicBezTo>
                <a:cubicBezTo>
                  <a:pt x="534" y="163"/>
                  <a:pt x="533" y="163"/>
                  <a:pt x="533" y="163"/>
                </a:cubicBezTo>
                <a:cubicBezTo>
                  <a:pt x="533" y="163"/>
                  <a:pt x="532" y="163"/>
                  <a:pt x="532" y="163"/>
                </a:cubicBezTo>
                <a:cubicBezTo>
                  <a:pt x="532" y="164"/>
                  <a:pt x="532" y="164"/>
                  <a:pt x="532" y="164"/>
                </a:cubicBezTo>
                <a:cubicBezTo>
                  <a:pt x="531" y="164"/>
                  <a:pt x="531" y="164"/>
                  <a:pt x="531" y="165"/>
                </a:cubicBezTo>
                <a:cubicBezTo>
                  <a:pt x="531" y="165"/>
                  <a:pt x="531" y="165"/>
                  <a:pt x="532" y="165"/>
                </a:cubicBezTo>
                <a:cubicBezTo>
                  <a:pt x="532" y="165"/>
                  <a:pt x="532" y="165"/>
                  <a:pt x="532" y="165"/>
                </a:cubicBezTo>
                <a:cubicBezTo>
                  <a:pt x="532" y="165"/>
                  <a:pt x="533" y="165"/>
                  <a:pt x="533" y="165"/>
                </a:cubicBezTo>
                <a:cubicBezTo>
                  <a:pt x="533" y="165"/>
                  <a:pt x="533" y="165"/>
                  <a:pt x="534" y="165"/>
                </a:cubicBezTo>
                <a:cubicBezTo>
                  <a:pt x="534" y="164"/>
                  <a:pt x="535" y="164"/>
                  <a:pt x="536" y="163"/>
                </a:cubicBezTo>
                <a:cubicBezTo>
                  <a:pt x="536" y="163"/>
                  <a:pt x="536" y="163"/>
                  <a:pt x="536" y="163"/>
                </a:cubicBezTo>
                <a:cubicBezTo>
                  <a:pt x="536" y="163"/>
                  <a:pt x="536" y="163"/>
                  <a:pt x="537" y="163"/>
                </a:cubicBezTo>
                <a:cubicBezTo>
                  <a:pt x="537" y="162"/>
                  <a:pt x="537" y="162"/>
                  <a:pt x="537" y="162"/>
                </a:cubicBezTo>
                <a:cubicBezTo>
                  <a:pt x="538" y="161"/>
                  <a:pt x="538" y="161"/>
                  <a:pt x="538" y="161"/>
                </a:cubicBezTo>
                <a:cubicBezTo>
                  <a:pt x="538" y="161"/>
                  <a:pt x="538" y="161"/>
                  <a:pt x="538" y="160"/>
                </a:cubicBezTo>
                <a:cubicBezTo>
                  <a:pt x="538" y="160"/>
                  <a:pt x="538" y="160"/>
                  <a:pt x="537" y="160"/>
                </a:cubicBezTo>
                <a:cubicBezTo>
                  <a:pt x="537" y="160"/>
                  <a:pt x="537" y="160"/>
                  <a:pt x="537" y="161"/>
                </a:cubicBezTo>
                <a:cubicBezTo>
                  <a:pt x="537" y="161"/>
                  <a:pt x="537" y="161"/>
                  <a:pt x="537" y="161"/>
                </a:cubicBezTo>
                <a:close/>
                <a:moveTo>
                  <a:pt x="539" y="157"/>
                </a:moveTo>
                <a:cubicBezTo>
                  <a:pt x="539" y="158"/>
                  <a:pt x="539" y="158"/>
                  <a:pt x="539" y="158"/>
                </a:cubicBezTo>
                <a:cubicBezTo>
                  <a:pt x="539" y="158"/>
                  <a:pt x="538" y="158"/>
                  <a:pt x="538" y="158"/>
                </a:cubicBezTo>
                <a:cubicBezTo>
                  <a:pt x="538" y="158"/>
                  <a:pt x="538" y="159"/>
                  <a:pt x="538" y="159"/>
                </a:cubicBezTo>
                <a:cubicBezTo>
                  <a:pt x="537" y="159"/>
                  <a:pt x="537" y="159"/>
                  <a:pt x="537" y="159"/>
                </a:cubicBezTo>
                <a:cubicBezTo>
                  <a:pt x="537" y="159"/>
                  <a:pt x="537" y="159"/>
                  <a:pt x="538" y="159"/>
                </a:cubicBezTo>
                <a:cubicBezTo>
                  <a:pt x="538" y="159"/>
                  <a:pt x="538" y="159"/>
                  <a:pt x="538" y="159"/>
                </a:cubicBezTo>
                <a:cubicBezTo>
                  <a:pt x="539" y="159"/>
                  <a:pt x="539" y="159"/>
                  <a:pt x="539" y="158"/>
                </a:cubicBezTo>
                <a:cubicBezTo>
                  <a:pt x="540" y="158"/>
                  <a:pt x="540" y="158"/>
                  <a:pt x="540" y="158"/>
                </a:cubicBezTo>
                <a:cubicBezTo>
                  <a:pt x="540" y="158"/>
                  <a:pt x="540" y="158"/>
                  <a:pt x="540" y="158"/>
                </a:cubicBezTo>
                <a:cubicBezTo>
                  <a:pt x="540" y="157"/>
                  <a:pt x="540" y="157"/>
                  <a:pt x="540" y="157"/>
                </a:cubicBezTo>
                <a:cubicBezTo>
                  <a:pt x="540" y="157"/>
                  <a:pt x="539" y="157"/>
                  <a:pt x="539" y="157"/>
                </a:cubicBezTo>
                <a:close/>
                <a:moveTo>
                  <a:pt x="633" y="6"/>
                </a:moveTo>
                <a:cubicBezTo>
                  <a:pt x="633" y="6"/>
                  <a:pt x="633" y="5"/>
                  <a:pt x="633" y="5"/>
                </a:cubicBezTo>
                <a:cubicBezTo>
                  <a:pt x="632" y="5"/>
                  <a:pt x="632" y="5"/>
                  <a:pt x="632" y="5"/>
                </a:cubicBezTo>
                <a:cubicBezTo>
                  <a:pt x="632" y="6"/>
                  <a:pt x="632" y="6"/>
                  <a:pt x="631" y="6"/>
                </a:cubicBezTo>
                <a:cubicBezTo>
                  <a:pt x="632" y="6"/>
                  <a:pt x="632" y="6"/>
                  <a:pt x="632" y="6"/>
                </a:cubicBezTo>
                <a:cubicBezTo>
                  <a:pt x="633" y="6"/>
                  <a:pt x="633" y="6"/>
                  <a:pt x="633" y="6"/>
                </a:cubicBezTo>
                <a:close/>
                <a:moveTo>
                  <a:pt x="625" y="268"/>
                </a:moveTo>
                <a:cubicBezTo>
                  <a:pt x="625" y="268"/>
                  <a:pt x="625" y="268"/>
                  <a:pt x="625" y="268"/>
                </a:cubicBezTo>
                <a:cubicBezTo>
                  <a:pt x="625" y="268"/>
                  <a:pt x="625" y="268"/>
                  <a:pt x="626" y="268"/>
                </a:cubicBezTo>
                <a:cubicBezTo>
                  <a:pt x="626" y="268"/>
                  <a:pt x="626" y="268"/>
                  <a:pt x="626" y="268"/>
                </a:cubicBezTo>
                <a:cubicBezTo>
                  <a:pt x="626" y="268"/>
                  <a:pt x="626" y="268"/>
                  <a:pt x="626" y="268"/>
                </a:cubicBezTo>
                <a:cubicBezTo>
                  <a:pt x="626" y="268"/>
                  <a:pt x="626" y="268"/>
                  <a:pt x="626" y="268"/>
                </a:cubicBezTo>
                <a:cubicBezTo>
                  <a:pt x="626" y="268"/>
                  <a:pt x="626" y="268"/>
                  <a:pt x="626" y="268"/>
                </a:cubicBezTo>
                <a:cubicBezTo>
                  <a:pt x="625" y="268"/>
                  <a:pt x="625" y="268"/>
                  <a:pt x="625" y="268"/>
                </a:cubicBezTo>
                <a:close/>
                <a:moveTo>
                  <a:pt x="621" y="289"/>
                </a:moveTo>
                <a:cubicBezTo>
                  <a:pt x="621" y="289"/>
                  <a:pt x="621" y="289"/>
                  <a:pt x="621" y="289"/>
                </a:cubicBezTo>
                <a:cubicBezTo>
                  <a:pt x="621" y="289"/>
                  <a:pt x="621" y="289"/>
                  <a:pt x="621" y="289"/>
                </a:cubicBezTo>
                <a:cubicBezTo>
                  <a:pt x="621" y="289"/>
                  <a:pt x="621" y="288"/>
                  <a:pt x="621" y="288"/>
                </a:cubicBezTo>
                <a:cubicBezTo>
                  <a:pt x="621" y="288"/>
                  <a:pt x="621" y="288"/>
                  <a:pt x="621" y="288"/>
                </a:cubicBezTo>
                <a:cubicBezTo>
                  <a:pt x="620" y="288"/>
                  <a:pt x="620" y="288"/>
                  <a:pt x="620" y="288"/>
                </a:cubicBezTo>
                <a:cubicBezTo>
                  <a:pt x="621" y="288"/>
                  <a:pt x="621" y="288"/>
                  <a:pt x="621" y="288"/>
                </a:cubicBezTo>
                <a:cubicBezTo>
                  <a:pt x="621" y="287"/>
                  <a:pt x="621" y="287"/>
                  <a:pt x="621" y="287"/>
                </a:cubicBezTo>
                <a:cubicBezTo>
                  <a:pt x="621" y="287"/>
                  <a:pt x="620" y="287"/>
                  <a:pt x="620" y="287"/>
                </a:cubicBezTo>
                <a:cubicBezTo>
                  <a:pt x="620" y="287"/>
                  <a:pt x="620" y="287"/>
                  <a:pt x="620" y="287"/>
                </a:cubicBezTo>
                <a:cubicBezTo>
                  <a:pt x="620" y="287"/>
                  <a:pt x="620" y="287"/>
                  <a:pt x="620" y="287"/>
                </a:cubicBezTo>
                <a:cubicBezTo>
                  <a:pt x="620" y="287"/>
                  <a:pt x="620" y="287"/>
                  <a:pt x="620" y="287"/>
                </a:cubicBezTo>
                <a:cubicBezTo>
                  <a:pt x="620" y="288"/>
                  <a:pt x="620" y="288"/>
                  <a:pt x="620" y="288"/>
                </a:cubicBezTo>
                <a:cubicBezTo>
                  <a:pt x="620" y="288"/>
                  <a:pt x="620" y="288"/>
                  <a:pt x="620" y="288"/>
                </a:cubicBezTo>
                <a:cubicBezTo>
                  <a:pt x="620" y="289"/>
                  <a:pt x="620" y="289"/>
                  <a:pt x="620" y="289"/>
                </a:cubicBezTo>
                <a:cubicBezTo>
                  <a:pt x="620" y="289"/>
                  <a:pt x="620" y="289"/>
                  <a:pt x="621" y="289"/>
                </a:cubicBezTo>
                <a:close/>
                <a:moveTo>
                  <a:pt x="590" y="192"/>
                </a:moveTo>
                <a:cubicBezTo>
                  <a:pt x="590" y="192"/>
                  <a:pt x="590" y="192"/>
                  <a:pt x="590" y="193"/>
                </a:cubicBezTo>
                <a:cubicBezTo>
                  <a:pt x="590" y="193"/>
                  <a:pt x="590" y="193"/>
                  <a:pt x="591" y="192"/>
                </a:cubicBezTo>
                <a:cubicBezTo>
                  <a:pt x="591" y="192"/>
                  <a:pt x="591" y="192"/>
                  <a:pt x="591" y="192"/>
                </a:cubicBezTo>
                <a:cubicBezTo>
                  <a:pt x="590" y="192"/>
                  <a:pt x="590" y="192"/>
                  <a:pt x="590" y="192"/>
                </a:cubicBezTo>
                <a:cubicBezTo>
                  <a:pt x="590" y="192"/>
                  <a:pt x="590" y="192"/>
                  <a:pt x="590" y="192"/>
                </a:cubicBezTo>
                <a:close/>
                <a:moveTo>
                  <a:pt x="622" y="289"/>
                </a:moveTo>
                <a:cubicBezTo>
                  <a:pt x="622" y="289"/>
                  <a:pt x="622" y="290"/>
                  <a:pt x="622" y="290"/>
                </a:cubicBezTo>
                <a:cubicBezTo>
                  <a:pt x="622" y="289"/>
                  <a:pt x="622" y="289"/>
                  <a:pt x="622" y="289"/>
                </a:cubicBezTo>
                <a:cubicBezTo>
                  <a:pt x="622" y="289"/>
                  <a:pt x="622" y="289"/>
                  <a:pt x="622" y="289"/>
                </a:cubicBezTo>
                <a:cubicBezTo>
                  <a:pt x="622" y="289"/>
                  <a:pt x="622" y="289"/>
                  <a:pt x="622" y="289"/>
                </a:cubicBezTo>
                <a:cubicBezTo>
                  <a:pt x="622" y="289"/>
                  <a:pt x="622" y="289"/>
                  <a:pt x="622" y="289"/>
                </a:cubicBezTo>
                <a:close/>
                <a:moveTo>
                  <a:pt x="267" y="194"/>
                </a:moveTo>
                <a:cubicBezTo>
                  <a:pt x="267" y="194"/>
                  <a:pt x="267" y="194"/>
                  <a:pt x="267" y="194"/>
                </a:cubicBezTo>
                <a:cubicBezTo>
                  <a:pt x="267" y="194"/>
                  <a:pt x="267" y="194"/>
                  <a:pt x="267" y="194"/>
                </a:cubicBezTo>
                <a:cubicBezTo>
                  <a:pt x="267" y="194"/>
                  <a:pt x="267" y="194"/>
                  <a:pt x="267" y="194"/>
                </a:cubicBezTo>
                <a:cubicBezTo>
                  <a:pt x="267" y="194"/>
                  <a:pt x="267" y="194"/>
                  <a:pt x="267" y="194"/>
                </a:cubicBezTo>
                <a:close/>
                <a:moveTo>
                  <a:pt x="592" y="199"/>
                </a:moveTo>
                <a:cubicBezTo>
                  <a:pt x="593" y="199"/>
                  <a:pt x="593" y="199"/>
                  <a:pt x="593" y="198"/>
                </a:cubicBezTo>
                <a:cubicBezTo>
                  <a:pt x="593" y="198"/>
                  <a:pt x="593" y="198"/>
                  <a:pt x="593" y="198"/>
                </a:cubicBezTo>
                <a:cubicBezTo>
                  <a:pt x="593" y="198"/>
                  <a:pt x="593" y="197"/>
                  <a:pt x="593" y="197"/>
                </a:cubicBezTo>
                <a:cubicBezTo>
                  <a:pt x="593" y="197"/>
                  <a:pt x="593" y="197"/>
                  <a:pt x="592" y="196"/>
                </a:cubicBezTo>
                <a:cubicBezTo>
                  <a:pt x="592" y="196"/>
                  <a:pt x="592" y="196"/>
                  <a:pt x="592" y="196"/>
                </a:cubicBezTo>
                <a:cubicBezTo>
                  <a:pt x="592" y="197"/>
                  <a:pt x="592" y="197"/>
                  <a:pt x="592" y="197"/>
                </a:cubicBezTo>
                <a:cubicBezTo>
                  <a:pt x="592" y="198"/>
                  <a:pt x="592" y="198"/>
                  <a:pt x="592" y="198"/>
                </a:cubicBezTo>
                <a:cubicBezTo>
                  <a:pt x="592" y="198"/>
                  <a:pt x="592" y="199"/>
                  <a:pt x="592" y="199"/>
                </a:cubicBezTo>
                <a:close/>
                <a:moveTo>
                  <a:pt x="552" y="29"/>
                </a:moveTo>
                <a:cubicBezTo>
                  <a:pt x="552" y="30"/>
                  <a:pt x="552" y="30"/>
                  <a:pt x="552" y="30"/>
                </a:cubicBezTo>
                <a:cubicBezTo>
                  <a:pt x="552" y="30"/>
                  <a:pt x="552" y="31"/>
                  <a:pt x="552" y="31"/>
                </a:cubicBezTo>
                <a:cubicBezTo>
                  <a:pt x="552" y="31"/>
                  <a:pt x="553" y="30"/>
                  <a:pt x="553" y="30"/>
                </a:cubicBezTo>
                <a:cubicBezTo>
                  <a:pt x="554" y="30"/>
                  <a:pt x="554" y="30"/>
                  <a:pt x="554" y="30"/>
                </a:cubicBezTo>
                <a:cubicBezTo>
                  <a:pt x="554" y="29"/>
                  <a:pt x="554" y="29"/>
                  <a:pt x="554" y="29"/>
                </a:cubicBezTo>
                <a:cubicBezTo>
                  <a:pt x="554" y="29"/>
                  <a:pt x="554" y="29"/>
                  <a:pt x="555" y="29"/>
                </a:cubicBezTo>
                <a:cubicBezTo>
                  <a:pt x="555" y="29"/>
                  <a:pt x="555" y="28"/>
                  <a:pt x="555" y="28"/>
                </a:cubicBezTo>
                <a:cubicBezTo>
                  <a:pt x="556" y="28"/>
                  <a:pt x="556" y="28"/>
                  <a:pt x="556" y="28"/>
                </a:cubicBezTo>
                <a:cubicBezTo>
                  <a:pt x="556" y="28"/>
                  <a:pt x="556" y="28"/>
                  <a:pt x="557" y="29"/>
                </a:cubicBezTo>
                <a:cubicBezTo>
                  <a:pt x="557" y="29"/>
                  <a:pt x="557" y="28"/>
                  <a:pt x="557" y="28"/>
                </a:cubicBezTo>
                <a:cubicBezTo>
                  <a:pt x="557" y="28"/>
                  <a:pt x="557" y="28"/>
                  <a:pt x="557" y="28"/>
                </a:cubicBezTo>
                <a:cubicBezTo>
                  <a:pt x="557" y="27"/>
                  <a:pt x="558" y="27"/>
                  <a:pt x="558" y="27"/>
                </a:cubicBezTo>
                <a:cubicBezTo>
                  <a:pt x="558" y="28"/>
                  <a:pt x="558" y="28"/>
                  <a:pt x="558" y="28"/>
                </a:cubicBezTo>
                <a:cubicBezTo>
                  <a:pt x="558" y="28"/>
                  <a:pt x="558" y="29"/>
                  <a:pt x="558" y="29"/>
                </a:cubicBezTo>
                <a:cubicBezTo>
                  <a:pt x="559" y="29"/>
                  <a:pt x="559" y="28"/>
                  <a:pt x="560" y="28"/>
                </a:cubicBezTo>
                <a:cubicBezTo>
                  <a:pt x="559" y="29"/>
                  <a:pt x="559" y="29"/>
                  <a:pt x="559" y="29"/>
                </a:cubicBezTo>
                <a:cubicBezTo>
                  <a:pt x="558" y="29"/>
                  <a:pt x="558" y="29"/>
                  <a:pt x="557" y="29"/>
                </a:cubicBezTo>
                <a:cubicBezTo>
                  <a:pt x="556" y="30"/>
                  <a:pt x="556" y="30"/>
                  <a:pt x="555" y="30"/>
                </a:cubicBezTo>
                <a:cubicBezTo>
                  <a:pt x="555" y="31"/>
                  <a:pt x="554" y="31"/>
                  <a:pt x="554" y="31"/>
                </a:cubicBezTo>
                <a:cubicBezTo>
                  <a:pt x="554" y="31"/>
                  <a:pt x="554" y="32"/>
                  <a:pt x="554" y="32"/>
                </a:cubicBezTo>
                <a:cubicBezTo>
                  <a:pt x="554" y="32"/>
                  <a:pt x="554" y="32"/>
                  <a:pt x="554" y="32"/>
                </a:cubicBezTo>
                <a:cubicBezTo>
                  <a:pt x="555" y="32"/>
                  <a:pt x="555" y="32"/>
                  <a:pt x="556" y="32"/>
                </a:cubicBezTo>
                <a:cubicBezTo>
                  <a:pt x="556" y="32"/>
                  <a:pt x="556" y="32"/>
                  <a:pt x="556" y="31"/>
                </a:cubicBezTo>
                <a:cubicBezTo>
                  <a:pt x="557" y="31"/>
                  <a:pt x="557" y="31"/>
                  <a:pt x="557" y="31"/>
                </a:cubicBezTo>
                <a:cubicBezTo>
                  <a:pt x="558" y="31"/>
                  <a:pt x="558" y="31"/>
                  <a:pt x="559" y="30"/>
                </a:cubicBezTo>
                <a:cubicBezTo>
                  <a:pt x="560" y="30"/>
                  <a:pt x="560" y="30"/>
                  <a:pt x="561" y="30"/>
                </a:cubicBezTo>
                <a:cubicBezTo>
                  <a:pt x="562" y="30"/>
                  <a:pt x="563" y="29"/>
                  <a:pt x="564" y="29"/>
                </a:cubicBezTo>
                <a:cubicBezTo>
                  <a:pt x="564" y="29"/>
                  <a:pt x="564" y="29"/>
                  <a:pt x="564" y="29"/>
                </a:cubicBezTo>
                <a:cubicBezTo>
                  <a:pt x="564" y="30"/>
                  <a:pt x="564" y="30"/>
                  <a:pt x="564" y="30"/>
                </a:cubicBezTo>
                <a:cubicBezTo>
                  <a:pt x="564" y="30"/>
                  <a:pt x="564" y="30"/>
                  <a:pt x="563" y="30"/>
                </a:cubicBezTo>
                <a:cubicBezTo>
                  <a:pt x="563" y="30"/>
                  <a:pt x="563" y="30"/>
                  <a:pt x="563" y="30"/>
                </a:cubicBezTo>
                <a:cubicBezTo>
                  <a:pt x="562" y="30"/>
                  <a:pt x="562" y="30"/>
                  <a:pt x="561" y="30"/>
                </a:cubicBezTo>
                <a:cubicBezTo>
                  <a:pt x="561" y="31"/>
                  <a:pt x="561" y="31"/>
                  <a:pt x="561" y="31"/>
                </a:cubicBezTo>
                <a:cubicBezTo>
                  <a:pt x="560" y="31"/>
                  <a:pt x="559" y="31"/>
                  <a:pt x="558" y="31"/>
                </a:cubicBezTo>
                <a:cubicBezTo>
                  <a:pt x="558" y="32"/>
                  <a:pt x="557" y="32"/>
                  <a:pt x="557" y="32"/>
                </a:cubicBezTo>
                <a:cubicBezTo>
                  <a:pt x="556" y="33"/>
                  <a:pt x="556" y="33"/>
                  <a:pt x="555" y="33"/>
                </a:cubicBezTo>
                <a:cubicBezTo>
                  <a:pt x="555" y="33"/>
                  <a:pt x="555" y="33"/>
                  <a:pt x="555" y="33"/>
                </a:cubicBezTo>
                <a:cubicBezTo>
                  <a:pt x="555" y="33"/>
                  <a:pt x="556" y="33"/>
                  <a:pt x="556" y="34"/>
                </a:cubicBezTo>
                <a:cubicBezTo>
                  <a:pt x="556" y="34"/>
                  <a:pt x="557" y="33"/>
                  <a:pt x="557" y="33"/>
                </a:cubicBezTo>
                <a:cubicBezTo>
                  <a:pt x="557" y="34"/>
                  <a:pt x="558" y="34"/>
                  <a:pt x="558" y="34"/>
                </a:cubicBezTo>
                <a:cubicBezTo>
                  <a:pt x="558" y="34"/>
                  <a:pt x="558" y="34"/>
                  <a:pt x="557" y="34"/>
                </a:cubicBezTo>
                <a:cubicBezTo>
                  <a:pt x="557" y="34"/>
                  <a:pt x="556" y="34"/>
                  <a:pt x="556" y="34"/>
                </a:cubicBezTo>
                <a:cubicBezTo>
                  <a:pt x="555" y="34"/>
                  <a:pt x="555" y="34"/>
                  <a:pt x="555" y="34"/>
                </a:cubicBezTo>
                <a:cubicBezTo>
                  <a:pt x="554" y="34"/>
                  <a:pt x="554" y="34"/>
                  <a:pt x="554" y="34"/>
                </a:cubicBezTo>
                <a:cubicBezTo>
                  <a:pt x="554" y="34"/>
                  <a:pt x="553" y="34"/>
                  <a:pt x="553" y="35"/>
                </a:cubicBezTo>
                <a:cubicBezTo>
                  <a:pt x="553" y="35"/>
                  <a:pt x="553" y="35"/>
                  <a:pt x="553" y="36"/>
                </a:cubicBezTo>
                <a:cubicBezTo>
                  <a:pt x="553" y="36"/>
                  <a:pt x="553" y="36"/>
                  <a:pt x="553" y="36"/>
                </a:cubicBezTo>
                <a:cubicBezTo>
                  <a:pt x="553" y="36"/>
                  <a:pt x="553" y="36"/>
                  <a:pt x="553" y="36"/>
                </a:cubicBezTo>
                <a:cubicBezTo>
                  <a:pt x="554" y="37"/>
                  <a:pt x="554" y="37"/>
                  <a:pt x="555" y="37"/>
                </a:cubicBezTo>
                <a:cubicBezTo>
                  <a:pt x="555" y="36"/>
                  <a:pt x="556" y="36"/>
                  <a:pt x="556" y="36"/>
                </a:cubicBezTo>
                <a:cubicBezTo>
                  <a:pt x="557" y="36"/>
                  <a:pt x="557" y="36"/>
                  <a:pt x="558" y="36"/>
                </a:cubicBezTo>
                <a:cubicBezTo>
                  <a:pt x="559" y="36"/>
                  <a:pt x="559" y="36"/>
                  <a:pt x="560" y="36"/>
                </a:cubicBezTo>
                <a:cubicBezTo>
                  <a:pt x="560" y="36"/>
                  <a:pt x="560" y="36"/>
                  <a:pt x="560" y="36"/>
                </a:cubicBezTo>
                <a:cubicBezTo>
                  <a:pt x="560" y="36"/>
                  <a:pt x="561" y="36"/>
                  <a:pt x="561" y="36"/>
                </a:cubicBezTo>
                <a:cubicBezTo>
                  <a:pt x="561" y="36"/>
                  <a:pt x="562" y="36"/>
                  <a:pt x="563" y="36"/>
                </a:cubicBezTo>
                <a:cubicBezTo>
                  <a:pt x="563" y="36"/>
                  <a:pt x="563" y="36"/>
                  <a:pt x="564" y="36"/>
                </a:cubicBezTo>
                <a:cubicBezTo>
                  <a:pt x="564" y="36"/>
                  <a:pt x="564" y="36"/>
                  <a:pt x="564" y="36"/>
                </a:cubicBezTo>
                <a:cubicBezTo>
                  <a:pt x="565" y="36"/>
                  <a:pt x="565" y="36"/>
                  <a:pt x="566" y="36"/>
                </a:cubicBezTo>
                <a:cubicBezTo>
                  <a:pt x="566" y="36"/>
                  <a:pt x="566" y="36"/>
                  <a:pt x="567" y="36"/>
                </a:cubicBezTo>
                <a:cubicBezTo>
                  <a:pt x="567" y="35"/>
                  <a:pt x="568" y="35"/>
                  <a:pt x="569" y="35"/>
                </a:cubicBezTo>
                <a:cubicBezTo>
                  <a:pt x="569" y="34"/>
                  <a:pt x="570" y="34"/>
                  <a:pt x="571" y="34"/>
                </a:cubicBezTo>
                <a:cubicBezTo>
                  <a:pt x="572" y="34"/>
                  <a:pt x="572" y="34"/>
                  <a:pt x="573" y="34"/>
                </a:cubicBezTo>
                <a:cubicBezTo>
                  <a:pt x="573" y="34"/>
                  <a:pt x="573" y="33"/>
                  <a:pt x="573" y="33"/>
                </a:cubicBezTo>
                <a:cubicBezTo>
                  <a:pt x="574" y="33"/>
                  <a:pt x="574" y="33"/>
                  <a:pt x="574" y="33"/>
                </a:cubicBezTo>
                <a:cubicBezTo>
                  <a:pt x="574" y="33"/>
                  <a:pt x="574" y="33"/>
                  <a:pt x="575" y="33"/>
                </a:cubicBezTo>
                <a:cubicBezTo>
                  <a:pt x="575" y="33"/>
                  <a:pt x="575" y="33"/>
                  <a:pt x="575" y="33"/>
                </a:cubicBezTo>
                <a:cubicBezTo>
                  <a:pt x="575" y="33"/>
                  <a:pt x="575" y="33"/>
                  <a:pt x="575" y="34"/>
                </a:cubicBezTo>
                <a:cubicBezTo>
                  <a:pt x="574" y="34"/>
                  <a:pt x="573" y="34"/>
                  <a:pt x="572" y="34"/>
                </a:cubicBezTo>
                <a:cubicBezTo>
                  <a:pt x="572" y="35"/>
                  <a:pt x="571" y="35"/>
                  <a:pt x="570" y="35"/>
                </a:cubicBezTo>
                <a:cubicBezTo>
                  <a:pt x="570" y="35"/>
                  <a:pt x="569" y="35"/>
                  <a:pt x="569" y="35"/>
                </a:cubicBezTo>
                <a:cubicBezTo>
                  <a:pt x="569" y="36"/>
                  <a:pt x="568" y="36"/>
                  <a:pt x="568" y="36"/>
                </a:cubicBezTo>
                <a:cubicBezTo>
                  <a:pt x="568" y="36"/>
                  <a:pt x="568" y="36"/>
                  <a:pt x="568" y="36"/>
                </a:cubicBezTo>
                <a:cubicBezTo>
                  <a:pt x="567" y="36"/>
                  <a:pt x="567" y="36"/>
                  <a:pt x="566" y="36"/>
                </a:cubicBezTo>
                <a:cubicBezTo>
                  <a:pt x="566" y="36"/>
                  <a:pt x="565" y="37"/>
                  <a:pt x="565" y="37"/>
                </a:cubicBezTo>
                <a:cubicBezTo>
                  <a:pt x="564" y="37"/>
                  <a:pt x="564" y="37"/>
                  <a:pt x="564" y="37"/>
                </a:cubicBezTo>
                <a:cubicBezTo>
                  <a:pt x="563" y="37"/>
                  <a:pt x="563" y="37"/>
                  <a:pt x="563" y="37"/>
                </a:cubicBezTo>
                <a:cubicBezTo>
                  <a:pt x="563" y="37"/>
                  <a:pt x="562" y="37"/>
                  <a:pt x="562" y="37"/>
                </a:cubicBezTo>
                <a:cubicBezTo>
                  <a:pt x="561" y="37"/>
                  <a:pt x="561" y="37"/>
                  <a:pt x="560" y="37"/>
                </a:cubicBezTo>
                <a:cubicBezTo>
                  <a:pt x="559" y="37"/>
                  <a:pt x="557" y="37"/>
                  <a:pt x="556" y="37"/>
                </a:cubicBezTo>
                <a:cubicBezTo>
                  <a:pt x="556" y="37"/>
                  <a:pt x="556" y="37"/>
                  <a:pt x="555" y="37"/>
                </a:cubicBezTo>
                <a:cubicBezTo>
                  <a:pt x="555" y="37"/>
                  <a:pt x="555" y="37"/>
                  <a:pt x="554" y="38"/>
                </a:cubicBezTo>
                <a:cubicBezTo>
                  <a:pt x="554" y="38"/>
                  <a:pt x="553" y="38"/>
                  <a:pt x="553" y="38"/>
                </a:cubicBezTo>
                <a:cubicBezTo>
                  <a:pt x="553" y="38"/>
                  <a:pt x="553" y="38"/>
                  <a:pt x="553" y="38"/>
                </a:cubicBezTo>
                <a:cubicBezTo>
                  <a:pt x="553" y="38"/>
                  <a:pt x="553" y="39"/>
                  <a:pt x="553" y="39"/>
                </a:cubicBezTo>
                <a:cubicBezTo>
                  <a:pt x="553" y="39"/>
                  <a:pt x="553" y="39"/>
                  <a:pt x="554" y="39"/>
                </a:cubicBezTo>
                <a:cubicBezTo>
                  <a:pt x="554" y="40"/>
                  <a:pt x="554" y="40"/>
                  <a:pt x="554" y="40"/>
                </a:cubicBezTo>
                <a:cubicBezTo>
                  <a:pt x="554" y="41"/>
                  <a:pt x="554" y="41"/>
                  <a:pt x="554" y="41"/>
                </a:cubicBezTo>
                <a:cubicBezTo>
                  <a:pt x="555" y="41"/>
                  <a:pt x="555" y="41"/>
                  <a:pt x="555" y="41"/>
                </a:cubicBezTo>
                <a:cubicBezTo>
                  <a:pt x="556" y="41"/>
                  <a:pt x="556" y="41"/>
                  <a:pt x="556" y="41"/>
                </a:cubicBezTo>
                <a:cubicBezTo>
                  <a:pt x="557" y="42"/>
                  <a:pt x="557" y="42"/>
                  <a:pt x="558" y="42"/>
                </a:cubicBezTo>
                <a:cubicBezTo>
                  <a:pt x="558" y="42"/>
                  <a:pt x="559" y="42"/>
                  <a:pt x="559" y="42"/>
                </a:cubicBezTo>
                <a:cubicBezTo>
                  <a:pt x="559" y="42"/>
                  <a:pt x="559" y="42"/>
                  <a:pt x="559" y="42"/>
                </a:cubicBezTo>
                <a:cubicBezTo>
                  <a:pt x="560" y="42"/>
                  <a:pt x="560" y="41"/>
                  <a:pt x="561" y="41"/>
                </a:cubicBezTo>
                <a:cubicBezTo>
                  <a:pt x="561" y="40"/>
                  <a:pt x="562" y="40"/>
                  <a:pt x="563" y="40"/>
                </a:cubicBezTo>
                <a:cubicBezTo>
                  <a:pt x="564" y="39"/>
                  <a:pt x="564" y="39"/>
                  <a:pt x="565" y="39"/>
                </a:cubicBezTo>
                <a:cubicBezTo>
                  <a:pt x="565" y="38"/>
                  <a:pt x="566" y="38"/>
                  <a:pt x="566" y="38"/>
                </a:cubicBezTo>
                <a:cubicBezTo>
                  <a:pt x="566" y="37"/>
                  <a:pt x="566" y="37"/>
                  <a:pt x="566" y="37"/>
                </a:cubicBezTo>
                <a:cubicBezTo>
                  <a:pt x="567" y="37"/>
                  <a:pt x="567" y="37"/>
                  <a:pt x="567" y="37"/>
                </a:cubicBezTo>
                <a:cubicBezTo>
                  <a:pt x="568" y="37"/>
                  <a:pt x="569" y="37"/>
                  <a:pt x="570" y="37"/>
                </a:cubicBezTo>
                <a:cubicBezTo>
                  <a:pt x="571" y="37"/>
                  <a:pt x="571" y="36"/>
                  <a:pt x="572" y="36"/>
                </a:cubicBezTo>
                <a:cubicBezTo>
                  <a:pt x="573" y="36"/>
                  <a:pt x="573" y="36"/>
                  <a:pt x="574" y="36"/>
                </a:cubicBezTo>
                <a:cubicBezTo>
                  <a:pt x="574" y="36"/>
                  <a:pt x="575" y="36"/>
                  <a:pt x="576" y="36"/>
                </a:cubicBezTo>
                <a:cubicBezTo>
                  <a:pt x="576" y="36"/>
                  <a:pt x="577" y="36"/>
                  <a:pt x="578" y="36"/>
                </a:cubicBezTo>
                <a:cubicBezTo>
                  <a:pt x="579" y="36"/>
                  <a:pt x="580" y="36"/>
                  <a:pt x="581" y="36"/>
                </a:cubicBezTo>
                <a:cubicBezTo>
                  <a:pt x="581" y="36"/>
                  <a:pt x="581" y="36"/>
                  <a:pt x="582" y="36"/>
                </a:cubicBezTo>
                <a:cubicBezTo>
                  <a:pt x="581" y="36"/>
                  <a:pt x="581" y="36"/>
                  <a:pt x="581" y="36"/>
                </a:cubicBezTo>
                <a:cubicBezTo>
                  <a:pt x="581" y="36"/>
                  <a:pt x="580" y="36"/>
                  <a:pt x="579" y="36"/>
                </a:cubicBezTo>
                <a:cubicBezTo>
                  <a:pt x="579" y="36"/>
                  <a:pt x="579" y="36"/>
                  <a:pt x="578" y="36"/>
                </a:cubicBezTo>
                <a:cubicBezTo>
                  <a:pt x="577" y="37"/>
                  <a:pt x="577" y="37"/>
                  <a:pt x="576" y="37"/>
                </a:cubicBezTo>
                <a:cubicBezTo>
                  <a:pt x="575" y="37"/>
                  <a:pt x="574" y="37"/>
                  <a:pt x="574" y="36"/>
                </a:cubicBezTo>
                <a:cubicBezTo>
                  <a:pt x="573" y="36"/>
                  <a:pt x="573" y="37"/>
                  <a:pt x="572" y="37"/>
                </a:cubicBezTo>
                <a:cubicBezTo>
                  <a:pt x="572" y="37"/>
                  <a:pt x="572" y="37"/>
                  <a:pt x="572" y="37"/>
                </a:cubicBezTo>
                <a:cubicBezTo>
                  <a:pt x="571" y="37"/>
                  <a:pt x="570" y="37"/>
                  <a:pt x="569" y="37"/>
                </a:cubicBezTo>
                <a:cubicBezTo>
                  <a:pt x="569" y="37"/>
                  <a:pt x="568" y="37"/>
                  <a:pt x="568" y="37"/>
                </a:cubicBezTo>
                <a:cubicBezTo>
                  <a:pt x="568" y="38"/>
                  <a:pt x="567" y="38"/>
                  <a:pt x="567" y="38"/>
                </a:cubicBezTo>
                <a:cubicBezTo>
                  <a:pt x="567" y="38"/>
                  <a:pt x="566" y="38"/>
                  <a:pt x="566" y="39"/>
                </a:cubicBezTo>
                <a:cubicBezTo>
                  <a:pt x="565" y="39"/>
                  <a:pt x="565" y="39"/>
                  <a:pt x="565" y="40"/>
                </a:cubicBezTo>
                <a:cubicBezTo>
                  <a:pt x="564" y="40"/>
                  <a:pt x="564" y="40"/>
                  <a:pt x="563" y="41"/>
                </a:cubicBezTo>
                <a:cubicBezTo>
                  <a:pt x="563" y="41"/>
                  <a:pt x="563" y="41"/>
                  <a:pt x="562" y="42"/>
                </a:cubicBezTo>
                <a:cubicBezTo>
                  <a:pt x="562" y="42"/>
                  <a:pt x="562" y="42"/>
                  <a:pt x="561" y="42"/>
                </a:cubicBezTo>
                <a:cubicBezTo>
                  <a:pt x="561" y="43"/>
                  <a:pt x="561" y="43"/>
                  <a:pt x="561" y="43"/>
                </a:cubicBezTo>
                <a:cubicBezTo>
                  <a:pt x="562" y="43"/>
                  <a:pt x="562" y="43"/>
                  <a:pt x="563" y="43"/>
                </a:cubicBezTo>
                <a:cubicBezTo>
                  <a:pt x="563" y="43"/>
                  <a:pt x="564" y="43"/>
                  <a:pt x="564" y="43"/>
                </a:cubicBezTo>
                <a:cubicBezTo>
                  <a:pt x="564" y="43"/>
                  <a:pt x="564" y="43"/>
                  <a:pt x="564" y="44"/>
                </a:cubicBezTo>
                <a:cubicBezTo>
                  <a:pt x="565" y="44"/>
                  <a:pt x="565" y="44"/>
                  <a:pt x="566" y="44"/>
                </a:cubicBezTo>
                <a:cubicBezTo>
                  <a:pt x="566" y="44"/>
                  <a:pt x="567" y="44"/>
                  <a:pt x="568" y="44"/>
                </a:cubicBezTo>
                <a:cubicBezTo>
                  <a:pt x="569" y="44"/>
                  <a:pt x="570" y="44"/>
                  <a:pt x="571" y="44"/>
                </a:cubicBezTo>
                <a:cubicBezTo>
                  <a:pt x="571" y="44"/>
                  <a:pt x="572" y="43"/>
                  <a:pt x="573" y="43"/>
                </a:cubicBezTo>
                <a:cubicBezTo>
                  <a:pt x="573" y="43"/>
                  <a:pt x="574" y="42"/>
                  <a:pt x="574" y="42"/>
                </a:cubicBezTo>
                <a:cubicBezTo>
                  <a:pt x="574" y="42"/>
                  <a:pt x="574" y="41"/>
                  <a:pt x="574" y="41"/>
                </a:cubicBezTo>
                <a:cubicBezTo>
                  <a:pt x="575" y="41"/>
                  <a:pt x="575" y="40"/>
                  <a:pt x="576" y="40"/>
                </a:cubicBezTo>
                <a:cubicBezTo>
                  <a:pt x="576" y="40"/>
                  <a:pt x="577" y="40"/>
                  <a:pt x="577" y="40"/>
                </a:cubicBezTo>
                <a:cubicBezTo>
                  <a:pt x="577" y="40"/>
                  <a:pt x="576" y="41"/>
                  <a:pt x="576" y="41"/>
                </a:cubicBezTo>
                <a:cubicBezTo>
                  <a:pt x="576" y="41"/>
                  <a:pt x="576" y="41"/>
                  <a:pt x="576" y="41"/>
                </a:cubicBezTo>
                <a:cubicBezTo>
                  <a:pt x="576" y="41"/>
                  <a:pt x="577" y="41"/>
                  <a:pt x="577" y="41"/>
                </a:cubicBezTo>
                <a:cubicBezTo>
                  <a:pt x="578" y="41"/>
                  <a:pt x="578" y="41"/>
                  <a:pt x="579" y="41"/>
                </a:cubicBezTo>
                <a:cubicBezTo>
                  <a:pt x="579" y="41"/>
                  <a:pt x="579" y="41"/>
                  <a:pt x="580" y="41"/>
                </a:cubicBezTo>
                <a:cubicBezTo>
                  <a:pt x="580" y="40"/>
                  <a:pt x="581" y="40"/>
                  <a:pt x="581" y="40"/>
                </a:cubicBezTo>
                <a:cubicBezTo>
                  <a:pt x="582" y="40"/>
                  <a:pt x="582" y="40"/>
                  <a:pt x="582" y="40"/>
                </a:cubicBezTo>
                <a:cubicBezTo>
                  <a:pt x="582" y="40"/>
                  <a:pt x="582" y="40"/>
                  <a:pt x="581" y="41"/>
                </a:cubicBezTo>
                <a:cubicBezTo>
                  <a:pt x="581" y="41"/>
                  <a:pt x="580" y="41"/>
                  <a:pt x="579" y="41"/>
                </a:cubicBezTo>
                <a:cubicBezTo>
                  <a:pt x="579" y="41"/>
                  <a:pt x="578" y="41"/>
                  <a:pt x="578" y="42"/>
                </a:cubicBezTo>
                <a:cubicBezTo>
                  <a:pt x="578" y="42"/>
                  <a:pt x="577" y="42"/>
                  <a:pt x="577" y="42"/>
                </a:cubicBezTo>
                <a:cubicBezTo>
                  <a:pt x="576" y="42"/>
                  <a:pt x="576" y="43"/>
                  <a:pt x="575" y="43"/>
                </a:cubicBezTo>
                <a:cubicBezTo>
                  <a:pt x="575" y="43"/>
                  <a:pt x="575" y="43"/>
                  <a:pt x="575" y="44"/>
                </a:cubicBezTo>
                <a:cubicBezTo>
                  <a:pt x="576" y="44"/>
                  <a:pt x="576" y="44"/>
                  <a:pt x="576" y="44"/>
                </a:cubicBezTo>
                <a:cubicBezTo>
                  <a:pt x="577" y="43"/>
                  <a:pt x="577" y="43"/>
                  <a:pt x="578" y="43"/>
                </a:cubicBezTo>
                <a:cubicBezTo>
                  <a:pt x="579" y="43"/>
                  <a:pt x="579" y="44"/>
                  <a:pt x="580" y="44"/>
                </a:cubicBezTo>
                <a:cubicBezTo>
                  <a:pt x="581" y="44"/>
                  <a:pt x="582" y="43"/>
                  <a:pt x="583" y="43"/>
                </a:cubicBezTo>
                <a:cubicBezTo>
                  <a:pt x="584" y="43"/>
                  <a:pt x="584" y="43"/>
                  <a:pt x="585" y="43"/>
                </a:cubicBezTo>
                <a:cubicBezTo>
                  <a:pt x="585" y="43"/>
                  <a:pt x="585" y="43"/>
                  <a:pt x="586" y="43"/>
                </a:cubicBezTo>
                <a:cubicBezTo>
                  <a:pt x="587" y="42"/>
                  <a:pt x="589" y="42"/>
                  <a:pt x="590" y="41"/>
                </a:cubicBezTo>
                <a:cubicBezTo>
                  <a:pt x="591" y="41"/>
                  <a:pt x="591" y="41"/>
                  <a:pt x="591" y="41"/>
                </a:cubicBezTo>
                <a:cubicBezTo>
                  <a:pt x="592" y="40"/>
                  <a:pt x="593" y="40"/>
                  <a:pt x="593" y="39"/>
                </a:cubicBezTo>
                <a:cubicBezTo>
                  <a:pt x="593" y="39"/>
                  <a:pt x="593" y="39"/>
                  <a:pt x="593" y="39"/>
                </a:cubicBezTo>
                <a:cubicBezTo>
                  <a:pt x="593" y="39"/>
                  <a:pt x="593" y="39"/>
                  <a:pt x="592" y="39"/>
                </a:cubicBezTo>
                <a:cubicBezTo>
                  <a:pt x="593" y="39"/>
                  <a:pt x="593" y="38"/>
                  <a:pt x="594" y="38"/>
                </a:cubicBezTo>
                <a:cubicBezTo>
                  <a:pt x="594" y="37"/>
                  <a:pt x="595" y="37"/>
                  <a:pt x="595" y="37"/>
                </a:cubicBezTo>
                <a:cubicBezTo>
                  <a:pt x="595" y="37"/>
                  <a:pt x="595" y="37"/>
                  <a:pt x="596" y="36"/>
                </a:cubicBezTo>
                <a:cubicBezTo>
                  <a:pt x="596" y="36"/>
                  <a:pt x="596" y="36"/>
                  <a:pt x="596" y="36"/>
                </a:cubicBezTo>
                <a:cubicBezTo>
                  <a:pt x="596" y="37"/>
                  <a:pt x="596" y="37"/>
                  <a:pt x="597" y="37"/>
                </a:cubicBezTo>
                <a:cubicBezTo>
                  <a:pt x="597" y="37"/>
                  <a:pt x="597" y="37"/>
                  <a:pt x="597" y="37"/>
                </a:cubicBezTo>
                <a:cubicBezTo>
                  <a:pt x="597" y="37"/>
                  <a:pt x="597" y="36"/>
                  <a:pt x="597" y="36"/>
                </a:cubicBezTo>
                <a:cubicBezTo>
                  <a:pt x="598" y="36"/>
                  <a:pt x="599" y="35"/>
                  <a:pt x="600" y="34"/>
                </a:cubicBezTo>
                <a:cubicBezTo>
                  <a:pt x="601" y="34"/>
                  <a:pt x="602" y="34"/>
                  <a:pt x="603" y="34"/>
                </a:cubicBezTo>
                <a:cubicBezTo>
                  <a:pt x="604" y="33"/>
                  <a:pt x="605" y="33"/>
                  <a:pt x="606" y="32"/>
                </a:cubicBezTo>
                <a:cubicBezTo>
                  <a:pt x="606" y="32"/>
                  <a:pt x="606" y="33"/>
                  <a:pt x="606" y="33"/>
                </a:cubicBezTo>
                <a:cubicBezTo>
                  <a:pt x="605" y="33"/>
                  <a:pt x="604" y="34"/>
                  <a:pt x="603" y="34"/>
                </a:cubicBezTo>
                <a:cubicBezTo>
                  <a:pt x="603" y="34"/>
                  <a:pt x="602" y="34"/>
                  <a:pt x="601" y="34"/>
                </a:cubicBezTo>
                <a:cubicBezTo>
                  <a:pt x="600" y="35"/>
                  <a:pt x="599" y="36"/>
                  <a:pt x="598" y="36"/>
                </a:cubicBezTo>
                <a:cubicBezTo>
                  <a:pt x="598" y="36"/>
                  <a:pt x="598" y="37"/>
                  <a:pt x="598" y="37"/>
                </a:cubicBezTo>
                <a:cubicBezTo>
                  <a:pt x="597" y="37"/>
                  <a:pt x="597" y="38"/>
                  <a:pt x="597" y="38"/>
                </a:cubicBezTo>
                <a:cubicBezTo>
                  <a:pt x="596" y="38"/>
                  <a:pt x="596" y="38"/>
                  <a:pt x="595" y="38"/>
                </a:cubicBezTo>
                <a:cubicBezTo>
                  <a:pt x="595" y="39"/>
                  <a:pt x="595" y="39"/>
                  <a:pt x="595" y="39"/>
                </a:cubicBezTo>
                <a:cubicBezTo>
                  <a:pt x="595" y="40"/>
                  <a:pt x="594" y="40"/>
                  <a:pt x="594" y="40"/>
                </a:cubicBezTo>
                <a:cubicBezTo>
                  <a:pt x="594" y="40"/>
                  <a:pt x="594" y="40"/>
                  <a:pt x="594" y="40"/>
                </a:cubicBezTo>
                <a:cubicBezTo>
                  <a:pt x="595" y="40"/>
                  <a:pt x="596" y="40"/>
                  <a:pt x="597" y="39"/>
                </a:cubicBezTo>
                <a:cubicBezTo>
                  <a:pt x="598" y="40"/>
                  <a:pt x="598" y="40"/>
                  <a:pt x="598" y="40"/>
                </a:cubicBezTo>
                <a:cubicBezTo>
                  <a:pt x="599" y="40"/>
                  <a:pt x="599" y="40"/>
                  <a:pt x="600" y="39"/>
                </a:cubicBezTo>
                <a:cubicBezTo>
                  <a:pt x="600" y="40"/>
                  <a:pt x="601" y="40"/>
                  <a:pt x="601" y="40"/>
                </a:cubicBezTo>
                <a:cubicBezTo>
                  <a:pt x="601" y="40"/>
                  <a:pt x="601" y="40"/>
                  <a:pt x="601" y="40"/>
                </a:cubicBezTo>
                <a:cubicBezTo>
                  <a:pt x="601" y="40"/>
                  <a:pt x="602" y="40"/>
                  <a:pt x="602" y="40"/>
                </a:cubicBezTo>
                <a:cubicBezTo>
                  <a:pt x="602" y="40"/>
                  <a:pt x="603" y="40"/>
                  <a:pt x="603" y="40"/>
                </a:cubicBezTo>
                <a:cubicBezTo>
                  <a:pt x="603" y="40"/>
                  <a:pt x="603" y="40"/>
                  <a:pt x="604" y="40"/>
                </a:cubicBezTo>
                <a:cubicBezTo>
                  <a:pt x="603" y="41"/>
                  <a:pt x="603" y="41"/>
                  <a:pt x="602" y="41"/>
                </a:cubicBezTo>
                <a:cubicBezTo>
                  <a:pt x="602" y="41"/>
                  <a:pt x="602" y="41"/>
                  <a:pt x="601" y="41"/>
                </a:cubicBezTo>
                <a:cubicBezTo>
                  <a:pt x="601" y="41"/>
                  <a:pt x="600" y="41"/>
                  <a:pt x="600" y="41"/>
                </a:cubicBezTo>
                <a:cubicBezTo>
                  <a:pt x="599" y="41"/>
                  <a:pt x="598" y="41"/>
                  <a:pt x="597" y="41"/>
                </a:cubicBezTo>
                <a:cubicBezTo>
                  <a:pt x="596" y="41"/>
                  <a:pt x="596" y="41"/>
                  <a:pt x="595" y="41"/>
                </a:cubicBezTo>
                <a:cubicBezTo>
                  <a:pt x="593" y="42"/>
                  <a:pt x="592" y="42"/>
                  <a:pt x="590" y="42"/>
                </a:cubicBezTo>
                <a:cubicBezTo>
                  <a:pt x="590" y="43"/>
                  <a:pt x="589" y="43"/>
                  <a:pt x="589" y="43"/>
                </a:cubicBezTo>
                <a:cubicBezTo>
                  <a:pt x="588" y="43"/>
                  <a:pt x="588" y="43"/>
                  <a:pt x="588" y="43"/>
                </a:cubicBezTo>
                <a:cubicBezTo>
                  <a:pt x="588" y="43"/>
                  <a:pt x="588" y="43"/>
                  <a:pt x="588" y="44"/>
                </a:cubicBezTo>
                <a:cubicBezTo>
                  <a:pt x="588" y="44"/>
                  <a:pt x="588" y="44"/>
                  <a:pt x="588" y="44"/>
                </a:cubicBezTo>
                <a:cubicBezTo>
                  <a:pt x="589" y="44"/>
                  <a:pt x="590" y="44"/>
                  <a:pt x="590" y="44"/>
                </a:cubicBezTo>
                <a:cubicBezTo>
                  <a:pt x="591" y="44"/>
                  <a:pt x="591" y="44"/>
                  <a:pt x="592" y="43"/>
                </a:cubicBezTo>
                <a:cubicBezTo>
                  <a:pt x="592" y="44"/>
                  <a:pt x="593" y="44"/>
                  <a:pt x="593" y="44"/>
                </a:cubicBezTo>
                <a:cubicBezTo>
                  <a:pt x="593" y="44"/>
                  <a:pt x="593" y="44"/>
                  <a:pt x="593" y="44"/>
                </a:cubicBezTo>
                <a:cubicBezTo>
                  <a:pt x="593" y="44"/>
                  <a:pt x="592" y="44"/>
                  <a:pt x="592" y="45"/>
                </a:cubicBezTo>
                <a:cubicBezTo>
                  <a:pt x="591" y="44"/>
                  <a:pt x="591" y="44"/>
                  <a:pt x="591" y="44"/>
                </a:cubicBezTo>
                <a:cubicBezTo>
                  <a:pt x="590" y="44"/>
                  <a:pt x="589" y="44"/>
                  <a:pt x="588" y="45"/>
                </a:cubicBezTo>
                <a:cubicBezTo>
                  <a:pt x="588" y="44"/>
                  <a:pt x="587" y="44"/>
                  <a:pt x="587" y="44"/>
                </a:cubicBezTo>
                <a:cubicBezTo>
                  <a:pt x="587" y="44"/>
                  <a:pt x="586" y="44"/>
                  <a:pt x="586" y="44"/>
                </a:cubicBezTo>
                <a:cubicBezTo>
                  <a:pt x="585" y="45"/>
                  <a:pt x="585" y="45"/>
                  <a:pt x="584" y="45"/>
                </a:cubicBezTo>
                <a:cubicBezTo>
                  <a:pt x="583" y="45"/>
                  <a:pt x="582" y="45"/>
                  <a:pt x="582" y="46"/>
                </a:cubicBezTo>
                <a:cubicBezTo>
                  <a:pt x="581" y="46"/>
                  <a:pt x="580" y="45"/>
                  <a:pt x="580" y="45"/>
                </a:cubicBezTo>
                <a:cubicBezTo>
                  <a:pt x="579" y="46"/>
                  <a:pt x="578" y="46"/>
                  <a:pt x="578" y="46"/>
                </a:cubicBezTo>
                <a:cubicBezTo>
                  <a:pt x="577" y="46"/>
                  <a:pt x="577" y="46"/>
                  <a:pt x="576" y="46"/>
                </a:cubicBezTo>
                <a:cubicBezTo>
                  <a:pt x="576" y="46"/>
                  <a:pt x="575" y="46"/>
                  <a:pt x="575" y="46"/>
                </a:cubicBezTo>
                <a:cubicBezTo>
                  <a:pt x="574" y="46"/>
                  <a:pt x="574" y="46"/>
                  <a:pt x="573" y="46"/>
                </a:cubicBezTo>
                <a:cubicBezTo>
                  <a:pt x="573" y="46"/>
                  <a:pt x="573" y="47"/>
                  <a:pt x="573" y="47"/>
                </a:cubicBezTo>
                <a:cubicBezTo>
                  <a:pt x="573" y="47"/>
                  <a:pt x="573" y="47"/>
                  <a:pt x="573" y="48"/>
                </a:cubicBezTo>
                <a:cubicBezTo>
                  <a:pt x="573" y="48"/>
                  <a:pt x="574" y="49"/>
                  <a:pt x="574" y="50"/>
                </a:cubicBezTo>
                <a:cubicBezTo>
                  <a:pt x="574" y="50"/>
                  <a:pt x="574" y="50"/>
                  <a:pt x="574" y="51"/>
                </a:cubicBezTo>
                <a:cubicBezTo>
                  <a:pt x="574" y="51"/>
                  <a:pt x="573" y="51"/>
                  <a:pt x="573" y="52"/>
                </a:cubicBezTo>
                <a:cubicBezTo>
                  <a:pt x="573" y="52"/>
                  <a:pt x="573" y="52"/>
                  <a:pt x="573" y="52"/>
                </a:cubicBezTo>
                <a:cubicBezTo>
                  <a:pt x="573" y="52"/>
                  <a:pt x="574" y="52"/>
                  <a:pt x="574" y="52"/>
                </a:cubicBezTo>
                <a:cubicBezTo>
                  <a:pt x="574" y="52"/>
                  <a:pt x="575" y="52"/>
                  <a:pt x="575" y="53"/>
                </a:cubicBezTo>
                <a:cubicBezTo>
                  <a:pt x="576" y="53"/>
                  <a:pt x="576" y="53"/>
                  <a:pt x="577" y="53"/>
                </a:cubicBezTo>
                <a:cubicBezTo>
                  <a:pt x="577" y="53"/>
                  <a:pt x="577" y="53"/>
                  <a:pt x="578" y="53"/>
                </a:cubicBezTo>
                <a:cubicBezTo>
                  <a:pt x="577" y="53"/>
                  <a:pt x="577" y="53"/>
                  <a:pt x="576" y="53"/>
                </a:cubicBezTo>
                <a:cubicBezTo>
                  <a:pt x="576" y="53"/>
                  <a:pt x="576" y="53"/>
                  <a:pt x="575" y="53"/>
                </a:cubicBezTo>
                <a:cubicBezTo>
                  <a:pt x="575" y="53"/>
                  <a:pt x="575" y="54"/>
                  <a:pt x="575" y="54"/>
                </a:cubicBezTo>
                <a:cubicBezTo>
                  <a:pt x="575" y="54"/>
                  <a:pt x="575" y="53"/>
                  <a:pt x="575" y="53"/>
                </a:cubicBezTo>
                <a:cubicBezTo>
                  <a:pt x="574" y="53"/>
                  <a:pt x="574" y="53"/>
                  <a:pt x="574" y="53"/>
                </a:cubicBezTo>
                <a:cubicBezTo>
                  <a:pt x="573" y="53"/>
                  <a:pt x="573" y="53"/>
                  <a:pt x="573" y="53"/>
                </a:cubicBezTo>
                <a:cubicBezTo>
                  <a:pt x="573" y="53"/>
                  <a:pt x="573" y="53"/>
                  <a:pt x="573" y="53"/>
                </a:cubicBezTo>
                <a:cubicBezTo>
                  <a:pt x="572" y="53"/>
                  <a:pt x="572" y="53"/>
                  <a:pt x="572" y="53"/>
                </a:cubicBezTo>
                <a:cubicBezTo>
                  <a:pt x="572" y="52"/>
                  <a:pt x="571" y="52"/>
                  <a:pt x="571" y="52"/>
                </a:cubicBezTo>
                <a:cubicBezTo>
                  <a:pt x="571" y="51"/>
                  <a:pt x="571" y="51"/>
                  <a:pt x="571" y="50"/>
                </a:cubicBezTo>
                <a:cubicBezTo>
                  <a:pt x="571" y="50"/>
                  <a:pt x="571" y="49"/>
                  <a:pt x="570" y="49"/>
                </a:cubicBezTo>
                <a:cubicBezTo>
                  <a:pt x="570" y="48"/>
                  <a:pt x="569" y="48"/>
                  <a:pt x="569" y="48"/>
                </a:cubicBezTo>
                <a:cubicBezTo>
                  <a:pt x="569" y="48"/>
                  <a:pt x="569" y="47"/>
                  <a:pt x="568" y="47"/>
                </a:cubicBezTo>
                <a:cubicBezTo>
                  <a:pt x="568" y="47"/>
                  <a:pt x="567" y="47"/>
                  <a:pt x="566" y="47"/>
                </a:cubicBezTo>
                <a:cubicBezTo>
                  <a:pt x="565" y="47"/>
                  <a:pt x="565" y="47"/>
                  <a:pt x="565" y="47"/>
                </a:cubicBezTo>
                <a:cubicBezTo>
                  <a:pt x="564" y="47"/>
                  <a:pt x="564" y="47"/>
                  <a:pt x="563" y="46"/>
                </a:cubicBezTo>
                <a:cubicBezTo>
                  <a:pt x="563" y="46"/>
                  <a:pt x="563" y="46"/>
                  <a:pt x="562" y="46"/>
                </a:cubicBezTo>
                <a:cubicBezTo>
                  <a:pt x="562" y="46"/>
                  <a:pt x="562" y="46"/>
                  <a:pt x="561" y="46"/>
                </a:cubicBezTo>
                <a:cubicBezTo>
                  <a:pt x="561" y="46"/>
                  <a:pt x="560" y="46"/>
                  <a:pt x="560" y="46"/>
                </a:cubicBezTo>
                <a:cubicBezTo>
                  <a:pt x="558" y="47"/>
                  <a:pt x="557" y="48"/>
                  <a:pt x="556" y="49"/>
                </a:cubicBezTo>
                <a:cubicBezTo>
                  <a:pt x="556" y="50"/>
                  <a:pt x="556" y="50"/>
                  <a:pt x="556" y="50"/>
                </a:cubicBezTo>
                <a:cubicBezTo>
                  <a:pt x="556" y="51"/>
                  <a:pt x="556" y="51"/>
                  <a:pt x="556" y="51"/>
                </a:cubicBezTo>
                <a:cubicBezTo>
                  <a:pt x="556" y="51"/>
                  <a:pt x="557" y="51"/>
                  <a:pt x="557" y="51"/>
                </a:cubicBezTo>
                <a:cubicBezTo>
                  <a:pt x="557" y="51"/>
                  <a:pt x="558" y="51"/>
                  <a:pt x="558" y="51"/>
                </a:cubicBezTo>
                <a:cubicBezTo>
                  <a:pt x="559" y="52"/>
                  <a:pt x="559" y="52"/>
                  <a:pt x="559" y="52"/>
                </a:cubicBezTo>
                <a:cubicBezTo>
                  <a:pt x="559" y="52"/>
                  <a:pt x="559" y="52"/>
                  <a:pt x="559" y="53"/>
                </a:cubicBezTo>
                <a:cubicBezTo>
                  <a:pt x="559" y="53"/>
                  <a:pt x="559" y="53"/>
                  <a:pt x="559" y="53"/>
                </a:cubicBezTo>
                <a:cubicBezTo>
                  <a:pt x="559" y="53"/>
                  <a:pt x="558" y="52"/>
                  <a:pt x="558" y="52"/>
                </a:cubicBezTo>
                <a:cubicBezTo>
                  <a:pt x="558" y="52"/>
                  <a:pt x="557" y="52"/>
                  <a:pt x="557" y="52"/>
                </a:cubicBezTo>
                <a:cubicBezTo>
                  <a:pt x="557" y="52"/>
                  <a:pt x="556" y="52"/>
                  <a:pt x="556" y="52"/>
                </a:cubicBezTo>
                <a:cubicBezTo>
                  <a:pt x="556" y="52"/>
                  <a:pt x="556" y="52"/>
                  <a:pt x="556" y="52"/>
                </a:cubicBezTo>
                <a:cubicBezTo>
                  <a:pt x="555" y="52"/>
                  <a:pt x="555" y="52"/>
                  <a:pt x="555" y="52"/>
                </a:cubicBezTo>
                <a:cubicBezTo>
                  <a:pt x="555" y="53"/>
                  <a:pt x="555" y="53"/>
                  <a:pt x="555" y="53"/>
                </a:cubicBezTo>
                <a:cubicBezTo>
                  <a:pt x="555" y="53"/>
                  <a:pt x="555" y="53"/>
                  <a:pt x="555" y="54"/>
                </a:cubicBezTo>
                <a:cubicBezTo>
                  <a:pt x="556" y="54"/>
                  <a:pt x="556" y="54"/>
                  <a:pt x="556" y="54"/>
                </a:cubicBezTo>
                <a:cubicBezTo>
                  <a:pt x="556" y="54"/>
                  <a:pt x="557" y="55"/>
                  <a:pt x="557" y="55"/>
                </a:cubicBezTo>
                <a:cubicBezTo>
                  <a:pt x="557" y="55"/>
                  <a:pt x="557" y="56"/>
                  <a:pt x="558" y="57"/>
                </a:cubicBezTo>
                <a:cubicBezTo>
                  <a:pt x="558" y="57"/>
                  <a:pt x="557" y="58"/>
                  <a:pt x="557" y="58"/>
                </a:cubicBezTo>
                <a:cubicBezTo>
                  <a:pt x="557" y="58"/>
                  <a:pt x="557" y="59"/>
                  <a:pt x="557" y="59"/>
                </a:cubicBezTo>
                <a:cubicBezTo>
                  <a:pt x="557" y="59"/>
                  <a:pt x="557" y="60"/>
                  <a:pt x="557" y="60"/>
                </a:cubicBezTo>
                <a:cubicBezTo>
                  <a:pt x="557" y="60"/>
                  <a:pt x="557" y="61"/>
                  <a:pt x="557" y="61"/>
                </a:cubicBezTo>
                <a:cubicBezTo>
                  <a:pt x="557" y="61"/>
                  <a:pt x="557" y="61"/>
                  <a:pt x="557" y="61"/>
                </a:cubicBezTo>
                <a:cubicBezTo>
                  <a:pt x="558" y="61"/>
                  <a:pt x="558" y="61"/>
                  <a:pt x="558" y="61"/>
                </a:cubicBezTo>
                <a:cubicBezTo>
                  <a:pt x="558" y="61"/>
                  <a:pt x="558" y="62"/>
                  <a:pt x="558" y="62"/>
                </a:cubicBezTo>
                <a:cubicBezTo>
                  <a:pt x="558" y="62"/>
                  <a:pt x="557" y="63"/>
                  <a:pt x="557" y="63"/>
                </a:cubicBezTo>
                <a:cubicBezTo>
                  <a:pt x="557" y="63"/>
                  <a:pt x="557" y="63"/>
                  <a:pt x="557" y="62"/>
                </a:cubicBezTo>
                <a:cubicBezTo>
                  <a:pt x="556" y="62"/>
                  <a:pt x="556" y="62"/>
                  <a:pt x="556" y="62"/>
                </a:cubicBezTo>
                <a:cubicBezTo>
                  <a:pt x="556" y="62"/>
                  <a:pt x="555" y="62"/>
                  <a:pt x="555" y="62"/>
                </a:cubicBezTo>
                <a:cubicBezTo>
                  <a:pt x="555" y="62"/>
                  <a:pt x="554" y="62"/>
                  <a:pt x="554" y="62"/>
                </a:cubicBezTo>
                <a:cubicBezTo>
                  <a:pt x="554" y="63"/>
                  <a:pt x="554" y="63"/>
                  <a:pt x="555" y="63"/>
                </a:cubicBezTo>
                <a:cubicBezTo>
                  <a:pt x="555" y="64"/>
                  <a:pt x="556" y="64"/>
                  <a:pt x="556" y="65"/>
                </a:cubicBezTo>
                <a:cubicBezTo>
                  <a:pt x="557" y="65"/>
                  <a:pt x="558" y="64"/>
                  <a:pt x="558" y="64"/>
                </a:cubicBezTo>
                <a:cubicBezTo>
                  <a:pt x="558" y="64"/>
                  <a:pt x="559" y="64"/>
                  <a:pt x="559" y="64"/>
                </a:cubicBezTo>
                <a:cubicBezTo>
                  <a:pt x="559" y="64"/>
                  <a:pt x="560" y="65"/>
                  <a:pt x="560" y="65"/>
                </a:cubicBezTo>
                <a:cubicBezTo>
                  <a:pt x="561" y="65"/>
                  <a:pt x="561" y="65"/>
                  <a:pt x="562" y="64"/>
                </a:cubicBezTo>
                <a:cubicBezTo>
                  <a:pt x="563" y="64"/>
                  <a:pt x="563" y="65"/>
                  <a:pt x="564" y="65"/>
                </a:cubicBezTo>
                <a:cubicBezTo>
                  <a:pt x="564" y="64"/>
                  <a:pt x="565" y="64"/>
                  <a:pt x="565" y="64"/>
                </a:cubicBezTo>
                <a:cubicBezTo>
                  <a:pt x="565" y="64"/>
                  <a:pt x="566" y="63"/>
                  <a:pt x="566" y="63"/>
                </a:cubicBezTo>
                <a:cubicBezTo>
                  <a:pt x="566" y="63"/>
                  <a:pt x="566" y="63"/>
                  <a:pt x="566" y="63"/>
                </a:cubicBezTo>
                <a:cubicBezTo>
                  <a:pt x="566" y="62"/>
                  <a:pt x="567" y="62"/>
                  <a:pt x="567" y="62"/>
                </a:cubicBezTo>
                <a:cubicBezTo>
                  <a:pt x="567" y="62"/>
                  <a:pt x="567" y="63"/>
                  <a:pt x="567" y="63"/>
                </a:cubicBezTo>
                <a:cubicBezTo>
                  <a:pt x="567" y="63"/>
                  <a:pt x="567" y="63"/>
                  <a:pt x="567" y="64"/>
                </a:cubicBezTo>
                <a:cubicBezTo>
                  <a:pt x="567" y="64"/>
                  <a:pt x="567" y="64"/>
                  <a:pt x="567" y="64"/>
                </a:cubicBezTo>
                <a:cubicBezTo>
                  <a:pt x="566" y="65"/>
                  <a:pt x="566" y="65"/>
                  <a:pt x="566" y="65"/>
                </a:cubicBezTo>
                <a:cubicBezTo>
                  <a:pt x="566" y="65"/>
                  <a:pt x="565" y="65"/>
                  <a:pt x="565" y="65"/>
                </a:cubicBezTo>
                <a:cubicBezTo>
                  <a:pt x="564" y="65"/>
                  <a:pt x="563" y="65"/>
                  <a:pt x="562" y="65"/>
                </a:cubicBezTo>
                <a:cubicBezTo>
                  <a:pt x="562" y="65"/>
                  <a:pt x="562" y="65"/>
                  <a:pt x="561" y="66"/>
                </a:cubicBezTo>
                <a:cubicBezTo>
                  <a:pt x="561" y="66"/>
                  <a:pt x="561" y="66"/>
                  <a:pt x="562" y="66"/>
                </a:cubicBezTo>
                <a:cubicBezTo>
                  <a:pt x="562" y="66"/>
                  <a:pt x="562" y="66"/>
                  <a:pt x="562" y="66"/>
                </a:cubicBezTo>
                <a:cubicBezTo>
                  <a:pt x="563" y="66"/>
                  <a:pt x="563" y="66"/>
                  <a:pt x="564" y="66"/>
                </a:cubicBezTo>
                <a:cubicBezTo>
                  <a:pt x="564" y="66"/>
                  <a:pt x="564" y="66"/>
                  <a:pt x="564" y="66"/>
                </a:cubicBezTo>
                <a:cubicBezTo>
                  <a:pt x="564" y="66"/>
                  <a:pt x="563" y="67"/>
                  <a:pt x="563" y="67"/>
                </a:cubicBezTo>
                <a:cubicBezTo>
                  <a:pt x="563" y="67"/>
                  <a:pt x="563" y="67"/>
                  <a:pt x="563" y="68"/>
                </a:cubicBezTo>
                <a:cubicBezTo>
                  <a:pt x="562" y="67"/>
                  <a:pt x="562" y="67"/>
                  <a:pt x="561" y="67"/>
                </a:cubicBezTo>
                <a:cubicBezTo>
                  <a:pt x="561" y="67"/>
                  <a:pt x="561" y="67"/>
                  <a:pt x="560" y="67"/>
                </a:cubicBezTo>
                <a:cubicBezTo>
                  <a:pt x="560" y="67"/>
                  <a:pt x="560" y="66"/>
                  <a:pt x="560" y="66"/>
                </a:cubicBezTo>
                <a:cubicBezTo>
                  <a:pt x="559" y="66"/>
                  <a:pt x="559" y="66"/>
                  <a:pt x="559" y="66"/>
                </a:cubicBezTo>
                <a:cubicBezTo>
                  <a:pt x="558" y="66"/>
                  <a:pt x="557" y="65"/>
                  <a:pt x="556" y="65"/>
                </a:cubicBezTo>
                <a:cubicBezTo>
                  <a:pt x="556" y="65"/>
                  <a:pt x="556" y="65"/>
                  <a:pt x="555" y="65"/>
                </a:cubicBezTo>
                <a:cubicBezTo>
                  <a:pt x="555" y="65"/>
                  <a:pt x="554" y="65"/>
                  <a:pt x="554" y="65"/>
                </a:cubicBezTo>
                <a:cubicBezTo>
                  <a:pt x="554" y="65"/>
                  <a:pt x="553" y="64"/>
                  <a:pt x="553" y="64"/>
                </a:cubicBezTo>
                <a:cubicBezTo>
                  <a:pt x="553" y="64"/>
                  <a:pt x="553" y="65"/>
                  <a:pt x="552" y="65"/>
                </a:cubicBezTo>
                <a:cubicBezTo>
                  <a:pt x="552" y="65"/>
                  <a:pt x="552" y="65"/>
                  <a:pt x="551" y="65"/>
                </a:cubicBezTo>
                <a:cubicBezTo>
                  <a:pt x="551" y="65"/>
                  <a:pt x="551" y="65"/>
                  <a:pt x="550" y="66"/>
                </a:cubicBezTo>
                <a:cubicBezTo>
                  <a:pt x="550" y="66"/>
                  <a:pt x="550" y="66"/>
                  <a:pt x="550" y="66"/>
                </a:cubicBezTo>
                <a:cubicBezTo>
                  <a:pt x="549" y="66"/>
                  <a:pt x="548" y="66"/>
                  <a:pt x="548" y="66"/>
                </a:cubicBezTo>
                <a:cubicBezTo>
                  <a:pt x="547" y="66"/>
                  <a:pt x="546" y="67"/>
                  <a:pt x="545" y="67"/>
                </a:cubicBezTo>
                <a:cubicBezTo>
                  <a:pt x="545" y="67"/>
                  <a:pt x="545" y="67"/>
                  <a:pt x="544" y="67"/>
                </a:cubicBezTo>
                <a:cubicBezTo>
                  <a:pt x="544" y="67"/>
                  <a:pt x="543" y="68"/>
                  <a:pt x="543" y="68"/>
                </a:cubicBezTo>
                <a:cubicBezTo>
                  <a:pt x="543" y="69"/>
                  <a:pt x="543" y="69"/>
                  <a:pt x="542" y="69"/>
                </a:cubicBezTo>
                <a:cubicBezTo>
                  <a:pt x="542" y="70"/>
                  <a:pt x="542" y="70"/>
                  <a:pt x="542" y="70"/>
                </a:cubicBezTo>
                <a:cubicBezTo>
                  <a:pt x="542" y="70"/>
                  <a:pt x="542" y="71"/>
                  <a:pt x="541" y="71"/>
                </a:cubicBezTo>
                <a:cubicBezTo>
                  <a:pt x="541" y="71"/>
                  <a:pt x="541" y="71"/>
                  <a:pt x="540" y="71"/>
                </a:cubicBezTo>
                <a:cubicBezTo>
                  <a:pt x="540" y="72"/>
                  <a:pt x="539" y="72"/>
                  <a:pt x="539" y="72"/>
                </a:cubicBezTo>
                <a:cubicBezTo>
                  <a:pt x="539" y="72"/>
                  <a:pt x="539" y="72"/>
                  <a:pt x="539" y="73"/>
                </a:cubicBezTo>
                <a:cubicBezTo>
                  <a:pt x="539" y="73"/>
                  <a:pt x="538" y="73"/>
                  <a:pt x="538" y="74"/>
                </a:cubicBezTo>
                <a:cubicBezTo>
                  <a:pt x="538" y="74"/>
                  <a:pt x="538" y="74"/>
                  <a:pt x="538" y="74"/>
                </a:cubicBezTo>
                <a:cubicBezTo>
                  <a:pt x="538" y="74"/>
                  <a:pt x="538" y="74"/>
                  <a:pt x="538" y="74"/>
                </a:cubicBezTo>
                <a:cubicBezTo>
                  <a:pt x="538" y="74"/>
                  <a:pt x="539" y="74"/>
                  <a:pt x="539" y="75"/>
                </a:cubicBezTo>
                <a:cubicBezTo>
                  <a:pt x="538" y="75"/>
                  <a:pt x="538" y="75"/>
                  <a:pt x="538" y="75"/>
                </a:cubicBezTo>
                <a:cubicBezTo>
                  <a:pt x="537" y="75"/>
                  <a:pt x="537" y="75"/>
                  <a:pt x="537" y="75"/>
                </a:cubicBezTo>
                <a:cubicBezTo>
                  <a:pt x="538" y="76"/>
                  <a:pt x="538" y="76"/>
                  <a:pt x="539" y="76"/>
                </a:cubicBezTo>
                <a:cubicBezTo>
                  <a:pt x="539" y="76"/>
                  <a:pt x="540" y="76"/>
                  <a:pt x="540" y="76"/>
                </a:cubicBezTo>
                <a:cubicBezTo>
                  <a:pt x="541" y="75"/>
                  <a:pt x="541" y="75"/>
                  <a:pt x="541" y="75"/>
                </a:cubicBezTo>
                <a:cubicBezTo>
                  <a:pt x="541" y="75"/>
                  <a:pt x="541" y="75"/>
                  <a:pt x="541" y="75"/>
                </a:cubicBezTo>
                <a:cubicBezTo>
                  <a:pt x="542" y="74"/>
                  <a:pt x="542" y="74"/>
                  <a:pt x="543" y="74"/>
                </a:cubicBezTo>
                <a:cubicBezTo>
                  <a:pt x="543" y="74"/>
                  <a:pt x="544" y="74"/>
                  <a:pt x="544" y="73"/>
                </a:cubicBezTo>
                <a:cubicBezTo>
                  <a:pt x="544" y="73"/>
                  <a:pt x="544" y="74"/>
                  <a:pt x="544" y="74"/>
                </a:cubicBezTo>
                <a:cubicBezTo>
                  <a:pt x="544" y="74"/>
                  <a:pt x="544" y="74"/>
                  <a:pt x="543" y="74"/>
                </a:cubicBezTo>
                <a:cubicBezTo>
                  <a:pt x="543" y="75"/>
                  <a:pt x="543" y="75"/>
                  <a:pt x="543" y="75"/>
                </a:cubicBezTo>
                <a:cubicBezTo>
                  <a:pt x="543" y="76"/>
                  <a:pt x="543" y="76"/>
                  <a:pt x="543" y="76"/>
                </a:cubicBezTo>
                <a:cubicBezTo>
                  <a:pt x="543" y="76"/>
                  <a:pt x="544" y="76"/>
                  <a:pt x="544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6" y="75"/>
                  <a:pt x="546" y="75"/>
                  <a:pt x="547" y="74"/>
                </a:cubicBezTo>
                <a:cubicBezTo>
                  <a:pt x="547" y="74"/>
                  <a:pt x="548" y="74"/>
                  <a:pt x="548" y="73"/>
                </a:cubicBezTo>
                <a:cubicBezTo>
                  <a:pt x="549" y="73"/>
                  <a:pt x="549" y="72"/>
                  <a:pt x="549" y="71"/>
                </a:cubicBezTo>
                <a:cubicBezTo>
                  <a:pt x="550" y="71"/>
                  <a:pt x="550" y="70"/>
                  <a:pt x="551" y="70"/>
                </a:cubicBezTo>
                <a:cubicBezTo>
                  <a:pt x="551" y="70"/>
                  <a:pt x="551" y="70"/>
                  <a:pt x="552" y="70"/>
                </a:cubicBezTo>
                <a:cubicBezTo>
                  <a:pt x="552" y="70"/>
                  <a:pt x="552" y="70"/>
                  <a:pt x="552" y="70"/>
                </a:cubicBezTo>
                <a:cubicBezTo>
                  <a:pt x="551" y="70"/>
                  <a:pt x="551" y="70"/>
                  <a:pt x="551" y="71"/>
                </a:cubicBezTo>
                <a:cubicBezTo>
                  <a:pt x="550" y="71"/>
                  <a:pt x="550" y="72"/>
                  <a:pt x="549" y="72"/>
                </a:cubicBezTo>
                <a:cubicBezTo>
                  <a:pt x="550" y="72"/>
                  <a:pt x="550" y="73"/>
                  <a:pt x="550" y="73"/>
                </a:cubicBezTo>
                <a:cubicBezTo>
                  <a:pt x="550" y="73"/>
                  <a:pt x="549" y="73"/>
                  <a:pt x="549" y="73"/>
                </a:cubicBezTo>
                <a:cubicBezTo>
                  <a:pt x="549" y="73"/>
                  <a:pt x="549" y="74"/>
                  <a:pt x="548" y="74"/>
                </a:cubicBezTo>
                <a:cubicBezTo>
                  <a:pt x="548" y="74"/>
                  <a:pt x="548" y="74"/>
                  <a:pt x="549" y="74"/>
                </a:cubicBezTo>
                <a:cubicBezTo>
                  <a:pt x="549" y="74"/>
                  <a:pt x="549" y="74"/>
                  <a:pt x="549" y="74"/>
                </a:cubicBezTo>
                <a:cubicBezTo>
                  <a:pt x="549" y="74"/>
                  <a:pt x="549" y="74"/>
                  <a:pt x="549" y="74"/>
                </a:cubicBezTo>
                <a:cubicBezTo>
                  <a:pt x="549" y="74"/>
                  <a:pt x="549" y="75"/>
                  <a:pt x="548" y="75"/>
                </a:cubicBezTo>
                <a:cubicBezTo>
                  <a:pt x="548" y="75"/>
                  <a:pt x="548" y="75"/>
                  <a:pt x="547" y="75"/>
                </a:cubicBezTo>
                <a:cubicBezTo>
                  <a:pt x="547" y="76"/>
                  <a:pt x="548" y="76"/>
                  <a:pt x="548" y="76"/>
                </a:cubicBezTo>
                <a:cubicBezTo>
                  <a:pt x="548" y="76"/>
                  <a:pt x="549" y="76"/>
                  <a:pt x="549" y="76"/>
                </a:cubicBezTo>
                <a:cubicBezTo>
                  <a:pt x="549" y="76"/>
                  <a:pt x="548" y="76"/>
                  <a:pt x="548" y="76"/>
                </a:cubicBezTo>
                <a:cubicBezTo>
                  <a:pt x="548" y="76"/>
                  <a:pt x="547" y="76"/>
                  <a:pt x="547" y="76"/>
                </a:cubicBezTo>
                <a:cubicBezTo>
                  <a:pt x="546" y="76"/>
                  <a:pt x="546" y="76"/>
                  <a:pt x="546" y="76"/>
                </a:cubicBezTo>
                <a:cubicBezTo>
                  <a:pt x="545" y="76"/>
                  <a:pt x="545" y="77"/>
                  <a:pt x="545" y="77"/>
                </a:cubicBezTo>
                <a:cubicBezTo>
                  <a:pt x="545" y="77"/>
                  <a:pt x="544" y="77"/>
                  <a:pt x="544" y="77"/>
                </a:cubicBezTo>
                <a:cubicBezTo>
                  <a:pt x="544" y="77"/>
                  <a:pt x="544" y="77"/>
                  <a:pt x="544" y="77"/>
                </a:cubicBezTo>
                <a:cubicBezTo>
                  <a:pt x="544" y="78"/>
                  <a:pt x="544" y="78"/>
                  <a:pt x="544" y="78"/>
                </a:cubicBezTo>
                <a:cubicBezTo>
                  <a:pt x="545" y="78"/>
                  <a:pt x="545" y="78"/>
                  <a:pt x="545" y="78"/>
                </a:cubicBezTo>
                <a:cubicBezTo>
                  <a:pt x="545" y="78"/>
                  <a:pt x="545" y="77"/>
                  <a:pt x="546" y="77"/>
                </a:cubicBezTo>
                <a:cubicBezTo>
                  <a:pt x="546" y="77"/>
                  <a:pt x="546" y="77"/>
                  <a:pt x="546" y="77"/>
                </a:cubicBezTo>
                <a:cubicBezTo>
                  <a:pt x="547" y="77"/>
                  <a:pt x="547" y="77"/>
                  <a:pt x="547" y="77"/>
                </a:cubicBezTo>
                <a:cubicBezTo>
                  <a:pt x="547" y="77"/>
                  <a:pt x="547" y="78"/>
                  <a:pt x="547" y="78"/>
                </a:cubicBezTo>
                <a:cubicBezTo>
                  <a:pt x="547" y="78"/>
                  <a:pt x="547" y="78"/>
                  <a:pt x="546" y="78"/>
                </a:cubicBezTo>
                <a:cubicBezTo>
                  <a:pt x="546" y="78"/>
                  <a:pt x="546" y="78"/>
                  <a:pt x="546" y="78"/>
                </a:cubicBezTo>
                <a:cubicBezTo>
                  <a:pt x="545" y="78"/>
                  <a:pt x="545" y="78"/>
                  <a:pt x="545" y="78"/>
                </a:cubicBezTo>
                <a:cubicBezTo>
                  <a:pt x="545" y="78"/>
                  <a:pt x="545" y="78"/>
                  <a:pt x="545" y="79"/>
                </a:cubicBezTo>
                <a:cubicBezTo>
                  <a:pt x="545" y="79"/>
                  <a:pt x="546" y="78"/>
                  <a:pt x="546" y="78"/>
                </a:cubicBezTo>
                <a:cubicBezTo>
                  <a:pt x="546" y="79"/>
                  <a:pt x="546" y="79"/>
                  <a:pt x="546" y="79"/>
                </a:cubicBezTo>
                <a:cubicBezTo>
                  <a:pt x="546" y="79"/>
                  <a:pt x="545" y="79"/>
                  <a:pt x="545" y="79"/>
                </a:cubicBezTo>
                <a:cubicBezTo>
                  <a:pt x="545" y="79"/>
                  <a:pt x="545" y="79"/>
                  <a:pt x="544" y="79"/>
                </a:cubicBezTo>
                <a:cubicBezTo>
                  <a:pt x="544" y="80"/>
                  <a:pt x="544" y="80"/>
                  <a:pt x="544" y="80"/>
                </a:cubicBezTo>
                <a:cubicBezTo>
                  <a:pt x="545" y="80"/>
                  <a:pt x="545" y="80"/>
                  <a:pt x="545" y="80"/>
                </a:cubicBezTo>
                <a:cubicBezTo>
                  <a:pt x="546" y="80"/>
                  <a:pt x="546" y="80"/>
                  <a:pt x="546" y="80"/>
                </a:cubicBezTo>
                <a:cubicBezTo>
                  <a:pt x="546" y="80"/>
                  <a:pt x="546" y="80"/>
                  <a:pt x="547" y="80"/>
                </a:cubicBezTo>
                <a:cubicBezTo>
                  <a:pt x="547" y="79"/>
                  <a:pt x="547" y="79"/>
                  <a:pt x="548" y="79"/>
                </a:cubicBezTo>
                <a:cubicBezTo>
                  <a:pt x="548" y="79"/>
                  <a:pt x="548" y="79"/>
                  <a:pt x="548" y="80"/>
                </a:cubicBezTo>
                <a:cubicBezTo>
                  <a:pt x="547" y="80"/>
                  <a:pt x="547" y="80"/>
                  <a:pt x="547" y="80"/>
                </a:cubicBezTo>
                <a:cubicBezTo>
                  <a:pt x="547" y="80"/>
                  <a:pt x="546" y="81"/>
                  <a:pt x="546" y="81"/>
                </a:cubicBezTo>
                <a:cubicBezTo>
                  <a:pt x="546" y="81"/>
                  <a:pt x="546" y="81"/>
                  <a:pt x="546" y="81"/>
                </a:cubicBezTo>
                <a:cubicBezTo>
                  <a:pt x="547" y="81"/>
                  <a:pt x="547" y="82"/>
                  <a:pt x="548" y="82"/>
                </a:cubicBezTo>
                <a:cubicBezTo>
                  <a:pt x="548" y="82"/>
                  <a:pt x="549" y="81"/>
                  <a:pt x="549" y="81"/>
                </a:cubicBezTo>
                <a:cubicBezTo>
                  <a:pt x="549" y="81"/>
                  <a:pt x="549" y="81"/>
                  <a:pt x="549" y="81"/>
                </a:cubicBezTo>
                <a:cubicBezTo>
                  <a:pt x="549" y="81"/>
                  <a:pt x="550" y="81"/>
                  <a:pt x="550" y="81"/>
                </a:cubicBezTo>
                <a:cubicBezTo>
                  <a:pt x="550" y="81"/>
                  <a:pt x="550" y="81"/>
                  <a:pt x="551" y="81"/>
                </a:cubicBezTo>
                <a:cubicBezTo>
                  <a:pt x="551" y="81"/>
                  <a:pt x="552" y="81"/>
                  <a:pt x="553" y="80"/>
                </a:cubicBezTo>
                <a:cubicBezTo>
                  <a:pt x="553" y="80"/>
                  <a:pt x="554" y="79"/>
                  <a:pt x="554" y="79"/>
                </a:cubicBezTo>
                <a:cubicBezTo>
                  <a:pt x="554" y="79"/>
                  <a:pt x="554" y="79"/>
                  <a:pt x="554" y="79"/>
                </a:cubicBezTo>
                <a:cubicBezTo>
                  <a:pt x="554" y="79"/>
                  <a:pt x="555" y="78"/>
                  <a:pt x="555" y="78"/>
                </a:cubicBezTo>
                <a:cubicBezTo>
                  <a:pt x="556" y="78"/>
                  <a:pt x="556" y="77"/>
                  <a:pt x="557" y="76"/>
                </a:cubicBezTo>
                <a:cubicBezTo>
                  <a:pt x="557" y="76"/>
                  <a:pt x="557" y="76"/>
                  <a:pt x="557" y="76"/>
                </a:cubicBezTo>
                <a:cubicBezTo>
                  <a:pt x="557" y="76"/>
                  <a:pt x="557" y="75"/>
                  <a:pt x="558" y="75"/>
                </a:cubicBezTo>
                <a:cubicBezTo>
                  <a:pt x="558" y="75"/>
                  <a:pt x="558" y="75"/>
                  <a:pt x="558" y="75"/>
                </a:cubicBezTo>
                <a:cubicBezTo>
                  <a:pt x="558" y="75"/>
                  <a:pt x="558" y="76"/>
                  <a:pt x="558" y="76"/>
                </a:cubicBezTo>
                <a:cubicBezTo>
                  <a:pt x="558" y="76"/>
                  <a:pt x="558" y="76"/>
                  <a:pt x="558" y="76"/>
                </a:cubicBezTo>
                <a:cubicBezTo>
                  <a:pt x="557" y="77"/>
                  <a:pt x="557" y="78"/>
                  <a:pt x="556" y="78"/>
                </a:cubicBezTo>
                <a:cubicBezTo>
                  <a:pt x="555" y="79"/>
                  <a:pt x="555" y="79"/>
                  <a:pt x="554" y="79"/>
                </a:cubicBezTo>
                <a:cubicBezTo>
                  <a:pt x="554" y="80"/>
                  <a:pt x="553" y="80"/>
                  <a:pt x="553" y="81"/>
                </a:cubicBezTo>
                <a:cubicBezTo>
                  <a:pt x="552" y="81"/>
                  <a:pt x="552" y="81"/>
                  <a:pt x="551" y="81"/>
                </a:cubicBezTo>
                <a:cubicBezTo>
                  <a:pt x="551" y="82"/>
                  <a:pt x="551" y="82"/>
                  <a:pt x="550" y="82"/>
                </a:cubicBezTo>
                <a:cubicBezTo>
                  <a:pt x="551" y="82"/>
                  <a:pt x="551" y="82"/>
                  <a:pt x="551" y="82"/>
                </a:cubicBezTo>
                <a:cubicBezTo>
                  <a:pt x="551" y="83"/>
                  <a:pt x="551" y="83"/>
                  <a:pt x="551" y="83"/>
                </a:cubicBezTo>
                <a:cubicBezTo>
                  <a:pt x="550" y="83"/>
                  <a:pt x="550" y="82"/>
                  <a:pt x="549" y="82"/>
                </a:cubicBezTo>
                <a:cubicBezTo>
                  <a:pt x="548" y="82"/>
                  <a:pt x="547" y="83"/>
                  <a:pt x="547" y="83"/>
                </a:cubicBezTo>
                <a:cubicBezTo>
                  <a:pt x="547" y="83"/>
                  <a:pt x="547" y="83"/>
                  <a:pt x="547" y="83"/>
                </a:cubicBezTo>
                <a:cubicBezTo>
                  <a:pt x="546" y="83"/>
                  <a:pt x="546" y="83"/>
                  <a:pt x="546" y="83"/>
                </a:cubicBezTo>
                <a:cubicBezTo>
                  <a:pt x="546" y="83"/>
                  <a:pt x="545" y="83"/>
                  <a:pt x="545" y="83"/>
                </a:cubicBezTo>
                <a:cubicBezTo>
                  <a:pt x="544" y="82"/>
                  <a:pt x="543" y="82"/>
                  <a:pt x="543" y="82"/>
                </a:cubicBezTo>
                <a:cubicBezTo>
                  <a:pt x="542" y="82"/>
                  <a:pt x="542" y="83"/>
                  <a:pt x="542" y="83"/>
                </a:cubicBezTo>
                <a:cubicBezTo>
                  <a:pt x="542" y="83"/>
                  <a:pt x="541" y="82"/>
                  <a:pt x="541" y="82"/>
                </a:cubicBezTo>
                <a:cubicBezTo>
                  <a:pt x="541" y="82"/>
                  <a:pt x="541" y="82"/>
                  <a:pt x="542" y="81"/>
                </a:cubicBezTo>
                <a:cubicBezTo>
                  <a:pt x="541" y="81"/>
                  <a:pt x="541" y="80"/>
                  <a:pt x="541" y="79"/>
                </a:cubicBezTo>
                <a:cubicBezTo>
                  <a:pt x="541" y="79"/>
                  <a:pt x="540" y="78"/>
                  <a:pt x="540" y="78"/>
                </a:cubicBezTo>
                <a:cubicBezTo>
                  <a:pt x="540" y="78"/>
                  <a:pt x="539" y="78"/>
                  <a:pt x="539" y="77"/>
                </a:cubicBezTo>
                <a:cubicBezTo>
                  <a:pt x="538" y="77"/>
                  <a:pt x="538" y="77"/>
                  <a:pt x="538" y="78"/>
                </a:cubicBezTo>
                <a:cubicBezTo>
                  <a:pt x="537" y="78"/>
                  <a:pt x="537" y="78"/>
                  <a:pt x="537" y="78"/>
                </a:cubicBezTo>
                <a:cubicBezTo>
                  <a:pt x="536" y="78"/>
                  <a:pt x="536" y="78"/>
                  <a:pt x="536" y="78"/>
                </a:cubicBezTo>
                <a:cubicBezTo>
                  <a:pt x="535" y="78"/>
                  <a:pt x="535" y="78"/>
                  <a:pt x="534" y="78"/>
                </a:cubicBezTo>
                <a:cubicBezTo>
                  <a:pt x="534" y="78"/>
                  <a:pt x="534" y="78"/>
                  <a:pt x="533" y="78"/>
                </a:cubicBezTo>
                <a:cubicBezTo>
                  <a:pt x="533" y="79"/>
                  <a:pt x="533" y="79"/>
                  <a:pt x="532" y="79"/>
                </a:cubicBezTo>
                <a:cubicBezTo>
                  <a:pt x="533" y="79"/>
                  <a:pt x="533" y="79"/>
                  <a:pt x="533" y="79"/>
                </a:cubicBezTo>
                <a:cubicBezTo>
                  <a:pt x="533" y="80"/>
                  <a:pt x="533" y="80"/>
                  <a:pt x="533" y="80"/>
                </a:cubicBezTo>
                <a:cubicBezTo>
                  <a:pt x="533" y="80"/>
                  <a:pt x="533" y="80"/>
                  <a:pt x="533" y="80"/>
                </a:cubicBezTo>
                <a:cubicBezTo>
                  <a:pt x="533" y="81"/>
                  <a:pt x="533" y="81"/>
                  <a:pt x="533" y="81"/>
                </a:cubicBezTo>
                <a:cubicBezTo>
                  <a:pt x="533" y="82"/>
                  <a:pt x="533" y="82"/>
                  <a:pt x="533" y="82"/>
                </a:cubicBezTo>
                <a:cubicBezTo>
                  <a:pt x="534" y="82"/>
                  <a:pt x="534" y="82"/>
                  <a:pt x="534" y="82"/>
                </a:cubicBezTo>
                <a:cubicBezTo>
                  <a:pt x="534" y="82"/>
                  <a:pt x="534" y="82"/>
                  <a:pt x="534" y="82"/>
                </a:cubicBezTo>
                <a:cubicBezTo>
                  <a:pt x="534" y="82"/>
                  <a:pt x="533" y="83"/>
                  <a:pt x="533" y="83"/>
                </a:cubicBezTo>
                <a:cubicBezTo>
                  <a:pt x="533" y="83"/>
                  <a:pt x="533" y="83"/>
                  <a:pt x="533" y="83"/>
                </a:cubicBezTo>
                <a:cubicBezTo>
                  <a:pt x="533" y="84"/>
                  <a:pt x="533" y="84"/>
                  <a:pt x="534" y="84"/>
                </a:cubicBezTo>
                <a:cubicBezTo>
                  <a:pt x="534" y="84"/>
                  <a:pt x="534" y="84"/>
                  <a:pt x="535" y="84"/>
                </a:cubicBezTo>
                <a:cubicBezTo>
                  <a:pt x="535" y="84"/>
                  <a:pt x="535" y="83"/>
                  <a:pt x="535" y="83"/>
                </a:cubicBezTo>
                <a:cubicBezTo>
                  <a:pt x="535" y="83"/>
                  <a:pt x="536" y="83"/>
                  <a:pt x="536" y="83"/>
                </a:cubicBezTo>
                <a:cubicBezTo>
                  <a:pt x="536" y="83"/>
                  <a:pt x="536" y="84"/>
                  <a:pt x="536" y="84"/>
                </a:cubicBezTo>
                <a:cubicBezTo>
                  <a:pt x="536" y="84"/>
                  <a:pt x="535" y="84"/>
                  <a:pt x="535" y="84"/>
                </a:cubicBezTo>
                <a:cubicBezTo>
                  <a:pt x="535" y="84"/>
                  <a:pt x="535" y="84"/>
                  <a:pt x="535" y="84"/>
                </a:cubicBezTo>
                <a:cubicBezTo>
                  <a:pt x="535" y="84"/>
                  <a:pt x="535" y="84"/>
                  <a:pt x="536" y="84"/>
                </a:cubicBezTo>
                <a:cubicBezTo>
                  <a:pt x="536" y="84"/>
                  <a:pt x="536" y="84"/>
                  <a:pt x="536" y="84"/>
                </a:cubicBezTo>
                <a:cubicBezTo>
                  <a:pt x="535" y="85"/>
                  <a:pt x="535" y="85"/>
                  <a:pt x="535" y="85"/>
                </a:cubicBezTo>
                <a:cubicBezTo>
                  <a:pt x="535" y="85"/>
                  <a:pt x="535" y="85"/>
                  <a:pt x="535" y="85"/>
                </a:cubicBezTo>
                <a:cubicBezTo>
                  <a:pt x="535" y="85"/>
                  <a:pt x="535" y="85"/>
                  <a:pt x="535" y="85"/>
                </a:cubicBezTo>
                <a:cubicBezTo>
                  <a:pt x="536" y="85"/>
                  <a:pt x="536" y="85"/>
                  <a:pt x="536" y="85"/>
                </a:cubicBezTo>
                <a:cubicBezTo>
                  <a:pt x="537" y="85"/>
                  <a:pt x="537" y="85"/>
                  <a:pt x="537" y="85"/>
                </a:cubicBezTo>
                <a:cubicBezTo>
                  <a:pt x="537" y="85"/>
                  <a:pt x="537" y="85"/>
                  <a:pt x="538" y="85"/>
                </a:cubicBezTo>
                <a:cubicBezTo>
                  <a:pt x="537" y="85"/>
                  <a:pt x="537" y="86"/>
                  <a:pt x="537" y="86"/>
                </a:cubicBezTo>
                <a:cubicBezTo>
                  <a:pt x="537" y="86"/>
                  <a:pt x="536" y="86"/>
                  <a:pt x="536" y="86"/>
                </a:cubicBezTo>
                <a:cubicBezTo>
                  <a:pt x="536" y="86"/>
                  <a:pt x="536" y="86"/>
                  <a:pt x="536" y="86"/>
                </a:cubicBezTo>
                <a:cubicBezTo>
                  <a:pt x="535" y="86"/>
                  <a:pt x="535" y="86"/>
                  <a:pt x="534" y="86"/>
                </a:cubicBezTo>
                <a:cubicBezTo>
                  <a:pt x="534" y="86"/>
                  <a:pt x="534" y="86"/>
                  <a:pt x="534" y="86"/>
                </a:cubicBezTo>
                <a:cubicBezTo>
                  <a:pt x="534" y="86"/>
                  <a:pt x="534" y="86"/>
                  <a:pt x="534" y="86"/>
                </a:cubicBezTo>
                <a:cubicBezTo>
                  <a:pt x="533" y="87"/>
                  <a:pt x="533" y="87"/>
                  <a:pt x="533" y="87"/>
                </a:cubicBezTo>
                <a:cubicBezTo>
                  <a:pt x="533" y="86"/>
                  <a:pt x="532" y="86"/>
                  <a:pt x="532" y="86"/>
                </a:cubicBezTo>
                <a:cubicBezTo>
                  <a:pt x="532" y="86"/>
                  <a:pt x="532" y="86"/>
                  <a:pt x="531" y="86"/>
                </a:cubicBezTo>
                <a:cubicBezTo>
                  <a:pt x="531" y="86"/>
                  <a:pt x="531" y="86"/>
                  <a:pt x="530" y="87"/>
                </a:cubicBezTo>
                <a:cubicBezTo>
                  <a:pt x="530" y="87"/>
                  <a:pt x="529" y="87"/>
                  <a:pt x="529" y="87"/>
                </a:cubicBezTo>
                <a:cubicBezTo>
                  <a:pt x="528" y="87"/>
                  <a:pt x="527" y="87"/>
                  <a:pt x="527" y="87"/>
                </a:cubicBezTo>
                <a:cubicBezTo>
                  <a:pt x="527" y="87"/>
                  <a:pt x="526" y="87"/>
                  <a:pt x="526" y="87"/>
                </a:cubicBezTo>
                <a:cubicBezTo>
                  <a:pt x="526" y="87"/>
                  <a:pt x="526" y="87"/>
                  <a:pt x="525" y="87"/>
                </a:cubicBezTo>
                <a:cubicBezTo>
                  <a:pt x="525" y="88"/>
                  <a:pt x="525" y="88"/>
                  <a:pt x="525" y="88"/>
                </a:cubicBezTo>
                <a:cubicBezTo>
                  <a:pt x="525" y="88"/>
                  <a:pt x="525" y="88"/>
                  <a:pt x="525" y="88"/>
                </a:cubicBezTo>
                <a:cubicBezTo>
                  <a:pt x="524" y="88"/>
                  <a:pt x="524" y="89"/>
                  <a:pt x="524" y="89"/>
                </a:cubicBezTo>
                <a:cubicBezTo>
                  <a:pt x="524" y="89"/>
                  <a:pt x="523" y="89"/>
                  <a:pt x="523" y="89"/>
                </a:cubicBezTo>
                <a:cubicBezTo>
                  <a:pt x="523" y="89"/>
                  <a:pt x="522" y="90"/>
                  <a:pt x="522" y="90"/>
                </a:cubicBezTo>
                <a:cubicBezTo>
                  <a:pt x="521" y="90"/>
                  <a:pt x="521" y="90"/>
                  <a:pt x="521" y="90"/>
                </a:cubicBezTo>
                <a:cubicBezTo>
                  <a:pt x="521" y="90"/>
                  <a:pt x="521" y="90"/>
                  <a:pt x="520" y="90"/>
                </a:cubicBezTo>
                <a:cubicBezTo>
                  <a:pt x="520" y="91"/>
                  <a:pt x="520" y="91"/>
                  <a:pt x="519" y="91"/>
                </a:cubicBezTo>
                <a:cubicBezTo>
                  <a:pt x="519" y="91"/>
                  <a:pt x="519" y="92"/>
                  <a:pt x="519" y="92"/>
                </a:cubicBezTo>
                <a:cubicBezTo>
                  <a:pt x="519" y="92"/>
                  <a:pt x="519" y="92"/>
                  <a:pt x="519" y="92"/>
                </a:cubicBezTo>
                <a:cubicBezTo>
                  <a:pt x="519" y="92"/>
                  <a:pt x="519" y="92"/>
                  <a:pt x="519" y="93"/>
                </a:cubicBezTo>
                <a:cubicBezTo>
                  <a:pt x="519" y="93"/>
                  <a:pt x="518" y="93"/>
                  <a:pt x="518" y="93"/>
                </a:cubicBezTo>
                <a:cubicBezTo>
                  <a:pt x="518" y="94"/>
                  <a:pt x="518" y="94"/>
                  <a:pt x="518" y="94"/>
                </a:cubicBezTo>
                <a:cubicBezTo>
                  <a:pt x="518" y="94"/>
                  <a:pt x="518" y="94"/>
                  <a:pt x="518" y="94"/>
                </a:cubicBezTo>
                <a:cubicBezTo>
                  <a:pt x="518" y="95"/>
                  <a:pt x="518" y="95"/>
                  <a:pt x="518" y="95"/>
                </a:cubicBezTo>
                <a:cubicBezTo>
                  <a:pt x="519" y="95"/>
                  <a:pt x="519" y="95"/>
                  <a:pt x="519" y="96"/>
                </a:cubicBezTo>
                <a:cubicBezTo>
                  <a:pt x="519" y="95"/>
                  <a:pt x="520" y="95"/>
                  <a:pt x="520" y="95"/>
                </a:cubicBezTo>
                <a:cubicBezTo>
                  <a:pt x="520" y="95"/>
                  <a:pt x="521" y="95"/>
                  <a:pt x="521" y="94"/>
                </a:cubicBezTo>
                <a:cubicBezTo>
                  <a:pt x="521" y="94"/>
                  <a:pt x="521" y="94"/>
                  <a:pt x="521" y="94"/>
                </a:cubicBezTo>
                <a:cubicBezTo>
                  <a:pt x="521" y="94"/>
                  <a:pt x="521" y="94"/>
                  <a:pt x="521" y="94"/>
                </a:cubicBezTo>
                <a:cubicBezTo>
                  <a:pt x="521" y="95"/>
                  <a:pt x="521" y="95"/>
                  <a:pt x="521" y="95"/>
                </a:cubicBezTo>
                <a:cubicBezTo>
                  <a:pt x="521" y="95"/>
                  <a:pt x="521" y="95"/>
                  <a:pt x="521" y="95"/>
                </a:cubicBezTo>
                <a:cubicBezTo>
                  <a:pt x="521" y="95"/>
                  <a:pt x="522" y="95"/>
                  <a:pt x="522" y="95"/>
                </a:cubicBezTo>
                <a:cubicBezTo>
                  <a:pt x="522" y="94"/>
                  <a:pt x="522" y="94"/>
                  <a:pt x="522" y="94"/>
                </a:cubicBezTo>
                <a:cubicBezTo>
                  <a:pt x="522" y="93"/>
                  <a:pt x="522" y="93"/>
                  <a:pt x="522" y="92"/>
                </a:cubicBezTo>
                <a:cubicBezTo>
                  <a:pt x="522" y="92"/>
                  <a:pt x="522" y="92"/>
                  <a:pt x="523" y="92"/>
                </a:cubicBezTo>
                <a:cubicBezTo>
                  <a:pt x="523" y="91"/>
                  <a:pt x="523" y="91"/>
                  <a:pt x="523" y="91"/>
                </a:cubicBezTo>
                <a:cubicBezTo>
                  <a:pt x="523" y="92"/>
                  <a:pt x="523" y="92"/>
                  <a:pt x="522" y="93"/>
                </a:cubicBezTo>
                <a:cubicBezTo>
                  <a:pt x="522" y="93"/>
                  <a:pt x="522" y="93"/>
                  <a:pt x="523" y="93"/>
                </a:cubicBezTo>
                <a:cubicBezTo>
                  <a:pt x="522" y="94"/>
                  <a:pt x="522" y="94"/>
                  <a:pt x="522" y="94"/>
                </a:cubicBezTo>
                <a:cubicBezTo>
                  <a:pt x="522" y="94"/>
                  <a:pt x="522" y="94"/>
                  <a:pt x="522" y="95"/>
                </a:cubicBezTo>
                <a:cubicBezTo>
                  <a:pt x="522" y="95"/>
                  <a:pt x="522" y="95"/>
                  <a:pt x="522" y="95"/>
                </a:cubicBezTo>
                <a:cubicBezTo>
                  <a:pt x="522" y="95"/>
                  <a:pt x="522" y="96"/>
                  <a:pt x="522" y="96"/>
                </a:cubicBezTo>
                <a:cubicBezTo>
                  <a:pt x="523" y="96"/>
                  <a:pt x="523" y="96"/>
                  <a:pt x="523" y="96"/>
                </a:cubicBezTo>
                <a:cubicBezTo>
                  <a:pt x="523" y="96"/>
                  <a:pt x="524" y="96"/>
                  <a:pt x="524" y="96"/>
                </a:cubicBezTo>
                <a:cubicBezTo>
                  <a:pt x="524" y="96"/>
                  <a:pt x="525" y="96"/>
                  <a:pt x="525" y="96"/>
                </a:cubicBezTo>
                <a:cubicBezTo>
                  <a:pt x="525" y="95"/>
                  <a:pt x="525" y="95"/>
                  <a:pt x="525" y="95"/>
                </a:cubicBezTo>
                <a:cubicBezTo>
                  <a:pt x="525" y="95"/>
                  <a:pt x="525" y="95"/>
                  <a:pt x="525" y="95"/>
                </a:cubicBezTo>
                <a:cubicBezTo>
                  <a:pt x="525" y="94"/>
                  <a:pt x="525" y="94"/>
                  <a:pt x="525" y="94"/>
                </a:cubicBezTo>
                <a:cubicBezTo>
                  <a:pt x="525" y="94"/>
                  <a:pt x="525" y="94"/>
                  <a:pt x="525" y="93"/>
                </a:cubicBezTo>
                <a:cubicBezTo>
                  <a:pt x="526" y="93"/>
                  <a:pt x="526" y="93"/>
                  <a:pt x="526" y="93"/>
                </a:cubicBezTo>
                <a:cubicBezTo>
                  <a:pt x="526" y="93"/>
                  <a:pt x="526" y="93"/>
                  <a:pt x="526" y="93"/>
                </a:cubicBezTo>
                <a:cubicBezTo>
                  <a:pt x="526" y="93"/>
                  <a:pt x="526" y="94"/>
                  <a:pt x="526" y="94"/>
                </a:cubicBezTo>
                <a:cubicBezTo>
                  <a:pt x="526" y="94"/>
                  <a:pt x="526" y="94"/>
                  <a:pt x="526" y="95"/>
                </a:cubicBezTo>
                <a:cubicBezTo>
                  <a:pt x="526" y="95"/>
                  <a:pt x="526" y="95"/>
                  <a:pt x="526" y="95"/>
                </a:cubicBezTo>
                <a:cubicBezTo>
                  <a:pt x="526" y="95"/>
                  <a:pt x="526" y="95"/>
                  <a:pt x="526" y="95"/>
                </a:cubicBezTo>
                <a:cubicBezTo>
                  <a:pt x="526" y="96"/>
                  <a:pt x="527" y="96"/>
                  <a:pt x="527" y="96"/>
                </a:cubicBezTo>
                <a:cubicBezTo>
                  <a:pt x="527" y="96"/>
                  <a:pt x="528" y="96"/>
                  <a:pt x="528" y="96"/>
                </a:cubicBezTo>
                <a:cubicBezTo>
                  <a:pt x="528" y="96"/>
                  <a:pt x="528" y="96"/>
                  <a:pt x="528" y="95"/>
                </a:cubicBezTo>
                <a:cubicBezTo>
                  <a:pt x="528" y="95"/>
                  <a:pt x="528" y="95"/>
                  <a:pt x="528" y="95"/>
                </a:cubicBezTo>
                <a:cubicBezTo>
                  <a:pt x="528" y="95"/>
                  <a:pt x="528" y="95"/>
                  <a:pt x="528" y="95"/>
                </a:cubicBezTo>
                <a:cubicBezTo>
                  <a:pt x="528" y="95"/>
                  <a:pt x="528" y="95"/>
                  <a:pt x="528" y="95"/>
                </a:cubicBezTo>
                <a:cubicBezTo>
                  <a:pt x="528" y="95"/>
                  <a:pt x="529" y="94"/>
                  <a:pt x="529" y="94"/>
                </a:cubicBezTo>
                <a:cubicBezTo>
                  <a:pt x="529" y="94"/>
                  <a:pt x="529" y="94"/>
                  <a:pt x="529" y="94"/>
                </a:cubicBezTo>
                <a:cubicBezTo>
                  <a:pt x="529" y="94"/>
                  <a:pt x="529" y="94"/>
                  <a:pt x="529" y="93"/>
                </a:cubicBezTo>
                <a:cubicBezTo>
                  <a:pt x="529" y="93"/>
                  <a:pt x="529" y="93"/>
                  <a:pt x="529" y="93"/>
                </a:cubicBezTo>
                <a:cubicBezTo>
                  <a:pt x="529" y="93"/>
                  <a:pt x="528" y="93"/>
                  <a:pt x="528" y="93"/>
                </a:cubicBezTo>
                <a:cubicBezTo>
                  <a:pt x="529" y="93"/>
                  <a:pt x="529" y="93"/>
                  <a:pt x="529" y="93"/>
                </a:cubicBezTo>
                <a:cubicBezTo>
                  <a:pt x="529" y="93"/>
                  <a:pt x="530" y="93"/>
                  <a:pt x="530" y="94"/>
                </a:cubicBezTo>
                <a:cubicBezTo>
                  <a:pt x="530" y="94"/>
                  <a:pt x="530" y="94"/>
                  <a:pt x="530" y="94"/>
                </a:cubicBezTo>
                <a:cubicBezTo>
                  <a:pt x="530" y="94"/>
                  <a:pt x="530" y="95"/>
                  <a:pt x="530" y="95"/>
                </a:cubicBezTo>
                <a:cubicBezTo>
                  <a:pt x="530" y="95"/>
                  <a:pt x="529" y="95"/>
                  <a:pt x="529" y="95"/>
                </a:cubicBezTo>
                <a:cubicBezTo>
                  <a:pt x="529" y="95"/>
                  <a:pt x="529" y="95"/>
                  <a:pt x="529" y="96"/>
                </a:cubicBezTo>
                <a:cubicBezTo>
                  <a:pt x="529" y="96"/>
                  <a:pt x="529" y="96"/>
                  <a:pt x="529" y="96"/>
                </a:cubicBezTo>
                <a:cubicBezTo>
                  <a:pt x="529" y="96"/>
                  <a:pt x="529" y="96"/>
                  <a:pt x="530" y="96"/>
                </a:cubicBezTo>
                <a:cubicBezTo>
                  <a:pt x="530" y="96"/>
                  <a:pt x="530" y="96"/>
                  <a:pt x="530" y="96"/>
                </a:cubicBezTo>
                <a:cubicBezTo>
                  <a:pt x="530" y="96"/>
                  <a:pt x="530" y="96"/>
                  <a:pt x="530" y="96"/>
                </a:cubicBezTo>
                <a:cubicBezTo>
                  <a:pt x="531" y="96"/>
                  <a:pt x="531" y="96"/>
                  <a:pt x="531" y="96"/>
                </a:cubicBezTo>
                <a:cubicBezTo>
                  <a:pt x="532" y="96"/>
                  <a:pt x="532" y="96"/>
                  <a:pt x="533" y="96"/>
                </a:cubicBezTo>
                <a:cubicBezTo>
                  <a:pt x="533" y="96"/>
                  <a:pt x="533" y="96"/>
                  <a:pt x="534" y="96"/>
                </a:cubicBezTo>
                <a:cubicBezTo>
                  <a:pt x="534" y="96"/>
                  <a:pt x="534" y="97"/>
                  <a:pt x="534" y="97"/>
                </a:cubicBezTo>
                <a:cubicBezTo>
                  <a:pt x="535" y="97"/>
                  <a:pt x="535" y="97"/>
                  <a:pt x="536" y="96"/>
                </a:cubicBezTo>
                <a:cubicBezTo>
                  <a:pt x="536" y="96"/>
                  <a:pt x="537" y="96"/>
                  <a:pt x="537" y="96"/>
                </a:cubicBezTo>
                <a:cubicBezTo>
                  <a:pt x="537" y="96"/>
                  <a:pt x="537" y="96"/>
                  <a:pt x="537" y="96"/>
                </a:cubicBezTo>
                <a:cubicBezTo>
                  <a:pt x="538" y="96"/>
                  <a:pt x="538" y="96"/>
                  <a:pt x="538" y="96"/>
                </a:cubicBezTo>
                <a:cubicBezTo>
                  <a:pt x="537" y="96"/>
                  <a:pt x="537" y="95"/>
                  <a:pt x="537" y="95"/>
                </a:cubicBezTo>
                <a:cubicBezTo>
                  <a:pt x="537" y="95"/>
                  <a:pt x="536" y="94"/>
                  <a:pt x="536" y="94"/>
                </a:cubicBezTo>
                <a:cubicBezTo>
                  <a:pt x="536" y="94"/>
                  <a:pt x="536" y="93"/>
                  <a:pt x="536" y="93"/>
                </a:cubicBezTo>
                <a:cubicBezTo>
                  <a:pt x="537" y="93"/>
                  <a:pt x="537" y="93"/>
                  <a:pt x="537" y="93"/>
                </a:cubicBezTo>
                <a:cubicBezTo>
                  <a:pt x="537" y="93"/>
                  <a:pt x="537" y="93"/>
                  <a:pt x="537" y="93"/>
                </a:cubicBezTo>
                <a:cubicBezTo>
                  <a:pt x="537" y="93"/>
                  <a:pt x="538" y="93"/>
                  <a:pt x="538" y="94"/>
                </a:cubicBezTo>
                <a:cubicBezTo>
                  <a:pt x="538" y="94"/>
                  <a:pt x="538" y="94"/>
                  <a:pt x="538" y="94"/>
                </a:cubicBezTo>
                <a:cubicBezTo>
                  <a:pt x="538" y="94"/>
                  <a:pt x="538" y="95"/>
                  <a:pt x="538" y="95"/>
                </a:cubicBezTo>
                <a:cubicBezTo>
                  <a:pt x="538" y="95"/>
                  <a:pt x="539" y="94"/>
                  <a:pt x="539" y="94"/>
                </a:cubicBezTo>
                <a:cubicBezTo>
                  <a:pt x="539" y="94"/>
                  <a:pt x="539" y="94"/>
                  <a:pt x="539" y="94"/>
                </a:cubicBezTo>
                <a:cubicBezTo>
                  <a:pt x="539" y="94"/>
                  <a:pt x="540" y="94"/>
                  <a:pt x="540" y="94"/>
                </a:cubicBezTo>
                <a:cubicBezTo>
                  <a:pt x="540" y="94"/>
                  <a:pt x="540" y="94"/>
                  <a:pt x="540" y="94"/>
                </a:cubicBezTo>
                <a:cubicBezTo>
                  <a:pt x="540" y="93"/>
                  <a:pt x="540" y="93"/>
                  <a:pt x="540" y="93"/>
                </a:cubicBezTo>
                <a:cubicBezTo>
                  <a:pt x="540" y="93"/>
                  <a:pt x="541" y="93"/>
                  <a:pt x="541" y="92"/>
                </a:cubicBezTo>
                <a:cubicBezTo>
                  <a:pt x="541" y="92"/>
                  <a:pt x="541" y="92"/>
                  <a:pt x="541" y="92"/>
                </a:cubicBezTo>
                <a:cubicBezTo>
                  <a:pt x="541" y="92"/>
                  <a:pt x="541" y="91"/>
                  <a:pt x="541" y="91"/>
                </a:cubicBezTo>
                <a:cubicBezTo>
                  <a:pt x="541" y="91"/>
                  <a:pt x="541" y="91"/>
                  <a:pt x="542" y="91"/>
                </a:cubicBezTo>
                <a:cubicBezTo>
                  <a:pt x="542" y="92"/>
                  <a:pt x="542" y="92"/>
                  <a:pt x="542" y="92"/>
                </a:cubicBezTo>
                <a:cubicBezTo>
                  <a:pt x="542" y="92"/>
                  <a:pt x="542" y="92"/>
                  <a:pt x="542" y="92"/>
                </a:cubicBezTo>
                <a:cubicBezTo>
                  <a:pt x="542" y="93"/>
                  <a:pt x="542" y="93"/>
                  <a:pt x="541" y="93"/>
                </a:cubicBezTo>
                <a:cubicBezTo>
                  <a:pt x="541" y="93"/>
                  <a:pt x="541" y="93"/>
                  <a:pt x="541" y="94"/>
                </a:cubicBezTo>
                <a:cubicBezTo>
                  <a:pt x="542" y="94"/>
                  <a:pt x="542" y="94"/>
                  <a:pt x="542" y="94"/>
                </a:cubicBezTo>
                <a:cubicBezTo>
                  <a:pt x="542" y="94"/>
                  <a:pt x="542" y="94"/>
                  <a:pt x="542" y="94"/>
                </a:cubicBezTo>
                <a:cubicBezTo>
                  <a:pt x="542" y="94"/>
                  <a:pt x="543" y="95"/>
                  <a:pt x="543" y="95"/>
                </a:cubicBezTo>
                <a:cubicBezTo>
                  <a:pt x="544" y="94"/>
                  <a:pt x="544" y="94"/>
                  <a:pt x="544" y="94"/>
                </a:cubicBezTo>
                <a:cubicBezTo>
                  <a:pt x="544" y="94"/>
                  <a:pt x="545" y="93"/>
                  <a:pt x="545" y="93"/>
                </a:cubicBezTo>
                <a:cubicBezTo>
                  <a:pt x="545" y="93"/>
                  <a:pt x="545" y="93"/>
                  <a:pt x="544" y="92"/>
                </a:cubicBezTo>
                <a:cubicBezTo>
                  <a:pt x="544" y="92"/>
                  <a:pt x="544" y="92"/>
                  <a:pt x="544" y="91"/>
                </a:cubicBezTo>
                <a:cubicBezTo>
                  <a:pt x="545" y="91"/>
                  <a:pt x="545" y="91"/>
                  <a:pt x="545" y="91"/>
                </a:cubicBezTo>
                <a:cubicBezTo>
                  <a:pt x="546" y="91"/>
                  <a:pt x="546" y="90"/>
                  <a:pt x="546" y="90"/>
                </a:cubicBezTo>
                <a:cubicBezTo>
                  <a:pt x="546" y="91"/>
                  <a:pt x="546" y="91"/>
                  <a:pt x="545" y="91"/>
                </a:cubicBezTo>
                <a:cubicBezTo>
                  <a:pt x="545" y="91"/>
                  <a:pt x="545" y="92"/>
                  <a:pt x="545" y="92"/>
                </a:cubicBezTo>
                <a:cubicBezTo>
                  <a:pt x="545" y="92"/>
                  <a:pt x="546" y="92"/>
                  <a:pt x="546" y="92"/>
                </a:cubicBezTo>
                <a:cubicBezTo>
                  <a:pt x="546" y="93"/>
                  <a:pt x="545" y="93"/>
                  <a:pt x="545" y="94"/>
                </a:cubicBezTo>
                <a:cubicBezTo>
                  <a:pt x="545" y="94"/>
                  <a:pt x="545" y="94"/>
                  <a:pt x="546" y="94"/>
                </a:cubicBezTo>
                <a:cubicBezTo>
                  <a:pt x="546" y="94"/>
                  <a:pt x="546" y="95"/>
                  <a:pt x="546" y="95"/>
                </a:cubicBezTo>
                <a:cubicBezTo>
                  <a:pt x="547" y="95"/>
                  <a:pt x="547" y="94"/>
                  <a:pt x="547" y="94"/>
                </a:cubicBezTo>
                <a:cubicBezTo>
                  <a:pt x="548" y="94"/>
                  <a:pt x="548" y="94"/>
                  <a:pt x="548" y="94"/>
                </a:cubicBezTo>
                <a:cubicBezTo>
                  <a:pt x="549" y="94"/>
                  <a:pt x="549" y="94"/>
                  <a:pt x="549" y="94"/>
                </a:cubicBezTo>
                <a:cubicBezTo>
                  <a:pt x="549" y="94"/>
                  <a:pt x="549" y="93"/>
                  <a:pt x="549" y="93"/>
                </a:cubicBezTo>
                <a:cubicBezTo>
                  <a:pt x="549" y="93"/>
                  <a:pt x="549" y="93"/>
                  <a:pt x="550" y="93"/>
                </a:cubicBezTo>
                <a:cubicBezTo>
                  <a:pt x="549" y="92"/>
                  <a:pt x="549" y="92"/>
                  <a:pt x="549" y="92"/>
                </a:cubicBezTo>
                <a:cubicBezTo>
                  <a:pt x="549" y="92"/>
                  <a:pt x="549" y="92"/>
                  <a:pt x="548" y="91"/>
                </a:cubicBezTo>
                <a:cubicBezTo>
                  <a:pt x="548" y="91"/>
                  <a:pt x="549" y="90"/>
                  <a:pt x="549" y="90"/>
                </a:cubicBezTo>
                <a:cubicBezTo>
                  <a:pt x="549" y="90"/>
                  <a:pt x="549" y="89"/>
                  <a:pt x="549" y="89"/>
                </a:cubicBezTo>
                <a:cubicBezTo>
                  <a:pt x="549" y="89"/>
                  <a:pt x="549" y="89"/>
                  <a:pt x="549" y="90"/>
                </a:cubicBezTo>
                <a:cubicBezTo>
                  <a:pt x="549" y="90"/>
                  <a:pt x="549" y="90"/>
                  <a:pt x="549" y="90"/>
                </a:cubicBezTo>
                <a:cubicBezTo>
                  <a:pt x="549" y="91"/>
                  <a:pt x="549" y="91"/>
                  <a:pt x="549" y="91"/>
                </a:cubicBezTo>
                <a:cubicBezTo>
                  <a:pt x="549" y="91"/>
                  <a:pt x="550" y="92"/>
                  <a:pt x="550" y="92"/>
                </a:cubicBezTo>
                <a:cubicBezTo>
                  <a:pt x="550" y="92"/>
                  <a:pt x="551" y="92"/>
                  <a:pt x="551" y="92"/>
                </a:cubicBezTo>
                <a:cubicBezTo>
                  <a:pt x="551" y="92"/>
                  <a:pt x="551" y="92"/>
                  <a:pt x="552" y="92"/>
                </a:cubicBezTo>
                <a:cubicBezTo>
                  <a:pt x="551" y="92"/>
                  <a:pt x="551" y="92"/>
                  <a:pt x="551" y="92"/>
                </a:cubicBezTo>
                <a:cubicBezTo>
                  <a:pt x="551" y="93"/>
                  <a:pt x="550" y="93"/>
                  <a:pt x="550" y="93"/>
                </a:cubicBezTo>
                <a:cubicBezTo>
                  <a:pt x="550" y="93"/>
                  <a:pt x="550" y="93"/>
                  <a:pt x="551" y="94"/>
                </a:cubicBezTo>
                <a:cubicBezTo>
                  <a:pt x="551" y="94"/>
                  <a:pt x="552" y="94"/>
                  <a:pt x="552" y="94"/>
                </a:cubicBezTo>
                <a:cubicBezTo>
                  <a:pt x="553" y="93"/>
                  <a:pt x="553" y="93"/>
                  <a:pt x="553" y="93"/>
                </a:cubicBezTo>
                <a:cubicBezTo>
                  <a:pt x="554" y="93"/>
                  <a:pt x="554" y="94"/>
                  <a:pt x="554" y="94"/>
                </a:cubicBezTo>
                <a:cubicBezTo>
                  <a:pt x="555" y="94"/>
                  <a:pt x="555" y="94"/>
                  <a:pt x="555" y="94"/>
                </a:cubicBezTo>
                <a:cubicBezTo>
                  <a:pt x="554" y="95"/>
                  <a:pt x="554" y="95"/>
                  <a:pt x="554" y="95"/>
                </a:cubicBezTo>
                <a:cubicBezTo>
                  <a:pt x="554" y="95"/>
                  <a:pt x="553" y="96"/>
                  <a:pt x="553" y="96"/>
                </a:cubicBezTo>
                <a:cubicBezTo>
                  <a:pt x="553" y="96"/>
                  <a:pt x="553" y="96"/>
                  <a:pt x="554" y="96"/>
                </a:cubicBezTo>
                <a:cubicBezTo>
                  <a:pt x="554" y="96"/>
                  <a:pt x="554" y="96"/>
                  <a:pt x="554" y="96"/>
                </a:cubicBezTo>
                <a:cubicBezTo>
                  <a:pt x="554" y="96"/>
                  <a:pt x="555" y="96"/>
                  <a:pt x="555" y="96"/>
                </a:cubicBezTo>
                <a:cubicBezTo>
                  <a:pt x="556" y="96"/>
                  <a:pt x="556" y="96"/>
                  <a:pt x="556" y="96"/>
                </a:cubicBezTo>
                <a:cubicBezTo>
                  <a:pt x="556" y="96"/>
                  <a:pt x="557" y="96"/>
                  <a:pt x="557" y="96"/>
                </a:cubicBezTo>
                <a:cubicBezTo>
                  <a:pt x="557" y="95"/>
                  <a:pt x="558" y="95"/>
                  <a:pt x="559" y="95"/>
                </a:cubicBezTo>
                <a:cubicBezTo>
                  <a:pt x="559" y="95"/>
                  <a:pt x="559" y="95"/>
                  <a:pt x="560" y="94"/>
                </a:cubicBezTo>
                <a:cubicBezTo>
                  <a:pt x="560" y="94"/>
                  <a:pt x="560" y="95"/>
                  <a:pt x="560" y="95"/>
                </a:cubicBezTo>
                <a:cubicBezTo>
                  <a:pt x="561" y="94"/>
                  <a:pt x="561" y="94"/>
                  <a:pt x="562" y="93"/>
                </a:cubicBezTo>
                <a:cubicBezTo>
                  <a:pt x="562" y="93"/>
                  <a:pt x="562" y="93"/>
                  <a:pt x="563" y="93"/>
                </a:cubicBezTo>
                <a:cubicBezTo>
                  <a:pt x="563" y="93"/>
                  <a:pt x="563" y="92"/>
                  <a:pt x="563" y="92"/>
                </a:cubicBezTo>
                <a:cubicBezTo>
                  <a:pt x="564" y="92"/>
                  <a:pt x="564" y="92"/>
                  <a:pt x="564" y="91"/>
                </a:cubicBezTo>
                <a:cubicBezTo>
                  <a:pt x="564" y="91"/>
                  <a:pt x="564" y="91"/>
                  <a:pt x="564" y="91"/>
                </a:cubicBezTo>
                <a:cubicBezTo>
                  <a:pt x="564" y="92"/>
                  <a:pt x="564" y="92"/>
                  <a:pt x="564" y="92"/>
                </a:cubicBezTo>
                <a:cubicBezTo>
                  <a:pt x="564" y="93"/>
                  <a:pt x="564" y="93"/>
                  <a:pt x="564" y="93"/>
                </a:cubicBezTo>
                <a:cubicBezTo>
                  <a:pt x="564" y="93"/>
                  <a:pt x="564" y="93"/>
                  <a:pt x="565" y="93"/>
                </a:cubicBezTo>
                <a:cubicBezTo>
                  <a:pt x="565" y="93"/>
                  <a:pt x="565" y="93"/>
                  <a:pt x="566" y="93"/>
                </a:cubicBezTo>
                <a:cubicBezTo>
                  <a:pt x="566" y="92"/>
                  <a:pt x="566" y="92"/>
                  <a:pt x="566" y="92"/>
                </a:cubicBezTo>
                <a:cubicBezTo>
                  <a:pt x="567" y="92"/>
                  <a:pt x="567" y="91"/>
                  <a:pt x="567" y="91"/>
                </a:cubicBezTo>
                <a:cubicBezTo>
                  <a:pt x="568" y="91"/>
                  <a:pt x="568" y="91"/>
                  <a:pt x="568" y="91"/>
                </a:cubicBezTo>
                <a:cubicBezTo>
                  <a:pt x="569" y="90"/>
                  <a:pt x="569" y="90"/>
                  <a:pt x="569" y="89"/>
                </a:cubicBezTo>
                <a:cubicBezTo>
                  <a:pt x="569" y="89"/>
                  <a:pt x="570" y="88"/>
                  <a:pt x="570" y="88"/>
                </a:cubicBezTo>
                <a:cubicBezTo>
                  <a:pt x="569" y="88"/>
                  <a:pt x="569" y="88"/>
                  <a:pt x="569" y="88"/>
                </a:cubicBezTo>
                <a:cubicBezTo>
                  <a:pt x="569" y="87"/>
                  <a:pt x="569" y="87"/>
                  <a:pt x="569" y="87"/>
                </a:cubicBezTo>
                <a:cubicBezTo>
                  <a:pt x="569" y="87"/>
                  <a:pt x="569" y="87"/>
                  <a:pt x="569" y="87"/>
                </a:cubicBezTo>
                <a:cubicBezTo>
                  <a:pt x="568" y="87"/>
                  <a:pt x="568" y="87"/>
                  <a:pt x="568" y="87"/>
                </a:cubicBezTo>
                <a:cubicBezTo>
                  <a:pt x="568" y="87"/>
                  <a:pt x="568" y="87"/>
                  <a:pt x="567" y="87"/>
                </a:cubicBezTo>
                <a:cubicBezTo>
                  <a:pt x="567" y="87"/>
                  <a:pt x="566" y="88"/>
                  <a:pt x="566" y="88"/>
                </a:cubicBezTo>
                <a:cubicBezTo>
                  <a:pt x="566" y="88"/>
                  <a:pt x="566" y="88"/>
                  <a:pt x="566" y="88"/>
                </a:cubicBezTo>
                <a:cubicBezTo>
                  <a:pt x="565" y="89"/>
                  <a:pt x="565" y="89"/>
                  <a:pt x="564" y="89"/>
                </a:cubicBezTo>
                <a:cubicBezTo>
                  <a:pt x="565" y="88"/>
                  <a:pt x="565" y="88"/>
                  <a:pt x="565" y="88"/>
                </a:cubicBezTo>
                <a:cubicBezTo>
                  <a:pt x="565" y="88"/>
                  <a:pt x="565" y="88"/>
                  <a:pt x="565" y="87"/>
                </a:cubicBezTo>
                <a:cubicBezTo>
                  <a:pt x="565" y="87"/>
                  <a:pt x="565" y="88"/>
                  <a:pt x="564" y="88"/>
                </a:cubicBezTo>
                <a:cubicBezTo>
                  <a:pt x="564" y="88"/>
                  <a:pt x="564" y="88"/>
                  <a:pt x="564" y="87"/>
                </a:cubicBezTo>
                <a:cubicBezTo>
                  <a:pt x="564" y="87"/>
                  <a:pt x="564" y="87"/>
                  <a:pt x="564" y="87"/>
                </a:cubicBezTo>
                <a:cubicBezTo>
                  <a:pt x="564" y="87"/>
                  <a:pt x="565" y="87"/>
                  <a:pt x="565" y="87"/>
                </a:cubicBezTo>
                <a:cubicBezTo>
                  <a:pt x="565" y="86"/>
                  <a:pt x="565" y="86"/>
                  <a:pt x="565" y="85"/>
                </a:cubicBezTo>
                <a:cubicBezTo>
                  <a:pt x="565" y="85"/>
                  <a:pt x="566" y="85"/>
                  <a:pt x="566" y="85"/>
                </a:cubicBezTo>
                <a:cubicBezTo>
                  <a:pt x="566" y="85"/>
                  <a:pt x="566" y="84"/>
                  <a:pt x="565" y="84"/>
                </a:cubicBezTo>
                <a:cubicBezTo>
                  <a:pt x="565" y="84"/>
                  <a:pt x="564" y="84"/>
                  <a:pt x="564" y="84"/>
                </a:cubicBezTo>
                <a:cubicBezTo>
                  <a:pt x="563" y="84"/>
                  <a:pt x="562" y="85"/>
                  <a:pt x="562" y="85"/>
                </a:cubicBezTo>
                <a:cubicBezTo>
                  <a:pt x="561" y="85"/>
                  <a:pt x="561" y="85"/>
                  <a:pt x="560" y="86"/>
                </a:cubicBezTo>
                <a:cubicBezTo>
                  <a:pt x="561" y="85"/>
                  <a:pt x="561" y="85"/>
                  <a:pt x="561" y="85"/>
                </a:cubicBezTo>
                <a:cubicBezTo>
                  <a:pt x="560" y="85"/>
                  <a:pt x="560" y="84"/>
                  <a:pt x="560" y="84"/>
                </a:cubicBezTo>
                <a:cubicBezTo>
                  <a:pt x="559" y="84"/>
                  <a:pt x="559" y="84"/>
                  <a:pt x="558" y="84"/>
                </a:cubicBezTo>
                <a:cubicBezTo>
                  <a:pt x="558" y="84"/>
                  <a:pt x="558" y="84"/>
                  <a:pt x="558" y="84"/>
                </a:cubicBezTo>
                <a:cubicBezTo>
                  <a:pt x="557" y="84"/>
                  <a:pt x="557" y="84"/>
                  <a:pt x="557" y="85"/>
                </a:cubicBezTo>
                <a:cubicBezTo>
                  <a:pt x="557" y="85"/>
                  <a:pt x="557" y="85"/>
                  <a:pt x="556" y="85"/>
                </a:cubicBezTo>
                <a:cubicBezTo>
                  <a:pt x="556" y="85"/>
                  <a:pt x="556" y="85"/>
                  <a:pt x="555" y="86"/>
                </a:cubicBezTo>
                <a:cubicBezTo>
                  <a:pt x="555" y="86"/>
                  <a:pt x="555" y="86"/>
                  <a:pt x="554" y="86"/>
                </a:cubicBezTo>
                <a:cubicBezTo>
                  <a:pt x="555" y="86"/>
                  <a:pt x="555" y="85"/>
                  <a:pt x="555" y="85"/>
                </a:cubicBezTo>
                <a:cubicBezTo>
                  <a:pt x="554" y="85"/>
                  <a:pt x="554" y="85"/>
                  <a:pt x="554" y="84"/>
                </a:cubicBezTo>
                <a:cubicBezTo>
                  <a:pt x="554" y="84"/>
                  <a:pt x="554" y="84"/>
                  <a:pt x="555" y="84"/>
                </a:cubicBezTo>
                <a:cubicBezTo>
                  <a:pt x="555" y="84"/>
                  <a:pt x="555" y="84"/>
                  <a:pt x="555" y="84"/>
                </a:cubicBezTo>
                <a:cubicBezTo>
                  <a:pt x="556" y="84"/>
                  <a:pt x="556" y="84"/>
                  <a:pt x="557" y="84"/>
                </a:cubicBezTo>
                <a:cubicBezTo>
                  <a:pt x="557" y="84"/>
                  <a:pt x="557" y="84"/>
                  <a:pt x="557" y="84"/>
                </a:cubicBezTo>
                <a:cubicBezTo>
                  <a:pt x="557" y="84"/>
                  <a:pt x="557" y="83"/>
                  <a:pt x="557" y="83"/>
                </a:cubicBezTo>
                <a:cubicBezTo>
                  <a:pt x="557" y="83"/>
                  <a:pt x="557" y="83"/>
                  <a:pt x="556" y="83"/>
                </a:cubicBezTo>
                <a:cubicBezTo>
                  <a:pt x="556" y="83"/>
                  <a:pt x="557" y="82"/>
                  <a:pt x="557" y="82"/>
                </a:cubicBezTo>
                <a:cubicBezTo>
                  <a:pt x="557" y="82"/>
                  <a:pt x="557" y="81"/>
                  <a:pt x="557" y="81"/>
                </a:cubicBezTo>
                <a:cubicBezTo>
                  <a:pt x="557" y="81"/>
                  <a:pt x="557" y="81"/>
                  <a:pt x="557" y="80"/>
                </a:cubicBezTo>
                <a:cubicBezTo>
                  <a:pt x="557" y="80"/>
                  <a:pt x="557" y="80"/>
                  <a:pt x="558" y="79"/>
                </a:cubicBezTo>
                <a:cubicBezTo>
                  <a:pt x="558" y="80"/>
                  <a:pt x="558" y="80"/>
                  <a:pt x="558" y="80"/>
                </a:cubicBezTo>
                <a:cubicBezTo>
                  <a:pt x="558" y="80"/>
                  <a:pt x="558" y="80"/>
                  <a:pt x="558" y="80"/>
                </a:cubicBezTo>
                <a:cubicBezTo>
                  <a:pt x="558" y="80"/>
                  <a:pt x="558" y="81"/>
                  <a:pt x="558" y="81"/>
                </a:cubicBezTo>
                <a:cubicBezTo>
                  <a:pt x="558" y="81"/>
                  <a:pt x="558" y="81"/>
                  <a:pt x="558" y="81"/>
                </a:cubicBezTo>
                <a:cubicBezTo>
                  <a:pt x="558" y="82"/>
                  <a:pt x="558" y="82"/>
                  <a:pt x="558" y="83"/>
                </a:cubicBezTo>
                <a:cubicBezTo>
                  <a:pt x="559" y="83"/>
                  <a:pt x="560" y="84"/>
                  <a:pt x="561" y="84"/>
                </a:cubicBezTo>
                <a:cubicBezTo>
                  <a:pt x="562" y="84"/>
                  <a:pt x="562" y="84"/>
                  <a:pt x="563" y="84"/>
                </a:cubicBezTo>
                <a:cubicBezTo>
                  <a:pt x="563" y="84"/>
                  <a:pt x="563" y="84"/>
                  <a:pt x="563" y="84"/>
                </a:cubicBezTo>
                <a:cubicBezTo>
                  <a:pt x="564" y="84"/>
                  <a:pt x="564" y="84"/>
                  <a:pt x="565" y="83"/>
                </a:cubicBezTo>
                <a:cubicBezTo>
                  <a:pt x="566" y="84"/>
                  <a:pt x="567" y="84"/>
                  <a:pt x="568" y="84"/>
                </a:cubicBezTo>
                <a:cubicBezTo>
                  <a:pt x="568" y="84"/>
                  <a:pt x="568" y="84"/>
                  <a:pt x="568" y="83"/>
                </a:cubicBezTo>
                <a:cubicBezTo>
                  <a:pt x="568" y="83"/>
                  <a:pt x="569" y="83"/>
                  <a:pt x="569" y="82"/>
                </a:cubicBezTo>
                <a:cubicBezTo>
                  <a:pt x="569" y="82"/>
                  <a:pt x="569" y="82"/>
                  <a:pt x="569" y="82"/>
                </a:cubicBezTo>
                <a:cubicBezTo>
                  <a:pt x="570" y="82"/>
                  <a:pt x="570" y="82"/>
                  <a:pt x="570" y="82"/>
                </a:cubicBezTo>
                <a:cubicBezTo>
                  <a:pt x="570" y="82"/>
                  <a:pt x="570" y="82"/>
                  <a:pt x="570" y="82"/>
                </a:cubicBezTo>
                <a:cubicBezTo>
                  <a:pt x="570" y="82"/>
                  <a:pt x="570" y="82"/>
                  <a:pt x="570" y="82"/>
                </a:cubicBezTo>
                <a:cubicBezTo>
                  <a:pt x="571" y="82"/>
                  <a:pt x="571" y="82"/>
                  <a:pt x="572" y="82"/>
                </a:cubicBezTo>
                <a:cubicBezTo>
                  <a:pt x="572" y="82"/>
                  <a:pt x="572" y="81"/>
                  <a:pt x="572" y="81"/>
                </a:cubicBezTo>
                <a:cubicBezTo>
                  <a:pt x="572" y="81"/>
                  <a:pt x="572" y="81"/>
                  <a:pt x="572" y="81"/>
                </a:cubicBezTo>
                <a:cubicBezTo>
                  <a:pt x="572" y="81"/>
                  <a:pt x="572" y="81"/>
                  <a:pt x="573" y="81"/>
                </a:cubicBezTo>
                <a:cubicBezTo>
                  <a:pt x="573" y="81"/>
                  <a:pt x="573" y="81"/>
                  <a:pt x="574" y="80"/>
                </a:cubicBezTo>
                <a:cubicBezTo>
                  <a:pt x="574" y="80"/>
                  <a:pt x="574" y="80"/>
                  <a:pt x="574" y="80"/>
                </a:cubicBezTo>
                <a:cubicBezTo>
                  <a:pt x="574" y="79"/>
                  <a:pt x="575" y="79"/>
                  <a:pt x="575" y="79"/>
                </a:cubicBezTo>
                <a:cubicBezTo>
                  <a:pt x="575" y="78"/>
                  <a:pt x="575" y="78"/>
                  <a:pt x="575" y="78"/>
                </a:cubicBezTo>
                <a:cubicBezTo>
                  <a:pt x="575" y="78"/>
                  <a:pt x="575" y="78"/>
                  <a:pt x="575" y="78"/>
                </a:cubicBezTo>
                <a:cubicBezTo>
                  <a:pt x="574" y="78"/>
                  <a:pt x="574" y="78"/>
                  <a:pt x="574" y="78"/>
                </a:cubicBezTo>
                <a:cubicBezTo>
                  <a:pt x="574" y="78"/>
                  <a:pt x="574" y="78"/>
                  <a:pt x="575" y="77"/>
                </a:cubicBezTo>
                <a:cubicBezTo>
                  <a:pt x="575" y="77"/>
                  <a:pt x="575" y="76"/>
                  <a:pt x="575" y="76"/>
                </a:cubicBezTo>
                <a:cubicBezTo>
                  <a:pt x="575" y="76"/>
                  <a:pt x="576" y="75"/>
                  <a:pt x="576" y="75"/>
                </a:cubicBezTo>
                <a:cubicBezTo>
                  <a:pt x="577" y="75"/>
                  <a:pt x="578" y="75"/>
                  <a:pt x="579" y="75"/>
                </a:cubicBezTo>
                <a:cubicBezTo>
                  <a:pt x="579" y="75"/>
                  <a:pt x="579" y="75"/>
                  <a:pt x="580" y="76"/>
                </a:cubicBezTo>
                <a:cubicBezTo>
                  <a:pt x="580" y="76"/>
                  <a:pt x="581" y="75"/>
                  <a:pt x="582" y="75"/>
                </a:cubicBezTo>
                <a:cubicBezTo>
                  <a:pt x="582" y="75"/>
                  <a:pt x="582" y="75"/>
                  <a:pt x="583" y="75"/>
                </a:cubicBezTo>
                <a:cubicBezTo>
                  <a:pt x="583" y="75"/>
                  <a:pt x="583" y="74"/>
                  <a:pt x="583" y="74"/>
                </a:cubicBezTo>
                <a:cubicBezTo>
                  <a:pt x="584" y="75"/>
                  <a:pt x="584" y="75"/>
                  <a:pt x="584" y="75"/>
                </a:cubicBezTo>
                <a:cubicBezTo>
                  <a:pt x="585" y="75"/>
                  <a:pt x="585" y="75"/>
                  <a:pt x="586" y="75"/>
                </a:cubicBezTo>
                <a:cubicBezTo>
                  <a:pt x="586" y="74"/>
                  <a:pt x="586" y="74"/>
                  <a:pt x="586" y="74"/>
                </a:cubicBezTo>
                <a:cubicBezTo>
                  <a:pt x="587" y="74"/>
                  <a:pt x="587" y="73"/>
                  <a:pt x="587" y="73"/>
                </a:cubicBezTo>
                <a:cubicBezTo>
                  <a:pt x="587" y="73"/>
                  <a:pt x="587" y="73"/>
                  <a:pt x="587" y="73"/>
                </a:cubicBezTo>
                <a:cubicBezTo>
                  <a:pt x="587" y="73"/>
                  <a:pt x="586" y="73"/>
                  <a:pt x="586" y="73"/>
                </a:cubicBezTo>
                <a:cubicBezTo>
                  <a:pt x="585" y="73"/>
                  <a:pt x="583" y="73"/>
                  <a:pt x="582" y="72"/>
                </a:cubicBezTo>
                <a:cubicBezTo>
                  <a:pt x="582" y="72"/>
                  <a:pt x="582" y="72"/>
                  <a:pt x="582" y="72"/>
                </a:cubicBezTo>
                <a:cubicBezTo>
                  <a:pt x="582" y="72"/>
                  <a:pt x="582" y="72"/>
                  <a:pt x="582" y="72"/>
                </a:cubicBezTo>
                <a:cubicBezTo>
                  <a:pt x="583" y="72"/>
                  <a:pt x="583" y="72"/>
                  <a:pt x="584" y="71"/>
                </a:cubicBezTo>
                <a:cubicBezTo>
                  <a:pt x="584" y="72"/>
                  <a:pt x="584" y="72"/>
                  <a:pt x="584" y="72"/>
                </a:cubicBezTo>
                <a:cubicBezTo>
                  <a:pt x="585" y="72"/>
                  <a:pt x="585" y="71"/>
                  <a:pt x="585" y="71"/>
                </a:cubicBezTo>
                <a:cubicBezTo>
                  <a:pt x="586" y="72"/>
                  <a:pt x="587" y="72"/>
                  <a:pt x="587" y="72"/>
                </a:cubicBezTo>
                <a:cubicBezTo>
                  <a:pt x="588" y="72"/>
                  <a:pt x="588" y="72"/>
                  <a:pt x="588" y="72"/>
                </a:cubicBezTo>
                <a:cubicBezTo>
                  <a:pt x="588" y="71"/>
                  <a:pt x="589" y="71"/>
                  <a:pt x="589" y="71"/>
                </a:cubicBezTo>
                <a:cubicBezTo>
                  <a:pt x="590" y="71"/>
                  <a:pt x="590" y="71"/>
                  <a:pt x="590" y="71"/>
                </a:cubicBezTo>
                <a:cubicBezTo>
                  <a:pt x="590" y="70"/>
                  <a:pt x="591" y="70"/>
                  <a:pt x="591" y="70"/>
                </a:cubicBezTo>
                <a:cubicBezTo>
                  <a:pt x="591" y="70"/>
                  <a:pt x="590" y="69"/>
                  <a:pt x="590" y="69"/>
                </a:cubicBezTo>
                <a:cubicBezTo>
                  <a:pt x="590" y="69"/>
                  <a:pt x="589" y="69"/>
                  <a:pt x="589" y="69"/>
                </a:cubicBezTo>
                <a:cubicBezTo>
                  <a:pt x="588" y="69"/>
                  <a:pt x="588" y="69"/>
                  <a:pt x="588" y="69"/>
                </a:cubicBezTo>
                <a:cubicBezTo>
                  <a:pt x="588" y="69"/>
                  <a:pt x="588" y="69"/>
                  <a:pt x="588" y="69"/>
                </a:cubicBezTo>
                <a:cubicBezTo>
                  <a:pt x="587" y="68"/>
                  <a:pt x="587" y="68"/>
                  <a:pt x="586" y="68"/>
                </a:cubicBezTo>
                <a:cubicBezTo>
                  <a:pt x="586" y="68"/>
                  <a:pt x="586" y="68"/>
                  <a:pt x="586" y="68"/>
                </a:cubicBezTo>
                <a:cubicBezTo>
                  <a:pt x="586" y="68"/>
                  <a:pt x="587" y="68"/>
                  <a:pt x="587" y="68"/>
                </a:cubicBezTo>
                <a:cubicBezTo>
                  <a:pt x="588" y="68"/>
                  <a:pt x="588" y="68"/>
                  <a:pt x="588" y="68"/>
                </a:cubicBezTo>
                <a:cubicBezTo>
                  <a:pt x="588" y="68"/>
                  <a:pt x="588" y="68"/>
                  <a:pt x="589" y="68"/>
                </a:cubicBezTo>
                <a:cubicBezTo>
                  <a:pt x="589" y="68"/>
                  <a:pt x="589" y="68"/>
                  <a:pt x="589" y="69"/>
                </a:cubicBezTo>
                <a:cubicBezTo>
                  <a:pt x="590" y="68"/>
                  <a:pt x="590" y="68"/>
                  <a:pt x="591" y="68"/>
                </a:cubicBezTo>
                <a:cubicBezTo>
                  <a:pt x="591" y="68"/>
                  <a:pt x="591" y="68"/>
                  <a:pt x="591" y="68"/>
                </a:cubicBezTo>
                <a:cubicBezTo>
                  <a:pt x="592" y="68"/>
                  <a:pt x="592" y="68"/>
                  <a:pt x="593" y="67"/>
                </a:cubicBezTo>
                <a:cubicBezTo>
                  <a:pt x="593" y="67"/>
                  <a:pt x="593" y="67"/>
                  <a:pt x="593" y="67"/>
                </a:cubicBezTo>
                <a:cubicBezTo>
                  <a:pt x="594" y="67"/>
                  <a:pt x="594" y="66"/>
                  <a:pt x="594" y="66"/>
                </a:cubicBezTo>
                <a:cubicBezTo>
                  <a:pt x="594" y="65"/>
                  <a:pt x="594" y="65"/>
                  <a:pt x="595" y="64"/>
                </a:cubicBezTo>
                <a:cubicBezTo>
                  <a:pt x="595" y="64"/>
                  <a:pt x="595" y="64"/>
                  <a:pt x="595" y="64"/>
                </a:cubicBezTo>
                <a:cubicBezTo>
                  <a:pt x="594" y="64"/>
                  <a:pt x="594" y="64"/>
                  <a:pt x="594" y="64"/>
                </a:cubicBezTo>
                <a:cubicBezTo>
                  <a:pt x="593" y="63"/>
                  <a:pt x="593" y="63"/>
                  <a:pt x="592" y="63"/>
                </a:cubicBezTo>
                <a:cubicBezTo>
                  <a:pt x="592" y="63"/>
                  <a:pt x="592" y="63"/>
                  <a:pt x="591" y="63"/>
                </a:cubicBezTo>
                <a:cubicBezTo>
                  <a:pt x="591" y="63"/>
                  <a:pt x="591" y="64"/>
                  <a:pt x="590" y="64"/>
                </a:cubicBezTo>
                <a:cubicBezTo>
                  <a:pt x="590" y="64"/>
                  <a:pt x="590" y="64"/>
                  <a:pt x="589" y="64"/>
                </a:cubicBezTo>
                <a:cubicBezTo>
                  <a:pt x="589" y="64"/>
                  <a:pt x="589" y="64"/>
                  <a:pt x="589" y="64"/>
                </a:cubicBezTo>
                <a:cubicBezTo>
                  <a:pt x="590" y="63"/>
                  <a:pt x="590" y="63"/>
                  <a:pt x="590" y="63"/>
                </a:cubicBezTo>
                <a:cubicBezTo>
                  <a:pt x="591" y="63"/>
                  <a:pt x="591" y="63"/>
                  <a:pt x="592" y="63"/>
                </a:cubicBezTo>
                <a:cubicBezTo>
                  <a:pt x="592" y="63"/>
                  <a:pt x="592" y="62"/>
                  <a:pt x="592" y="62"/>
                </a:cubicBezTo>
                <a:cubicBezTo>
                  <a:pt x="591" y="62"/>
                  <a:pt x="591" y="62"/>
                  <a:pt x="590" y="62"/>
                </a:cubicBezTo>
                <a:cubicBezTo>
                  <a:pt x="590" y="62"/>
                  <a:pt x="589" y="62"/>
                  <a:pt x="589" y="62"/>
                </a:cubicBezTo>
                <a:cubicBezTo>
                  <a:pt x="589" y="62"/>
                  <a:pt x="588" y="62"/>
                  <a:pt x="588" y="62"/>
                </a:cubicBezTo>
                <a:cubicBezTo>
                  <a:pt x="588" y="62"/>
                  <a:pt x="588" y="62"/>
                  <a:pt x="587" y="62"/>
                </a:cubicBezTo>
                <a:cubicBezTo>
                  <a:pt x="587" y="62"/>
                  <a:pt x="587" y="62"/>
                  <a:pt x="587" y="62"/>
                </a:cubicBezTo>
                <a:cubicBezTo>
                  <a:pt x="587" y="62"/>
                  <a:pt x="586" y="62"/>
                  <a:pt x="586" y="62"/>
                </a:cubicBezTo>
                <a:cubicBezTo>
                  <a:pt x="586" y="62"/>
                  <a:pt x="586" y="62"/>
                  <a:pt x="586" y="62"/>
                </a:cubicBezTo>
                <a:cubicBezTo>
                  <a:pt x="586" y="62"/>
                  <a:pt x="586" y="62"/>
                  <a:pt x="585" y="63"/>
                </a:cubicBezTo>
                <a:cubicBezTo>
                  <a:pt x="585" y="63"/>
                  <a:pt x="585" y="63"/>
                  <a:pt x="584" y="63"/>
                </a:cubicBezTo>
                <a:cubicBezTo>
                  <a:pt x="584" y="62"/>
                  <a:pt x="584" y="62"/>
                  <a:pt x="584" y="62"/>
                </a:cubicBezTo>
                <a:cubicBezTo>
                  <a:pt x="584" y="62"/>
                  <a:pt x="584" y="62"/>
                  <a:pt x="585" y="62"/>
                </a:cubicBezTo>
                <a:cubicBezTo>
                  <a:pt x="584" y="62"/>
                  <a:pt x="583" y="62"/>
                  <a:pt x="582" y="62"/>
                </a:cubicBezTo>
                <a:cubicBezTo>
                  <a:pt x="582" y="61"/>
                  <a:pt x="582" y="61"/>
                  <a:pt x="582" y="61"/>
                </a:cubicBezTo>
                <a:cubicBezTo>
                  <a:pt x="582" y="61"/>
                  <a:pt x="583" y="61"/>
                  <a:pt x="583" y="61"/>
                </a:cubicBezTo>
                <a:cubicBezTo>
                  <a:pt x="584" y="61"/>
                  <a:pt x="584" y="61"/>
                  <a:pt x="585" y="61"/>
                </a:cubicBezTo>
                <a:cubicBezTo>
                  <a:pt x="585" y="61"/>
                  <a:pt x="586" y="61"/>
                  <a:pt x="586" y="61"/>
                </a:cubicBezTo>
                <a:cubicBezTo>
                  <a:pt x="586" y="62"/>
                  <a:pt x="586" y="62"/>
                  <a:pt x="586" y="62"/>
                </a:cubicBezTo>
                <a:cubicBezTo>
                  <a:pt x="586" y="62"/>
                  <a:pt x="587" y="61"/>
                  <a:pt x="588" y="61"/>
                </a:cubicBezTo>
                <a:cubicBezTo>
                  <a:pt x="588" y="61"/>
                  <a:pt x="589" y="61"/>
                  <a:pt x="590" y="61"/>
                </a:cubicBezTo>
                <a:cubicBezTo>
                  <a:pt x="590" y="61"/>
                  <a:pt x="591" y="61"/>
                  <a:pt x="591" y="61"/>
                </a:cubicBezTo>
                <a:cubicBezTo>
                  <a:pt x="591" y="61"/>
                  <a:pt x="592" y="61"/>
                  <a:pt x="592" y="61"/>
                </a:cubicBezTo>
                <a:cubicBezTo>
                  <a:pt x="592" y="61"/>
                  <a:pt x="592" y="61"/>
                  <a:pt x="592" y="60"/>
                </a:cubicBezTo>
                <a:cubicBezTo>
                  <a:pt x="591" y="60"/>
                  <a:pt x="590" y="60"/>
                  <a:pt x="589" y="60"/>
                </a:cubicBezTo>
                <a:cubicBezTo>
                  <a:pt x="588" y="60"/>
                  <a:pt x="587" y="60"/>
                  <a:pt x="587" y="60"/>
                </a:cubicBezTo>
                <a:cubicBezTo>
                  <a:pt x="586" y="60"/>
                  <a:pt x="585" y="60"/>
                  <a:pt x="585" y="60"/>
                </a:cubicBezTo>
                <a:cubicBezTo>
                  <a:pt x="585" y="60"/>
                  <a:pt x="585" y="60"/>
                  <a:pt x="585" y="60"/>
                </a:cubicBezTo>
                <a:cubicBezTo>
                  <a:pt x="585" y="60"/>
                  <a:pt x="586" y="60"/>
                  <a:pt x="586" y="60"/>
                </a:cubicBezTo>
                <a:cubicBezTo>
                  <a:pt x="587" y="60"/>
                  <a:pt x="587" y="60"/>
                  <a:pt x="587" y="60"/>
                </a:cubicBezTo>
                <a:cubicBezTo>
                  <a:pt x="588" y="60"/>
                  <a:pt x="589" y="60"/>
                  <a:pt x="590" y="60"/>
                </a:cubicBezTo>
                <a:cubicBezTo>
                  <a:pt x="591" y="60"/>
                  <a:pt x="591" y="60"/>
                  <a:pt x="592" y="59"/>
                </a:cubicBezTo>
                <a:cubicBezTo>
                  <a:pt x="592" y="60"/>
                  <a:pt x="592" y="60"/>
                  <a:pt x="593" y="60"/>
                </a:cubicBezTo>
                <a:cubicBezTo>
                  <a:pt x="593" y="60"/>
                  <a:pt x="593" y="61"/>
                  <a:pt x="593" y="61"/>
                </a:cubicBezTo>
                <a:cubicBezTo>
                  <a:pt x="593" y="61"/>
                  <a:pt x="593" y="61"/>
                  <a:pt x="593" y="61"/>
                </a:cubicBezTo>
                <a:cubicBezTo>
                  <a:pt x="594" y="62"/>
                  <a:pt x="594" y="62"/>
                  <a:pt x="595" y="62"/>
                </a:cubicBezTo>
                <a:cubicBezTo>
                  <a:pt x="595" y="62"/>
                  <a:pt x="596" y="62"/>
                  <a:pt x="596" y="62"/>
                </a:cubicBezTo>
                <a:cubicBezTo>
                  <a:pt x="597" y="62"/>
                  <a:pt x="597" y="62"/>
                  <a:pt x="597" y="62"/>
                </a:cubicBezTo>
                <a:cubicBezTo>
                  <a:pt x="598" y="62"/>
                  <a:pt x="598" y="62"/>
                  <a:pt x="598" y="62"/>
                </a:cubicBezTo>
                <a:cubicBezTo>
                  <a:pt x="598" y="62"/>
                  <a:pt x="598" y="62"/>
                  <a:pt x="599" y="62"/>
                </a:cubicBezTo>
                <a:cubicBezTo>
                  <a:pt x="598" y="61"/>
                  <a:pt x="598" y="61"/>
                  <a:pt x="598" y="61"/>
                </a:cubicBezTo>
                <a:cubicBezTo>
                  <a:pt x="598" y="61"/>
                  <a:pt x="598" y="60"/>
                  <a:pt x="598" y="60"/>
                </a:cubicBezTo>
                <a:cubicBezTo>
                  <a:pt x="598" y="60"/>
                  <a:pt x="598" y="60"/>
                  <a:pt x="598" y="60"/>
                </a:cubicBezTo>
                <a:cubicBezTo>
                  <a:pt x="598" y="60"/>
                  <a:pt x="598" y="59"/>
                  <a:pt x="599" y="59"/>
                </a:cubicBezTo>
                <a:cubicBezTo>
                  <a:pt x="599" y="59"/>
                  <a:pt x="598" y="59"/>
                  <a:pt x="598" y="59"/>
                </a:cubicBezTo>
                <a:cubicBezTo>
                  <a:pt x="597" y="59"/>
                  <a:pt x="596" y="59"/>
                  <a:pt x="595" y="59"/>
                </a:cubicBezTo>
                <a:cubicBezTo>
                  <a:pt x="594" y="59"/>
                  <a:pt x="594" y="59"/>
                  <a:pt x="594" y="59"/>
                </a:cubicBezTo>
                <a:cubicBezTo>
                  <a:pt x="593" y="59"/>
                  <a:pt x="593" y="59"/>
                  <a:pt x="593" y="59"/>
                </a:cubicBezTo>
                <a:cubicBezTo>
                  <a:pt x="593" y="59"/>
                  <a:pt x="592" y="59"/>
                  <a:pt x="592" y="59"/>
                </a:cubicBezTo>
                <a:cubicBezTo>
                  <a:pt x="591" y="59"/>
                  <a:pt x="591" y="59"/>
                  <a:pt x="590" y="59"/>
                </a:cubicBezTo>
                <a:cubicBezTo>
                  <a:pt x="590" y="59"/>
                  <a:pt x="590" y="59"/>
                  <a:pt x="589" y="59"/>
                </a:cubicBezTo>
                <a:cubicBezTo>
                  <a:pt x="589" y="59"/>
                  <a:pt x="589" y="59"/>
                  <a:pt x="588" y="59"/>
                </a:cubicBezTo>
                <a:cubicBezTo>
                  <a:pt x="588" y="59"/>
                  <a:pt x="588" y="59"/>
                  <a:pt x="588" y="59"/>
                </a:cubicBezTo>
                <a:cubicBezTo>
                  <a:pt x="588" y="59"/>
                  <a:pt x="588" y="59"/>
                  <a:pt x="587" y="59"/>
                </a:cubicBezTo>
                <a:cubicBezTo>
                  <a:pt x="587" y="59"/>
                  <a:pt x="587" y="59"/>
                  <a:pt x="587" y="59"/>
                </a:cubicBezTo>
                <a:cubicBezTo>
                  <a:pt x="587" y="59"/>
                  <a:pt x="586" y="59"/>
                  <a:pt x="586" y="59"/>
                </a:cubicBezTo>
                <a:cubicBezTo>
                  <a:pt x="585" y="58"/>
                  <a:pt x="585" y="58"/>
                  <a:pt x="585" y="58"/>
                </a:cubicBezTo>
                <a:cubicBezTo>
                  <a:pt x="586" y="58"/>
                  <a:pt x="586" y="58"/>
                  <a:pt x="586" y="58"/>
                </a:cubicBezTo>
                <a:cubicBezTo>
                  <a:pt x="587" y="58"/>
                  <a:pt x="587" y="58"/>
                  <a:pt x="587" y="58"/>
                </a:cubicBezTo>
                <a:cubicBezTo>
                  <a:pt x="587" y="58"/>
                  <a:pt x="588" y="58"/>
                  <a:pt x="588" y="58"/>
                </a:cubicBezTo>
                <a:cubicBezTo>
                  <a:pt x="588" y="58"/>
                  <a:pt x="588" y="58"/>
                  <a:pt x="589" y="57"/>
                </a:cubicBezTo>
                <a:cubicBezTo>
                  <a:pt x="588" y="57"/>
                  <a:pt x="588" y="57"/>
                  <a:pt x="588" y="57"/>
                </a:cubicBezTo>
                <a:cubicBezTo>
                  <a:pt x="588" y="57"/>
                  <a:pt x="588" y="57"/>
                  <a:pt x="589" y="57"/>
                </a:cubicBezTo>
                <a:cubicBezTo>
                  <a:pt x="589" y="57"/>
                  <a:pt x="589" y="57"/>
                  <a:pt x="589" y="57"/>
                </a:cubicBezTo>
                <a:cubicBezTo>
                  <a:pt x="590" y="57"/>
                  <a:pt x="590" y="58"/>
                  <a:pt x="590" y="58"/>
                </a:cubicBezTo>
                <a:cubicBezTo>
                  <a:pt x="590" y="58"/>
                  <a:pt x="590" y="58"/>
                  <a:pt x="591" y="58"/>
                </a:cubicBezTo>
                <a:cubicBezTo>
                  <a:pt x="592" y="58"/>
                  <a:pt x="593" y="58"/>
                  <a:pt x="594" y="58"/>
                </a:cubicBezTo>
                <a:cubicBezTo>
                  <a:pt x="594" y="58"/>
                  <a:pt x="594" y="58"/>
                  <a:pt x="594" y="58"/>
                </a:cubicBezTo>
                <a:cubicBezTo>
                  <a:pt x="594" y="57"/>
                  <a:pt x="593" y="57"/>
                  <a:pt x="593" y="56"/>
                </a:cubicBezTo>
                <a:cubicBezTo>
                  <a:pt x="592" y="56"/>
                  <a:pt x="592" y="56"/>
                  <a:pt x="591" y="56"/>
                </a:cubicBezTo>
                <a:cubicBezTo>
                  <a:pt x="591" y="56"/>
                  <a:pt x="591" y="56"/>
                  <a:pt x="590" y="56"/>
                </a:cubicBezTo>
                <a:cubicBezTo>
                  <a:pt x="590" y="56"/>
                  <a:pt x="590" y="56"/>
                  <a:pt x="590" y="56"/>
                </a:cubicBezTo>
                <a:cubicBezTo>
                  <a:pt x="590" y="56"/>
                  <a:pt x="590" y="55"/>
                  <a:pt x="590" y="55"/>
                </a:cubicBezTo>
                <a:cubicBezTo>
                  <a:pt x="591" y="56"/>
                  <a:pt x="591" y="56"/>
                  <a:pt x="591" y="56"/>
                </a:cubicBezTo>
                <a:cubicBezTo>
                  <a:pt x="592" y="56"/>
                  <a:pt x="592" y="56"/>
                  <a:pt x="593" y="56"/>
                </a:cubicBezTo>
                <a:cubicBezTo>
                  <a:pt x="593" y="56"/>
                  <a:pt x="593" y="56"/>
                  <a:pt x="594" y="56"/>
                </a:cubicBezTo>
                <a:cubicBezTo>
                  <a:pt x="594" y="56"/>
                  <a:pt x="594" y="56"/>
                  <a:pt x="594" y="56"/>
                </a:cubicBezTo>
                <a:cubicBezTo>
                  <a:pt x="594" y="56"/>
                  <a:pt x="594" y="56"/>
                  <a:pt x="595" y="56"/>
                </a:cubicBezTo>
                <a:cubicBezTo>
                  <a:pt x="595" y="56"/>
                  <a:pt x="595" y="57"/>
                  <a:pt x="596" y="57"/>
                </a:cubicBezTo>
                <a:cubicBezTo>
                  <a:pt x="596" y="57"/>
                  <a:pt x="596" y="57"/>
                  <a:pt x="597" y="57"/>
                </a:cubicBezTo>
                <a:cubicBezTo>
                  <a:pt x="597" y="57"/>
                  <a:pt x="597" y="57"/>
                  <a:pt x="597" y="57"/>
                </a:cubicBezTo>
                <a:cubicBezTo>
                  <a:pt x="598" y="57"/>
                  <a:pt x="598" y="57"/>
                  <a:pt x="598" y="57"/>
                </a:cubicBezTo>
                <a:cubicBezTo>
                  <a:pt x="598" y="57"/>
                  <a:pt x="599" y="57"/>
                  <a:pt x="599" y="56"/>
                </a:cubicBezTo>
                <a:cubicBezTo>
                  <a:pt x="599" y="56"/>
                  <a:pt x="599" y="56"/>
                  <a:pt x="600" y="56"/>
                </a:cubicBezTo>
                <a:cubicBezTo>
                  <a:pt x="600" y="56"/>
                  <a:pt x="601" y="56"/>
                  <a:pt x="601" y="57"/>
                </a:cubicBezTo>
                <a:cubicBezTo>
                  <a:pt x="601" y="57"/>
                  <a:pt x="601" y="56"/>
                  <a:pt x="601" y="56"/>
                </a:cubicBezTo>
                <a:cubicBezTo>
                  <a:pt x="601" y="56"/>
                  <a:pt x="601" y="56"/>
                  <a:pt x="601" y="56"/>
                </a:cubicBezTo>
                <a:cubicBezTo>
                  <a:pt x="602" y="56"/>
                  <a:pt x="602" y="56"/>
                  <a:pt x="602" y="56"/>
                </a:cubicBezTo>
                <a:cubicBezTo>
                  <a:pt x="603" y="56"/>
                  <a:pt x="603" y="56"/>
                  <a:pt x="603" y="56"/>
                </a:cubicBezTo>
                <a:cubicBezTo>
                  <a:pt x="604" y="56"/>
                  <a:pt x="604" y="56"/>
                  <a:pt x="605" y="56"/>
                </a:cubicBezTo>
                <a:cubicBezTo>
                  <a:pt x="605" y="56"/>
                  <a:pt x="605" y="56"/>
                  <a:pt x="605" y="55"/>
                </a:cubicBezTo>
                <a:cubicBezTo>
                  <a:pt x="605" y="55"/>
                  <a:pt x="605" y="54"/>
                  <a:pt x="605" y="53"/>
                </a:cubicBezTo>
                <a:cubicBezTo>
                  <a:pt x="604" y="53"/>
                  <a:pt x="603" y="53"/>
                  <a:pt x="602" y="52"/>
                </a:cubicBezTo>
                <a:cubicBezTo>
                  <a:pt x="601" y="52"/>
                  <a:pt x="601" y="52"/>
                  <a:pt x="601" y="52"/>
                </a:cubicBezTo>
                <a:cubicBezTo>
                  <a:pt x="601" y="53"/>
                  <a:pt x="601" y="53"/>
                  <a:pt x="600" y="53"/>
                </a:cubicBezTo>
                <a:cubicBezTo>
                  <a:pt x="600" y="53"/>
                  <a:pt x="600" y="53"/>
                  <a:pt x="600" y="53"/>
                </a:cubicBezTo>
                <a:cubicBezTo>
                  <a:pt x="600" y="52"/>
                  <a:pt x="600" y="52"/>
                  <a:pt x="600" y="52"/>
                </a:cubicBezTo>
                <a:cubicBezTo>
                  <a:pt x="600" y="52"/>
                  <a:pt x="601" y="52"/>
                  <a:pt x="602" y="52"/>
                </a:cubicBezTo>
                <a:cubicBezTo>
                  <a:pt x="602" y="52"/>
                  <a:pt x="602" y="52"/>
                  <a:pt x="602" y="52"/>
                </a:cubicBezTo>
                <a:cubicBezTo>
                  <a:pt x="603" y="52"/>
                  <a:pt x="603" y="52"/>
                  <a:pt x="603" y="51"/>
                </a:cubicBezTo>
                <a:cubicBezTo>
                  <a:pt x="603" y="52"/>
                  <a:pt x="604" y="52"/>
                  <a:pt x="604" y="52"/>
                </a:cubicBezTo>
                <a:cubicBezTo>
                  <a:pt x="604" y="52"/>
                  <a:pt x="604" y="52"/>
                  <a:pt x="604" y="52"/>
                </a:cubicBezTo>
                <a:cubicBezTo>
                  <a:pt x="604" y="52"/>
                  <a:pt x="604" y="53"/>
                  <a:pt x="605" y="53"/>
                </a:cubicBezTo>
                <a:cubicBezTo>
                  <a:pt x="605" y="53"/>
                  <a:pt x="606" y="53"/>
                  <a:pt x="606" y="53"/>
                </a:cubicBezTo>
                <a:cubicBezTo>
                  <a:pt x="606" y="53"/>
                  <a:pt x="607" y="53"/>
                  <a:pt x="607" y="54"/>
                </a:cubicBezTo>
                <a:cubicBezTo>
                  <a:pt x="607" y="54"/>
                  <a:pt x="607" y="54"/>
                  <a:pt x="607" y="54"/>
                </a:cubicBezTo>
                <a:cubicBezTo>
                  <a:pt x="608" y="54"/>
                  <a:pt x="608" y="54"/>
                  <a:pt x="608" y="54"/>
                </a:cubicBezTo>
                <a:cubicBezTo>
                  <a:pt x="609" y="54"/>
                  <a:pt x="609" y="54"/>
                  <a:pt x="609" y="54"/>
                </a:cubicBezTo>
                <a:cubicBezTo>
                  <a:pt x="610" y="54"/>
                  <a:pt x="611" y="54"/>
                  <a:pt x="612" y="54"/>
                </a:cubicBezTo>
                <a:cubicBezTo>
                  <a:pt x="612" y="54"/>
                  <a:pt x="613" y="54"/>
                  <a:pt x="614" y="54"/>
                </a:cubicBezTo>
                <a:cubicBezTo>
                  <a:pt x="614" y="53"/>
                  <a:pt x="615" y="53"/>
                  <a:pt x="615" y="52"/>
                </a:cubicBezTo>
                <a:cubicBezTo>
                  <a:pt x="615" y="52"/>
                  <a:pt x="615" y="52"/>
                  <a:pt x="615" y="52"/>
                </a:cubicBezTo>
                <a:cubicBezTo>
                  <a:pt x="615" y="51"/>
                  <a:pt x="615" y="51"/>
                  <a:pt x="615" y="51"/>
                </a:cubicBezTo>
                <a:cubicBezTo>
                  <a:pt x="614" y="51"/>
                  <a:pt x="614" y="52"/>
                  <a:pt x="614" y="52"/>
                </a:cubicBezTo>
                <a:cubicBezTo>
                  <a:pt x="614" y="52"/>
                  <a:pt x="614" y="52"/>
                  <a:pt x="613" y="51"/>
                </a:cubicBezTo>
                <a:cubicBezTo>
                  <a:pt x="614" y="51"/>
                  <a:pt x="614" y="51"/>
                  <a:pt x="614" y="51"/>
                </a:cubicBezTo>
                <a:cubicBezTo>
                  <a:pt x="614" y="51"/>
                  <a:pt x="615" y="51"/>
                  <a:pt x="615" y="51"/>
                </a:cubicBezTo>
                <a:cubicBezTo>
                  <a:pt x="616" y="51"/>
                  <a:pt x="616" y="51"/>
                  <a:pt x="617" y="51"/>
                </a:cubicBezTo>
                <a:cubicBezTo>
                  <a:pt x="617" y="50"/>
                  <a:pt x="618" y="50"/>
                  <a:pt x="618" y="50"/>
                </a:cubicBezTo>
                <a:cubicBezTo>
                  <a:pt x="618" y="50"/>
                  <a:pt x="618" y="49"/>
                  <a:pt x="618" y="49"/>
                </a:cubicBezTo>
                <a:cubicBezTo>
                  <a:pt x="618" y="49"/>
                  <a:pt x="618" y="49"/>
                  <a:pt x="617" y="49"/>
                </a:cubicBezTo>
                <a:cubicBezTo>
                  <a:pt x="616" y="49"/>
                  <a:pt x="615" y="49"/>
                  <a:pt x="614" y="49"/>
                </a:cubicBezTo>
                <a:cubicBezTo>
                  <a:pt x="613" y="49"/>
                  <a:pt x="613" y="49"/>
                  <a:pt x="612" y="49"/>
                </a:cubicBezTo>
                <a:cubicBezTo>
                  <a:pt x="612" y="49"/>
                  <a:pt x="612" y="49"/>
                  <a:pt x="612" y="49"/>
                </a:cubicBezTo>
                <a:cubicBezTo>
                  <a:pt x="612" y="49"/>
                  <a:pt x="613" y="49"/>
                  <a:pt x="613" y="49"/>
                </a:cubicBezTo>
                <a:cubicBezTo>
                  <a:pt x="613" y="48"/>
                  <a:pt x="613" y="48"/>
                  <a:pt x="613" y="48"/>
                </a:cubicBezTo>
                <a:cubicBezTo>
                  <a:pt x="614" y="48"/>
                  <a:pt x="614" y="48"/>
                  <a:pt x="614" y="48"/>
                </a:cubicBezTo>
                <a:cubicBezTo>
                  <a:pt x="614" y="48"/>
                  <a:pt x="614" y="48"/>
                  <a:pt x="614" y="49"/>
                </a:cubicBezTo>
                <a:cubicBezTo>
                  <a:pt x="614" y="49"/>
                  <a:pt x="615" y="49"/>
                  <a:pt x="615" y="49"/>
                </a:cubicBezTo>
                <a:cubicBezTo>
                  <a:pt x="615" y="48"/>
                  <a:pt x="615" y="48"/>
                  <a:pt x="616" y="48"/>
                </a:cubicBezTo>
                <a:cubicBezTo>
                  <a:pt x="616" y="48"/>
                  <a:pt x="617" y="48"/>
                  <a:pt x="618" y="48"/>
                </a:cubicBezTo>
                <a:cubicBezTo>
                  <a:pt x="618" y="48"/>
                  <a:pt x="618" y="48"/>
                  <a:pt x="619" y="48"/>
                </a:cubicBezTo>
                <a:cubicBezTo>
                  <a:pt x="619" y="48"/>
                  <a:pt x="619" y="48"/>
                  <a:pt x="620" y="48"/>
                </a:cubicBezTo>
                <a:cubicBezTo>
                  <a:pt x="620" y="48"/>
                  <a:pt x="620" y="48"/>
                  <a:pt x="620" y="48"/>
                </a:cubicBezTo>
                <a:cubicBezTo>
                  <a:pt x="621" y="48"/>
                  <a:pt x="621" y="47"/>
                  <a:pt x="622" y="47"/>
                </a:cubicBezTo>
                <a:cubicBezTo>
                  <a:pt x="621" y="47"/>
                  <a:pt x="621" y="47"/>
                  <a:pt x="621" y="47"/>
                </a:cubicBezTo>
                <a:cubicBezTo>
                  <a:pt x="621" y="46"/>
                  <a:pt x="620" y="46"/>
                  <a:pt x="620" y="46"/>
                </a:cubicBezTo>
                <a:cubicBezTo>
                  <a:pt x="620" y="46"/>
                  <a:pt x="620" y="46"/>
                  <a:pt x="620" y="46"/>
                </a:cubicBezTo>
                <a:cubicBezTo>
                  <a:pt x="620" y="45"/>
                  <a:pt x="620" y="45"/>
                  <a:pt x="621" y="45"/>
                </a:cubicBezTo>
                <a:cubicBezTo>
                  <a:pt x="620" y="45"/>
                  <a:pt x="620" y="44"/>
                  <a:pt x="620" y="44"/>
                </a:cubicBezTo>
                <a:cubicBezTo>
                  <a:pt x="620" y="44"/>
                  <a:pt x="621" y="44"/>
                  <a:pt x="621" y="44"/>
                </a:cubicBezTo>
                <a:cubicBezTo>
                  <a:pt x="621" y="45"/>
                  <a:pt x="621" y="45"/>
                  <a:pt x="621" y="45"/>
                </a:cubicBezTo>
                <a:cubicBezTo>
                  <a:pt x="621" y="45"/>
                  <a:pt x="621" y="45"/>
                  <a:pt x="621" y="46"/>
                </a:cubicBezTo>
                <a:cubicBezTo>
                  <a:pt x="621" y="46"/>
                  <a:pt x="621" y="46"/>
                  <a:pt x="621" y="46"/>
                </a:cubicBezTo>
                <a:cubicBezTo>
                  <a:pt x="621" y="46"/>
                  <a:pt x="622" y="46"/>
                  <a:pt x="622" y="46"/>
                </a:cubicBezTo>
                <a:cubicBezTo>
                  <a:pt x="622" y="46"/>
                  <a:pt x="622" y="46"/>
                  <a:pt x="623" y="46"/>
                </a:cubicBezTo>
                <a:cubicBezTo>
                  <a:pt x="624" y="45"/>
                  <a:pt x="625" y="45"/>
                  <a:pt x="626" y="45"/>
                </a:cubicBezTo>
                <a:cubicBezTo>
                  <a:pt x="626" y="45"/>
                  <a:pt x="626" y="45"/>
                  <a:pt x="626" y="44"/>
                </a:cubicBezTo>
                <a:cubicBezTo>
                  <a:pt x="627" y="44"/>
                  <a:pt x="627" y="44"/>
                  <a:pt x="627" y="44"/>
                </a:cubicBezTo>
                <a:cubicBezTo>
                  <a:pt x="627" y="43"/>
                  <a:pt x="627" y="43"/>
                  <a:pt x="627" y="43"/>
                </a:cubicBezTo>
                <a:cubicBezTo>
                  <a:pt x="627" y="43"/>
                  <a:pt x="627" y="43"/>
                  <a:pt x="628" y="42"/>
                </a:cubicBezTo>
                <a:cubicBezTo>
                  <a:pt x="628" y="42"/>
                  <a:pt x="628" y="42"/>
                  <a:pt x="629" y="42"/>
                </a:cubicBezTo>
                <a:cubicBezTo>
                  <a:pt x="629" y="42"/>
                  <a:pt x="629" y="42"/>
                  <a:pt x="629" y="42"/>
                </a:cubicBezTo>
                <a:cubicBezTo>
                  <a:pt x="630" y="42"/>
                  <a:pt x="630" y="42"/>
                  <a:pt x="630" y="42"/>
                </a:cubicBezTo>
                <a:cubicBezTo>
                  <a:pt x="631" y="41"/>
                  <a:pt x="631" y="41"/>
                  <a:pt x="631" y="41"/>
                </a:cubicBezTo>
                <a:cubicBezTo>
                  <a:pt x="632" y="41"/>
                  <a:pt x="633" y="41"/>
                  <a:pt x="634" y="40"/>
                </a:cubicBezTo>
                <a:cubicBezTo>
                  <a:pt x="634" y="40"/>
                  <a:pt x="634" y="40"/>
                  <a:pt x="634" y="40"/>
                </a:cubicBezTo>
                <a:cubicBezTo>
                  <a:pt x="635" y="39"/>
                  <a:pt x="636" y="39"/>
                  <a:pt x="637" y="39"/>
                </a:cubicBezTo>
                <a:cubicBezTo>
                  <a:pt x="637" y="39"/>
                  <a:pt x="637" y="38"/>
                  <a:pt x="638" y="38"/>
                </a:cubicBezTo>
                <a:cubicBezTo>
                  <a:pt x="638" y="38"/>
                  <a:pt x="639" y="38"/>
                  <a:pt x="639" y="38"/>
                </a:cubicBezTo>
                <a:cubicBezTo>
                  <a:pt x="639" y="38"/>
                  <a:pt x="640" y="38"/>
                  <a:pt x="640" y="38"/>
                </a:cubicBezTo>
                <a:cubicBezTo>
                  <a:pt x="640" y="38"/>
                  <a:pt x="641" y="38"/>
                  <a:pt x="641" y="38"/>
                </a:cubicBezTo>
                <a:cubicBezTo>
                  <a:pt x="642" y="37"/>
                  <a:pt x="642" y="37"/>
                  <a:pt x="643" y="37"/>
                </a:cubicBezTo>
                <a:cubicBezTo>
                  <a:pt x="643" y="36"/>
                  <a:pt x="644" y="36"/>
                  <a:pt x="644" y="36"/>
                </a:cubicBezTo>
                <a:cubicBezTo>
                  <a:pt x="645" y="36"/>
                  <a:pt x="645" y="36"/>
                  <a:pt x="645" y="36"/>
                </a:cubicBezTo>
                <a:cubicBezTo>
                  <a:pt x="645" y="35"/>
                  <a:pt x="646" y="35"/>
                  <a:pt x="646" y="35"/>
                </a:cubicBezTo>
                <a:cubicBezTo>
                  <a:pt x="647" y="34"/>
                  <a:pt x="648" y="34"/>
                  <a:pt x="648" y="34"/>
                </a:cubicBezTo>
                <a:cubicBezTo>
                  <a:pt x="649" y="34"/>
                  <a:pt x="649" y="34"/>
                  <a:pt x="649" y="34"/>
                </a:cubicBezTo>
                <a:cubicBezTo>
                  <a:pt x="650" y="33"/>
                  <a:pt x="650" y="33"/>
                  <a:pt x="651" y="33"/>
                </a:cubicBezTo>
                <a:cubicBezTo>
                  <a:pt x="651" y="32"/>
                  <a:pt x="652" y="32"/>
                  <a:pt x="652" y="32"/>
                </a:cubicBezTo>
                <a:cubicBezTo>
                  <a:pt x="652" y="31"/>
                  <a:pt x="652" y="31"/>
                  <a:pt x="652" y="30"/>
                </a:cubicBezTo>
                <a:cubicBezTo>
                  <a:pt x="652" y="30"/>
                  <a:pt x="651" y="31"/>
                  <a:pt x="650" y="31"/>
                </a:cubicBezTo>
                <a:cubicBezTo>
                  <a:pt x="650" y="31"/>
                  <a:pt x="649" y="31"/>
                  <a:pt x="649" y="31"/>
                </a:cubicBezTo>
                <a:cubicBezTo>
                  <a:pt x="649" y="31"/>
                  <a:pt x="648" y="31"/>
                  <a:pt x="648" y="31"/>
                </a:cubicBezTo>
                <a:cubicBezTo>
                  <a:pt x="648" y="31"/>
                  <a:pt x="647" y="31"/>
                  <a:pt x="647" y="31"/>
                </a:cubicBezTo>
                <a:cubicBezTo>
                  <a:pt x="646" y="32"/>
                  <a:pt x="645" y="32"/>
                  <a:pt x="645" y="33"/>
                </a:cubicBezTo>
                <a:cubicBezTo>
                  <a:pt x="644" y="33"/>
                  <a:pt x="643" y="33"/>
                  <a:pt x="642" y="33"/>
                </a:cubicBezTo>
                <a:cubicBezTo>
                  <a:pt x="640" y="34"/>
                  <a:pt x="639" y="34"/>
                  <a:pt x="637" y="34"/>
                </a:cubicBezTo>
                <a:cubicBezTo>
                  <a:pt x="637" y="34"/>
                  <a:pt x="636" y="34"/>
                  <a:pt x="636" y="34"/>
                </a:cubicBezTo>
                <a:cubicBezTo>
                  <a:pt x="634" y="34"/>
                  <a:pt x="633" y="35"/>
                  <a:pt x="632" y="35"/>
                </a:cubicBezTo>
                <a:cubicBezTo>
                  <a:pt x="632" y="35"/>
                  <a:pt x="631" y="35"/>
                  <a:pt x="631" y="36"/>
                </a:cubicBezTo>
                <a:cubicBezTo>
                  <a:pt x="630" y="35"/>
                  <a:pt x="630" y="35"/>
                  <a:pt x="630" y="35"/>
                </a:cubicBezTo>
                <a:cubicBezTo>
                  <a:pt x="630" y="35"/>
                  <a:pt x="629" y="35"/>
                  <a:pt x="629" y="35"/>
                </a:cubicBezTo>
                <a:cubicBezTo>
                  <a:pt x="629" y="35"/>
                  <a:pt x="629" y="35"/>
                  <a:pt x="629" y="34"/>
                </a:cubicBezTo>
                <a:cubicBezTo>
                  <a:pt x="630" y="34"/>
                  <a:pt x="630" y="34"/>
                  <a:pt x="631" y="34"/>
                </a:cubicBezTo>
                <a:cubicBezTo>
                  <a:pt x="631" y="34"/>
                  <a:pt x="631" y="34"/>
                  <a:pt x="632" y="34"/>
                </a:cubicBezTo>
                <a:cubicBezTo>
                  <a:pt x="632" y="34"/>
                  <a:pt x="632" y="34"/>
                  <a:pt x="633" y="34"/>
                </a:cubicBezTo>
                <a:cubicBezTo>
                  <a:pt x="633" y="34"/>
                  <a:pt x="633" y="34"/>
                  <a:pt x="633" y="34"/>
                </a:cubicBezTo>
                <a:cubicBezTo>
                  <a:pt x="634" y="34"/>
                  <a:pt x="634" y="34"/>
                  <a:pt x="635" y="34"/>
                </a:cubicBezTo>
                <a:cubicBezTo>
                  <a:pt x="635" y="34"/>
                  <a:pt x="636" y="34"/>
                  <a:pt x="637" y="34"/>
                </a:cubicBezTo>
                <a:cubicBezTo>
                  <a:pt x="637" y="33"/>
                  <a:pt x="637" y="33"/>
                  <a:pt x="638" y="33"/>
                </a:cubicBezTo>
                <a:cubicBezTo>
                  <a:pt x="639" y="33"/>
                  <a:pt x="640" y="33"/>
                  <a:pt x="641" y="32"/>
                </a:cubicBezTo>
                <a:cubicBezTo>
                  <a:pt x="643" y="32"/>
                  <a:pt x="645" y="31"/>
                  <a:pt x="647" y="30"/>
                </a:cubicBezTo>
                <a:cubicBezTo>
                  <a:pt x="647" y="30"/>
                  <a:pt x="647" y="30"/>
                  <a:pt x="647" y="30"/>
                </a:cubicBezTo>
                <a:cubicBezTo>
                  <a:pt x="647" y="30"/>
                  <a:pt x="647" y="30"/>
                  <a:pt x="647" y="30"/>
                </a:cubicBezTo>
                <a:cubicBezTo>
                  <a:pt x="646" y="30"/>
                  <a:pt x="645" y="30"/>
                  <a:pt x="644" y="30"/>
                </a:cubicBezTo>
                <a:cubicBezTo>
                  <a:pt x="643" y="30"/>
                  <a:pt x="641" y="30"/>
                  <a:pt x="640" y="30"/>
                </a:cubicBezTo>
                <a:cubicBezTo>
                  <a:pt x="640" y="30"/>
                  <a:pt x="639" y="29"/>
                  <a:pt x="639" y="29"/>
                </a:cubicBezTo>
                <a:cubicBezTo>
                  <a:pt x="640" y="29"/>
                  <a:pt x="640" y="29"/>
                  <a:pt x="641" y="29"/>
                </a:cubicBezTo>
                <a:cubicBezTo>
                  <a:pt x="641" y="29"/>
                  <a:pt x="642" y="29"/>
                  <a:pt x="642" y="29"/>
                </a:cubicBezTo>
                <a:cubicBezTo>
                  <a:pt x="642" y="29"/>
                  <a:pt x="642" y="29"/>
                  <a:pt x="642" y="29"/>
                </a:cubicBezTo>
                <a:cubicBezTo>
                  <a:pt x="641" y="29"/>
                  <a:pt x="641" y="28"/>
                  <a:pt x="640" y="28"/>
                </a:cubicBezTo>
                <a:cubicBezTo>
                  <a:pt x="640" y="28"/>
                  <a:pt x="640" y="28"/>
                  <a:pt x="640" y="27"/>
                </a:cubicBezTo>
                <a:cubicBezTo>
                  <a:pt x="640" y="28"/>
                  <a:pt x="641" y="28"/>
                  <a:pt x="641" y="28"/>
                </a:cubicBezTo>
                <a:cubicBezTo>
                  <a:pt x="642" y="28"/>
                  <a:pt x="643" y="29"/>
                  <a:pt x="643" y="29"/>
                </a:cubicBezTo>
                <a:cubicBezTo>
                  <a:pt x="644" y="29"/>
                  <a:pt x="644" y="29"/>
                  <a:pt x="644" y="29"/>
                </a:cubicBezTo>
                <a:cubicBezTo>
                  <a:pt x="644" y="29"/>
                  <a:pt x="645" y="29"/>
                  <a:pt x="645" y="29"/>
                </a:cubicBezTo>
                <a:cubicBezTo>
                  <a:pt x="645" y="29"/>
                  <a:pt x="645" y="29"/>
                  <a:pt x="646" y="29"/>
                </a:cubicBezTo>
                <a:cubicBezTo>
                  <a:pt x="646" y="29"/>
                  <a:pt x="647" y="29"/>
                  <a:pt x="648" y="29"/>
                </a:cubicBezTo>
                <a:cubicBezTo>
                  <a:pt x="648" y="29"/>
                  <a:pt x="648" y="29"/>
                  <a:pt x="649" y="29"/>
                </a:cubicBezTo>
                <a:cubicBezTo>
                  <a:pt x="649" y="29"/>
                  <a:pt x="649" y="29"/>
                  <a:pt x="650" y="29"/>
                </a:cubicBezTo>
                <a:cubicBezTo>
                  <a:pt x="650" y="29"/>
                  <a:pt x="651" y="29"/>
                  <a:pt x="651" y="29"/>
                </a:cubicBezTo>
                <a:cubicBezTo>
                  <a:pt x="651" y="29"/>
                  <a:pt x="652" y="28"/>
                  <a:pt x="652" y="28"/>
                </a:cubicBezTo>
                <a:cubicBezTo>
                  <a:pt x="652" y="28"/>
                  <a:pt x="652" y="28"/>
                  <a:pt x="651" y="28"/>
                </a:cubicBezTo>
                <a:cubicBezTo>
                  <a:pt x="651" y="28"/>
                  <a:pt x="650" y="28"/>
                  <a:pt x="650" y="28"/>
                </a:cubicBezTo>
                <a:cubicBezTo>
                  <a:pt x="650" y="28"/>
                  <a:pt x="650" y="28"/>
                  <a:pt x="650" y="28"/>
                </a:cubicBezTo>
                <a:cubicBezTo>
                  <a:pt x="650" y="28"/>
                  <a:pt x="651" y="28"/>
                  <a:pt x="652" y="28"/>
                </a:cubicBezTo>
                <a:cubicBezTo>
                  <a:pt x="652" y="28"/>
                  <a:pt x="653" y="28"/>
                  <a:pt x="653" y="28"/>
                </a:cubicBezTo>
                <a:cubicBezTo>
                  <a:pt x="654" y="28"/>
                  <a:pt x="654" y="28"/>
                  <a:pt x="655" y="28"/>
                </a:cubicBezTo>
                <a:cubicBezTo>
                  <a:pt x="655" y="28"/>
                  <a:pt x="655" y="28"/>
                  <a:pt x="655" y="28"/>
                </a:cubicBezTo>
                <a:cubicBezTo>
                  <a:pt x="655" y="28"/>
                  <a:pt x="655" y="27"/>
                  <a:pt x="656" y="27"/>
                </a:cubicBezTo>
                <a:cubicBezTo>
                  <a:pt x="656" y="27"/>
                  <a:pt x="656" y="27"/>
                  <a:pt x="657" y="28"/>
                </a:cubicBezTo>
                <a:cubicBezTo>
                  <a:pt x="657" y="27"/>
                  <a:pt x="658" y="27"/>
                  <a:pt x="658" y="27"/>
                </a:cubicBezTo>
                <a:cubicBezTo>
                  <a:pt x="659" y="27"/>
                  <a:pt x="659" y="27"/>
                  <a:pt x="660" y="27"/>
                </a:cubicBezTo>
                <a:cubicBezTo>
                  <a:pt x="660" y="27"/>
                  <a:pt x="661" y="26"/>
                  <a:pt x="661" y="26"/>
                </a:cubicBezTo>
                <a:cubicBezTo>
                  <a:pt x="662" y="26"/>
                  <a:pt x="662" y="26"/>
                  <a:pt x="663" y="26"/>
                </a:cubicBezTo>
                <a:cubicBezTo>
                  <a:pt x="664" y="25"/>
                  <a:pt x="665" y="24"/>
                  <a:pt x="666" y="24"/>
                </a:cubicBezTo>
                <a:cubicBezTo>
                  <a:pt x="666" y="24"/>
                  <a:pt x="667" y="24"/>
                  <a:pt x="667" y="23"/>
                </a:cubicBezTo>
                <a:cubicBezTo>
                  <a:pt x="667" y="23"/>
                  <a:pt x="667" y="23"/>
                  <a:pt x="667" y="23"/>
                </a:cubicBezTo>
                <a:cubicBezTo>
                  <a:pt x="667" y="23"/>
                  <a:pt x="667" y="23"/>
                  <a:pt x="668" y="23"/>
                </a:cubicBezTo>
                <a:cubicBezTo>
                  <a:pt x="668" y="23"/>
                  <a:pt x="669" y="23"/>
                  <a:pt x="669" y="23"/>
                </a:cubicBezTo>
                <a:cubicBezTo>
                  <a:pt x="669" y="23"/>
                  <a:pt x="669" y="22"/>
                  <a:pt x="670" y="22"/>
                </a:cubicBezTo>
                <a:cubicBezTo>
                  <a:pt x="670" y="22"/>
                  <a:pt x="671" y="22"/>
                  <a:pt x="672" y="21"/>
                </a:cubicBezTo>
                <a:cubicBezTo>
                  <a:pt x="672" y="21"/>
                  <a:pt x="673" y="20"/>
                  <a:pt x="673" y="19"/>
                </a:cubicBezTo>
                <a:cubicBezTo>
                  <a:pt x="673" y="19"/>
                  <a:pt x="673" y="18"/>
                  <a:pt x="673" y="18"/>
                </a:cubicBezTo>
                <a:cubicBezTo>
                  <a:pt x="673" y="17"/>
                  <a:pt x="673" y="17"/>
                  <a:pt x="673" y="17"/>
                </a:cubicBezTo>
                <a:cubicBezTo>
                  <a:pt x="673" y="16"/>
                  <a:pt x="672" y="16"/>
                  <a:pt x="672" y="16"/>
                </a:cubicBezTo>
                <a:cubicBezTo>
                  <a:pt x="672" y="16"/>
                  <a:pt x="671" y="16"/>
                  <a:pt x="671" y="15"/>
                </a:cubicBezTo>
                <a:cubicBezTo>
                  <a:pt x="670" y="15"/>
                  <a:pt x="670" y="15"/>
                  <a:pt x="670" y="15"/>
                </a:cubicBezTo>
                <a:cubicBezTo>
                  <a:pt x="670" y="16"/>
                  <a:pt x="670" y="16"/>
                  <a:pt x="670" y="16"/>
                </a:cubicBezTo>
                <a:cubicBezTo>
                  <a:pt x="669" y="16"/>
                  <a:pt x="669" y="16"/>
                  <a:pt x="668" y="16"/>
                </a:cubicBezTo>
                <a:cubicBezTo>
                  <a:pt x="668" y="16"/>
                  <a:pt x="668" y="16"/>
                  <a:pt x="668" y="17"/>
                </a:cubicBezTo>
                <a:cubicBezTo>
                  <a:pt x="667" y="17"/>
                  <a:pt x="667" y="17"/>
                  <a:pt x="667" y="17"/>
                </a:cubicBezTo>
                <a:cubicBezTo>
                  <a:pt x="667" y="17"/>
                  <a:pt x="667" y="17"/>
                  <a:pt x="666" y="17"/>
                </a:cubicBezTo>
                <a:cubicBezTo>
                  <a:pt x="667" y="16"/>
                  <a:pt x="667" y="16"/>
                  <a:pt x="668" y="15"/>
                </a:cubicBezTo>
                <a:cubicBezTo>
                  <a:pt x="668" y="15"/>
                  <a:pt x="668" y="15"/>
                  <a:pt x="668" y="15"/>
                </a:cubicBezTo>
                <a:cubicBezTo>
                  <a:pt x="668" y="15"/>
                  <a:pt x="669" y="15"/>
                  <a:pt x="669" y="14"/>
                </a:cubicBezTo>
                <a:cubicBezTo>
                  <a:pt x="669" y="14"/>
                  <a:pt x="669" y="14"/>
                  <a:pt x="669" y="13"/>
                </a:cubicBezTo>
                <a:cubicBezTo>
                  <a:pt x="669" y="13"/>
                  <a:pt x="669" y="13"/>
                  <a:pt x="668" y="13"/>
                </a:cubicBezTo>
                <a:cubicBezTo>
                  <a:pt x="668" y="13"/>
                  <a:pt x="668" y="13"/>
                  <a:pt x="668" y="12"/>
                </a:cubicBezTo>
                <a:cubicBezTo>
                  <a:pt x="668" y="12"/>
                  <a:pt x="668" y="12"/>
                  <a:pt x="669" y="12"/>
                </a:cubicBezTo>
                <a:cubicBezTo>
                  <a:pt x="669" y="12"/>
                  <a:pt x="669" y="11"/>
                  <a:pt x="669" y="10"/>
                </a:cubicBezTo>
                <a:cubicBezTo>
                  <a:pt x="669" y="10"/>
                  <a:pt x="668" y="10"/>
                  <a:pt x="668" y="10"/>
                </a:cubicBezTo>
                <a:cubicBezTo>
                  <a:pt x="668" y="11"/>
                  <a:pt x="667" y="11"/>
                  <a:pt x="667" y="11"/>
                </a:cubicBezTo>
                <a:cubicBezTo>
                  <a:pt x="667" y="11"/>
                  <a:pt x="667" y="11"/>
                  <a:pt x="667" y="11"/>
                </a:cubicBezTo>
                <a:cubicBezTo>
                  <a:pt x="666" y="12"/>
                  <a:pt x="666" y="12"/>
                  <a:pt x="666" y="12"/>
                </a:cubicBezTo>
                <a:cubicBezTo>
                  <a:pt x="666" y="12"/>
                  <a:pt x="665" y="12"/>
                  <a:pt x="665" y="12"/>
                </a:cubicBezTo>
                <a:cubicBezTo>
                  <a:pt x="665" y="12"/>
                  <a:pt x="665" y="12"/>
                  <a:pt x="665" y="12"/>
                </a:cubicBezTo>
                <a:cubicBezTo>
                  <a:pt x="665" y="12"/>
                  <a:pt x="665" y="12"/>
                  <a:pt x="665" y="11"/>
                </a:cubicBezTo>
                <a:cubicBezTo>
                  <a:pt x="665" y="11"/>
                  <a:pt x="665" y="11"/>
                  <a:pt x="665" y="11"/>
                </a:cubicBezTo>
                <a:cubicBezTo>
                  <a:pt x="665" y="11"/>
                  <a:pt x="665" y="10"/>
                  <a:pt x="666" y="10"/>
                </a:cubicBezTo>
                <a:cubicBezTo>
                  <a:pt x="665" y="10"/>
                  <a:pt x="665" y="10"/>
                  <a:pt x="665" y="10"/>
                </a:cubicBezTo>
                <a:cubicBezTo>
                  <a:pt x="665" y="10"/>
                  <a:pt x="664" y="10"/>
                  <a:pt x="664" y="11"/>
                </a:cubicBezTo>
                <a:cubicBezTo>
                  <a:pt x="664" y="11"/>
                  <a:pt x="664" y="11"/>
                  <a:pt x="663" y="12"/>
                </a:cubicBezTo>
                <a:cubicBezTo>
                  <a:pt x="663" y="12"/>
                  <a:pt x="663" y="12"/>
                  <a:pt x="663" y="12"/>
                </a:cubicBezTo>
                <a:cubicBezTo>
                  <a:pt x="663" y="12"/>
                  <a:pt x="662" y="12"/>
                  <a:pt x="662" y="12"/>
                </a:cubicBezTo>
                <a:cubicBezTo>
                  <a:pt x="662" y="11"/>
                  <a:pt x="663" y="11"/>
                  <a:pt x="663" y="11"/>
                </a:cubicBezTo>
                <a:cubicBezTo>
                  <a:pt x="663" y="10"/>
                  <a:pt x="663" y="10"/>
                  <a:pt x="662" y="10"/>
                </a:cubicBezTo>
                <a:cubicBezTo>
                  <a:pt x="662" y="10"/>
                  <a:pt x="661" y="10"/>
                  <a:pt x="661" y="10"/>
                </a:cubicBezTo>
                <a:cubicBezTo>
                  <a:pt x="660" y="11"/>
                  <a:pt x="660" y="11"/>
                  <a:pt x="659" y="11"/>
                </a:cubicBezTo>
                <a:cubicBezTo>
                  <a:pt x="659" y="11"/>
                  <a:pt x="659" y="12"/>
                  <a:pt x="659" y="12"/>
                </a:cubicBezTo>
                <a:cubicBezTo>
                  <a:pt x="658" y="12"/>
                  <a:pt x="658" y="12"/>
                  <a:pt x="657" y="12"/>
                </a:cubicBezTo>
                <a:cubicBezTo>
                  <a:pt x="657" y="12"/>
                  <a:pt x="657" y="12"/>
                  <a:pt x="657" y="12"/>
                </a:cubicBezTo>
                <a:cubicBezTo>
                  <a:pt x="657" y="13"/>
                  <a:pt x="656" y="13"/>
                  <a:pt x="656" y="13"/>
                </a:cubicBezTo>
                <a:cubicBezTo>
                  <a:pt x="656" y="13"/>
                  <a:pt x="656" y="13"/>
                  <a:pt x="655" y="13"/>
                </a:cubicBezTo>
                <a:cubicBezTo>
                  <a:pt x="655" y="13"/>
                  <a:pt x="655" y="13"/>
                  <a:pt x="654" y="13"/>
                </a:cubicBezTo>
                <a:cubicBezTo>
                  <a:pt x="654" y="13"/>
                  <a:pt x="653" y="13"/>
                  <a:pt x="652" y="13"/>
                </a:cubicBezTo>
                <a:cubicBezTo>
                  <a:pt x="651" y="13"/>
                  <a:pt x="650" y="14"/>
                  <a:pt x="649" y="14"/>
                </a:cubicBezTo>
                <a:cubicBezTo>
                  <a:pt x="650" y="14"/>
                  <a:pt x="650" y="13"/>
                  <a:pt x="651" y="13"/>
                </a:cubicBezTo>
                <a:cubicBezTo>
                  <a:pt x="651" y="13"/>
                  <a:pt x="651" y="13"/>
                  <a:pt x="652" y="13"/>
                </a:cubicBezTo>
                <a:cubicBezTo>
                  <a:pt x="652" y="13"/>
                  <a:pt x="652" y="13"/>
                  <a:pt x="653" y="13"/>
                </a:cubicBezTo>
                <a:cubicBezTo>
                  <a:pt x="653" y="13"/>
                  <a:pt x="653" y="13"/>
                  <a:pt x="654" y="13"/>
                </a:cubicBezTo>
                <a:cubicBezTo>
                  <a:pt x="654" y="12"/>
                  <a:pt x="655" y="12"/>
                  <a:pt x="655" y="12"/>
                </a:cubicBezTo>
                <a:cubicBezTo>
                  <a:pt x="656" y="12"/>
                  <a:pt x="656" y="12"/>
                  <a:pt x="657" y="12"/>
                </a:cubicBezTo>
                <a:cubicBezTo>
                  <a:pt x="657" y="11"/>
                  <a:pt x="657" y="11"/>
                  <a:pt x="658" y="10"/>
                </a:cubicBezTo>
                <a:cubicBezTo>
                  <a:pt x="658" y="10"/>
                  <a:pt x="659" y="10"/>
                  <a:pt x="660" y="10"/>
                </a:cubicBezTo>
                <a:cubicBezTo>
                  <a:pt x="660" y="9"/>
                  <a:pt x="660" y="9"/>
                  <a:pt x="660" y="9"/>
                </a:cubicBezTo>
                <a:cubicBezTo>
                  <a:pt x="660" y="9"/>
                  <a:pt x="660" y="9"/>
                  <a:pt x="660" y="9"/>
                </a:cubicBezTo>
                <a:cubicBezTo>
                  <a:pt x="660" y="9"/>
                  <a:pt x="659" y="9"/>
                  <a:pt x="659" y="9"/>
                </a:cubicBezTo>
                <a:cubicBezTo>
                  <a:pt x="658" y="9"/>
                  <a:pt x="657" y="9"/>
                  <a:pt x="657" y="8"/>
                </a:cubicBezTo>
                <a:cubicBezTo>
                  <a:pt x="656" y="8"/>
                  <a:pt x="656" y="8"/>
                  <a:pt x="656" y="8"/>
                </a:cubicBezTo>
                <a:cubicBezTo>
                  <a:pt x="656" y="8"/>
                  <a:pt x="656" y="8"/>
                  <a:pt x="656" y="8"/>
                </a:cubicBezTo>
                <a:cubicBezTo>
                  <a:pt x="655" y="8"/>
                  <a:pt x="655" y="8"/>
                  <a:pt x="654" y="9"/>
                </a:cubicBezTo>
                <a:cubicBezTo>
                  <a:pt x="654" y="9"/>
                  <a:pt x="654" y="9"/>
                  <a:pt x="654" y="9"/>
                </a:cubicBezTo>
                <a:cubicBezTo>
                  <a:pt x="654" y="9"/>
                  <a:pt x="653" y="9"/>
                  <a:pt x="653" y="9"/>
                </a:cubicBezTo>
                <a:cubicBezTo>
                  <a:pt x="653" y="9"/>
                  <a:pt x="653" y="9"/>
                  <a:pt x="653" y="8"/>
                </a:cubicBezTo>
                <a:cubicBezTo>
                  <a:pt x="653" y="8"/>
                  <a:pt x="653" y="8"/>
                  <a:pt x="653" y="8"/>
                </a:cubicBezTo>
                <a:cubicBezTo>
                  <a:pt x="653" y="8"/>
                  <a:pt x="653" y="8"/>
                  <a:pt x="653" y="7"/>
                </a:cubicBezTo>
                <a:cubicBezTo>
                  <a:pt x="653" y="8"/>
                  <a:pt x="652" y="8"/>
                  <a:pt x="651" y="8"/>
                </a:cubicBezTo>
                <a:cubicBezTo>
                  <a:pt x="651" y="8"/>
                  <a:pt x="651" y="8"/>
                  <a:pt x="651" y="9"/>
                </a:cubicBezTo>
                <a:cubicBezTo>
                  <a:pt x="650" y="8"/>
                  <a:pt x="650" y="8"/>
                  <a:pt x="650" y="8"/>
                </a:cubicBezTo>
                <a:cubicBezTo>
                  <a:pt x="650" y="8"/>
                  <a:pt x="650" y="8"/>
                  <a:pt x="650" y="8"/>
                </a:cubicBezTo>
                <a:cubicBezTo>
                  <a:pt x="649" y="8"/>
                  <a:pt x="649" y="8"/>
                  <a:pt x="648" y="8"/>
                </a:cubicBezTo>
                <a:cubicBezTo>
                  <a:pt x="648" y="8"/>
                  <a:pt x="648" y="8"/>
                  <a:pt x="648" y="9"/>
                </a:cubicBezTo>
                <a:cubicBezTo>
                  <a:pt x="648" y="9"/>
                  <a:pt x="647" y="8"/>
                  <a:pt x="647" y="8"/>
                </a:cubicBezTo>
                <a:cubicBezTo>
                  <a:pt x="647" y="8"/>
                  <a:pt x="648" y="8"/>
                  <a:pt x="648" y="8"/>
                </a:cubicBezTo>
                <a:cubicBezTo>
                  <a:pt x="648" y="8"/>
                  <a:pt x="648" y="7"/>
                  <a:pt x="647" y="7"/>
                </a:cubicBezTo>
                <a:cubicBezTo>
                  <a:pt x="648" y="7"/>
                  <a:pt x="648" y="7"/>
                  <a:pt x="648" y="7"/>
                </a:cubicBezTo>
                <a:cubicBezTo>
                  <a:pt x="648" y="7"/>
                  <a:pt x="648" y="7"/>
                  <a:pt x="649" y="7"/>
                </a:cubicBezTo>
                <a:cubicBezTo>
                  <a:pt x="648" y="6"/>
                  <a:pt x="648" y="6"/>
                  <a:pt x="648" y="6"/>
                </a:cubicBezTo>
                <a:cubicBezTo>
                  <a:pt x="647" y="6"/>
                  <a:pt x="646" y="6"/>
                  <a:pt x="645" y="6"/>
                </a:cubicBezTo>
                <a:cubicBezTo>
                  <a:pt x="645" y="6"/>
                  <a:pt x="644" y="6"/>
                  <a:pt x="643" y="6"/>
                </a:cubicBezTo>
                <a:cubicBezTo>
                  <a:pt x="643" y="6"/>
                  <a:pt x="643" y="6"/>
                  <a:pt x="642" y="6"/>
                </a:cubicBezTo>
                <a:cubicBezTo>
                  <a:pt x="642" y="7"/>
                  <a:pt x="641" y="7"/>
                  <a:pt x="641" y="7"/>
                </a:cubicBezTo>
                <a:cubicBezTo>
                  <a:pt x="641" y="7"/>
                  <a:pt x="641" y="8"/>
                  <a:pt x="641" y="8"/>
                </a:cubicBezTo>
                <a:cubicBezTo>
                  <a:pt x="641" y="8"/>
                  <a:pt x="640" y="8"/>
                  <a:pt x="640" y="8"/>
                </a:cubicBezTo>
                <a:cubicBezTo>
                  <a:pt x="640" y="8"/>
                  <a:pt x="640" y="8"/>
                  <a:pt x="639" y="8"/>
                </a:cubicBezTo>
                <a:cubicBezTo>
                  <a:pt x="640" y="7"/>
                  <a:pt x="640" y="7"/>
                  <a:pt x="641" y="7"/>
                </a:cubicBezTo>
                <a:cubicBezTo>
                  <a:pt x="641" y="6"/>
                  <a:pt x="641" y="6"/>
                  <a:pt x="641" y="6"/>
                </a:cubicBezTo>
                <a:cubicBezTo>
                  <a:pt x="640" y="6"/>
                  <a:pt x="640" y="6"/>
                  <a:pt x="639" y="6"/>
                </a:cubicBezTo>
                <a:cubicBezTo>
                  <a:pt x="639" y="6"/>
                  <a:pt x="638" y="6"/>
                  <a:pt x="638" y="6"/>
                </a:cubicBezTo>
                <a:cubicBezTo>
                  <a:pt x="637" y="6"/>
                  <a:pt x="637" y="6"/>
                  <a:pt x="636" y="6"/>
                </a:cubicBezTo>
                <a:cubicBezTo>
                  <a:pt x="636" y="7"/>
                  <a:pt x="636" y="7"/>
                  <a:pt x="636" y="7"/>
                </a:cubicBezTo>
                <a:cubicBezTo>
                  <a:pt x="635" y="7"/>
                  <a:pt x="634" y="8"/>
                  <a:pt x="634" y="8"/>
                </a:cubicBezTo>
                <a:cubicBezTo>
                  <a:pt x="633" y="8"/>
                  <a:pt x="633" y="9"/>
                  <a:pt x="633" y="9"/>
                </a:cubicBezTo>
                <a:cubicBezTo>
                  <a:pt x="632" y="9"/>
                  <a:pt x="632" y="9"/>
                  <a:pt x="632" y="9"/>
                </a:cubicBezTo>
                <a:cubicBezTo>
                  <a:pt x="632" y="9"/>
                  <a:pt x="631" y="9"/>
                  <a:pt x="631" y="9"/>
                </a:cubicBezTo>
                <a:cubicBezTo>
                  <a:pt x="632" y="9"/>
                  <a:pt x="632" y="8"/>
                  <a:pt x="632" y="8"/>
                </a:cubicBezTo>
                <a:cubicBezTo>
                  <a:pt x="632" y="8"/>
                  <a:pt x="632" y="8"/>
                  <a:pt x="632" y="7"/>
                </a:cubicBezTo>
                <a:cubicBezTo>
                  <a:pt x="631" y="7"/>
                  <a:pt x="631" y="7"/>
                  <a:pt x="631" y="7"/>
                </a:cubicBezTo>
                <a:cubicBezTo>
                  <a:pt x="631" y="7"/>
                  <a:pt x="631" y="7"/>
                  <a:pt x="631" y="6"/>
                </a:cubicBezTo>
                <a:cubicBezTo>
                  <a:pt x="630" y="6"/>
                  <a:pt x="630" y="6"/>
                  <a:pt x="629" y="6"/>
                </a:cubicBezTo>
                <a:cubicBezTo>
                  <a:pt x="628" y="6"/>
                  <a:pt x="628" y="6"/>
                  <a:pt x="628" y="7"/>
                </a:cubicBezTo>
                <a:cubicBezTo>
                  <a:pt x="627" y="7"/>
                  <a:pt x="626" y="7"/>
                  <a:pt x="626" y="7"/>
                </a:cubicBezTo>
                <a:cubicBezTo>
                  <a:pt x="626" y="6"/>
                  <a:pt x="625" y="6"/>
                  <a:pt x="625" y="6"/>
                </a:cubicBezTo>
                <a:cubicBezTo>
                  <a:pt x="625" y="6"/>
                  <a:pt x="624" y="6"/>
                  <a:pt x="624" y="6"/>
                </a:cubicBezTo>
                <a:cubicBezTo>
                  <a:pt x="623" y="6"/>
                  <a:pt x="623" y="6"/>
                  <a:pt x="622" y="7"/>
                </a:cubicBezTo>
                <a:cubicBezTo>
                  <a:pt x="622" y="7"/>
                  <a:pt x="621" y="7"/>
                  <a:pt x="621" y="7"/>
                </a:cubicBezTo>
                <a:cubicBezTo>
                  <a:pt x="621" y="7"/>
                  <a:pt x="620" y="7"/>
                  <a:pt x="620" y="7"/>
                </a:cubicBezTo>
                <a:cubicBezTo>
                  <a:pt x="620" y="7"/>
                  <a:pt x="620" y="7"/>
                  <a:pt x="619" y="6"/>
                </a:cubicBezTo>
                <a:cubicBezTo>
                  <a:pt x="619" y="7"/>
                  <a:pt x="619" y="7"/>
                  <a:pt x="618" y="7"/>
                </a:cubicBezTo>
                <a:cubicBezTo>
                  <a:pt x="618" y="7"/>
                  <a:pt x="618" y="8"/>
                  <a:pt x="618" y="8"/>
                </a:cubicBezTo>
                <a:cubicBezTo>
                  <a:pt x="619" y="8"/>
                  <a:pt x="619" y="9"/>
                  <a:pt x="620" y="9"/>
                </a:cubicBezTo>
                <a:cubicBezTo>
                  <a:pt x="619" y="10"/>
                  <a:pt x="619" y="10"/>
                  <a:pt x="619" y="11"/>
                </a:cubicBezTo>
                <a:cubicBezTo>
                  <a:pt x="619" y="11"/>
                  <a:pt x="619" y="11"/>
                  <a:pt x="619" y="12"/>
                </a:cubicBezTo>
                <a:cubicBezTo>
                  <a:pt x="619" y="12"/>
                  <a:pt x="619" y="12"/>
                  <a:pt x="619" y="12"/>
                </a:cubicBezTo>
                <a:cubicBezTo>
                  <a:pt x="618" y="12"/>
                  <a:pt x="618" y="12"/>
                  <a:pt x="618" y="12"/>
                </a:cubicBezTo>
                <a:cubicBezTo>
                  <a:pt x="617" y="12"/>
                  <a:pt x="617" y="12"/>
                  <a:pt x="617" y="12"/>
                </a:cubicBezTo>
                <a:cubicBezTo>
                  <a:pt x="616" y="12"/>
                  <a:pt x="616" y="12"/>
                  <a:pt x="616" y="12"/>
                </a:cubicBezTo>
                <a:cubicBezTo>
                  <a:pt x="616" y="12"/>
                  <a:pt x="616" y="12"/>
                  <a:pt x="617" y="12"/>
                </a:cubicBezTo>
                <a:cubicBezTo>
                  <a:pt x="616" y="11"/>
                  <a:pt x="616" y="11"/>
                  <a:pt x="616" y="10"/>
                </a:cubicBezTo>
                <a:cubicBezTo>
                  <a:pt x="616" y="10"/>
                  <a:pt x="616" y="10"/>
                  <a:pt x="616" y="10"/>
                </a:cubicBezTo>
                <a:cubicBezTo>
                  <a:pt x="616" y="9"/>
                  <a:pt x="616" y="9"/>
                  <a:pt x="616" y="9"/>
                </a:cubicBezTo>
                <a:cubicBezTo>
                  <a:pt x="616" y="9"/>
                  <a:pt x="616" y="9"/>
                  <a:pt x="616" y="9"/>
                </a:cubicBezTo>
                <a:cubicBezTo>
                  <a:pt x="615" y="9"/>
                  <a:pt x="615" y="9"/>
                  <a:pt x="614" y="10"/>
                </a:cubicBezTo>
                <a:cubicBezTo>
                  <a:pt x="614" y="10"/>
                  <a:pt x="614" y="10"/>
                  <a:pt x="614" y="10"/>
                </a:cubicBezTo>
                <a:cubicBezTo>
                  <a:pt x="614" y="10"/>
                  <a:pt x="614" y="10"/>
                  <a:pt x="613" y="10"/>
                </a:cubicBezTo>
                <a:cubicBezTo>
                  <a:pt x="613" y="10"/>
                  <a:pt x="613" y="10"/>
                  <a:pt x="613" y="10"/>
                </a:cubicBezTo>
                <a:cubicBezTo>
                  <a:pt x="613" y="10"/>
                  <a:pt x="613" y="9"/>
                  <a:pt x="613" y="9"/>
                </a:cubicBezTo>
                <a:cubicBezTo>
                  <a:pt x="613" y="9"/>
                  <a:pt x="613" y="9"/>
                  <a:pt x="613" y="9"/>
                </a:cubicBezTo>
                <a:cubicBezTo>
                  <a:pt x="612" y="9"/>
                  <a:pt x="612" y="9"/>
                  <a:pt x="612" y="9"/>
                </a:cubicBezTo>
                <a:cubicBezTo>
                  <a:pt x="612" y="9"/>
                  <a:pt x="612" y="10"/>
                  <a:pt x="611" y="10"/>
                </a:cubicBezTo>
                <a:cubicBezTo>
                  <a:pt x="611" y="10"/>
                  <a:pt x="611" y="10"/>
                  <a:pt x="611" y="10"/>
                </a:cubicBezTo>
                <a:cubicBezTo>
                  <a:pt x="610" y="10"/>
                  <a:pt x="610" y="10"/>
                  <a:pt x="610" y="10"/>
                </a:cubicBezTo>
                <a:cubicBezTo>
                  <a:pt x="610" y="10"/>
                  <a:pt x="611" y="9"/>
                  <a:pt x="611" y="9"/>
                </a:cubicBezTo>
                <a:cubicBezTo>
                  <a:pt x="611" y="9"/>
                  <a:pt x="611" y="9"/>
                  <a:pt x="611" y="8"/>
                </a:cubicBezTo>
                <a:cubicBezTo>
                  <a:pt x="610" y="8"/>
                  <a:pt x="610" y="8"/>
                  <a:pt x="610" y="8"/>
                </a:cubicBezTo>
                <a:cubicBezTo>
                  <a:pt x="609" y="8"/>
                  <a:pt x="608" y="8"/>
                  <a:pt x="607" y="8"/>
                </a:cubicBezTo>
                <a:cubicBezTo>
                  <a:pt x="607" y="9"/>
                  <a:pt x="607" y="9"/>
                  <a:pt x="606" y="9"/>
                </a:cubicBezTo>
                <a:cubicBezTo>
                  <a:pt x="606" y="9"/>
                  <a:pt x="606" y="9"/>
                  <a:pt x="605" y="9"/>
                </a:cubicBezTo>
                <a:cubicBezTo>
                  <a:pt x="605" y="9"/>
                  <a:pt x="605" y="10"/>
                  <a:pt x="604" y="10"/>
                </a:cubicBezTo>
                <a:cubicBezTo>
                  <a:pt x="605" y="10"/>
                  <a:pt x="605" y="10"/>
                  <a:pt x="605" y="10"/>
                </a:cubicBezTo>
                <a:cubicBezTo>
                  <a:pt x="606" y="10"/>
                  <a:pt x="606" y="10"/>
                  <a:pt x="606" y="10"/>
                </a:cubicBezTo>
                <a:cubicBezTo>
                  <a:pt x="607" y="10"/>
                  <a:pt x="607" y="10"/>
                  <a:pt x="607" y="10"/>
                </a:cubicBezTo>
                <a:cubicBezTo>
                  <a:pt x="607" y="10"/>
                  <a:pt x="606" y="11"/>
                  <a:pt x="606" y="11"/>
                </a:cubicBezTo>
                <a:cubicBezTo>
                  <a:pt x="605" y="11"/>
                  <a:pt x="605" y="11"/>
                  <a:pt x="605" y="11"/>
                </a:cubicBezTo>
                <a:cubicBezTo>
                  <a:pt x="605" y="11"/>
                  <a:pt x="606" y="11"/>
                  <a:pt x="606" y="11"/>
                </a:cubicBezTo>
                <a:cubicBezTo>
                  <a:pt x="606" y="12"/>
                  <a:pt x="607" y="12"/>
                  <a:pt x="607" y="12"/>
                </a:cubicBezTo>
                <a:cubicBezTo>
                  <a:pt x="607" y="12"/>
                  <a:pt x="607" y="12"/>
                  <a:pt x="607" y="12"/>
                </a:cubicBezTo>
                <a:cubicBezTo>
                  <a:pt x="607" y="12"/>
                  <a:pt x="607" y="13"/>
                  <a:pt x="607" y="13"/>
                </a:cubicBezTo>
                <a:cubicBezTo>
                  <a:pt x="607" y="13"/>
                  <a:pt x="608" y="13"/>
                  <a:pt x="608" y="13"/>
                </a:cubicBezTo>
                <a:cubicBezTo>
                  <a:pt x="608" y="13"/>
                  <a:pt x="609" y="13"/>
                  <a:pt x="609" y="13"/>
                </a:cubicBezTo>
                <a:cubicBezTo>
                  <a:pt x="609" y="13"/>
                  <a:pt x="609" y="14"/>
                  <a:pt x="609" y="14"/>
                </a:cubicBezTo>
                <a:cubicBezTo>
                  <a:pt x="609" y="14"/>
                  <a:pt x="608" y="14"/>
                  <a:pt x="608" y="14"/>
                </a:cubicBezTo>
                <a:cubicBezTo>
                  <a:pt x="608" y="14"/>
                  <a:pt x="608" y="14"/>
                  <a:pt x="608" y="14"/>
                </a:cubicBezTo>
                <a:cubicBezTo>
                  <a:pt x="607" y="14"/>
                  <a:pt x="606" y="13"/>
                  <a:pt x="605" y="13"/>
                </a:cubicBezTo>
                <a:cubicBezTo>
                  <a:pt x="605" y="13"/>
                  <a:pt x="605" y="13"/>
                  <a:pt x="605" y="13"/>
                </a:cubicBezTo>
                <a:cubicBezTo>
                  <a:pt x="605" y="13"/>
                  <a:pt x="605" y="14"/>
                  <a:pt x="605" y="14"/>
                </a:cubicBezTo>
                <a:cubicBezTo>
                  <a:pt x="605" y="14"/>
                  <a:pt x="605" y="14"/>
                  <a:pt x="605" y="14"/>
                </a:cubicBezTo>
                <a:cubicBezTo>
                  <a:pt x="605" y="14"/>
                  <a:pt x="604" y="14"/>
                  <a:pt x="604" y="14"/>
                </a:cubicBezTo>
                <a:cubicBezTo>
                  <a:pt x="604" y="14"/>
                  <a:pt x="604" y="14"/>
                  <a:pt x="604" y="13"/>
                </a:cubicBezTo>
                <a:cubicBezTo>
                  <a:pt x="604" y="13"/>
                  <a:pt x="604" y="13"/>
                  <a:pt x="604" y="12"/>
                </a:cubicBezTo>
                <a:cubicBezTo>
                  <a:pt x="604" y="12"/>
                  <a:pt x="603" y="12"/>
                  <a:pt x="603" y="12"/>
                </a:cubicBezTo>
                <a:cubicBezTo>
                  <a:pt x="603" y="11"/>
                  <a:pt x="603" y="11"/>
                  <a:pt x="603" y="11"/>
                </a:cubicBezTo>
                <a:cubicBezTo>
                  <a:pt x="603" y="11"/>
                  <a:pt x="602" y="11"/>
                  <a:pt x="602" y="11"/>
                </a:cubicBezTo>
                <a:cubicBezTo>
                  <a:pt x="602" y="11"/>
                  <a:pt x="602" y="11"/>
                  <a:pt x="601" y="11"/>
                </a:cubicBezTo>
                <a:cubicBezTo>
                  <a:pt x="601" y="11"/>
                  <a:pt x="601" y="10"/>
                  <a:pt x="600" y="10"/>
                </a:cubicBezTo>
                <a:cubicBezTo>
                  <a:pt x="600" y="10"/>
                  <a:pt x="600" y="10"/>
                  <a:pt x="599" y="10"/>
                </a:cubicBezTo>
                <a:cubicBezTo>
                  <a:pt x="599" y="11"/>
                  <a:pt x="599" y="11"/>
                  <a:pt x="599" y="11"/>
                </a:cubicBezTo>
                <a:cubicBezTo>
                  <a:pt x="599" y="12"/>
                  <a:pt x="599" y="12"/>
                  <a:pt x="599" y="12"/>
                </a:cubicBezTo>
                <a:cubicBezTo>
                  <a:pt x="599" y="13"/>
                  <a:pt x="599" y="13"/>
                  <a:pt x="599" y="14"/>
                </a:cubicBezTo>
                <a:cubicBezTo>
                  <a:pt x="600" y="14"/>
                  <a:pt x="600" y="14"/>
                  <a:pt x="600" y="15"/>
                </a:cubicBezTo>
                <a:cubicBezTo>
                  <a:pt x="600" y="15"/>
                  <a:pt x="600" y="15"/>
                  <a:pt x="601" y="16"/>
                </a:cubicBezTo>
                <a:cubicBezTo>
                  <a:pt x="601" y="16"/>
                  <a:pt x="601" y="16"/>
                  <a:pt x="601" y="16"/>
                </a:cubicBezTo>
                <a:cubicBezTo>
                  <a:pt x="601" y="16"/>
                  <a:pt x="601" y="17"/>
                  <a:pt x="601" y="17"/>
                </a:cubicBezTo>
                <a:cubicBezTo>
                  <a:pt x="601" y="17"/>
                  <a:pt x="601" y="17"/>
                  <a:pt x="600" y="17"/>
                </a:cubicBezTo>
                <a:cubicBezTo>
                  <a:pt x="600" y="17"/>
                  <a:pt x="600" y="17"/>
                  <a:pt x="600" y="17"/>
                </a:cubicBezTo>
                <a:cubicBezTo>
                  <a:pt x="600" y="16"/>
                  <a:pt x="599" y="16"/>
                  <a:pt x="599" y="16"/>
                </a:cubicBezTo>
                <a:cubicBezTo>
                  <a:pt x="599" y="16"/>
                  <a:pt x="599" y="16"/>
                  <a:pt x="599" y="15"/>
                </a:cubicBezTo>
                <a:cubicBezTo>
                  <a:pt x="599" y="15"/>
                  <a:pt x="599" y="15"/>
                  <a:pt x="599" y="15"/>
                </a:cubicBezTo>
                <a:cubicBezTo>
                  <a:pt x="598" y="14"/>
                  <a:pt x="598" y="14"/>
                  <a:pt x="598" y="14"/>
                </a:cubicBezTo>
                <a:cubicBezTo>
                  <a:pt x="598" y="14"/>
                  <a:pt x="598" y="13"/>
                  <a:pt x="598" y="13"/>
                </a:cubicBezTo>
                <a:cubicBezTo>
                  <a:pt x="597" y="13"/>
                  <a:pt x="596" y="13"/>
                  <a:pt x="595" y="12"/>
                </a:cubicBezTo>
                <a:cubicBezTo>
                  <a:pt x="595" y="13"/>
                  <a:pt x="595" y="13"/>
                  <a:pt x="594" y="13"/>
                </a:cubicBezTo>
                <a:cubicBezTo>
                  <a:pt x="594" y="13"/>
                  <a:pt x="594" y="13"/>
                  <a:pt x="594" y="13"/>
                </a:cubicBezTo>
                <a:cubicBezTo>
                  <a:pt x="594" y="14"/>
                  <a:pt x="594" y="14"/>
                  <a:pt x="594" y="14"/>
                </a:cubicBezTo>
                <a:cubicBezTo>
                  <a:pt x="594" y="14"/>
                  <a:pt x="594" y="14"/>
                  <a:pt x="594" y="15"/>
                </a:cubicBezTo>
                <a:cubicBezTo>
                  <a:pt x="595" y="15"/>
                  <a:pt x="596" y="15"/>
                  <a:pt x="597" y="15"/>
                </a:cubicBezTo>
                <a:cubicBezTo>
                  <a:pt x="597" y="15"/>
                  <a:pt x="597" y="16"/>
                  <a:pt x="597" y="16"/>
                </a:cubicBezTo>
                <a:cubicBezTo>
                  <a:pt x="596" y="16"/>
                  <a:pt x="595" y="16"/>
                  <a:pt x="595" y="16"/>
                </a:cubicBezTo>
                <a:cubicBezTo>
                  <a:pt x="594" y="16"/>
                  <a:pt x="594" y="16"/>
                  <a:pt x="594" y="16"/>
                </a:cubicBezTo>
                <a:cubicBezTo>
                  <a:pt x="594" y="16"/>
                  <a:pt x="593" y="16"/>
                  <a:pt x="593" y="16"/>
                </a:cubicBezTo>
                <a:cubicBezTo>
                  <a:pt x="593" y="16"/>
                  <a:pt x="593" y="16"/>
                  <a:pt x="592" y="17"/>
                </a:cubicBezTo>
                <a:cubicBezTo>
                  <a:pt x="593" y="17"/>
                  <a:pt x="593" y="17"/>
                  <a:pt x="593" y="18"/>
                </a:cubicBezTo>
                <a:cubicBezTo>
                  <a:pt x="593" y="18"/>
                  <a:pt x="593" y="18"/>
                  <a:pt x="593" y="18"/>
                </a:cubicBezTo>
                <a:cubicBezTo>
                  <a:pt x="593" y="18"/>
                  <a:pt x="592" y="19"/>
                  <a:pt x="592" y="19"/>
                </a:cubicBezTo>
                <a:cubicBezTo>
                  <a:pt x="592" y="19"/>
                  <a:pt x="592" y="19"/>
                  <a:pt x="592" y="19"/>
                </a:cubicBezTo>
                <a:cubicBezTo>
                  <a:pt x="591" y="20"/>
                  <a:pt x="591" y="20"/>
                  <a:pt x="591" y="20"/>
                </a:cubicBezTo>
                <a:cubicBezTo>
                  <a:pt x="590" y="20"/>
                  <a:pt x="590" y="20"/>
                  <a:pt x="590" y="20"/>
                </a:cubicBezTo>
                <a:cubicBezTo>
                  <a:pt x="590" y="19"/>
                  <a:pt x="590" y="19"/>
                  <a:pt x="590" y="19"/>
                </a:cubicBezTo>
                <a:cubicBezTo>
                  <a:pt x="590" y="19"/>
                  <a:pt x="590" y="19"/>
                  <a:pt x="589" y="19"/>
                </a:cubicBezTo>
                <a:cubicBezTo>
                  <a:pt x="589" y="19"/>
                  <a:pt x="589" y="20"/>
                  <a:pt x="589" y="20"/>
                </a:cubicBezTo>
                <a:cubicBezTo>
                  <a:pt x="588" y="20"/>
                  <a:pt x="588" y="20"/>
                  <a:pt x="588" y="20"/>
                </a:cubicBezTo>
                <a:cubicBezTo>
                  <a:pt x="588" y="20"/>
                  <a:pt x="587" y="19"/>
                  <a:pt x="587" y="19"/>
                </a:cubicBezTo>
                <a:cubicBezTo>
                  <a:pt x="587" y="19"/>
                  <a:pt x="587" y="18"/>
                  <a:pt x="588" y="18"/>
                </a:cubicBezTo>
                <a:cubicBezTo>
                  <a:pt x="587" y="18"/>
                  <a:pt x="587" y="18"/>
                  <a:pt x="587" y="17"/>
                </a:cubicBezTo>
                <a:cubicBezTo>
                  <a:pt x="587" y="17"/>
                  <a:pt x="586" y="17"/>
                  <a:pt x="585" y="17"/>
                </a:cubicBezTo>
                <a:cubicBezTo>
                  <a:pt x="585" y="17"/>
                  <a:pt x="585" y="17"/>
                  <a:pt x="585" y="17"/>
                </a:cubicBezTo>
                <a:cubicBezTo>
                  <a:pt x="585" y="17"/>
                  <a:pt x="585" y="17"/>
                  <a:pt x="585" y="16"/>
                </a:cubicBezTo>
                <a:cubicBezTo>
                  <a:pt x="585" y="16"/>
                  <a:pt x="585" y="16"/>
                  <a:pt x="585" y="16"/>
                </a:cubicBezTo>
                <a:cubicBezTo>
                  <a:pt x="585" y="16"/>
                  <a:pt x="585" y="16"/>
                  <a:pt x="584" y="16"/>
                </a:cubicBezTo>
                <a:cubicBezTo>
                  <a:pt x="584" y="16"/>
                  <a:pt x="583" y="16"/>
                  <a:pt x="582" y="16"/>
                </a:cubicBezTo>
                <a:cubicBezTo>
                  <a:pt x="582" y="16"/>
                  <a:pt x="582" y="16"/>
                  <a:pt x="582" y="16"/>
                </a:cubicBezTo>
                <a:cubicBezTo>
                  <a:pt x="581" y="16"/>
                  <a:pt x="581" y="16"/>
                  <a:pt x="580" y="16"/>
                </a:cubicBezTo>
                <a:cubicBezTo>
                  <a:pt x="580" y="16"/>
                  <a:pt x="580" y="17"/>
                  <a:pt x="580" y="17"/>
                </a:cubicBezTo>
                <a:cubicBezTo>
                  <a:pt x="580" y="17"/>
                  <a:pt x="581" y="17"/>
                  <a:pt x="581" y="17"/>
                </a:cubicBezTo>
                <a:cubicBezTo>
                  <a:pt x="581" y="18"/>
                  <a:pt x="581" y="18"/>
                  <a:pt x="581" y="19"/>
                </a:cubicBezTo>
                <a:cubicBezTo>
                  <a:pt x="581" y="19"/>
                  <a:pt x="581" y="19"/>
                  <a:pt x="581" y="19"/>
                </a:cubicBezTo>
                <a:cubicBezTo>
                  <a:pt x="580" y="19"/>
                  <a:pt x="580" y="19"/>
                  <a:pt x="579" y="19"/>
                </a:cubicBezTo>
                <a:cubicBezTo>
                  <a:pt x="579" y="19"/>
                  <a:pt x="579" y="19"/>
                  <a:pt x="578" y="19"/>
                </a:cubicBezTo>
                <a:cubicBezTo>
                  <a:pt x="578" y="19"/>
                  <a:pt x="578" y="19"/>
                  <a:pt x="577" y="19"/>
                </a:cubicBezTo>
                <a:cubicBezTo>
                  <a:pt x="577" y="19"/>
                  <a:pt x="576" y="19"/>
                  <a:pt x="576" y="19"/>
                </a:cubicBezTo>
                <a:cubicBezTo>
                  <a:pt x="576" y="20"/>
                  <a:pt x="576" y="20"/>
                  <a:pt x="576" y="20"/>
                </a:cubicBezTo>
                <a:cubicBezTo>
                  <a:pt x="576" y="20"/>
                  <a:pt x="576" y="20"/>
                  <a:pt x="577" y="20"/>
                </a:cubicBezTo>
                <a:cubicBezTo>
                  <a:pt x="577" y="21"/>
                  <a:pt x="577" y="21"/>
                  <a:pt x="577" y="21"/>
                </a:cubicBezTo>
                <a:cubicBezTo>
                  <a:pt x="578" y="21"/>
                  <a:pt x="578" y="21"/>
                  <a:pt x="578" y="21"/>
                </a:cubicBezTo>
                <a:cubicBezTo>
                  <a:pt x="578" y="22"/>
                  <a:pt x="578" y="22"/>
                  <a:pt x="578" y="22"/>
                </a:cubicBezTo>
                <a:cubicBezTo>
                  <a:pt x="579" y="22"/>
                  <a:pt x="579" y="22"/>
                  <a:pt x="579" y="23"/>
                </a:cubicBezTo>
                <a:cubicBezTo>
                  <a:pt x="579" y="23"/>
                  <a:pt x="579" y="22"/>
                  <a:pt x="580" y="22"/>
                </a:cubicBezTo>
                <a:cubicBezTo>
                  <a:pt x="580" y="23"/>
                  <a:pt x="580" y="23"/>
                  <a:pt x="581" y="23"/>
                </a:cubicBezTo>
                <a:cubicBezTo>
                  <a:pt x="581" y="24"/>
                  <a:pt x="581" y="24"/>
                  <a:pt x="581" y="24"/>
                </a:cubicBezTo>
                <a:cubicBezTo>
                  <a:pt x="581" y="24"/>
                  <a:pt x="581" y="24"/>
                  <a:pt x="581" y="25"/>
                </a:cubicBezTo>
                <a:cubicBezTo>
                  <a:pt x="581" y="24"/>
                  <a:pt x="581" y="24"/>
                  <a:pt x="581" y="24"/>
                </a:cubicBezTo>
                <a:cubicBezTo>
                  <a:pt x="580" y="24"/>
                  <a:pt x="580" y="24"/>
                  <a:pt x="580" y="24"/>
                </a:cubicBezTo>
                <a:cubicBezTo>
                  <a:pt x="580" y="24"/>
                  <a:pt x="579" y="25"/>
                  <a:pt x="579" y="25"/>
                </a:cubicBezTo>
                <a:cubicBezTo>
                  <a:pt x="579" y="25"/>
                  <a:pt x="579" y="25"/>
                  <a:pt x="579" y="25"/>
                </a:cubicBezTo>
                <a:cubicBezTo>
                  <a:pt x="578" y="24"/>
                  <a:pt x="578" y="24"/>
                  <a:pt x="578" y="24"/>
                </a:cubicBezTo>
                <a:cubicBezTo>
                  <a:pt x="578" y="24"/>
                  <a:pt x="579" y="24"/>
                  <a:pt x="579" y="24"/>
                </a:cubicBezTo>
                <a:cubicBezTo>
                  <a:pt x="579" y="23"/>
                  <a:pt x="578" y="23"/>
                  <a:pt x="578" y="23"/>
                </a:cubicBezTo>
                <a:cubicBezTo>
                  <a:pt x="578" y="23"/>
                  <a:pt x="578" y="23"/>
                  <a:pt x="578" y="24"/>
                </a:cubicBezTo>
                <a:cubicBezTo>
                  <a:pt x="577" y="24"/>
                  <a:pt x="577" y="24"/>
                  <a:pt x="577" y="24"/>
                </a:cubicBezTo>
                <a:cubicBezTo>
                  <a:pt x="577" y="24"/>
                  <a:pt x="577" y="24"/>
                  <a:pt x="577" y="25"/>
                </a:cubicBezTo>
                <a:cubicBezTo>
                  <a:pt x="577" y="25"/>
                  <a:pt x="577" y="25"/>
                  <a:pt x="577" y="25"/>
                </a:cubicBezTo>
                <a:cubicBezTo>
                  <a:pt x="577" y="25"/>
                  <a:pt x="576" y="25"/>
                  <a:pt x="576" y="25"/>
                </a:cubicBezTo>
                <a:cubicBezTo>
                  <a:pt x="576" y="25"/>
                  <a:pt x="576" y="25"/>
                  <a:pt x="576" y="25"/>
                </a:cubicBezTo>
                <a:cubicBezTo>
                  <a:pt x="576" y="24"/>
                  <a:pt x="576" y="24"/>
                  <a:pt x="576" y="24"/>
                </a:cubicBezTo>
                <a:cubicBezTo>
                  <a:pt x="576" y="23"/>
                  <a:pt x="576" y="23"/>
                  <a:pt x="576" y="23"/>
                </a:cubicBezTo>
                <a:cubicBezTo>
                  <a:pt x="575" y="23"/>
                  <a:pt x="575" y="22"/>
                  <a:pt x="574" y="22"/>
                </a:cubicBezTo>
                <a:cubicBezTo>
                  <a:pt x="574" y="22"/>
                  <a:pt x="574" y="22"/>
                  <a:pt x="574" y="22"/>
                </a:cubicBezTo>
                <a:cubicBezTo>
                  <a:pt x="573" y="23"/>
                  <a:pt x="573" y="23"/>
                  <a:pt x="573" y="24"/>
                </a:cubicBezTo>
                <a:cubicBezTo>
                  <a:pt x="572" y="24"/>
                  <a:pt x="572" y="24"/>
                  <a:pt x="572" y="24"/>
                </a:cubicBezTo>
                <a:cubicBezTo>
                  <a:pt x="572" y="24"/>
                  <a:pt x="572" y="25"/>
                  <a:pt x="572" y="25"/>
                </a:cubicBezTo>
                <a:cubicBezTo>
                  <a:pt x="572" y="25"/>
                  <a:pt x="572" y="25"/>
                  <a:pt x="573" y="25"/>
                </a:cubicBezTo>
                <a:cubicBezTo>
                  <a:pt x="572" y="25"/>
                  <a:pt x="572" y="25"/>
                  <a:pt x="572" y="26"/>
                </a:cubicBezTo>
                <a:cubicBezTo>
                  <a:pt x="572" y="25"/>
                  <a:pt x="572" y="25"/>
                  <a:pt x="571" y="25"/>
                </a:cubicBezTo>
                <a:cubicBezTo>
                  <a:pt x="571" y="25"/>
                  <a:pt x="571" y="25"/>
                  <a:pt x="571" y="25"/>
                </a:cubicBezTo>
                <a:cubicBezTo>
                  <a:pt x="571" y="25"/>
                  <a:pt x="571" y="24"/>
                  <a:pt x="571" y="24"/>
                </a:cubicBezTo>
                <a:cubicBezTo>
                  <a:pt x="571" y="24"/>
                  <a:pt x="571" y="24"/>
                  <a:pt x="571" y="24"/>
                </a:cubicBezTo>
                <a:cubicBezTo>
                  <a:pt x="571" y="23"/>
                  <a:pt x="571" y="23"/>
                  <a:pt x="571" y="23"/>
                </a:cubicBezTo>
                <a:cubicBezTo>
                  <a:pt x="570" y="23"/>
                  <a:pt x="570" y="23"/>
                  <a:pt x="569" y="23"/>
                </a:cubicBezTo>
                <a:cubicBezTo>
                  <a:pt x="569" y="22"/>
                  <a:pt x="569" y="22"/>
                  <a:pt x="569" y="22"/>
                </a:cubicBezTo>
                <a:cubicBezTo>
                  <a:pt x="569" y="22"/>
                  <a:pt x="569" y="21"/>
                  <a:pt x="569" y="21"/>
                </a:cubicBezTo>
                <a:cubicBezTo>
                  <a:pt x="569" y="21"/>
                  <a:pt x="569" y="21"/>
                  <a:pt x="568" y="21"/>
                </a:cubicBezTo>
                <a:cubicBezTo>
                  <a:pt x="568" y="22"/>
                  <a:pt x="567" y="22"/>
                  <a:pt x="567" y="22"/>
                </a:cubicBezTo>
                <a:cubicBezTo>
                  <a:pt x="567" y="22"/>
                  <a:pt x="566" y="22"/>
                  <a:pt x="566" y="22"/>
                </a:cubicBezTo>
                <a:cubicBezTo>
                  <a:pt x="566" y="23"/>
                  <a:pt x="566" y="23"/>
                  <a:pt x="566" y="23"/>
                </a:cubicBezTo>
                <a:cubicBezTo>
                  <a:pt x="566" y="24"/>
                  <a:pt x="566" y="24"/>
                  <a:pt x="566" y="24"/>
                </a:cubicBezTo>
                <a:cubicBezTo>
                  <a:pt x="566" y="24"/>
                  <a:pt x="566" y="24"/>
                  <a:pt x="566" y="24"/>
                </a:cubicBezTo>
                <a:cubicBezTo>
                  <a:pt x="566" y="24"/>
                  <a:pt x="566" y="25"/>
                  <a:pt x="566" y="25"/>
                </a:cubicBezTo>
                <a:cubicBezTo>
                  <a:pt x="566" y="25"/>
                  <a:pt x="566" y="25"/>
                  <a:pt x="565" y="25"/>
                </a:cubicBezTo>
                <a:cubicBezTo>
                  <a:pt x="565" y="25"/>
                  <a:pt x="565" y="25"/>
                  <a:pt x="565" y="25"/>
                </a:cubicBezTo>
                <a:cubicBezTo>
                  <a:pt x="565" y="25"/>
                  <a:pt x="565" y="25"/>
                  <a:pt x="566" y="24"/>
                </a:cubicBezTo>
                <a:cubicBezTo>
                  <a:pt x="565" y="24"/>
                  <a:pt x="565" y="24"/>
                  <a:pt x="565" y="24"/>
                </a:cubicBezTo>
                <a:cubicBezTo>
                  <a:pt x="565" y="24"/>
                  <a:pt x="565" y="25"/>
                  <a:pt x="564" y="25"/>
                </a:cubicBezTo>
                <a:cubicBezTo>
                  <a:pt x="564" y="25"/>
                  <a:pt x="564" y="25"/>
                  <a:pt x="564" y="26"/>
                </a:cubicBezTo>
                <a:cubicBezTo>
                  <a:pt x="564" y="26"/>
                  <a:pt x="563" y="26"/>
                  <a:pt x="563" y="26"/>
                </a:cubicBezTo>
                <a:cubicBezTo>
                  <a:pt x="563" y="26"/>
                  <a:pt x="563" y="25"/>
                  <a:pt x="563" y="24"/>
                </a:cubicBezTo>
                <a:cubicBezTo>
                  <a:pt x="563" y="24"/>
                  <a:pt x="563" y="24"/>
                  <a:pt x="563" y="24"/>
                </a:cubicBezTo>
                <a:cubicBezTo>
                  <a:pt x="563" y="24"/>
                  <a:pt x="563" y="24"/>
                  <a:pt x="563" y="24"/>
                </a:cubicBezTo>
                <a:cubicBezTo>
                  <a:pt x="563" y="24"/>
                  <a:pt x="562" y="24"/>
                  <a:pt x="562" y="24"/>
                </a:cubicBezTo>
                <a:cubicBezTo>
                  <a:pt x="562" y="24"/>
                  <a:pt x="562" y="24"/>
                  <a:pt x="561" y="24"/>
                </a:cubicBezTo>
                <a:cubicBezTo>
                  <a:pt x="561" y="24"/>
                  <a:pt x="560" y="24"/>
                  <a:pt x="559" y="24"/>
                </a:cubicBezTo>
                <a:cubicBezTo>
                  <a:pt x="558" y="25"/>
                  <a:pt x="558" y="25"/>
                  <a:pt x="557" y="25"/>
                </a:cubicBezTo>
                <a:cubicBezTo>
                  <a:pt x="557" y="25"/>
                  <a:pt x="556" y="25"/>
                  <a:pt x="556" y="25"/>
                </a:cubicBezTo>
                <a:cubicBezTo>
                  <a:pt x="556" y="26"/>
                  <a:pt x="555" y="26"/>
                  <a:pt x="555" y="26"/>
                </a:cubicBezTo>
                <a:cubicBezTo>
                  <a:pt x="555" y="26"/>
                  <a:pt x="554" y="27"/>
                  <a:pt x="554" y="27"/>
                </a:cubicBezTo>
                <a:cubicBezTo>
                  <a:pt x="554" y="27"/>
                  <a:pt x="553" y="27"/>
                  <a:pt x="553" y="27"/>
                </a:cubicBezTo>
                <a:cubicBezTo>
                  <a:pt x="553" y="27"/>
                  <a:pt x="552" y="28"/>
                  <a:pt x="552" y="28"/>
                </a:cubicBezTo>
                <a:cubicBezTo>
                  <a:pt x="552" y="28"/>
                  <a:pt x="552" y="28"/>
                  <a:pt x="552" y="29"/>
                </a:cubicBezTo>
                <a:cubicBezTo>
                  <a:pt x="552" y="29"/>
                  <a:pt x="551" y="28"/>
                  <a:pt x="551" y="28"/>
                </a:cubicBezTo>
                <a:cubicBezTo>
                  <a:pt x="551" y="29"/>
                  <a:pt x="551" y="29"/>
                  <a:pt x="551" y="29"/>
                </a:cubicBezTo>
                <a:cubicBezTo>
                  <a:pt x="551" y="29"/>
                  <a:pt x="551" y="29"/>
                  <a:pt x="551" y="29"/>
                </a:cubicBezTo>
                <a:cubicBezTo>
                  <a:pt x="551" y="29"/>
                  <a:pt x="551" y="29"/>
                  <a:pt x="552" y="29"/>
                </a:cubicBezTo>
                <a:close/>
                <a:moveTo>
                  <a:pt x="602" y="296"/>
                </a:moveTo>
                <a:cubicBezTo>
                  <a:pt x="602" y="296"/>
                  <a:pt x="603" y="296"/>
                  <a:pt x="603" y="296"/>
                </a:cubicBezTo>
                <a:cubicBezTo>
                  <a:pt x="603" y="296"/>
                  <a:pt x="603" y="296"/>
                  <a:pt x="604" y="296"/>
                </a:cubicBezTo>
                <a:cubicBezTo>
                  <a:pt x="604" y="295"/>
                  <a:pt x="603" y="295"/>
                  <a:pt x="603" y="295"/>
                </a:cubicBezTo>
                <a:cubicBezTo>
                  <a:pt x="603" y="295"/>
                  <a:pt x="603" y="295"/>
                  <a:pt x="603" y="295"/>
                </a:cubicBezTo>
                <a:cubicBezTo>
                  <a:pt x="603" y="295"/>
                  <a:pt x="602" y="295"/>
                  <a:pt x="602" y="295"/>
                </a:cubicBezTo>
                <a:cubicBezTo>
                  <a:pt x="602" y="295"/>
                  <a:pt x="601" y="295"/>
                  <a:pt x="601" y="295"/>
                </a:cubicBezTo>
                <a:cubicBezTo>
                  <a:pt x="601" y="295"/>
                  <a:pt x="601" y="295"/>
                  <a:pt x="601" y="295"/>
                </a:cubicBezTo>
                <a:cubicBezTo>
                  <a:pt x="601" y="295"/>
                  <a:pt x="601" y="296"/>
                  <a:pt x="601" y="296"/>
                </a:cubicBezTo>
                <a:cubicBezTo>
                  <a:pt x="601" y="296"/>
                  <a:pt x="601" y="296"/>
                  <a:pt x="600" y="295"/>
                </a:cubicBezTo>
                <a:cubicBezTo>
                  <a:pt x="600" y="295"/>
                  <a:pt x="601" y="295"/>
                  <a:pt x="601" y="295"/>
                </a:cubicBezTo>
                <a:cubicBezTo>
                  <a:pt x="601" y="295"/>
                  <a:pt x="600" y="295"/>
                  <a:pt x="600" y="294"/>
                </a:cubicBezTo>
                <a:cubicBezTo>
                  <a:pt x="600" y="294"/>
                  <a:pt x="599" y="294"/>
                  <a:pt x="599" y="294"/>
                </a:cubicBezTo>
                <a:cubicBezTo>
                  <a:pt x="599" y="294"/>
                  <a:pt x="599" y="294"/>
                  <a:pt x="600" y="294"/>
                </a:cubicBezTo>
                <a:cubicBezTo>
                  <a:pt x="600" y="293"/>
                  <a:pt x="600" y="293"/>
                  <a:pt x="601" y="292"/>
                </a:cubicBezTo>
                <a:cubicBezTo>
                  <a:pt x="601" y="292"/>
                  <a:pt x="601" y="292"/>
                  <a:pt x="600" y="292"/>
                </a:cubicBezTo>
                <a:cubicBezTo>
                  <a:pt x="600" y="292"/>
                  <a:pt x="600" y="292"/>
                  <a:pt x="600" y="292"/>
                </a:cubicBezTo>
                <a:cubicBezTo>
                  <a:pt x="600" y="292"/>
                  <a:pt x="600" y="291"/>
                  <a:pt x="600" y="291"/>
                </a:cubicBezTo>
                <a:cubicBezTo>
                  <a:pt x="600" y="291"/>
                  <a:pt x="600" y="291"/>
                  <a:pt x="600" y="291"/>
                </a:cubicBezTo>
                <a:cubicBezTo>
                  <a:pt x="599" y="291"/>
                  <a:pt x="599" y="291"/>
                  <a:pt x="599" y="291"/>
                </a:cubicBezTo>
                <a:cubicBezTo>
                  <a:pt x="599" y="291"/>
                  <a:pt x="599" y="292"/>
                  <a:pt x="599" y="292"/>
                </a:cubicBezTo>
                <a:cubicBezTo>
                  <a:pt x="598" y="292"/>
                  <a:pt x="598" y="293"/>
                  <a:pt x="597" y="293"/>
                </a:cubicBezTo>
                <a:cubicBezTo>
                  <a:pt x="597" y="293"/>
                  <a:pt x="597" y="293"/>
                  <a:pt x="597" y="294"/>
                </a:cubicBezTo>
                <a:cubicBezTo>
                  <a:pt x="597" y="294"/>
                  <a:pt x="597" y="294"/>
                  <a:pt x="597" y="294"/>
                </a:cubicBezTo>
                <a:cubicBezTo>
                  <a:pt x="596" y="295"/>
                  <a:pt x="596" y="295"/>
                  <a:pt x="596" y="295"/>
                </a:cubicBezTo>
                <a:cubicBezTo>
                  <a:pt x="595" y="296"/>
                  <a:pt x="595" y="296"/>
                  <a:pt x="594" y="296"/>
                </a:cubicBezTo>
                <a:cubicBezTo>
                  <a:pt x="594" y="297"/>
                  <a:pt x="594" y="297"/>
                  <a:pt x="594" y="297"/>
                </a:cubicBezTo>
                <a:cubicBezTo>
                  <a:pt x="594" y="297"/>
                  <a:pt x="594" y="297"/>
                  <a:pt x="595" y="297"/>
                </a:cubicBezTo>
                <a:cubicBezTo>
                  <a:pt x="595" y="298"/>
                  <a:pt x="595" y="298"/>
                  <a:pt x="595" y="298"/>
                </a:cubicBezTo>
                <a:cubicBezTo>
                  <a:pt x="596" y="298"/>
                  <a:pt x="596" y="298"/>
                  <a:pt x="597" y="298"/>
                </a:cubicBezTo>
                <a:cubicBezTo>
                  <a:pt x="597" y="299"/>
                  <a:pt x="597" y="299"/>
                  <a:pt x="597" y="299"/>
                </a:cubicBezTo>
                <a:cubicBezTo>
                  <a:pt x="597" y="299"/>
                  <a:pt x="597" y="299"/>
                  <a:pt x="597" y="299"/>
                </a:cubicBezTo>
                <a:cubicBezTo>
                  <a:pt x="597" y="298"/>
                  <a:pt x="597" y="298"/>
                  <a:pt x="598" y="298"/>
                </a:cubicBezTo>
                <a:cubicBezTo>
                  <a:pt x="598" y="298"/>
                  <a:pt x="598" y="298"/>
                  <a:pt x="598" y="298"/>
                </a:cubicBezTo>
                <a:cubicBezTo>
                  <a:pt x="598" y="298"/>
                  <a:pt x="598" y="298"/>
                  <a:pt x="598" y="298"/>
                </a:cubicBezTo>
                <a:cubicBezTo>
                  <a:pt x="599" y="298"/>
                  <a:pt x="599" y="298"/>
                  <a:pt x="599" y="298"/>
                </a:cubicBezTo>
                <a:cubicBezTo>
                  <a:pt x="600" y="298"/>
                  <a:pt x="600" y="297"/>
                  <a:pt x="601" y="297"/>
                </a:cubicBezTo>
                <a:cubicBezTo>
                  <a:pt x="601" y="297"/>
                  <a:pt x="602" y="297"/>
                  <a:pt x="602" y="296"/>
                </a:cubicBezTo>
                <a:close/>
                <a:moveTo>
                  <a:pt x="626" y="264"/>
                </a:moveTo>
                <a:cubicBezTo>
                  <a:pt x="626" y="264"/>
                  <a:pt x="626" y="264"/>
                  <a:pt x="625" y="264"/>
                </a:cubicBezTo>
                <a:cubicBezTo>
                  <a:pt x="625" y="264"/>
                  <a:pt x="625" y="264"/>
                  <a:pt x="625" y="264"/>
                </a:cubicBezTo>
                <a:cubicBezTo>
                  <a:pt x="625" y="264"/>
                  <a:pt x="625" y="264"/>
                  <a:pt x="625" y="264"/>
                </a:cubicBezTo>
                <a:cubicBezTo>
                  <a:pt x="625" y="264"/>
                  <a:pt x="625" y="264"/>
                  <a:pt x="624" y="265"/>
                </a:cubicBezTo>
                <a:cubicBezTo>
                  <a:pt x="624" y="264"/>
                  <a:pt x="624" y="264"/>
                  <a:pt x="624" y="264"/>
                </a:cubicBezTo>
                <a:cubicBezTo>
                  <a:pt x="624" y="264"/>
                  <a:pt x="624" y="264"/>
                  <a:pt x="624" y="264"/>
                </a:cubicBezTo>
                <a:cubicBezTo>
                  <a:pt x="624" y="264"/>
                  <a:pt x="624" y="264"/>
                  <a:pt x="624" y="264"/>
                </a:cubicBezTo>
                <a:cubicBezTo>
                  <a:pt x="624" y="264"/>
                  <a:pt x="623" y="264"/>
                  <a:pt x="623" y="265"/>
                </a:cubicBezTo>
                <a:cubicBezTo>
                  <a:pt x="623" y="265"/>
                  <a:pt x="623" y="265"/>
                  <a:pt x="623" y="265"/>
                </a:cubicBezTo>
                <a:cubicBezTo>
                  <a:pt x="623" y="265"/>
                  <a:pt x="622" y="265"/>
                  <a:pt x="622" y="265"/>
                </a:cubicBezTo>
                <a:cubicBezTo>
                  <a:pt x="622" y="265"/>
                  <a:pt x="622" y="265"/>
                  <a:pt x="622" y="266"/>
                </a:cubicBezTo>
                <a:cubicBezTo>
                  <a:pt x="621" y="266"/>
                  <a:pt x="621" y="266"/>
                  <a:pt x="621" y="266"/>
                </a:cubicBezTo>
                <a:cubicBezTo>
                  <a:pt x="621" y="266"/>
                  <a:pt x="620" y="266"/>
                  <a:pt x="620" y="266"/>
                </a:cubicBezTo>
                <a:cubicBezTo>
                  <a:pt x="620" y="267"/>
                  <a:pt x="620" y="267"/>
                  <a:pt x="619" y="267"/>
                </a:cubicBezTo>
                <a:cubicBezTo>
                  <a:pt x="619" y="267"/>
                  <a:pt x="619" y="267"/>
                  <a:pt x="619" y="268"/>
                </a:cubicBezTo>
                <a:cubicBezTo>
                  <a:pt x="619" y="268"/>
                  <a:pt x="619" y="268"/>
                  <a:pt x="619" y="268"/>
                </a:cubicBezTo>
                <a:cubicBezTo>
                  <a:pt x="619" y="268"/>
                  <a:pt x="618" y="268"/>
                  <a:pt x="618" y="268"/>
                </a:cubicBezTo>
                <a:cubicBezTo>
                  <a:pt x="618" y="268"/>
                  <a:pt x="618" y="268"/>
                  <a:pt x="618" y="268"/>
                </a:cubicBezTo>
                <a:cubicBezTo>
                  <a:pt x="618" y="268"/>
                  <a:pt x="618" y="268"/>
                  <a:pt x="618" y="268"/>
                </a:cubicBezTo>
                <a:cubicBezTo>
                  <a:pt x="618" y="268"/>
                  <a:pt x="618" y="268"/>
                  <a:pt x="619" y="268"/>
                </a:cubicBezTo>
                <a:cubicBezTo>
                  <a:pt x="618" y="269"/>
                  <a:pt x="618" y="269"/>
                  <a:pt x="618" y="269"/>
                </a:cubicBezTo>
                <a:cubicBezTo>
                  <a:pt x="618" y="269"/>
                  <a:pt x="618" y="269"/>
                  <a:pt x="617" y="269"/>
                </a:cubicBezTo>
                <a:cubicBezTo>
                  <a:pt x="617" y="270"/>
                  <a:pt x="617" y="270"/>
                  <a:pt x="617" y="270"/>
                </a:cubicBezTo>
                <a:cubicBezTo>
                  <a:pt x="617" y="270"/>
                  <a:pt x="617" y="270"/>
                  <a:pt x="617" y="270"/>
                </a:cubicBezTo>
                <a:cubicBezTo>
                  <a:pt x="617" y="270"/>
                  <a:pt x="617" y="270"/>
                  <a:pt x="617" y="270"/>
                </a:cubicBezTo>
                <a:cubicBezTo>
                  <a:pt x="617" y="270"/>
                  <a:pt x="616" y="270"/>
                  <a:pt x="616" y="270"/>
                </a:cubicBezTo>
                <a:cubicBezTo>
                  <a:pt x="616" y="271"/>
                  <a:pt x="616" y="271"/>
                  <a:pt x="616" y="271"/>
                </a:cubicBezTo>
                <a:cubicBezTo>
                  <a:pt x="616" y="271"/>
                  <a:pt x="617" y="271"/>
                  <a:pt x="617" y="271"/>
                </a:cubicBezTo>
                <a:cubicBezTo>
                  <a:pt x="617" y="271"/>
                  <a:pt x="617" y="271"/>
                  <a:pt x="616" y="271"/>
                </a:cubicBezTo>
                <a:cubicBezTo>
                  <a:pt x="616" y="271"/>
                  <a:pt x="616" y="271"/>
                  <a:pt x="616" y="271"/>
                </a:cubicBezTo>
                <a:cubicBezTo>
                  <a:pt x="616" y="272"/>
                  <a:pt x="615" y="272"/>
                  <a:pt x="615" y="272"/>
                </a:cubicBezTo>
                <a:cubicBezTo>
                  <a:pt x="615" y="272"/>
                  <a:pt x="615" y="272"/>
                  <a:pt x="615" y="272"/>
                </a:cubicBezTo>
                <a:cubicBezTo>
                  <a:pt x="615" y="272"/>
                  <a:pt x="615" y="272"/>
                  <a:pt x="616" y="272"/>
                </a:cubicBezTo>
                <a:cubicBezTo>
                  <a:pt x="616" y="272"/>
                  <a:pt x="616" y="272"/>
                  <a:pt x="616" y="272"/>
                </a:cubicBezTo>
                <a:cubicBezTo>
                  <a:pt x="616" y="272"/>
                  <a:pt x="616" y="272"/>
                  <a:pt x="615" y="273"/>
                </a:cubicBezTo>
                <a:cubicBezTo>
                  <a:pt x="615" y="273"/>
                  <a:pt x="615" y="273"/>
                  <a:pt x="615" y="273"/>
                </a:cubicBezTo>
                <a:cubicBezTo>
                  <a:pt x="615" y="273"/>
                  <a:pt x="614" y="273"/>
                  <a:pt x="614" y="273"/>
                </a:cubicBezTo>
                <a:cubicBezTo>
                  <a:pt x="614" y="274"/>
                  <a:pt x="614" y="274"/>
                  <a:pt x="614" y="274"/>
                </a:cubicBezTo>
                <a:cubicBezTo>
                  <a:pt x="614" y="274"/>
                  <a:pt x="614" y="275"/>
                  <a:pt x="613" y="275"/>
                </a:cubicBezTo>
                <a:cubicBezTo>
                  <a:pt x="613" y="275"/>
                  <a:pt x="613" y="275"/>
                  <a:pt x="613" y="276"/>
                </a:cubicBezTo>
                <a:cubicBezTo>
                  <a:pt x="614" y="276"/>
                  <a:pt x="614" y="276"/>
                  <a:pt x="614" y="276"/>
                </a:cubicBezTo>
                <a:cubicBezTo>
                  <a:pt x="614" y="276"/>
                  <a:pt x="614" y="276"/>
                  <a:pt x="614" y="276"/>
                </a:cubicBezTo>
                <a:cubicBezTo>
                  <a:pt x="614" y="276"/>
                  <a:pt x="614" y="276"/>
                  <a:pt x="614" y="276"/>
                </a:cubicBezTo>
                <a:cubicBezTo>
                  <a:pt x="614" y="276"/>
                  <a:pt x="613" y="276"/>
                  <a:pt x="613" y="276"/>
                </a:cubicBezTo>
                <a:cubicBezTo>
                  <a:pt x="613" y="276"/>
                  <a:pt x="613" y="276"/>
                  <a:pt x="613" y="276"/>
                </a:cubicBezTo>
                <a:cubicBezTo>
                  <a:pt x="613" y="276"/>
                  <a:pt x="612" y="276"/>
                  <a:pt x="612" y="277"/>
                </a:cubicBezTo>
                <a:cubicBezTo>
                  <a:pt x="612" y="277"/>
                  <a:pt x="612" y="277"/>
                  <a:pt x="612" y="277"/>
                </a:cubicBezTo>
                <a:cubicBezTo>
                  <a:pt x="612" y="277"/>
                  <a:pt x="612" y="277"/>
                  <a:pt x="612" y="277"/>
                </a:cubicBezTo>
                <a:cubicBezTo>
                  <a:pt x="612" y="277"/>
                  <a:pt x="612" y="277"/>
                  <a:pt x="613" y="277"/>
                </a:cubicBezTo>
                <a:cubicBezTo>
                  <a:pt x="613" y="278"/>
                  <a:pt x="613" y="278"/>
                  <a:pt x="613" y="278"/>
                </a:cubicBezTo>
                <a:cubicBezTo>
                  <a:pt x="613" y="278"/>
                  <a:pt x="613" y="278"/>
                  <a:pt x="613" y="278"/>
                </a:cubicBezTo>
                <a:cubicBezTo>
                  <a:pt x="613" y="278"/>
                  <a:pt x="613" y="278"/>
                  <a:pt x="613" y="278"/>
                </a:cubicBezTo>
                <a:cubicBezTo>
                  <a:pt x="612" y="278"/>
                  <a:pt x="612" y="279"/>
                  <a:pt x="612" y="279"/>
                </a:cubicBezTo>
                <a:cubicBezTo>
                  <a:pt x="612" y="279"/>
                  <a:pt x="611" y="279"/>
                  <a:pt x="611" y="279"/>
                </a:cubicBezTo>
                <a:cubicBezTo>
                  <a:pt x="611" y="279"/>
                  <a:pt x="611" y="279"/>
                  <a:pt x="611" y="279"/>
                </a:cubicBezTo>
                <a:cubicBezTo>
                  <a:pt x="611" y="279"/>
                  <a:pt x="611" y="279"/>
                  <a:pt x="611" y="279"/>
                </a:cubicBezTo>
                <a:cubicBezTo>
                  <a:pt x="610" y="279"/>
                  <a:pt x="610" y="280"/>
                  <a:pt x="610" y="280"/>
                </a:cubicBezTo>
                <a:cubicBezTo>
                  <a:pt x="610" y="280"/>
                  <a:pt x="610" y="280"/>
                  <a:pt x="610" y="281"/>
                </a:cubicBezTo>
                <a:cubicBezTo>
                  <a:pt x="610" y="281"/>
                  <a:pt x="609" y="281"/>
                  <a:pt x="609" y="281"/>
                </a:cubicBezTo>
                <a:cubicBezTo>
                  <a:pt x="609" y="281"/>
                  <a:pt x="609" y="281"/>
                  <a:pt x="609" y="281"/>
                </a:cubicBezTo>
                <a:cubicBezTo>
                  <a:pt x="609" y="281"/>
                  <a:pt x="609" y="281"/>
                  <a:pt x="609" y="281"/>
                </a:cubicBezTo>
                <a:cubicBezTo>
                  <a:pt x="609" y="281"/>
                  <a:pt x="609" y="281"/>
                  <a:pt x="609" y="281"/>
                </a:cubicBezTo>
                <a:cubicBezTo>
                  <a:pt x="608" y="281"/>
                  <a:pt x="608" y="281"/>
                  <a:pt x="608" y="281"/>
                </a:cubicBezTo>
                <a:cubicBezTo>
                  <a:pt x="608" y="281"/>
                  <a:pt x="608" y="281"/>
                  <a:pt x="608" y="281"/>
                </a:cubicBezTo>
                <a:cubicBezTo>
                  <a:pt x="608" y="280"/>
                  <a:pt x="609" y="280"/>
                  <a:pt x="609" y="280"/>
                </a:cubicBezTo>
                <a:cubicBezTo>
                  <a:pt x="609" y="280"/>
                  <a:pt x="609" y="280"/>
                  <a:pt x="609" y="280"/>
                </a:cubicBezTo>
                <a:cubicBezTo>
                  <a:pt x="609" y="280"/>
                  <a:pt x="609" y="280"/>
                  <a:pt x="609" y="280"/>
                </a:cubicBezTo>
                <a:cubicBezTo>
                  <a:pt x="608" y="280"/>
                  <a:pt x="608" y="280"/>
                  <a:pt x="608" y="281"/>
                </a:cubicBezTo>
                <a:cubicBezTo>
                  <a:pt x="608" y="281"/>
                  <a:pt x="607" y="281"/>
                  <a:pt x="607" y="281"/>
                </a:cubicBezTo>
                <a:cubicBezTo>
                  <a:pt x="607" y="282"/>
                  <a:pt x="607" y="282"/>
                  <a:pt x="606" y="282"/>
                </a:cubicBezTo>
                <a:cubicBezTo>
                  <a:pt x="607" y="282"/>
                  <a:pt x="607" y="282"/>
                  <a:pt x="607" y="282"/>
                </a:cubicBezTo>
                <a:cubicBezTo>
                  <a:pt x="607" y="282"/>
                  <a:pt x="607" y="282"/>
                  <a:pt x="608" y="282"/>
                </a:cubicBezTo>
                <a:cubicBezTo>
                  <a:pt x="608" y="282"/>
                  <a:pt x="609" y="282"/>
                  <a:pt x="609" y="282"/>
                </a:cubicBezTo>
                <a:cubicBezTo>
                  <a:pt x="609" y="281"/>
                  <a:pt x="610" y="281"/>
                  <a:pt x="610" y="281"/>
                </a:cubicBezTo>
                <a:cubicBezTo>
                  <a:pt x="610" y="281"/>
                  <a:pt x="610" y="282"/>
                  <a:pt x="610" y="282"/>
                </a:cubicBezTo>
                <a:cubicBezTo>
                  <a:pt x="609" y="282"/>
                  <a:pt x="609" y="283"/>
                  <a:pt x="609" y="283"/>
                </a:cubicBezTo>
                <a:cubicBezTo>
                  <a:pt x="609" y="283"/>
                  <a:pt x="608" y="283"/>
                  <a:pt x="608" y="284"/>
                </a:cubicBezTo>
                <a:cubicBezTo>
                  <a:pt x="608" y="284"/>
                  <a:pt x="608" y="284"/>
                  <a:pt x="607" y="284"/>
                </a:cubicBezTo>
                <a:cubicBezTo>
                  <a:pt x="607" y="285"/>
                  <a:pt x="607" y="285"/>
                  <a:pt x="606" y="285"/>
                </a:cubicBezTo>
                <a:cubicBezTo>
                  <a:pt x="606" y="285"/>
                  <a:pt x="606" y="285"/>
                  <a:pt x="606" y="285"/>
                </a:cubicBezTo>
                <a:cubicBezTo>
                  <a:pt x="606" y="285"/>
                  <a:pt x="606" y="286"/>
                  <a:pt x="605" y="286"/>
                </a:cubicBezTo>
                <a:cubicBezTo>
                  <a:pt x="606" y="286"/>
                  <a:pt x="606" y="286"/>
                  <a:pt x="606" y="286"/>
                </a:cubicBezTo>
                <a:cubicBezTo>
                  <a:pt x="606" y="286"/>
                  <a:pt x="606" y="286"/>
                  <a:pt x="606" y="287"/>
                </a:cubicBezTo>
                <a:cubicBezTo>
                  <a:pt x="606" y="287"/>
                  <a:pt x="606" y="287"/>
                  <a:pt x="606" y="287"/>
                </a:cubicBezTo>
                <a:cubicBezTo>
                  <a:pt x="606" y="287"/>
                  <a:pt x="606" y="287"/>
                  <a:pt x="607" y="287"/>
                </a:cubicBezTo>
                <a:cubicBezTo>
                  <a:pt x="607" y="287"/>
                  <a:pt x="607" y="287"/>
                  <a:pt x="608" y="287"/>
                </a:cubicBezTo>
                <a:cubicBezTo>
                  <a:pt x="608" y="287"/>
                  <a:pt x="608" y="287"/>
                  <a:pt x="609" y="287"/>
                </a:cubicBezTo>
                <a:cubicBezTo>
                  <a:pt x="609" y="286"/>
                  <a:pt x="609" y="286"/>
                  <a:pt x="609" y="286"/>
                </a:cubicBezTo>
                <a:cubicBezTo>
                  <a:pt x="610" y="286"/>
                  <a:pt x="610" y="286"/>
                  <a:pt x="610" y="286"/>
                </a:cubicBezTo>
                <a:cubicBezTo>
                  <a:pt x="611" y="286"/>
                  <a:pt x="611" y="285"/>
                  <a:pt x="611" y="285"/>
                </a:cubicBezTo>
                <a:cubicBezTo>
                  <a:pt x="611" y="285"/>
                  <a:pt x="611" y="285"/>
                  <a:pt x="611" y="285"/>
                </a:cubicBezTo>
                <a:cubicBezTo>
                  <a:pt x="611" y="285"/>
                  <a:pt x="611" y="285"/>
                  <a:pt x="611" y="285"/>
                </a:cubicBezTo>
                <a:cubicBezTo>
                  <a:pt x="611" y="285"/>
                  <a:pt x="611" y="285"/>
                  <a:pt x="611" y="286"/>
                </a:cubicBezTo>
                <a:cubicBezTo>
                  <a:pt x="611" y="286"/>
                  <a:pt x="612" y="286"/>
                  <a:pt x="612" y="286"/>
                </a:cubicBezTo>
                <a:cubicBezTo>
                  <a:pt x="612" y="285"/>
                  <a:pt x="612" y="285"/>
                  <a:pt x="613" y="285"/>
                </a:cubicBezTo>
                <a:cubicBezTo>
                  <a:pt x="613" y="285"/>
                  <a:pt x="613" y="285"/>
                  <a:pt x="613" y="286"/>
                </a:cubicBezTo>
                <a:cubicBezTo>
                  <a:pt x="614" y="285"/>
                  <a:pt x="614" y="285"/>
                  <a:pt x="615" y="285"/>
                </a:cubicBezTo>
                <a:cubicBezTo>
                  <a:pt x="615" y="285"/>
                  <a:pt x="615" y="285"/>
                  <a:pt x="615" y="285"/>
                </a:cubicBezTo>
                <a:cubicBezTo>
                  <a:pt x="615" y="285"/>
                  <a:pt x="616" y="285"/>
                  <a:pt x="616" y="285"/>
                </a:cubicBezTo>
                <a:cubicBezTo>
                  <a:pt x="616" y="285"/>
                  <a:pt x="616" y="285"/>
                  <a:pt x="616" y="285"/>
                </a:cubicBezTo>
                <a:cubicBezTo>
                  <a:pt x="616" y="285"/>
                  <a:pt x="617" y="285"/>
                  <a:pt x="617" y="285"/>
                </a:cubicBezTo>
                <a:cubicBezTo>
                  <a:pt x="617" y="285"/>
                  <a:pt x="617" y="285"/>
                  <a:pt x="617" y="285"/>
                </a:cubicBezTo>
                <a:cubicBezTo>
                  <a:pt x="617" y="285"/>
                  <a:pt x="617" y="285"/>
                  <a:pt x="618" y="285"/>
                </a:cubicBezTo>
                <a:cubicBezTo>
                  <a:pt x="618" y="285"/>
                  <a:pt x="618" y="285"/>
                  <a:pt x="618" y="285"/>
                </a:cubicBezTo>
                <a:cubicBezTo>
                  <a:pt x="618" y="285"/>
                  <a:pt x="618" y="285"/>
                  <a:pt x="619" y="285"/>
                </a:cubicBezTo>
                <a:cubicBezTo>
                  <a:pt x="619" y="285"/>
                  <a:pt x="619" y="285"/>
                  <a:pt x="619" y="285"/>
                </a:cubicBezTo>
                <a:cubicBezTo>
                  <a:pt x="619" y="285"/>
                  <a:pt x="619" y="285"/>
                  <a:pt x="619" y="285"/>
                </a:cubicBezTo>
                <a:cubicBezTo>
                  <a:pt x="619" y="285"/>
                  <a:pt x="620" y="285"/>
                  <a:pt x="620" y="285"/>
                </a:cubicBezTo>
                <a:cubicBezTo>
                  <a:pt x="620" y="285"/>
                  <a:pt x="620" y="285"/>
                  <a:pt x="620" y="285"/>
                </a:cubicBezTo>
                <a:cubicBezTo>
                  <a:pt x="620" y="285"/>
                  <a:pt x="620" y="284"/>
                  <a:pt x="620" y="284"/>
                </a:cubicBezTo>
                <a:cubicBezTo>
                  <a:pt x="621" y="284"/>
                  <a:pt x="621" y="284"/>
                  <a:pt x="621" y="284"/>
                </a:cubicBezTo>
                <a:cubicBezTo>
                  <a:pt x="621" y="284"/>
                  <a:pt x="621" y="284"/>
                  <a:pt x="621" y="284"/>
                </a:cubicBezTo>
                <a:cubicBezTo>
                  <a:pt x="622" y="284"/>
                  <a:pt x="622" y="284"/>
                  <a:pt x="622" y="284"/>
                </a:cubicBezTo>
                <a:cubicBezTo>
                  <a:pt x="622" y="284"/>
                  <a:pt x="622" y="284"/>
                  <a:pt x="621" y="284"/>
                </a:cubicBezTo>
                <a:cubicBezTo>
                  <a:pt x="621" y="283"/>
                  <a:pt x="621" y="283"/>
                  <a:pt x="621" y="283"/>
                </a:cubicBezTo>
                <a:cubicBezTo>
                  <a:pt x="622" y="283"/>
                  <a:pt x="622" y="283"/>
                  <a:pt x="622" y="283"/>
                </a:cubicBezTo>
                <a:cubicBezTo>
                  <a:pt x="622" y="283"/>
                  <a:pt x="622" y="283"/>
                  <a:pt x="622" y="283"/>
                </a:cubicBezTo>
                <a:cubicBezTo>
                  <a:pt x="622" y="283"/>
                  <a:pt x="622" y="283"/>
                  <a:pt x="622" y="283"/>
                </a:cubicBezTo>
                <a:cubicBezTo>
                  <a:pt x="622" y="283"/>
                  <a:pt x="622" y="283"/>
                  <a:pt x="622" y="283"/>
                </a:cubicBezTo>
                <a:cubicBezTo>
                  <a:pt x="622" y="283"/>
                  <a:pt x="622" y="283"/>
                  <a:pt x="622" y="284"/>
                </a:cubicBezTo>
                <a:cubicBezTo>
                  <a:pt x="622" y="284"/>
                  <a:pt x="622" y="284"/>
                  <a:pt x="622" y="284"/>
                </a:cubicBezTo>
                <a:cubicBezTo>
                  <a:pt x="622" y="284"/>
                  <a:pt x="622" y="283"/>
                  <a:pt x="622" y="283"/>
                </a:cubicBezTo>
                <a:cubicBezTo>
                  <a:pt x="623" y="283"/>
                  <a:pt x="623" y="283"/>
                  <a:pt x="623" y="283"/>
                </a:cubicBezTo>
                <a:cubicBezTo>
                  <a:pt x="623" y="283"/>
                  <a:pt x="623" y="283"/>
                  <a:pt x="623" y="283"/>
                </a:cubicBezTo>
                <a:cubicBezTo>
                  <a:pt x="623" y="283"/>
                  <a:pt x="623" y="283"/>
                  <a:pt x="623" y="283"/>
                </a:cubicBezTo>
                <a:cubicBezTo>
                  <a:pt x="623" y="283"/>
                  <a:pt x="623" y="283"/>
                  <a:pt x="623" y="284"/>
                </a:cubicBezTo>
                <a:cubicBezTo>
                  <a:pt x="623" y="284"/>
                  <a:pt x="623" y="284"/>
                  <a:pt x="623" y="284"/>
                </a:cubicBezTo>
                <a:cubicBezTo>
                  <a:pt x="623" y="284"/>
                  <a:pt x="623" y="284"/>
                  <a:pt x="624" y="284"/>
                </a:cubicBezTo>
                <a:cubicBezTo>
                  <a:pt x="624" y="284"/>
                  <a:pt x="624" y="284"/>
                  <a:pt x="624" y="284"/>
                </a:cubicBezTo>
                <a:cubicBezTo>
                  <a:pt x="624" y="284"/>
                  <a:pt x="624" y="284"/>
                  <a:pt x="624" y="284"/>
                </a:cubicBezTo>
                <a:cubicBezTo>
                  <a:pt x="624" y="284"/>
                  <a:pt x="623" y="284"/>
                  <a:pt x="623" y="284"/>
                </a:cubicBezTo>
                <a:cubicBezTo>
                  <a:pt x="623" y="284"/>
                  <a:pt x="622" y="285"/>
                  <a:pt x="622" y="285"/>
                </a:cubicBezTo>
                <a:cubicBezTo>
                  <a:pt x="622" y="285"/>
                  <a:pt x="622" y="285"/>
                  <a:pt x="622" y="285"/>
                </a:cubicBezTo>
                <a:cubicBezTo>
                  <a:pt x="622" y="285"/>
                  <a:pt x="622" y="285"/>
                  <a:pt x="623" y="285"/>
                </a:cubicBezTo>
                <a:cubicBezTo>
                  <a:pt x="623" y="285"/>
                  <a:pt x="623" y="285"/>
                  <a:pt x="623" y="285"/>
                </a:cubicBezTo>
                <a:cubicBezTo>
                  <a:pt x="623" y="285"/>
                  <a:pt x="623" y="285"/>
                  <a:pt x="623" y="285"/>
                </a:cubicBezTo>
                <a:cubicBezTo>
                  <a:pt x="624" y="285"/>
                  <a:pt x="624" y="285"/>
                  <a:pt x="624" y="285"/>
                </a:cubicBezTo>
                <a:cubicBezTo>
                  <a:pt x="624" y="285"/>
                  <a:pt x="624" y="285"/>
                  <a:pt x="624" y="285"/>
                </a:cubicBezTo>
                <a:cubicBezTo>
                  <a:pt x="624" y="285"/>
                  <a:pt x="625" y="285"/>
                  <a:pt x="625" y="285"/>
                </a:cubicBezTo>
                <a:cubicBezTo>
                  <a:pt x="625" y="284"/>
                  <a:pt x="625" y="284"/>
                  <a:pt x="625" y="284"/>
                </a:cubicBezTo>
                <a:cubicBezTo>
                  <a:pt x="625" y="284"/>
                  <a:pt x="625" y="284"/>
                  <a:pt x="626" y="284"/>
                </a:cubicBezTo>
                <a:cubicBezTo>
                  <a:pt x="625" y="284"/>
                  <a:pt x="625" y="284"/>
                  <a:pt x="625" y="283"/>
                </a:cubicBezTo>
                <a:cubicBezTo>
                  <a:pt x="625" y="283"/>
                  <a:pt x="626" y="284"/>
                  <a:pt x="626" y="284"/>
                </a:cubicBezTo>
                <a:cubicBezTo>
                  <a:pt x="626" y="284"/>
                  <a:pt x="626" y="284"/>
                  <a:pt x="627" y="284"/>
                </a:cubicBezTo>
                <a:cubicBezTo>
                  <a:pt x="627" y="284"/>
                  <a:pt x="627" y="284"/>
                  <a:pt x="627" y="284"/>
                </a:cubicBezTo>
                <a:cubicBezTo>
                  <a:pt x="627" y="284"/>
                  <a:pt x="628" y="284"/>
                  <a:pt x="628" y="284"/>
                </a:cubicBezTo>
                <a:cubicBezTo>
                  <a:pt x="628" y="283"/>
                  <a:pt x="628" y="283"/>
                  <a:pt x="628" y="283"/>
                </a:cubicBezTo>
                <a:cubicBezTo>
                  <a:pt x="628" y="283"/>
                  <a:pt x="629" y="283"/>
                  <a:pt x="629" y="283"/>
                </a:cubicBezTo>
                <a:cubicBezTo>
                  <a:pt x="629" y="283"/>
                  <a:pt x="629" y="283"/>
                  <a:pt x="628" y="284"/>
                </a:cubicBezTo>
                <a:cubicBezTo>
                  <a:pt x="628" y="284"/>
                  <a:pt x="628" y="284"/>
                  <a:pt x="628" y="284"/>
                </a:cubicBezTo>
                <a:cubicBezTo>
                  <a:pt x="628" y="284"/>
                  <a:pt x="628" y="284"/>
                  <a:pt x="627" y="284"/>
                </a:cubicBezTo>
                <a:cubicBezTo>
                  <a:pt x="627" y="284"/>
                  <a:pt x="627" y="284"/>
                  <a:pt x="627" y="284"/>
                </a:cubicBezTo>
                <a:cubicBezTo>
                  <a:pt x="626" y="285"/>
                  <a:pt x="626" y="285"/>
                  <a:pt x="626" y="285"/>
                </a:cubicBezTo>
                <a:cubicBezTo>
                  <a:pt x="626" y="285"/>
                  <a:pt x="626" y="285"/>
                  <a:pt x="626" y="285"/>
                </a:cubicBezTo>
                <a:cubicBezTo>
                  <a:pt x="626" y="285"/>
                  <a:pt x="626" y="285"/>
                  <a:pt x="626" y="285"/>
                </a:cubicBezTo>
                <a:cubicBezTo>
                  <a:pt x="626" y="285"/>
                  <a:pt x="626" y="286"/>
                  <a:pt x="626" y="286"/>
                </a:cubicBezTo>
                <a:cubicBezTo>
                  <a:pt x="626" y="286"/>
                  <a:pt x="625" y="286"/>
                  <a:pt x="625" y="286"/>
                </a:cubicBezTo>
                <a:cubicBezTo>
                  <a:pt x="625" y="286"/>
                  <a:pt x="625" y="286"/>
                  <a:pt x="625" y="286"/>
                </a:cubicBezTo>
                <a:cubicBezTo>
                  <a:pt x="625" y="286"/>
                  <a:pt x="625" y="286"/>
                  <a:pt x="625" y="286"/>
                </a:cubicBezTo>
                <a:cubicBezTo>
                  <a:pt x="624" y="286"/>
                  <a:pt x="624" y="286"/>
                  <a:pt x="624" y="287"/>
                </a:cubicBezTo>
                <a:cubicBezTo>
                  <a:pt x="624" y="287"/>
                  <a:pt x="624" y="287"/>
                  <a:pt x="623" y="287"/>
                </a:cubicBezTo>
                <a:cubicBezTo>
                  <a:pt x="623" y="287"/>
                  <a:pt x="623" y="287"/>
                  <a:pt x="623" y="287"/>
                </a:cubicBezTo>
                <a:cubicBezTo>
                  <a:pt x="623" y="287"/>
                  <a:pt x="623" y="288"/>
                  <a:pt x="623" y="288"/>
                </a:cubicBezTo>
                <a:cubicBezTo>
                  <a:pt x="623" y="288"/>
                  <a:pt x="623" y="288"/>
                  <a:pt x="623" y="288"/>
                </a:cubicBezTo>
                <a:cubicBezTo>
                  <a:pt x="623" y="288"/>
                  <a:pt x="623" y="288"/>
                  <a:pt x="623" y="288"/>
                </a:cubicBezTo>
                <a:cubicBezTo>
                  <a:pt x="623" y="288"/>
                  <a:pt x="624" y="288"/>
                  <a:pt x="624" y="288"/>
                </a:cubicBezTo>
                <a:cubicBezTo>
                  <a:pt x="624" y="288"/>
                  <a:pt x="624" y="288"/>
                  <a:pt x="624" y="288"/>
                </a:cubicBezTo>
                <a:cubicBezTo>
                  <a:pt x="624" y="287"/>
                  <a:pt x="624" y="287"/>
                  <a:pt x="624" y="287"/>
                </a:cubicBezTo>
                <a:cubicBezTo>
                  <a:pt x="624" y="287"/>
                  <a:pt x="625" y="287"/>
                  <a:pt x="625" y="287"/>
                </a:cubicBezTo>
                <a:cubicBezTo>
                  <a:pt x="625" y="287"/>
                  <a:pt x="625" y="288"/>
                  <a:pt x="625" y="288"/>
                </a:cubicBezTo>
                <a:cubicBezTo>
                  <a:pt x="625" y="288"/>
                  <a:pt x="625" y="288"/>
                  <a:pt x="625" y="288"/>
                </a:cubicBezTo>
                <a:cubicBezTo>
                  <a:pt x="625" y="288"/>
                  <a:pt x="626" y="288"/>
                  <a:pt x="626" y="287"/>
                </a:cubicBezTo>
                <a:cubicBezTo>
                  <a:pt x="626" y="287"/>
                  <a:pt x="626" y="287"/>
                  <a:pt x="626" y="287"/>
                </a:cubicBezTo>
                <a:cubicBezTo>
                  <a:pt x="626" y="287"/>
                  <a:pt x="627" y="287"/>
                  <a:pt x="627" y="287"/>
                </a:cubicBezTo>
                <a:cubicBezTo>
                  <a:pt x="627" y="287"/>
                  <a:pt x="627" y="287"/>
                  <a:pt x="627" y="286"/>
                </a:cubicBezTo>
                <a:cubicBezTo>
                  <a:pt x="627" y="286"/>
                  <a:pt x="627" y="286"/>
                  <a:pt x="627" y="286"/>
                </a:cubicBezTo>
                <a:cubicBezTo>
                  <a:pt x="627" y="286"/>
                  <a:pt x="627" y="286"/>
                  <a:pt x="627" y="286"/>
                </a:cubicBezTo>
                <a:cubicBezTo>
                  <a:pt x="627" y="286"/>
                  <a:pt x="627" y="285"/>
                  <a:pt x="627" y="285"/>
                </a:cubicBezTo>
                <a:cubicBezTo>
                  <a:pt x="628" y="285"/>
                  <a:pt x="628" y="285"/>
                  <a:pt x="628" y="285"/>
                </a:cubicBezTo>
                <a:cubicBezTo>
                  <a:pt x="628" y="284"/>
                  <a:pt x="628" y="284"/>
                  <a:pt x="629" y="284"/>
                </a:cubicBezTo>
                <a:cubicBezTo>
                  <a:pt x="629" y="284"/>
                  <a:pt x="629" y="284"/>
                  <a:pt x="629" y="284"/>
                </a:cubicBezTo>
                <a:cubicBezTo>
                  <a:pt x="629" y="284"/>
                  <a:pt x="630" y="284"/>
                  <a:pt x="630" y="284"/>
                </a:cubicBezTo>
                <a:cubicBezTo>
                  <a:pt x="630" y="284"/>
                  <a:pt x="629" y="285"/>
                  <a:pt x="629" y="285"/>
                </a:cubicBezTo>
                <a:cubicBezTo>
                  <a:pt x="629" y="285"/>
                  <a:pt x="630" y="285"/>
                  <a:pt x="630" y="285"/>
                </a:cubicBezTo>
                <a:cubicBezTo>
                  <a:pt x="630" y="284"/>
                  <a:pt x="630" y="284"/>
                  <a:pt x="630" y="284"/>
                </a:cubicBezTo>
                <a:cubicBezTo>
                  <a:pt x="630" y="284"/>
                  <a:pt x="630" y="284"/>
                  <a:pt x="630" y="283"/>
                </a:cubicBezTo>
                <a:cubicBezTo>
                  <a:pt x="631" y="283"/>
                  <a:pt x="631" y="283"/>
                  <a:pt x="631" y="283"/>
                </a:cubicBezTo>
                <a:cubicBezTo>
                  <a:pt x="631" y="282"/>
                  <a:pt x="631" y="282"/>
                  <a:pt x="631" y="282"/>
                </a:cubicBezTo>
                <a:cubicBezTo>
                  <a:pt x="631" y="282"/>
                  <a:pt x="631" y="282"/>
                  <a:pt x="631" y="282"/>
                </a:cubicBezTo>
                <a:cubicBezTo>
                  <a:pt x="631" y="282"/>
                  <a:pt x="631" y="282"/>
                  <a:pt x="631" y="282"/>
                </a:cubicBezTo>
                <a:cubicBezTo>
                  <a:pt x="631" y="282"/>
                  <a:pt x="631" y="282"/>
                  <a:pt x="632" y="282"/>
                </a:cubicBezTo>
                <a:cubicBezTo>
                  <a:pt x="632" y="282"/>
                  <a:pt x="632" y="282"/>
                  <a:pt x="632" y="282"/>
                </a:cubicBezTo>
                <a:cubicBezTo>
                  <a:pt x="632" y="282"/>
                  <a:pt x="632" y="282"/>
                  <a:pt x="632" y="282"/>
                </a:cubicBezTo>
                <a:cubicBezTo>
                  <a:pt x="632" y="282"/>
                  <a:pt x="633" y="282"/>
                  <a:pt x="633" y="283"/>
                </a:cubicBezTo>
                <a:cubicBezTo>
                  <a:pt x="633" y="283"/>
                  <a:pt x="633" y="283"/>
                  <a:pt x="633" y="283"/>
                </a:cubicBezTo>
                <a:cubicBezTo>
                  <a:pt x="633" y="283"/>
                  <a:pt x="633" y="283"/>
                  <a:pt x="633" y="284"/>
                </a:cubicBezTo>
                <a:cubicBezTo>
                  <a:pt x="633" y="284"/>
                  <a:pt x="633" y="284"/>
                  <a:pt x="633" y="284"/>
                </a:cubicBezTo>
                <a:cubicBezTo>
                  <a:pt x="633" y="284"/>
                  <a:pt x="633" y="284"/>
                  <a:pt x="633" y="284"/>
                </a:cubicBezTo>
                <a:cubicBezTo>
                  <a:pt x="632" y="284"/>
                  <a:pt x="632" y="285"/>
                  <a:pt x="632" y="285"/>
                </a:cubicBezTo>
                <a:cubicBezTo>
                  <a:pt x="632" y="285"/>
                  <a:pt x="632" y="286"/>
                  <a:pt x="632" y="286"/>
                </a:cubicBezTo>
                <a:cubicBezTo>
                  <a:pt x="632" y="286"/>
                  <a:pt x="632" y="286"/>
                  <a:pt x="632" y="286"/>
                </a:cubicBezTo>
                <a:cubicBezTo>
                  <a:pt x="632" y="287"/>
                  <a:pt x="631" y="287"/>
                  <a:pt x="631" y="287"/>
                </a:cubicBezTo>
                <a:cubicBezTo>
                  <a:pt x="631" y="287"/>
                  <a:pt x="631" y="287"/>
                  <a:pt x="631" y="287"/>
                </a:cubicBezTo>
                <a:cubicBezTo>
                  <a:pt x="632" y="287"/>
                  <a:pt x="632" y="287"/>
                  <a:pt x="632" y="287"/>
                </a:cubicBezTo>
                <a:cubicBezTo>
                  <a:pt x="632" y="287"/>
                  <a:pt x="632" y="287"/>
                  <a:pt x="633" y="287"/>
                </a:cubicBezTo>
                <a:cubicBezTo>
                  <a:pt x="633" y="286"/>
                  <a:pt x="633" y="286"/>
                  <a:pt x="633" y="286"/>
                </a:cubicBezTo>
                <a:cubicBezTo>
                  <a:pt x="633" y="286"/>
                  <a:pt x="634" y="286"/>
                  <a:pt x="634" y="286"/>
                </a:cubicBezTo>
                <a:cubicBezTo>
                  <a:pt x="634" y="285"/>
                  <a:pt x="634" y="285"/>
                  <a:pt x="634" y="285"/>
                </a:cubicBezTo>
                <a:cubicBezTo>
                  <a:pt x="634" y="285"/>
                  <a:pt x="634" y="285"/>
                  <a:pt x="635" y="284"/>
                </a:cubicBezTo>
                <a:cubicBezTo>
                  <a:pt x="635" y="284"/>
                  <a:pt x="635" y="285"/>
                  <a:pt x="635" y="285"/>
                </a:cubicBezTo>
                <a:cubicBezTo>
                  <a:pt x="635" y="285"/>
                  <a:pt x="635" y="285"/>
                  <a:pt x="636" y="284"/>
                </a:cubicBezTo>
                <a:cubicBezTo>
                  <a:pt x="636" y="285"/>
                  <a:pt x="636" y="285"/>
                  <a:pt x="636" y="285"/>
                </a:cubicBezTo>
                <a:cubicBezTo>
                  <a:pt x="635" y="285"/>
                  <a:pt x="635" y="285"/>
                  <a:pt x="635" y="285"/>
                </a:cubicBezTo>
                <a:cubicBezTo>
                  <a:pt x="635" y="285"/>
                  <a:pt x="635" y="285"/>
                  <a:pt x="634" y="286"/>
                </a:cubicBezTo>
                <a:cubicBezTo>
                  <a:pt x="634" y="286"/>
                  <a:pt x="634" y="286"/>
                  <a:pt x="634" y="286"/>
                </a:cubicBezTo>
                <a:cubicBezTo>
                  <a:pt x="634" y="286"/>
                  <a:pt x="634" y="286"/>
                  <a:pt x="634" y="287"/>
                </a:cubicBezTo>
                <a:cubicBezTo>
                  <a:pt x="634" y="287"/>
                  <a:pt x="634" y="287"/>
                  <a:pt x="635" y="287"/>
                </a:cubicBezTo>
                <a:cubicBezTo>
                  <a:pt x="635" y="287"/>
                  <a:pt x="635" y="287"/>
                  <a:pt x="635" y="287"/>
                </a:cubicBezTo>
                <a:cubicBezTo>
                  <a:pt x="635" y="288"/>
                  <a:pt x="635" y="288"/>
                  <a:pt x="635" y="288"/>
                </a:cubicBezTo>
                <a:cubicBezTo>
                  <a:pt x="635" y="288"/>
                  <a:pt x="635" y="287"/>
                  <a:pt x="635" y="287"/>
                </a:cubicBezTo>
                <a:cubicBezTo>
                  <a:pt x="636" y="287"/>
                  <a:pt x="636" y="287"/>
                  <a:pt x="636" y="287"/>
                </a:cubicBezTo>
                <a:cubicBezTo>
                  <a:pt x="636" y="287"/>
                  <a:pt x="636" y="287"/>
                  <a:pt x="636" y="287"/>
                </a:cubicBezTo>
                <a:cubicBezTo>
                  <a:pt x="636" y="287"/>
                  <a:pt x="637" y="287"/>
                  <a:pt x="637" y="287"/>
                </a:cubicBezTo>
                <a:cubicBezTo>
                  <a:pt x="637" y="287"/>
                  <a:pt x="637" y="287"/>
                  <a:pt x="637" y="287"/>
                </a:cubicBezTo>
                <a:cubicBezTo>
                  <a:pt x="638" y="287"/>
                  <a:pt x="638" y="287"/>
                  <a:pt x="638" y="287"/>
                </a:cubicBezTo>
                <a:cubicBezTo>
                  <a:pt x="638" y="287"/>
                  <a:pt x="638" y="286"/>
                  <a:pt x="638" y="286"/>
                </a:cubicBezTo>
                <a:cubicBezTo>
                  <a:pt x="638" y="286"/>
                  <a:pt x="638" y="286"/>
                  <a:pt x="638" y="286"/>
                </a:cubicBezTo>
                <a:cubicBezTo>
                  <a:pt x="638" y="286"/>
                  <a:pt x="638" y="286"/>
                  <a:pt x="638" y="286"/>
                </a:cubicBezTo>
                <a:cubicBezTo>
                  <a:pt x="638" y="286"/>
                  <a:pt x="638" y="286"/>
                  <a:pt x="638" y="285"/>
                </a:cubicBezTo>
                <a:cubicBezTo>
                  <a:pt x="638" y="285"/>
                  <a:pt x="638" y="285"/>
                  <a:pt x="638" y="285"/>
                </a:cubicBezTo>
                <a:cubicBezTo>
                  <a:pt x="638" y="285"/>
                  <a:pt x="639" y="285"/>
                  <a:pt x="639" y="285"/>
                </a:cubicBezTo>
                <a:cubicBezTo>
                  <a:pt x="638" y="285"/>
                  <a:pt x="638" y="285"/>
                  <a:pt x="638" y="285"/>
                </a:cubicBezTo>
                <a:cubicBezTo>
                  <a:pt x="638" y="284"/>
                  <a:pt x="638" y="284"/>
                  <a:pt x="638" y="284"/>
                </a:cubicBezTo>
                <a:cubicBezTo>
                  <a:pt x="639" y="284"/>
                  <a:pt x="639" y="283"/>
                  <a:pt x="639" y="283"/>
                </a:cubicBezTo>
                <a:cubicBezTo>
                  <a:pt x="639" y="283"/>
                  <a:pt x="639" y="283"/>
                  <a:pt x="640" y="282"/>
                </a:cubicBezTo>
                <a:cubicBezTo>
                  <a:pt x="639" y="282"/>
                  <a:pt x="639" y="282"/>
                  <a:pt x="639" y="281"/>
                </a:cubicBezTo>
                <a:cubicBezTo>
                  <a:pt x="639" y="281"/>
                  <a:pt x="639" y="281"/>
                  <a:pt x="639" y="281"/>
                </a:cubicBezTo>
                <a:cubicBezTo>
                  <a:pt x="639" y="281"/>
                  <a:pt x="639" y="281"/>
                  <a:pt x="639" y="281"/>
                </a:cubicBezTo>
                <a:cubicBezTo>
                  <a:pt x="639" y="281"/>
                  <a:pt x="639" y="281"/>
                  <a:pt x="639" y="281"/>
                </a:cubicBezTo>
                <a:cubicBezTo>
                  <a:pt x="639" y="281"/>
                  <a:pt x="639" y="282"/>
                  <a:pt x="639" y="282"/>
                </a:cubicBezTo>
                <a:cubicBezTo>
                  <a:pt x="638" y="282"/>
                  <a:pt x="638" y="282"/>
                  <a:pt x="638" y="282"/>
                </a:cubicBezTo>
                <a:cubicBezTo>
                  <a:pt x="638" y="283"/>
                  <a:pt x="638" y="283"/>
                  <a:pt x="637" y="283"/>
                </a:cubicBezTo>
                <a:cubicBezTo>
                  <a:pt x="637" y="283"/>
                  <a:pt x="637" y="283"/>
                  <a:pt x="637" y="283"/>
                </a:cubicBezTo>
                <a:cubicBezTo>
                  <a:pt x="637" y="283"/>
                  <a:pt x="637" y="283"/>
                  <a:pt x="637" y="283"/>
                </a:cubicBezTo>
                <a:cubicBezTo>
                  <a:pt x="637" y="283"/>
                  <a:pt x="637" y="282"/>
                  <a:pt x="637" y="282"/>
                </a:cubicBezTo>
                <a:cubicBezTo>
                  <a:pt x="637" y="282"/>
                  <a:pt x="636" y="282"/>
                  <a:pt x="636" y="282"/>
                </a:cubicBezTo>
                <a:cubicBezTo>
                  <a:pt x="637" y="281"/>
                  <a:pt x="637" y="281"/>
                  <a:pt x="637" y="281"/>
                </a:cubicBezTo>
                <a:cubicBezTo>
                  <a:pt x="637" y="281"/>
                  <a:pt x="637" y="281"/>
                  <a:pt x="637" y="281"/>
                </a:cubicBezTo>
                <a:cubicBezTo>
                  <a:pt x="638" y="280"/>
                  <a:pt x="638" y="280"/>
                  <a:pt x="638" y="280"/>
                </a:cubicBezTo>
                <a:cubicBezTo>
                  <a:pt x="638" y="280"/>
                  <a:pt x="638" y="280"/>
                  <a:pt x="638" y="280"/>
                </a:cubicBezTo>
                <a:cubicBezTo>
                  <a:pt x="639" y="280"/>
                  <a:pt x="639" y="280"/>
                  <a:pt x="639" y="280"/>
                </a:cubicBezTo>
                <a:cubicBezTo>
                  <a:pt x="639" y="280"/>
                  <a:pt x="639" y="280"/>
                  <a:pt x="638" y="279"/>
                </a:cubicBezTo>
                <a:cubicBezTo>
                  <a:pt x="638" y="280"/>
                  <a:pt x="638" y="280"/>
                  <a:pt x="638" y="280"/>
                </a:cubicBezTo>
                <a:cubicBezTo>
                  <a:pt x="638" y="280"/>
                  <a:pt x="638" y="280"/>
                  <a:pt x="638" y="280"/>
                </a:cubicBezTo>
                <a:cubicBezTo>
                  <a:pt x="638" y="280"/>
                  <a:pt x="637" y="280"/>
                  <a:pt x="637" y="280"/>
                </a:cubicBezTo>
                <a:cubicBezTo>
                  <a:pt x="637" y="280"/>
                  <a:pt x="637" y="280"/>
                  <a:pt x="637" y="280"/>
                </a:cubicBezTo>
                <a:cubicBezTo>
                  <a:pt x="636" y="281"/>
                  <a:pt x="636" y="281"/>
                  <a:pt x="636" y="281"/>
                </a:cubicBezTo>
                <a:cubicBezTo>
                  <a:pt x="636" y="281"/>
                  <a:pt x="636" y="281"/>
                  <a:pt x="636" y="281"/>
                </a:cubicBezTo>
                <a:cubicBezTo>
                  <a:pt x="636" y="282"/>
                  <a:pt x="635" y="282"/>
                  <a:pt x="635" y="282"/>
                </a:cubicBezTo>
                <a:cubicBezTo>
                  <a:pt x="635" y="282"/>
                  <a:pt x="635" y="282"/>
                  <a:pt x="635" y="282"/>
                </a:cubicBezTo>
                <a:cubicBezTo>
                  <a:pt x="635" y="283"/>
                  <a:pt x="635" y="283"/>
                  <a:pt x="634" y="283"/>
                </a:cubicBezTo>
                <a:cubicBezTo>
                  <a:pt x="634" y="283"/>
                  <a:pt x="634" y="283"/>
                  <a:pt x="634" y="282"/>
                </a:cubicBezTo>
                <a:cubicBezTo>
                  <a:pt x="633" y="282"/>
                  <a:pt x="633" y="282"/>
                  <a:pt x="633" y="282"/>
                </a:cubicBezTo>
                <a:cubicBezTo>
                  <a:pt x="633" y="282"/>
                  <a:pt x="633" y="282"/>
                  <a:pt x="633" y="282"/>
                </a:cubicBezTo>
                <a:cubicBezTo>
                  <a:pt x="633" y="282"/>
                  <a:pt x="633" y="281"/>
                  <a:pt x="633" y="281"/>
                </a:cubicBezTo>
                <a:cubicBezTo>
                  <a:pt x="633" y="281"/>
                  <a:pt x="633" y="282"/>
                  <a:pt x="633" y="282"/>
                </a:cubicBezTo>
                <a:cubicBezTo>
                  <a:pt x="633" y="282"/>
                  <a:pt x="634" y="282"/>
                  <a:pt x="634" y="282"/>
                </a:cubicBezTo>
                <a:cubicBezTo>
                  <a:pt x="634" y="281"/>
                  <a:pt x="634" y="281"/>
                  <a:pt x="634" y="281"/>
                </a:cubicBezTo>
                <a:cubicBezTo>
                  <a:pt x="634" y="281"/>
                  <a:pt x="634" y="281"/>
                  <a:pt x="634" y="281"/>
                </a:cubicBezTo>
                <a:cubicBezTo>
                  <a:pt x="634" y="281"/>
                  <a:pt x="633" y="281"/>
                  <a:pt x="633" y="281"/>
                </a:cubicBezTo>
                <a:cubicBezTo>
                  <a:pt x="633" y="281"/>
                  <a:pt x="633" y="281"/>
                  <a:pt x="634" y="281"/>
                </a:cubicBezTo>
                <a:cubicBezTo>
                  <a:pt x="634" y="281"/>
                  <a:pt x="634" y="281"/>
                  <a:pt x="634" y="281"/>
                </a:cubicBezTo>
                <a:cubicBezTo>
                  <a:pt x="634" y="281"/>
                  <a:pt x="634" y="281"/>
                  <a:pt x="633" y="281"/>
                </a:cubicBezTo>
                <a:cubicBezTo>
                  <a:pt x="633" y="281"/>
                  <a:pt x="633" y="280"/>
                  <a:pt x="633" y="280"/>
                </a:cubicBezTo>
                <a:cubicBezTo>
                  <a:pt x="633" y="280"/>
                  <a:pt x="633" y="280"/>
                  <a:pt x="633" y="280"/>
                </a:cubicBezTo>
                <a:cubicBezTo>
                  <a:pt x="633" y="280"/>
                  <a:pt x="633" y="280"/>
                  <a:pt x="633" y="280"/>
                </a:cubicBezTo>
                <a:cubicBezTo>
                  <a:pt x="634" y="280"/>
                  <a:pt x="634" y="280"/>
                  <a:pt x="634" y="280"/>
                </a:cubicBezTo>
                <a:cubicBezTo>
                  <a:pt x="634" y="280"/>
                  <a:pt x="634" y="280"/>
                  <a:pt x="634" y="280"/>
                </a:cubicBezTo>
                <a:cubicBezTo>
                  <a:pt x="635" y="279"/>
                  <a:pt x="635" y="279"/>
                  <a:pt x="635" y="279"/>
                </a:cubicBezTo>
                <a:cubicBezTo>
                  <a:pt x="635" y="279"/>
                  <a:pt x="635" y="279"/>
                  <a:pt x="635" y="278"/>
                </a:cubicBezTo>
                <a:cubicBezTo>
                  <a:pt x="636" y="278"/>
                  <a:pt x="636" y="278"/>
                  <a:pt x="636" y="278"/>
                </a:cubicBezTo>
                <a:cubicBezTo>
                  <a:pt x="636" y="278"/>
                  <a:pt x="636" y="278"/>
                  <a:pt x="636" y="278"/>
                </a:cubicBezTo>
                <a:cubicBezTo>
                  <a:pt x="637" y="278"/>
                  <a:pt x="637" y="278"/>
                  <a:pt x="637" y="278"/>
                </a:cubicBezTo>
                <a:cubicBezTo>
                  <a:pt x="637" y="278"/>
                  <a:pt x="638" y="277"/>
                  <a:pt x="638" y="277"/>
                </a:cubicBezTo>
                <a:cubicBezTo>
                  <a:pt x="638" y="277"/>
                  <a:pt x="638" y="277"/>
                  <a:pt x="637" y="277"/>
                </a:cubicBezTo>
                <a:cubicBezTo>
                  <a:pt x="637" y="277"/>
                  <a:pt x="637" y="276"/>
                  <a:pt x="637" y="276"/>
                </a:cubicBezTo>
                <a:cubicBezTo>
                  <a:pt x="637" y="277"/>
                  <a:pt x="637" y="277"/>
                  <a:pt x="637" y="277"/>
                </a:cubicBezTo>
                <a:cubicBezTo>
                  <a:pt x="636" y="277"/>
                  <a:pt x="636" y="277"/>
                  <a:pt x="636" y="277"/>
                </a:cubicBezTo>
                <a:cubicBezTo>
                  <a:pt x="636" y="277"/>
                  <a:pt x="636" y="277"/>
                  <a:pt x="636" y="277"/>
                </a:cubicBezTo>
                <a:cubicBezTo>
                  <a:pt x="636" y="277"/>
                  <a:pt x="635" y="277"/>
                  <a:pt x="635" y="277"/>
                </a:cubicBezTo>
                <a:cubicBezTo>
                  <a:pt x="635" y="277"/>
                  <a:pt x="635" y="277"/>
                  <a:pt x="635" y="277"/>
                </a:cubicBezTo>
                <a:cubicBezTo>
                  <a:pt x="635" y="278"/>
                  <a:pt x="635" y="278"/>
                  <a:pt x="635" y="278"/>
                </a:cubicBezTo>
                <a:cubicBezTo>
                  <a:pt x="635" y="278"/>
                  <a:pt x="635" y="278"/>
                  <a:pt x="635" y="278"/>
                </a:cubicBezTo>
                <a:cubicBezTo>
                  <a:pt x="635" y="278"/>
                  <a:pt x="635" y="278"/>
                  <a:pt x="634" y="278"/>
                </a:cubicBezTo>
                <a:cubicBezTo>
                  <a:pt x="634" y="278"/>
                  <a:pt x="634" y="279"/>
                  <a:pt x="634" y="279"/>
                </a:cubicBezTo>
                <a:cubicBezTo>
                  <a:pt x="634" y="279"/>
                  <a:pt x="634" y="279"/>
                  <a:pt x="633" y="279"/>
                </a:cubicBezTo>
                <a:cubicBezTo>
                  <a:pt x="633" y="279"/>
                  <a:pt x="633" y="279"/>
                  <a:pt x="633" y="279"/>
                </a:cubicBezTo>
                <a:cubicBezTo>
                  <a:pt x="633" y="279"/>
                  <a:pt x="633" y="279"/>
                  <a:pt x="633" y="280"/>
                </a:cubicBezTo>
                <a:cubicBezTo>
                  <a:pt x="633" y="279"/>
                  <a:pt x="633" y="279"/>
                  <a:pt x="633" y="279"/>
                </a:cubicBezTo>
                <a:cubicBezTo>
                  <a:pt x="633" y="279"/>
                  <a:pt x="633" y="279"/>
                  <a:pt x="633" y="279"/>
                </a:cubicBezTo>
                <a:cubicBezTo>
                  <a:pt x="633" y="279"/>
                  <a:pt x="633" y="279"/>
                  <a:pt x="633" y="279"/>
                </a:cubicBezTo>
                <a:cubicBezTo>
                  <a:pt x="633" y="279"/>
                  <a:pt x="632" y="279"/>
                  <a:pt x="632" y="279"/>
                </a:cubicBezTo>
                <a:cubicBezTo>
                  <a:pt x="632" y="279"/>
                  <a:pt x="633" y="279"/>
                  <a:pt x="633" y="279"/>
                </a:cubicBezTo>
                <a:cubicBezTo>
                  <a:pt x="633" y="279"/>
                  <a:pt x="633" y="278"/>
                  <a:pt x="633" y="278"/>
                </a:cubicBezTo>
                <a:cubicBezTo>
                  <a:pt x="633" y="278"/>
                  <a:pt x="633" y="278"/>
                  <a:pt x="633" y="278"/>
                </a:cubicBezTo>
                <a:cubicBezTo>
                  <a:pt x="633" y="278"/>
                  <a:pt x="633" y="278"/>
                  <a:pt x="633" y="278"/>
                </a:cubicBezTo>
                <a:cubicBezTo>
                  <a:pt x="633" y="278"/>
                  <a:pt x="633" y="278"/>
                  <a:pt x="633" y="278"/>
                </a:cubicBezTo>
                <a:cubicBezTo>
                  <a:pt x="633" y="277"/>
                  <a:pt x="634" y="277"/>
                  <a:pt x="634" y="277"/>
                </a:cubicBezTo>
                <a:cubicBezTo>
                  <a:pt x="633" y="277"/>
                  <a:pt x="633" y="277"/>
                  <a:pt x="633" y="277"/>
                </a:cubicBezTo>
                <a:cubicBezTo>
                  <a:pt x="633" y="277"/>
                  <a:pt x="633" y="277"/>
                  <a:pt x="633" y="277"/>
                </a:cubicBezTo>
                <a:cubicBezTo>
                  <a:pt x="633" y="277"/>
                  <a:pt x="633" y="277"/>
                  <a:pt x="633" y="277"/>
                </a:cubicBezTo>
                <a:cubicBezTo>
                  <a:pt x="633" y="277"/>
                  <a:pt x="633" y="277"/>
                  <a:pt x="633" y="277"/>
                </a:cubicBezTo>
                <a:cubicBezTo>
                  <a:pt x="633" y="277"/>
                  <a:pt x="633" y="277"/>
                  <a:pt x="633" y="277"/>
                </a:cubicBezTo>
                <a:cubicBezTo>
                  <a:pt x="632" y="277"/>
                  <a:pt x="632" y="277"/>
                  <a:pt x="632" y="277"/>
                </a:cubicBezTo>
                <a:cubicBezTo>
                  <a:pt x="632" y="277"/>
                  <a:pt x="631" y="277"/>
                  <a:pt x="631" y="277"/>
                </a:cubicBezTo>
                <a:cubicBezTo>
                  <a:pt x="631" y="277"/>
                  <a:pt x="632" y="277"/>
                  <a:pt x="632" y="277"/>
                </a:cubicBezTo>
                <a:cubicBezTo>
                  <a:pt x="632" y="277"/>
                  <a:pt x="632" y="277"/>
                  <a:pt x="632" y="276"/>
                </a:cubicBezTo>
                <a:cubicBezTo>
                  <a:pt x="633" y="276"/>
                  <a:pt x="633" y="276"/>
                  <a:pt x="633" y="276"/>
                </a:cubicBezTo>
                <a:cubicBezTo>
                  <a:pt x="633" y="276"/>
                  <a:pt x="634" y="276"/>
                  <a:pt x="634" y="276"/>
                </a:cubicBezTo>
                <a:cubicBezTo>
                  <a:pt x="634" y="276"/>
                  <a:pt x="634" y="276"/>
                  <a:pt x="634" y="276"/>
                </a:cubicBezTo>
                <a:cubicBezTo>
                  <a:pt x="634" y="275"/>
                  <a:pt x="634" y="275"/>
                  <a:pt x="635" y="275"/>
                </a:cubicBezTo>
                <a:cubicBezTo>
                  <a:pt x="635" y="275"/>
                  <a:pt x="635" y="275"/>
                  <a:pt x="635" y="275"/>
                </a:cubicBezTo>
                <a:cubicBezTo>
                  <a:pt x="635" y="275"/>
                  <a:pt x="635" y="275"/>
                  <a:pt x="635" y="275"/>
                </a:cubicBezTo>
                <a:cubicBezTo>
                  <a:pt x="635" y="274"/>
                  <a:pt x="635" y="274"/>
                  <a:pt x="635" y="274"/>
                </a:cubicBezTo>
                <a:cubicBezTo>
                  <a:pt x="635" y="274"/>
                  <a:pt x="635" y="274"/>
                  <a:pt x="635" y="274"/>
                </a:cubicBezTo>
                <a:cubicBezTo>
                  <a:pt x="635" y="274"/>
                  <a:pt x="635" y="274"/>
                  <a:pt x="635" y="274"/>
                </a:cubicBezTo>
                <a:cubicBezTo>
                  <a:pt x="634" y="274"/>
                  <a:pt x="634" y="273"/>
                  <a:pt x="634" y="273"/>
                </a:cubicBezTo>
                <a:cubicBezTo>
                  <a:pt x="633" y="273"/>
                  <a:pt x="633" y="273"/>
                  <a:pt x="633" y="273"/>
                </a:cubicBezTo>
                <a:cubicBezTo>
                  <a:pt x="633" y="274"/>
                  <a:pt x="632" y="274"/>
                  <a:pt x="632" y="274"/>
                </a:cubicBezTo>
                <a:cubicBezTo>
                  <a:pt x="632" y="274"/>
                  <a:pt x="632" y="274"/>
                  <a:pt x="632" y="274"/>
                </a:cubicBezTo>
                <a:cubicBezTo>
                  <a:pt x="632" y="274"/>
                  <a:pt x="632" y="274"/>
                  <a:pt x="632" y="274"/>
                </a:cubicBezTo>
                <a:cubicBezTo>
                  <a:pt x="631" y="274"/>
                  <a:pt x="631" y="275"/>
                  <a:pt x="631" y="275"/>
                </a:cubicBezTo>
                <a:cubicBezTo>
                  <a:pt x="631" y="275"/>
                  <a:pt x="631" y="275"/>
                  <a:pt x="631" y="275"/>
                </a:cubicBezTo>
                <a:cubicBezTo>
                  <a:pt x="631" y="275"/>
                  <a:pt x="631" y="276"/>
                  <a:pt x="631" y="276"/>
                </a:cubicBezTo>
                <a:cubicBezTo>
                  <a:pt x="631" y="276"/>
                  <a:pt x="631" y="275"/>
                  <a:pt x="631" y="275"/>
                </a:cubicBezTo>
                <a:cubicBezTo>
                  <a:pt x="631" y="275"/>
                  <a:pt x="631" y="275"/>
                  <a:pt x="631" y="275"/>
                </a:cubicBezTo>
                <a:cubicBezTo>
                  <a:pt x="631" y="275"/>
                  <a:pt x="631" y="275"/>
                  <a:pt x="631" y="275"/>
                </a:cubicBezTo>
                <a:cubicBezTo>
                  <a:pt x="631" y="274"/>
                  <a:pt x="631" y="274"/>
                  <a:pt x="631" y="274"/>
                </a:cubicBezTo>
                <a:cubicBezTo>
                  <a:pt x="631" y="274"/>
                  <a:pt x="631" y="274"/>
                  <a:pt x="631" y="274"/>
                </a:cubicBezTo>
                <a:cubicBezTo>
                  <a:pt x="631" y="274"/>
                  <a:pt x="631" y="274"/>
                  <a:pt x="631" y="274"/>
                </a:cubicBezTo>
                <a:cubicBezTo>
                  <a:pt x="631" y="274"/>
                  <a:pt x="630" y="274"/>
                  <a:pt x="630" y="274"/>
                </a:cubicBezTo>
                <a:cubicBezTo>
                  <a:pt x="630" y="274"/>
                  <a:pt x="630" y="274"/>
                  <a:pt x="630" y="275"/>
                </a:cubicBezTo>
                <a:cubicBezTo>
                  <a:pt x="630" y="275"/>
                  <a:pt x="630" y="275"/>
                  <a:pt x="629" y="275"/>
                </a:cubicBezTo>
                <a:cubicBezTo>
                  <a:pt x="629" y="275"/>
                  <a:pt x="629" y="275"/>
                  <a:pt x="629" y="275"/>
                </a:cubicBezTo>
                <a:cubicBezTo>
                  <a:pt x="629" y="275"/>
                  <a:pt x="629" y="275"/>
                  <a:pt x="629" y="275"/>
                </a:cubicBezTo>
                <a:cubicBezTo>
                  <a:pt x="629" y="275"/>
                  <a:pt x="628" y="275"/>
                  <a:pt x="628" y="275"/>
                </a:cubicBezTo>
                <a:cubicBezTo>
                  <a:pt x="628" y="275"/>
                  <a:pt x="628" y="275"/>
                  <a:pt x="628" y="275"/>
                </a:cubicBezTo>
                <a:cubicBezTo>
                  <a:pt x="628" y="275"/>
                  <a:pt x="627" y="275"/>
                  <a:pt x="627" y="276"/>
                </a:cubicBezTo>
                <a:cubicBezTo>
                  <a:pt x="627" y="276"/>
                  <a:pt x="627" y="276"/>
                  <a:pt x="627" y="276"/>
                </a:cubicBezTo>
                <a:cubicBezTo>
                  <a:pt x="627" y="276"/>
                  <a:pt x="627" y="277"/>
                  <a:pt x="626" y="277"/>
                </a:cubicBezTo>
                <a:cubicBezTo>
                  <a:pt x="627" y="277"/>
                  <a:pt x="627" y="276"/>
                  <a:pt x="627" y="276"/>
                </a:cubicBezTo>
                <a:cubicBezTo>
                  <a:pt x="627" y="276"/>
                  <a:pt x="627" y="276"/>
                  <a:pt x="627" y="275"/>
                </a:cubicBezTo>
                <a:cubicBezTo>
                  <a:pt x="627" y="275"/>
                  <a:pt x="627" y="275"/>
                  <a:pt x="627" y="275"/>
                </a:cubicBezTo>
                <a:cubicBezTo>
                  <a:pt x="627" y="275"/>
                  <a:pt x="627" y="275"/>
                  <a:pt x="627" y="275"/>
                </a:cubicBezTo>
                <a:cubicBezTo>
                  <a:pt x="627" y="275"/>
                  <a:pt x="627" y="275"/>
                  <a:pt x="627" y="275"/>
                </a:cubicBezTo>
                <a:cubicBezTo>
                  <a:pt x="627" y="275"/>
                  <a:pt x="627" y="275"/>
                  <a:pt x="626" y="275"/>
                </a:cubicBezTo>
                <a:cubicBezTo>
                  <a:pt x="626" y="275"/>
                  <a:pt x="626" y="276"/>
                  <a:pt x="626" y="276"/>
                </a:cubicBezTo>
                <a:cubicBezTo>
                  <a:pt x="626" y="276"/>
                  <a:pt x="626" y="276"/>
                  <a:pt x="626" y="275"/>
                </a:cubicBezTo>
                <a:cubicBezTo>
                  <a:pt x="626" y="275"/>
                  <a:pt x="626" y="275"/>
                  <a:pt x="626" y="275"/>
                </a:cubicBezTo>
                <a:cubicBezTo>
                  <a:pt x="626" y="275"/>
                  <a:pt x="626" y="275"/>
                  <a:pt x="626" y="275"/>
                </a:cubicBezTo>
                <a:cubicBezTo>
                  <a:pt x="626" y="275"/>
                  <a:pt x="626" y="275"/>
                  <a:pt x="626" y="275"/>
                </a:cubicBezTo>
                <a:cubicBezTo>
                  <a:pt x="626" y="275"/>
                  <a:pt x="626" y="275"/>
                  <a:pt x="625" y="275"/>
                </a:cubicBezTo>
                <a:cubicBezTo>
                  <a:pt x="625" y="275"/>
                  <a:pt x="625" y="275"/>
                  <a:pt x="625" y="276"/>
                </a:cubicBezTo>
                <a:cubicBezTo>
                  <a:pt x="624" y="276"/>
                  <a:pt x="624" y="276"/>
                  <a:pt x="624" y="276"/>
                </a:cubicBezTo>
                <a:cubicBezTo>
                  <a:pt x="624" y="275"/>
                  <a:pt x="624" y="275"/>
                  <a:pt x="624" y="275"/>
                </a:cubicBezTo>
                <a:cubicBezTo>
                  <a:pt x="624" y="275"/>
                  <a:pt x="624" y="275"/>
                  <a:pt x="623" y="275"/>
                </a:cubicBezTo>
                <a:cubicBezTo>
                  <a:pt x="623" y="275"/>
                  <a:pt x="623" y="275"/>
                  <a:pt x="623" y="276"/>
                </a:cubicBezTo>
                <a:cubicBezTo>
                  <a:pt x="623" y="276"/>
                  <a:pt x="622" y="276"/>
                  <a:pt x="622" y="276"/>
                </a:cubicBezTo>
                <a:cubicBezTo>
                  <a:pt x="622" y="276"/>
                  <a:pt x="622" y="276"/>
                  <a:pt x="622" y="275"/>
                </a:cubicBezTo>
                <a:cubicBezTo>
                  <a:pt x="622" y="275"/>
                  <a:pt x="623" y="275"/>
                  <a:pt x="623" y="275"/>
                </a:cubicBezTo>
                <a:cubicBezTo>
                  <a:pt x="623" y="275"/>
                  <a:pt x="623" y="274"/>
                  <a:pt x="623" y="274"/>
                </a:cubicBezTo>
                <a:cubicBezTo>
                  <a:pt x="624" y="274"/>
                  <a:pt x="624" y="274"/>
                  <a:pt x="624" y="274"/>
                </a:cubicBezTo>
                <a:cubicBezTo>
                  <a:pt x="624" y="274"/>
                  <a:pt x="623" y="274"/>
                  <a:pt x="623" y="274"/>
                </a:cubicBezTo>
                <a:cubicBezTo>
                  <a:pt x="623" y="274"/>
                  <a:pt x="623" y="274"/>
                  <a:pt x="623" y="274"/>
                </a:cubicBezTo>
                <a:cubicBezTo>
                  <a:pt x="623" y="274"/>
                  <a:pt x="622" y="274"/>
                  <a:pt x="622" y="274"/>
                </a:cubicBezTo>
                <a:cubicBezTo>
                  <a:pt x="622" y="274"/>
                  <a:pt x="622" y="274"/>
                  <a:pt x="623" y="274"/>
                </a:cubicBezTo>
                <a:cubicBezTo>
                  <a:pt x="623" y="274"/>
                  <a:pt x="623" y="274"/>
                  <a:pt x="623" y="273"/>
                </a:cubicBezTo>
                <a:cubicBezTo>
                  <a:pt x="624" y="273"/>
                  <a:pt x="624" y="273"/>
                  <a:pt x="624" y="273"/>
                </a:cubicBezTo>
                <a:cubicBezTo>
                  <a:pt x="624" y="273"/>
                  <a:pt x="624" y="273"/>
                  <a:pt x="625" y="273"/>
                </a:cubicBezTo>
                <a:cubicBezTo>
                  <a:pt x="625" y="273"/>
                  <a:pt x="625" y="273"/>
                  <a:pt x="625" y="273"/>
                </a:cubicBezTo>
                <a:cubicBezTo>
                  <a:pt x="625" y="272"/>
                  <a:pt x="626" y="272"/>
                  <a:pt x="626" y="272"/>
                </a:cubicBezTo>
                <a:cubicBezTo>
                  <a:pt x="626" y="272"/>
                  <a:pt x="626" y="272"/>
                  <a:pt x="626" y="272"/>
                </a:cubicBezTo>
                <a:cubicBezTo>
                  <a:pt x="626" y="272"/>
                  <a:pt x="625" y="272"/>
                  <a:pt x="625" y="272"/>
                </a:cubicBezTo>
                <a:cubicBezTo>
                  <a:pt x="625" y="272"/>
                  <a:pt x="625" y="272"/>
                  <a:pt x="625" y="272"/>
                </a:cubicBezTo>
                <a:cubicBezTo>
                  <a:pt x="624" y="272"/>
                  <a:pt x="624" y="272"/>
                  <a:pt x="624" y="272"/>
                </a:cubicBezTo>
                <a:cubicBezTo>
                  <a:pt x="624" y="272"/>
                  <a:pt x="623" y="272"/>
                  <a:pt x="623" y="272"/>
                </a:cubicBezTo>
                <a:cubicBezTo>
                  <a:pt x="623" y="272"/>
                  <a:pt x="623" y="272"/>
                  <a:pt x="623" y="272"/>
                </a:cubicBezTo>
                <a:cubicBezTo>
                  <a:pt x="623" y="272"/>
                  <a:pt x="622" y="272"/>
                  <a:pt x="622" y="272"/>
                </a:cubicBezTo>
                <a:cubicBezTo>
                  <a:pt x="622" y="272"/>
                  <a:pt x="622" y="272"/>
                  <a:pt x="623" y="272"/>
                </a:cubicBezTo>
                <a:cubicBezTo>
                  <a:pt x="623" y="272"/>
                  <a:pt x="623" y="272"/>
                  <a:pt x="623" y="272"/>
                </a:cubicBezTo>
                <a:cubicBezTo>
                  <a:pt x="623" y="272"/>
                  <a:pt x="623" y="271"/>
                  <a:pt x="623" y="271"/>
                </a:cubicBezTo>
                <a:cubicBezTo>
                  <a:pt x="623" y="271"/>
                  <a:pt x="622" y="272"/>
                  <a:pt x="622" y="272"/>
                </a:cubicBezTo>
                <a:cubicBezTo>
                  <a:pt x="622" y="272"/>
                  <a:pt x="622" y="272"/>
                  <a:pt x="622" y="272"/>
                </a:cubicBezTo>
                <a:cubicBezTo>
                  <a:pt x="621" y="272"/>
                  <a:pt x="621" y="272"/>
                  <a:pt x="621" y="273"/>
                </a:cubicBezTo>
                <a:cubicBezTo>
                  <a:pt x="621" y="273"/>
                  <a:pt x="621" y="273"/>
                  <a:pt x="621" y="273"/>
                </a:cubicBezTo>
                <a:cubicBezTo>
                  <a:pt x="620" y="273"/>
                  <a:pt x="620" y="273"/>
                  <a:pt x="620" y="274"/>
                </a:cubicBezTo>
                <a:cubicBezTo>
                  <a:pt x="620" y="274"/>
                  <a:pt x="620" y="274"/>
                  <a:pt x="620" y="274"/>
                </a:cubicBezTo>
                <a:cubicBezTo>
                  <a:pt x="620" y="274"/>
                  <a:pt x="620" y="274"/>
                  <a:pt x="619" y="274"/>
                </a:cubicBezTo>
                <a:cubicBezTo>
                  <a:pt x="619" y="275"/>
                  <a:pt x="619" y="275"/>
                  <a:pt x="619" y="275"/>
                </a:cubicBezTo>
                <a:cubicBezTo>
                  <a:pt x="619" y="275"/>
                  <a:pt x="619" y="275"/>
                  <a:pt x="619" y="274"/>
                </a:cubicBezTo>
                <a:cubicBezTo>
                  <a:pt x="619" y="274"/>
                  <a:pt x="619" y="274"/>
                  <a:pt x="619" y="274"/>
                </a:cubicBezTo>
                <a:cubicBezTo>
                  <a:pt x="619" y="274"/>
                  <a:pt x="619" y="273"/>
                  <a:pt x="619" y="273"/>
                </a:cubicBezTo>
                <a:cubicBezTo>
                  <a:pt x="619" y="273"/>
                  <a:pt x="619" y="273"/>
                  <a:pt x="619" y="273"/>
                </a:cubicBezTo>
                <a:cubicBezTo>
                  <a:pt x="619" y="273"/>
                  <a:pt x="619" y="272"/>
                  <a:pt x="619" y="272"/>
                </a:cubicBezTo>
                <a:cubicBezTo>
                  <a:pt x="620" y="272"/>
                  <a:pt x="620" y="272"/>
                  <a:pt x="620" y="272"/>
                </a:cubicBezTo>
                <a:cubicBezTo>
                  <a:pt x="620" y="272"/>
                  <a:pt x="620" y="271"/>
                  <a:pt x="620" y="271"/>
                </a:cubicBezTo>
                <a:cubicBezTo>
                  <a:pt x="620" y="271"/>
                  <a:pt x="620" y="271"/>
                  <a:pt x="620" y="271"/>
                </a:cubicBezTo>
                <a:cubicBezTo>
                  <a:pt x="621" y="271"/>
                  <a:pt x="621" y="271"/>
                  <a:pt x="621" y="271"/>
                </a:cubicBezTo>
                <a:cubicBezTo>
                  <a:pt x="621" y="270"/>
                  <a:pt x="621" y="270"/>
                  <a:pt x="621" y="270"/>
                </a:cubicBezTo>
                <a:cubicBezTo>
                  <a:pt x="621" y="270"/>
                  <a:pt x="622" y="270"/>
                  <a:pt x="622" y="270"/>
                </a:cubicBezTo>
                <a:cubicBezTo>
                  <a:pt x="622" y="269"/>
                  <a:pt x="622" y="269"/>
                  <a:pt x="622" y="269"/>
                </a:cubicBezTo>
                <a:cubicBezTo>
                  <a:pt x="622" y="269"/>
                  <a:pt x="622" y="269"/>
                  <a:pt x="623" y="269"/>
                </a:cubicBezTo>
                <a:cubicBezTo>
                  <a:pt x="623" y="269"/>
                  <a:pt x="623" y="269"/>
                  <a:pt x="623" y="269"/>
                </a:cubicBezTo>
                <a:cubicBezTo>
                  <a:pt x="623" y="269"/>
                  <a:pt x="623" y="268"/>
                  <a:pt x="623" y="268"/>
                </a:cubicBezTo>
                <a:cubicBezTo>
                  <a:pt x="623" y="268"/>
                  <a:pt x="623" y="268"/>
                  <a:pt x="623" y="268"/>
                </a:cubicBezTo>
                <a:cubicBezTo>
                  <a:pt x="623" y="268"/>
                  <a:pt x="623" y="268"/>
                  <a:pt x="623" y="267"/>
                </a:cubicBezTo>
                <a:cubicBezTo>
                  <a:pt x="623" y="267"/>
                  <a:pt x="623" y="268"/>
                  <a:pt x="623" y="268"/>
                </a:cubicBezTo>
                <a:cubicBezTo>
                  <a:pt x="623" y="268"/>
                  <a:pt x="623" y="268"/>
                  <a:pt x="623" y="268"/>
                </a:cubicBezTo>
                <a:cubicBezTo>
                  <a:pt x="623" y="268"/>
                  <a:pt x="623" y="268"/>
                  <a:pt x="623" y="268"/>
                </a:cubicBezTo>
                <a:cubicBezTo>
                  <a:pt x="623" y="268"/>
                  <a:pt x="624" y="268"/>
                  <a:pt x="624" y="268"/>
                </a:cubicBezTo>
                <a:cubicBezTo>
                  <a:pt x="624" y="267"/>
                  <a:pt x="624" y="267"/>
                  <a:pt x="625" y="267"/>
                </a:cubicBezTo>
                <a:cubicBezTo>
                  <a:pt x="625" y="267"/>
                  <a:pt x="625" y="266"/>
                  <a:pt x="625" y="266"/>
                </a:cubicBezTo>
                <a:cubicBezTo>
                  <a:pt x="625" y="266"/>
                  <a:pt x="625" y="266"/>
                  <a:pt x="624" y="266"/>
                </a:cubicBezTo>
                <a:cubicBezTo>
                  <a:pt x="624" y="266"/>
                  <a:pt x="624" y="266"/>
                  <a:pt x="624" y="266"/>
                </a:cubicBezTo>
                <a:cubicBezTo>
                  <a:pt x="624" y="266"/>
                  <a:pt x="624" y="266"/>
                  <a:pt x="624" y="266"/>
                </a:cubicBezTo>
                <a:cubicBezTo>
                  <a:pt x="624" y="266"/>
                  <a:pt x="624" y="266"/>
                  <a:pt x="623" y="266"/>
                </a:cubicBezTo>
                <a:cubicBezTo>
                  <a:pt x="623" y="266"/>
                  <a:pt x="623" y="266"/>
                  <a:pt x="623" y="266"/>
                </a:cubicBezTo>
                <a:cubicBezTo>
                  <a:pt x="623" y="266"/>
                  <a:pt x="623" y="266"/>
                  <a:pt x="623" y="265"/>
                </a:cubicBezTo>
                <a:cubicBezTo>
                  <a:pt x="623" y="265"/>
                  <a:pt x="624" y="265"/>
                  <a:pt x="624" y="265"/>
                </a:cubicBezTo>
                <a:cubicBezTo>
                  <a:pt x="624" y="265"/>
                  <a:pt x="624" y="265"/>
                  <a:pt x="625" y="265"/>
                </a:cubicBezTo>
                <a:cubicBezTo>
                  <a:pt x="625" y="265"/>
                  <a:pt x="625" y="265"/>
                  <a:pt x="625" y="265"/>
                </a:cubicBezTo>
                <a:cubicBezTo>
                  <a:pt x="626" y="265"/>
                  <a:pt x="626" y="265"/>
                  <a:pt x="626" y="265"/>
                </a:cubicBezTo>
                <a:cubicBezTo>
                  <a:pt x="626" y="265"/>
                  <a:pt x="626" y="265"/>
                  <a:pt x="626" y="265"/>
                </a:cubicBezTo>
                <a:cubicBezTo>
                  <a:pt x="626" y="264"/>
                  <a:pt x="626" y="264"/>
                  <a:pt x="626" y="264"/>
                </a:cubicBezTo>
                <a:close/>
                <a:moveTo>
                  <a:pt x="633" y="280"/>
                </a:moveTo>
                <a:cubicBezTo>
                  <a:pt x="633" y="280"/>
                  <a:pt x="633" y="280"/>
                  <a:pt x="633" y="280"/>
                </a:cubicBezTo>
                <a:cubicBezTo>
                  <a:pt x="633" y="280"/>
                  <a:pt x="634" y="280"/>
                  <a:pt x="634" y="280"/>
                </a:cubicBezTo>
                <a:cubicBezTo>
                  <a:pt x="634" y="280"/>
                  <a:pt x="634" y="280"/>
                  <a:pt x="635" y="280"/>
                </a:cubicBezTo>
                <a:cubicBezTo>
                  <a:pt x="635" y="280"/>
                  <a:pt x="635" y="280"/>
                  <a:pt x="635" y="280"/>
                </a:cubicBezTo>
                <a:cubicBezTo>
                  <a:pt x="634" y="280"/>
                  <a:pt x="634" y="280"/>
                  <a:pt x="634" y="280"/>
                </a:cubicBezTo>
                <a:cubicBezTo>
                  <a:pt x="634" y="280"/>
                  <a:pt x="633" y="280"/>
                  <a:pt x="633" y="280"/>
                </a:cubicBezTo>
                <a:close/>
                <a:moveTo>
                  <a:pt x="623" y="284"/>
                </a:moveTo>
                <a:cubicBezTo>
                  <a:pt x="622" y="284"/>
                  <a:pt x="622" y="284"/>
                  <a:pt x="622" y="284"/>
                </a:cubicBezTo>
                <a:cubicBezTo>
                  <a:pt x="622" y="284"/>
                  <a:pt x="623" y="284"/>
                  <a:pt x="623" y="284"/>
                </a:cubicBezTo>
                <a:cubicBezTo>
                  <a:pt x="623" y="284"/>
                  <a:pt x="623" y="284"/>
                  <a:pt x="623" y="284"/>
                </a:cubicBezTo>
                <a:cubicBezTo>
                  <a:pt x="623" y="284"/>
                  <a:pt x="623" y="284"/>
                  <a:pt x="623" y="284"/>
                </a:cubicBezTo>
                <a:close/>
                <a:moveTo>
                  <a:pt x="254" y="335"/>
                </a:moveTo>
                <a:cubicBezTo>
                  <a:pt x="254" y="334"/>
                  <a:pt x="255" y="334"/>
                  <a:pt x="255" y="334"/>
                </a:cubicBezTo>
                <a:cubicBezTo>
                  <a:pt x="255" y="334"/>
                  <a:pt x="255" y="335"/>
                  <a:pt x="255" y="335"/>
                </a:cubicBezTo>
                <a:cubicBezTo>
                  <a:pt x="255" y="335"/>
                  <a:pt x="255" y="335"/>
                  <a:pt x="255" y="335"/>
                </a:cubicBezTo>
                <a:cubicBezTo>
                  <a:pt x="255" y="335"/>
                  <a:pt x="256" y="335"/>
                  <a:pt x="256" y="335"/>
                </a:cubicBezTo>
                <a:cubicBezTo>
                  <a:pt x="256" y="335"/>
                  <a:pt x="257" y="334"/>
                  <a:pt x="257" y="334"/>
                </a:cubicBezTo>
                <a:cubicBezTo>
                  <a:pt x="257" y="334"/>
                  <a:pt x="257" y="335"/>
                  <a:pt x="257" y="335"/>
                </a:cubicBezTo>
                <a:cubicBezTo>
                  <a:pt x="257" y="335"/>
                  <a:pt x="257" y="335"/>
                  <a:pt x="257" y="336"/>
                </a:cubicBezTo>
                <a:cubicBezTo>
                  <a:pt x="257" y="335"/>
                  <a:pt x="258" y="335"/>
                  <a:pt x="258" y="334"/>
                </a:cubicBezTo>
                <a:cubicBezTo>
                  <a:pt x="258" y="334"/>
                  <a:pt x="257" y="333"/>
                  <a:pt x="257" y="333"/>
                </a:cubicBezTo>
                <a:cubicBezTo>
                  <a:pt x="257" y="333"/>
                  <a:pt x="256" y="333"/>
                  <a:pt x="256" y="333"/>
                </a:cubicBezTo>
                <a:cubicBezTo>
                  <a:pt x="256" y="333"/>
                  <a:pt x="255" y="333"/>
                  <a:pt x="255" y="333"/>
                </a:cubicBezTo>
                <a:cubicBezTo>
                  <a:pt x="255" y="334"/>
                  <a:pt x="254" y="334"/>
                  <a:pt x="254" y="335"/>
                </a:cubicBezTo>
                <a:close/>
                <a:moveTo>
                  <a:pt x="250" y="196"/>
                </a:moveTo>
                <a:cubicBezTo>
                  <a:pt x="250" y="196"/>
                  <a:pt x="251" y="196"/>
                  <a:pt x="251" y="196"/>
                </a:cubicBezTo>
                <a:cubicBezTo>
                  <a:pt x="251" y="196"/>
                  <a:pt x="251" y="196"/>
                  <a:pt x="252" y="196"/>
                </a:cubicBezTo>
                <a:cubicBezTo>
                  <a:pt x="251" y="195"/>
                  <a:pt x="251" y="195"/>
                  <a:pt x="250" y="195"/>
                </a:cubicBezTo>
                <a:cubicBezTo>
                  <a:pt x="250" y="195"/>
                  <a:pt x="249" y="195"/>
                  <a:pt x="249" y="195"/>
                </a:cubicBezTo>
                <a:cubicBezTo>
                  <a:pt x="249" y="195"/>
                  <a:pt x="248" y="196"/>
                  <a:pt x="248" y="196"/>
                </a:cubicBezTo>
                <a:cubicBezTo>
                  <a:pt x="249" y="196"/>
                  <a:pt x="249" y="196"/>
                  <a:pt x="249" y="196"/>
                </a:cubicBezTo>
                <a:cubicBezTo>
                  <a:pt x="250" y="196"/>
                  <a:pt x="250" y="196"/>
                  <a:pt x="250" y="196"/>
                </a:cubicBezTo>
                <a:close/>
                <a:moveTo>
                  <a:pt x="249" y="330"/>
                </a:moveTo>
                <a:cubicBezTo>
                  <a:pt x="249" y="330"/>
                  <a:pt x="249" y="330"/>
                  <a:pt x="250" y="329"/>
                </a:cubicBezTo>
                <a:cubicBezTo>
                  <a:pt x="250" y="329"/>
                  <a:pt x="250" y="329"/>
                  <a:pt x="250" y="328"/>
                </a:cubicBezTo>
                <a:cubicBezTo>
                  <a:pt x="250" y="328"/>
                  <a:pt x="249" y="328"/>
                  <a:pt x="249" y="328"/>
                </a:cubicBezTo>
                <a:cubicBezTo>
                  <a:pt x="248" y="329"/>
                  <a:pt x="248" y="329"/>
                  <a:pt x="248" y="329"/>
                </a:cubicBezTo>
                <a:cubicBezTo>
                  <a:pt x="247" y="329"/>
                  <a:pt x="247" y="330"/>
                  <a:pt x="247" y="330"/>
                </a:cubicBezTo>
                <a:cubicBezTo>
                  <a:pt x="248" y="330"/>
                  <a:pt x="248" y="330"/>
                  <a:pt x="249" y="329"/>
                </a:cubicBezTo>
                <a:cubicBezTo>
                  <a:pt x="249" y="329"/>
                  <a:pt x="249" y="330"/>
                  <a:pt x="249" y="330"/>
                </a:cubicBezTo>
                <a:close/>
                <a:moveTo>
                  <a:pt x="248" y="326"/>
                </a:moveTo>
                <a:cubicBezTo>
                  <a:pt x="248" y="325"/>
                  <a:pt x="248" y="325"/>
                  <a:pt x="248" y="325"/>
                </a:cubicBezTo>
                <a:cubicBezTo>
                  <a:pt x="247" y="325"/>
                  <a:pt x="247" y="325"/>
                  <a:pt x="247" y="326"/>
                </a:cubicBezTo>
                <a:cubicBezTo>
                  <a:pt x="247" y="326"/>
                  <a:pt x="247" y="326"/>
                  <a:pt x="248" y="326"/>
                </a:cubicBezTo>
                <a:cubicBezTo>
                  <a:pt x="248" y="326"/>
                  <a:pt x="248" y="326"/>
                  <a:pt x="248" y="326"/>
                </a:cubicBezTo>
                <a:close/>
                <a:moveTo>
                  <a:pt x="253" y="333"/>
                </a:moveTo>
                <a:cubicBezTo>
                  <a:pt x="254" y="333"/>
                  <a:pt x="254" y="333"/>
                  <a:pt x="254" y="333"/>
                </a:cubicBezTo>
                <a:cubicBezTo>
                  <a:pt x="254" y="333"/>
                  <a:pt x="255" y="333"/>
                  <a:pt x="255" y="333"/>
                </a:cubicBezTo>
                <a:cubicBezTo>
                  <a:pt x="254" y="333"/>
                  <a:pt x="254" y="333"/>
                  <a:pt x="254" y="332"/>
                </a:cubicBezTo>
                <a:cubicBezTo>
                  <a:pt x="254" y="333"/>
                  <a:pt x="254" y="333"/>
                  <a:pt x="253" y="333"/>
                </a:cubicBezTo>
                <a:close/>
                <a:moveTo>
                  <a:pt x="257" y="329"/>
                </a:moveTo>
                <a:cubicBezTo>
                  <a:pt x="256" y="329"/>
                  <a:pt x="256" y="329"/>
                  <a:pt x="256" y="329"/>
                </a:cubicBezTo>
                <a:cubicBezTo>
                  <a:pt x="256" y="330"/>
                  <a:pt x="255" y="330"/>
                  <a:pt x="255" y="330"/>
                </a:cubicBezTo>
                <a:cubicBezTo>
                  <a:pt x="255" y="330"/>
                  <a:pt x="255" y="331"/>
                  <a:pt x="255" y="331"/>
                </a:cubicBezTo>
                <a:cubicBezTo>
                  <a:pt x="255" y="331"/>
                  <a:pt x="255" y="331"/>
                  <a:pt x="256" y="331"/>
                </a:cubicBezTo>
                <a:cubicBezTo>
                  <a:pt x="256" y="330"/>
                  <a:pt x="256" y="330"/>
                  <a:pt x="256" y="330"/>
                </a:cubicBezTo>
                <a:cubicBezTo>
                  <a:pt x="256" y="330"/>
                  <a:pt x="257" y="329"/>
                  <a:pt x="257" y="329"/>
                </a:cubicBezTo>
                <a:close/>
                <a:moveTo>
                  <a:pt x="261" y="201"/>
                </a:moveTo>
                <a:cubicBezTo>
                  <a:pt x="261" y="201"/>
                  <a:pt x="262" y="201"/>
                  <a:pt x="262" y="201"/>
                </a:cubicBezTo>
                <a:cubicBezTo>
                  <a:pt x="262" y="200"/>
                  <a:pt x="262" y="200"/>
                  <a:pt x="262" y="200"/>
                </a:cubicBezTo>
                <a:cubicBezTo>
                  <a:pt x="262" y="199"/>
                  <a:pt x="262" y="199"/>
                  <a:pt x="262" y="198"/>
                </a:cubicBezTo>
                <a:cubicBezTo>
                  <a:pt x="262" y="199"/>
                  <a:pt x="261" y="199"/>
                  <a:pt x="261" y="199"/>
                </a:cubicBezTo>
                <a:cubicBezTo>
                  <a:pt x="261" y="200"/>
                  <a:pt x="261" y="200"/>
                  <a:pt x="261" y="200"/>
                </a:cubicBezTo>
                <a:cubicBezTo>
                  <a:pt x="261" y="200"/>
                  <a:pt x="261" y="200"/>
                  <a:pt x="261" y="201"/>
                </a:cubicBezTo>
                <a:cubicBezTo>
                  <a:pt x="261" y="201"/>
                  <a:pt x="261" y="201"/>
                  <a:pt x="261" y="201"/>
                </a:cubicBezTo>
                <a:close/>
                <a:moveTo>
                  <a:pt x="268" y="192"/>
                </a:moveTo>
                <a:cubicBezTo>
                  <a:pt x="268" y="192"/>
                  <a:pt x="267" y="192"/>
                  <a:pt x="267" y="192"/>
                </a:cubicBezTo>
                <a:cubicBezTo>
                  <a:pt x="267" y="192"/>
                  <a:pt x="267" y="193"/>
                  <a:pt x="267" y="193"/>
                </a:cubicBezTo>
                <a:cubicBezTo>
                  <a:pt x="267" y="193"/>
                  <a:pt x="267" y="193"/>
                  <a:pt x="267" y="193"/>
                </a:cubicBezTo>
                <a:cubicBezTo>
                  <a:pt x="267" y="193"/>
                  <a:pt x="268" y="192"/>
                  <a:pt x="268" y="192"/>
                </a:cubicBezTo>
                <a:close/>
                <a:moveTo>
                  <a:pt x="266" y="199"/>
                </a:moveTo>
                <a:cubicBezTo>
                  <a:pt x="266" y="199"/>
                  <a:pt x="266" y="199"/>
                  <a:pt x="266" y="199"/>
                </a:cubicBezTo>
                <a:cubicBezTo>
                  <a:pt x="267" y="199"/>
                  <a:pt x="267" y="199"/>
                  <a:pt x="267" y="199"/>
                </a:cubicBezTo>
                <a:cubicBezTo>
                  <a:pt x="268" y="199"/>
                  <a:pt x="268" y="199"/>
                  <a:pt x="268" y="198"/>
                </a:cubicBezTo>
                <a:cubicBezTo>
                  <a:pt x="268" y="198"/>
                  <a:pt x="269" y="198"/>
                  <a:pt x="269" y="198"/>
                </a:cubicBezTo>
                <a:cubicBezTo>
                  <a:pt x="270" y="197"/>
                  <a:pt x="271" y="196"/>
                  <a:pt x="272" y="195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4" y="193"/>
                  <a:pt x="274" y="193"/>
                  <a:pt x="274" y="192"/>
                </a:cubicBezTo>
                <a:cubicBezTo>
                  <a:pt x="274" y="193"/>
                  <a:pt x="274" y="193"/>
                  <a:pt x="273" y="193"/>
                </a:cubicBezTo>
                <a:cubicBezTo>
                  <a:pt x="273" y="193"/>
                  <a:pt x="273" y="193"/>
                  <a:pt x="273" y="193"/>
                </a:cubicBezTo>
                <a:cubicBezTo>
                  <a:pt x="272" y="192"/>
                  <a:pt x="272" y="192"/>
                  <a:pt x="272" y="192"/>
                </a:cubicBezTo>
                <a:cubicBezTo>
                  <a:pt x="272" y="192"/>
                  <a:pt x="271" y="192"/>
                  <a:pt x="271" y="192"/>
                </a:cubicBezTo>
                <a:cubicBezTo>
                  <a:pt x="271" y="192"/>
                  <a:pt x="271" y="193"/>
                  <a:pt x="271" y="193"/>
                </a:cubicBezTo>
                <a:cubicBezTo>
                  <a:pt x="270" y="193"/>
                  <a:pt x="270" y="194"/>
                  <a:pt x="270" y="194"/>
                </a:cubicBezTo>
                <a:cubicBezTo>
                  <a:pt x="270" y="194"/>
                  <a:pt x="270" y="194"/>
                  <a:pt x="270" y="194"/>
                </a:cubicBezTo>
                <a:cubicBezTo>
                  <a:pt x="270" y="194"/>
                  <a:pt x="269" y="194"/>
                  <a:pt x="269" y="195"/>
                </a:cubicBezTo>
                <a:cubicBezTo>
                  <a:pt x="269" y="195"/>
                  <a:pt x="269" y="195"/>
                  <a:pt x="269" y="195"/>
                </a:cubicBezTo>
                <a:cubicBezTo>
                  <a:pt x="269" y="195"/>
                  <a:pt x="269" y="195"/>
                  <a:pt x="269" y="196"/>
                </a:cubicBezTo>
                <a:cubicBezTo>
                  <a:pt x="268" y="196"/>
                  <a:pt x="268" y="195"/>
                  <a:pt x="268" y="195"/>
                </a:cubicBezTo>
                <a:cubicBezTo>
                  <a:pt x="268" y="195"/>
                  <a:pt x="268" y="195"/>
                  <a:pt x="268" y="195"/>
                </a:cubicBezTo>
                <a:cubicBezTo>
                  <a:pt x="268" y="195"/>
                  <a:pt x="268" y="195"/>
                  <a:pt x="267" y="195"/>
                </a:cubicBezTo>
                <a:cubicBezTo>
                  <a:pt x="267" y="195"/>
                  <a:pt x="267" y="195"/>
                  <a:pt x="267" y="195"/>
                </a:cubicBezTo>
                <a:cubicBezTo>
                  <a:pt x="267" y="195"/>
                  <a:pt x="267" y="195"/>
                  <a:pt x="266" y="195"/>
                </a:cubicBezTo>
                <a:cubicBezTo>
                  <a:pt x="266" y="196"/>
                  <a:pt x="266" y="196"/>
                  <a:pt x="266" y="196"/>
                </a:cubicBezTo>
                <a:cubicBezTo>
                  <a:pt x="266" y="197"/>
                  <a:pt x="266" y="197"/>
                  <a:pt x="266" y="197"/>
                </a:cubicBezTo>
                <a:cubicBezTo>
                  <a:pt x="266" y="197"/>
                  <a:pt x="266" y="198"/>
                  <a:pt x="266" y="198"/>
                </a:cubicBezTo>
                <a:cubicBezTo>
                  <a:pt x="266" y="198"/>
                  <a:pt x="266" y="199"/>
                  <a:pt x="266" y="199"/>
                </a:cubicBezTo>
                <a:close/>
                <a:moveTo>
                  <a:pt x="308" y="176"/>
                </a:moveTo>
                <a:cubicBezTo>
                  <a:pt x="308" y="176"/>
                  <a:pt x="308" y="176"/>
                  <a:pt x="308" y="175"/>
                </a:cubicBezTo>
                <a:cubicBezTo>
                  <a:pt x="308" y="176"/>
                  <a:pt x="307" y="176"/>
                  <a:pt x="307" y="176"/>
                </a:cubicBezTo>
                <a:cubicBezTo>
                  <a:pt x="307" y="176"/>
                  <a:pt x="307" y="177"/>
                  <a:pt x="306" y="177"/>
                </a:cubicBezTo>
                <a:cubicBezTo>
                  <a:pt x="307" y="177"/>
                  <a:pt x="307" y="177"/>
                  <a:pt x="307" y="177"/>
                </a:cubicBezTo>
                <a:cubicBezTo>
                  <a:pt x="308" y="177"/>
                  <a:pt x="308" y="176"/>
                  <a:pt x="308" y="176"/>
                </a:cubicBezTo>
                <a:close/>
                <a:moveTo>
                  <a:pt x="262" y="203"/>
                </a:moveTo>
                <a:cubicBezTo>
                  <a:pt x="263" y="203"/>
                  <a:pt x="263" y="203"/>
                  <a:pt x="264" y="203"/>
                </a:cubicBezTo>
                <a:cubicBezTo>
                  <a:pt x="265" y="203"/>
                  <a:pt x="265" y="204"/>
                  <a:pt x="266" y="204"/>
                </a:cubicBezTo>
                <a:cubicBezTo>
                  <a:pt x="266" y="204"/>
                  <a:pt x="266" y="203"/>
                  <a:pt x="266" y="203"/>
                </a:cubicBezTo>
                <a:cubicBezTo>
                  <a:pt x="266" y="203"/>
                  <a:pt x="266" y="202"/>
                  <a:pt x="265" y="202"/>
                </a:cubicBezTo>
                <a:cubicBezTo>
                  <a:pt x="265" y="202"/>
                  <a:pt x="265" y="201"/>
                  <a:pt x="265" y="201"/>
                </a:cubicBezTo>
                <a:cubicBezTo>
                  <a:pt x="264" y="201"/>
                  <a:pt x="264" y="201"/>
                  <a:pt x="264" y="201"/>
                </a:cubicBezTo>
                <a:cubicBezTo>
                  <a:pt x="263" y="201"/>
                  <a:pt x="262" y="201"/>
                  <a:pt x="262" y="201"/>
                </a:cubicBezTo>
                <a:cubicBezTo>
                  <a:pt x="262" y="201"/>
                  <a:pt x="261" y="201"/>
                  <a:pt x="261" y="201"/>
                </a:cubicBezTo>
                <a:cubicBezTo>
                  <a:pt x="261" y="202"/>
                  <a:pt x="261" y="202"/>
                  <a:pt x="261" y="202"/>
                </a:cubicBezTo>
                <a:cubicBezTo>
                  <a:pt x="262" y="202"/>
                  <a:pt x="263" y="202"/>
                  <a:pt x="264" y="202"/>
                </a:cubicBezTo>
                <a:cubicBezTo>
                  <a:pt x="263" y="202"/>
                  <a:pt x="263" y="203"/>
                  <a:pt x="262" y="203"/>
                </a:cubicBezTo>
                <a:cubicBezTo>
                  <a:pt x="262" y="203"/>
                  <a:pt x="262" y="203"/>
                  <a:pt x="262" y="203"/>
                </a:cubicBezTo>
                <a:close/>
                <a:moveTo>
                  <a:pt x="264" y="200"/>
                </a:moveTo>
                <a:cubicBezTo>
                  <a:pt x="264" y="200"/>
                  <a:pt x="263" y="200"/>
                  <a:pt x="263" y="200"/>
                </a:cubicBezTo>
                <a:cubicBezTo>
                  <a:pt x="263" y="201"/>
                  <a:pt x="263" y="201"/>
                  <a:pt x="263" y="201"/>
                </a:cubicBezTo>
                <a:cubicBezTo>
                  <a:pt x="263" y="201"/>
                  <a:pt x="264" y="201"/>
                  <a:pt x="264" y="201"/>
                </a:cubicBezTo>
                <a:cubicBezTo>
                  <a:pt x="265" y="201"/>
                  <a:pt x="265" y="200"/>
                  <a:pt x="266" y="200"/>
                </a:cubicBezTo>
                <a:cubicBezTo>
                  <a:pt x="265" y="200"/>
                  <a:pt x="265" y="200"/>
                  <a:pt x="265" y="199"/>
                </a:cubicBezTo>
                <a:cubicBezTo>
                  <a:pt x="265" y="199"/>
                  <a:pt x="265" y="199"/>
                  <a:pt x="265" y="199"/>
                </a:cubicBezTo>
                <a:cubicBezTo>
                  <a:pt x="265" y="198"/>
                  <a:pt x="265" y="198"/>
                  <a:pt x="265" y="197"/>
                </a:cubicBezTo>
                <a:cubicBezTo>
                  <a:pt x="265" y="197"/>
                  <a:pt x="264" y="197"/>
                  <a:pt x="264" y="196"/>
                </a:cubicBezTo>
                <a:cubicBezTo>
                  <a:pt x="264" y="197"/>
                  <a:pt x="264" y="197"/>
                  <a:pt x="264" y="197"/>
                </a:cubicBezTo>
                <a:cubicBezTo>
                  <a:pt x="264" y="197"/>
                  <a:pt x="264" y="197"/>
                  <a:pt x="264" y="197"/>
                </a:cubicBezTo>
                <a:cubicBezTo>
                  <a:pt x="263" y="197"/>
                  <a:pt x="263" y="197"/>
                  <a:pt x="263" y="197"/>
                </a:cubicBezTo>
                <a:cubicBezTo>
                  <a:pt x="263" y="198"/>
                  <a:pt x="263" y="198"/>
                  <a:pt x="262" y="198"/>
                </a:cubicBezTo>
                <a:cubicBezTo>
                  <a:pt x="263" y="198"/>
                  <a:pt x="263" y="199"/>
                  <a:pt x="263" y="199"/>
                </a:cubicBezTo>
                <a:cubicBezTo>
                  <a:pt x="263" y="199"/>
                  <a:pt x="263" y="200"/>
                  <a:pt x="264" y="200"/>
                </a:cubicBezTo>
                <a:close/>
                <a:moveTo>
                  <a:pt x="529" y="205"/>
                </a:moveTo>
                <a:cubicBezTo>
                  <a:pt x="529" y="205"/>
                  <a:pt x="529" y="205"/>
                  <a:pt x="529" y="205"/>
                </a:cubicBezTo>
                <a:cubicBezTo>
                  <a:pt x="530" y="205"/>
                  <a:pt x="530" y="205"/>
                  <a:pt x="530" y="205"/>
                </a:cubicBezTo>
                <a:cubicBezTo>
                  <a:pt x="530" y="205"/>
                  <a:pt x="530" y="205"/>
                  <a:pt x="531" y="205"/>
                </a:cubicBezTo>
                <a:cubicBezTo>
                  <a:pt x="531" y="205"/>
                  <a:pt x="531" y="206"/>
                  <a:pt x="531" y="206"/>
                </a:cubicBezTo>
                <a:cubicBezTo>
                  <a:pt x="531" y="206"/>
                  <a:pt x="531" y="206"/>
                  <a:pt x="531" y="206"/>
                </a:cubicBezTo>
                <a:cubicBezTo>
                  <a:pt x="531" y="206"/>
                  <a:pt x="531" y="206"/>
                  <a:pt x="532" y="206"/>
                </a:cubicBezTo>
                <a:cubicBezTo>
                  <a:pt x="532" y="206"/>
                  <a:pt x="532" y="206"/>
                  <a:pt x="532" y="206"/>
                </a:cubicBezTo>
                <a:cubicBezTo>
                  <a:pt x="532" y="206"/>
                  <a:pt x="532" y="206"/>
                  <a:pt x="533" y="206"/>
                </a:cubicBezTo>
                <a:cubicBezTo>
                  <a:pt x="533" y="206"/>
                  <a:pt x="533" y="205"/>
                  <a:pt x="533" y="205"/>
                </a:cubicBezTo>
                <a:cubicBezTo>
                  <a:pt x="533" y="205"/>
                  <a:pt x="533" y="205"/>
                  <a:pt x="533" y="205"/>
                </a:cubicBezTo>
                <a:cubicBezTo>
                  <a:pt x="533" y="205"/>
                  <a:pt x="533" y="205"/>
                  <a:pt x="533" y="205"/>
                </a:cubicBezTo>
                <a:cubicBezTo>
                  <a:pt x="533" y="205"/>
                  <a:pt x="533" y="205"/>
                  <a:pt x="532" y="205"/>
                </a:cubicBezTo>
                <a:cubicBezTo>
                  <a:pt x="532" y="205"/>
                  <a:pt x="533" y="205"/>
                  <a:pt x="533" y="204"/>
                </a:cubicBezTo>
                <a:cubicBezTo>
                  <a:pt x="533" y="204"/>
                  <a:pt x="533" y="204"/>
                  <a:pt x="533" y="204"/>
                </a:cubicBezTo>
                <a:cubicBezTo>
                  <a:pt x="532" y="204"/>
                  <a:pt x="532" y="204"/>
                  <a:pt x="532" y="204"/>
                </a:cubicBezTo>
                <a:cubicBezTo>
                  <a:pt x="531" y="204"/>
                  <a:pt x="531" y="204"/>
                  <a:pt x="531" y="204"/>
                </a:cubicBezTo>
                <a:cubicBezTo>
                  <a:pt x="531" y="204"/>
                  <a:pt x="531" y="204"/>
                  <a:pt x="531" y="204"/>
                </a:cubicBezTo>
                <a:cubicBezTo>
                  <a:pt x="531" y="204"/>
                  <a:pt x="530" y="204"/>
                  <a:pt x="530" y="204"/>
                </a:cubicBezTo>
                <a:cubicBezTo>
                  <a:pt x="530" y="204"/>
                  <a:pt x="530" y="204"/>
                  <a:pt x="530" y="204"/>
                </a:cubicBezTo>
                <a:cubicBezTo>
                  <a:pt x="530" y="204"/>
                  <a:pt x="529" y="204"/>
                  <a:pt x="529" y="204"/>
                </a:cubicBezTo>
                <a:cubicBezTo>
                  <a:pt x="529" y="204"/>
                  <a:pt x="529" y="204"/>
                  <a:pt x="529" y="204"/>
                </a:cubicBezTo>
                <a:cubicBezTo>
                  <a:pt x="528" y="204"/>
                  <a:pt x="528" y="204"/>
                  <a:pt x="528" y="204"/>
                </a:cubicBezTo>
                <a:cubicBezTo>
                  <a:pt x="528" y="204"/>
                  <a:pt x="529" y="205"/>
                  <a:pt x="529" y="205"/>
                </a:cubicBezTo>
                <a:cubicBezTo>
                  <a:pt x="529" y="205"/>
                  <a:pt x="529" y="205"/>
                  <a:pt x="529" y="205"/>
                </a:cubicBezTo>
                <a:close/>
                <a:moveTo>
                  <a:pt x="520" y="162"/>
                </a:moveTo>
                <a:cubicBezTo>
                  <a:pt x="520" y="162"/>
                  <a:pt x="520" y="161"/>
                  <a:pt x="520" y="161"/>
                </a:cubicBezTo>
                <a:cubicBezTo>
                  <a:pt x="520" y="161"/>
                  <a:pt x="520" y="161"/>
                  <a:pt x="520" y="161"/>
                </a:cubicBezTo>
                <a:cubicBezTo>
                  <a:pt x="520" y="161"/>
                  <a:pt x="520" y="161"/>
                  <a:pt x="520" y="161"/>
                </a:cubicBezTo>
                <a:cubicBezTo>
                  <a:pt x="520" y="161"/>
                  <a:pt x="520" y="161"/>
                  <a:pt x="520" y="162"/>
                </a:cubicBezTo>
                <a:close/>
                <a:moveTo>
                  <a:pt x="521" y="162"/>
                </a:moveTo>
                <a:cubicBezTo>
                  <a:pt x="521" y="162"/>
                  <a:pt x="521" y="162"/>
                  <a:pt x="521" y="162"/>
                </a:cubicBezTo>
                <a:cubicBezTo>
                  <a:pt x="521" y="162"/>
                  <a:pt x="522" y="162"/>
                  <a:pt x="522" y="162"/>
                </a:cubicBezTo>
                <a:cubicBezTo>
                  <a:pt x="522" y="162"/>
                  <a:pt x="522" y="162"/>
                  <a:pt x="523" y="162"/>
                </a:cubicBezTo>
                <a:cubicBezTo>
                  <a:pt x="523" y="162"/>
                  <a:pt x="523" y="162"/>
                  <a:pt x="523" y="162"/>
                </a:cubicBezTo>
                <a:cubicBezTo>
                  <a:pt x="522" y="162"/>
                  <a:pt x="522" y="162"/>
                  <a:pt x="522" y="162"/>
                </a:cubicBezTo>
                <a:cubicBezTo>
                  <a:pt x="522" y="162"/>
                  <a:pt x="521" y="162"/>
                  <a:pt x="521" y="162"/>
                </a:cubicBezTo>
                <a:cubicBezTo>
                  <a:pt x="521" y="162"/>
                  <a:pt x="521" y="162"/>
                  <a:pt x="521" y="162"/>
                </a:cubicBezTo>
                <a:close/>
                <a:moveTo>
                  <a:pt x="518" y="159"/>
                </a:moveTo>
                <a:cubicBezTo>
                  <a:pt x="517" y="159"/>
                  <a:pt x="517" y="159"/>
                  <a:pt x="517" y="159"/>
                </a:cubicBezTo>
                <a:cubicBezTo>
                  <a:pt x="517" y="159"/>
                  <a:pt x="517" y="159"/>
                  <a:pt x="517" y="159"/>
                </a:cubicBezTo>
                <a:cubicBezTo>
                  <a:pt x="517" y="159"/>
                  <a:pt x="517" y="159"/>
                  <a:pt x="517" y="160"/>
                </a:cubicBezTo>
                <a:cubicBezTo>
                  <a:pt x="517" y="159"/>
                  <a:pt x="518" y="159"/>
                  <a:pt x="518" y="159"/>
                </a:cubicBezTo>
                <a:cubicBezTo>
                  <a:pt x="518" y="159"/>
                  <a:pt x="518" y="160"/>
                  <a:pt x="518" y="160"/>
                </a:cubicBezTo>
                <a:cubicBezTo>
                  <a:pt x="519" y="160"/>
                  <a:pt x="519" y="159"/>
                  <a:pt x="519" y="159"/>
                </a:cubicBezTo>
                <a:cubicBezTo>
                  <a:pt x="519" y="159"/>
                  <a:pt x="519" y="159"/>
                  <a:pt x="519" y="159"/>
                </a:cubicBezTo>
                <a:cubicBezTo>
                  <a:pt x="519" y="159"/>
                  <a:pt x="518" y="159"/>
                  <a:pt x="518" y="159"/>
                </a:cubicBezTo>
                <a:cubicBezTo>
                  <a:pt x="518" y="159"/>
                  <a:pt x="518" y="159"/>
                  <a:pt x="518" y="159"/>
                </a:cubicBezTo>
                <a:close/>
                <a:moveTo>
                  <a:pt x="522" y="161"/>
                </a:moveTo>
                <a:cubicBezTo>
                  <a:pt x="522" y="161"/>
                  <a:pt x="522" y="161"/>
                  <a:pt x="521" y="161"/>
                </a:cubicBezTo>
                <a:cubicBezTo>
                  <a:pt x="522" y="161"/>
                  <a:pt x="522" y="161"/>
                  <a:pt x="522" y="161"/>
                </a:cubicBezTo>
                <a:cubicBezTo>
                  <a:pt x="522" y="161"/>
                  <a:pt x="522" y="161"/>
                  <a:pt x="522" y="161"/>
                </a:cubicBezTo>
                <a:close/>
                <a:moveTo>
                  <a:pt x="512" y="159"/>
                </a:moveTo>
                <a:cubicBezTo>
                  <a:pt x="513" y="159"/>
                  <a:pt x="513" y="160"/>
                  <a:pt x="513" y="160"/>
                </a:cubicBezTo>
                <a:cubicBezTo>
                  <a:pt x="513" y="160"/>
                  <a:pt x="514" y="160"/>
                  <a:pt x="514" y="160"/>
                </a:cubicBezTo>
                <a:cubicBezTo>
                  <a:pt x="514" y="160"/>
                  <a:pt x="514" y="160"/>
                  <a:pt x="514" y="160"/>
                </a:cubicBezTo>
                <a:cubicBezTo>
                  <a:pt x="514" y="159"/>
                  <a:pt x="514" y="159"/>
                  <a:pt x="514" y="159"/>
                </a:cubicBezTo>
                <a:cubicBezTo>
                  <a:pt x="514" y="159"/>
                  <a:pt x="513" y="159"/>
                  <a:pt x="513" y="159"/>
                </a:cubicBezTo>
                <a:cubicBezTo>
                  <a:pt x="513" y="159"/>
                  <a:pt x="513" y="159"/>
                  <a:pt x="512" y="159"/>
                </a:cubicBezTo>
                <a:close/>
                <a:moveTo>
                  <a:pt x="526" y="209"/>
                </a:moveTo>
                <a:cubicBezTo>
                  <a:pt x="526" y="208"/>
                  <a:pt x="526" y="208"/>
                  <a:pt x="527" y="208"/>
                </a:cubicBezTo>
                <a:cubicBezTo>
                  <a:pt x="527" y="208"/>
                  <a:pt x="527" y="208"/>
                  <a:pt x="527" y="208"/>
                </a:cubicBezTo>
                <a:cubicBezTo>
                  <a:pt x="527" y="208"/>
                  <a:pt x="527" y="208"/>
                  <a:pt x="528" y="208"/>
                </a:cubicBezTo>
                <a:cubicBezTo>
                  <a:pt x="528" y="208"/>
                  <a:pt x="528" y="207"/>
                  <a:pt x="528" y="207"/>
                </a:cubicBezTo>
                <a:cubicBezTo>
                  <a:pt x="528" y="207"/>
                  <a:pt x="528" y="207"/>
                  <a:pt x="528" y="207"/>
                </a:cubicBezTo>
                <a:cubicBezTo>
                  <a:pt x="527" y="207"/>
                  <a:pt x="527" y="206"/>
                  <a:pt x="527" y="206"/>
                </a:cubicBezTo>
                <a:cubicBezTo>
                  <a:pt x="527" y="206"/>
                  <a:pt x="527" y="206"/>
                  <a:pt x="527" y="206"/>
                </a:cubicBezTo>
                <a:cubicBezTo>
                  <a:pt x="526" y="206"/>
                  <a:pt x="526" y="206"/>
                  <a:pt x="526" y="206"/>
                </a:cubicBezTo>
                <a:cubicBezTo>
                  <a:pt x="525" y="206"/>
                  <a:pt x="525" y="206"/>
                  <a:pt x="525" y="206"/>
                </a:cubicBezTo>
                <a:cubicBezTo>
                  <a:pt x="525" y="206"/>
                  <a:pt x="524" y="206"/>
                  <a:pt x="524" y="206"/>
                </a:cubicBezTo>
                <a:cubicBezTo>
                  <a:pt x="524" y="206"/>
                  <a:pt x="524" y="206"/>
                  <a:pt x="524" y="206"/>
                </a:cubicBezTo>
                <a:cubicBezTo>
                  <a:pt x="523" y="206"/>
                  <a:pt x="523" y="206"/>
                  <a:pt x="523" y="206"/>
                </a:cubicBezTo>
                <a:cubicBezTo>
                  <a:pt x="523" y="206"/>
                  <a:pt x="522" y="206"/>
                  <a:pt x="522" y="206"/>
                </a:cubicBezTo>
                <a:cubicBezTo>
                  <a:pt x="522" y="206"/>
                  <a:pt x="522" y="206"/>
                  <a:pt x="522" y="207"/>
                </a:cubicBezTo>
                <a:cubicBezTo>
                  <a:pt x="522" y="207"/>
                  <a:pt x="522" y="207"/>
                  <a:pt x="522" y="207"/>
                </a:cubicBezTo>
                <a:cubicBezTo>
                  <a:pt x="523" y="207"/>
                  <a:pt x="523" y="207"/>
                  <a:pt x="523" y="207"/>
                </a:cubicBezTo>
                <a:cubicBezTo>
                  <a:pt x="524" y="208"/>
                  <a:pt x="524" y="208"/>
                  <a:pt x="524" y="208"/>
                </a:cubicBezTo>
                <a:cubicBezTo>
                  <a:pt x="524" y="208"/>
                  <a:pt x="524" y="208"/>
                  <a:pt x="524" y="208"/>
                </a:cubicBezTo>
                <a:cubicBezTo>
                  <a:pt x="525" y="208"/>
                  <a:pt x="525" y="209"/>
                  <a:pt x="525" y="209"/>
                </a:cubicBezTo>
                <a:cubicBezTo>
                  <a:pt x="525" y="209"/>
                  <a:pt x="525" y="209"/>
                  <a:pt x="525" y="209"/>
                </a:cubicBezTo>
                <a:cubicBezTo>
                  <a:pt x="526" y="209"/>
                  <a:pt x="526" y="209"/>
                  <a:pt x="526" y="209"/>
                </a:cubicBezTo>
                <a:close/>
                <a:moveTo>
                  <a:pt x="479" y="167"/>
                </a:moveTo>
                <a:cubicBezTo>
                  <a:pt x="479" y="167"/>
                  <a:pt x="479" y="167"/>
                  <a:pt x="479" y="167"/>
                </a:cubicBezTo>
                <a:cubicBezTo>
                  <a:pt x="479" y="167"/>
                  <a:pt x="479" y="167"/>
                  <a:pt x="478" y="168"/>
                </a:cubicBezTo>
                <a:cubicBezTo>
                  <a:pt x="479" y="168"/>
                  <a:pt x="479" y="168"/>
                  <a:pt x="479" y="168"/>
                </a:cubicBezTo>
                <a:cubicBezTo>
                  <a:pt x="479" y="168"/>
                  <a:pt x="479" y="168"/>
                  <a:pt x="479" y="168"/>
                </a:cubicBezTo>
                <a:cubicBezTo>
                  <a:pt x="479" y="168"/>
                  <a:pt x="479" y="168"/>
                  <a:pt x="479" y="168"/>
                </a:cubicBezTo>
                <a:cubicBezTo>
                  <a:pt x="480" y="168"/>
                  <a:pt x="480" y="168"/>
                  <a:pt x="480" y="168"/>
                </a:cubicBezTo>
                <a:cubicBezTo>
                  <a:pt x="480" y="168"/>
                  <a:pt x="479" y="167"/>
                  <a:pt x="479" y="167"/>
                </a:cubicBezTo>
                <a:cubicBezTo>
                  <a:pt x="479" y="167"/>
                  <a:pt x="479" y="167"/>
                  <a:pt x="479" y="167"/>
                </a:cubicBezTo>
                <a:close/>
                <a:moveTo>
                  <a:pt x="480" y="167"/>
                </a:moveTo>
                <a:cubicBezTo>
                  <a:pt x="480" y="167"/>
                  <a:pt x="480" y="167"/>
                  <a:pt x="480" y="168"/>
                </a:cubicBezTo>
                <a:cubicBezTo>
                  <a:pt x="480" y="167"/>
                  <a:pt x="480" y="167"/>
                  <a:pt x="481" y="167"/>
                </a:cubicBezTo>
                <a:cubicBezTo>
                  <a:pt x="481" y="167"/>
                  <a:pt x="481" y="167"/>
                  <a:pt x="481" y="167"/>
                </a:cubicBezTo>
                <a:cubicBezTo>
                  <a:pt x="481" y="167"/>
                  <a:pt x="481" y="167"/>
                  <a:pt x="481" y="166"/>
                </a:cubicBezTo>
                <a:cubicBezTo>
                  <a:pt x="481" y="166"/>
                  <a:pt x="480" y="166"/>
                  <a:pt x="480" y="166"/>
                </a:cubicBezTo>
                <a:cubicBezTo>
                  <a:pt x="480" y="167"/>
                  <a:pt x="480" y="167"/>
                  <a:pt x="480" y="167"/>
                </a:cubicBezTo>
                <a:close/>
                <a:moveTo>
                  <a:pt x="475" y="163"/>
                </a:moveTo>
                <a:cubicBezTo>
                  <a:pt x="475" y="163"/>
                  <a:pt x="475" y="164"/>
                  <a:pt x="475" y="164"/>
                </a:cubicBezTo>
                <a:cubicBezTo>
                  <a:pt x="475" y="164"/>
                  <a:pt x="475" y="164"/>
                  <a:pt x="475" y="164"/>
                </a:cubicBezTo>
                <a:cubicBezTo>
                  <a:pt x="476" y="164"/>
                  <a:pt x="476" y="164"/>
                  <a:pt x="476" y="164"/>
                </a:cubicBezTo>
                <a:cubicBezTo>
                  <a:pt x="476" y="164"/>
                  <a:pt x="476" y="164"/>
                  <a:pt x="476" y="164"/>
                </a:cubicBezTo>
                <a:cubicBezTo>
                  <a:pt x="476" y="163"/>
                  <a:pt x="477" y="163"/>
                  <a:pt x="477" y="163"/>
                </a:cubicBezTo>
                <a:cubicBezTo>
                  <a:pt x="476" y="163"/>
                  <a:pt x="476" y="163"/>
                  <a:pt x="476" y="163"/>
                </a:cubicBezTo>
                <a:cubicBezTo>
                  <a:pt x="476" y="163"/>
                  <a:pt x="476" y="163"/>
                  <a:pt x="475" y="163"/>
                </a:cubicBezTo>
                <a:close/>
                <a:moveTo>
                  <a:pt x="550" y="166"/>
                </a:moveTo>
                <a:cubicBezTo>
                  <a:pt x="550" y="167"/>
                  <a:pt x="550" y="167"/>
                  <a:pt x="550" y="167"/>
                </a:cubicBezTo>
                <a:cubicBezTo>
                  <a:pt x="551" y="167"/>
                  <a:pt x="551" y="167"/>
                  <a:pt x="551" y="167"/>
                </a:cubicBezTo>
                <a:cubicBezTo>
                  <a:pt x="551" y="167"/>
                  <a:pt x="551" y="167"/>
                  <a:pt x="551" y="167"/>
                </a:cubicBezTo>
                <a:cubicBezTo>
                  <a:pt x="551" y="167"/>
                  <a:pt x="552" y="167"/>
                  <a:pt x="552" y="167"/>
                </a:cubicBezTo>
                <a:cubicBezTo>
                  <a:pt x="552" y="166"/>
                  <a:pt x="551" y="166"/>
                  <a:pt x="551" y="166"/>
                </a:cubicBezTo>
                <a:cubicBezTo>
                  <a:pt x="551" y="165"/>
                  <a:pt x="551" y="165"/>
                  <a:pt x="551" y="165"/>
                </a:cubicBezTo>
                <a:cubicBezTo>
                  <a:pt x="551" y="164"/>
                  <a:pt x="551" y="164"/>
                  <a:pt x="551" y="164"/>
                </a:cubicBezTo>
                <a:cubicBezTo>
                  <a:pt x="550" y="164"/>
                  <a:pt x="550" y="164"/>
                  <a:pt x="550" y="164"/>
                </a:cubicBezTo>
                <a:cubicBezTo>
                  <a:pt x="550" y="165"/>
                  <a:pt x="550" y="165"/>
                  <a:pt x="550" y="165"/>
                </a:cubicBezTo>
                <a:cubicBezTo>
                  <a:pt x="550" y="165"/>
                  <a:pt x="550" y="166"/>
                  <a:pt x="550" y="166"/>
                </a:cubicBezTo>
                <a:cubicBezTo>
                  <a:pt x="550" y="166"/>
                  <a:pt x="550" y="166"/>
                  <a:pt x="550" y="166"/>
                </a:cubicBezTo>
                <a:close/>
                <a:moveTo>
                  <a:pt x="500" y="158"/>
                </a:moveTo>
                <a:cubicBezTo>
                  <a:pt x="499" y="158"/>
                  <a:pt x="499" y="158"/>
                  <a:pt x="499" y="158"/>
                </a:cubicBezTo>
                <a:cubicBezTo>
                  <a:pt x="499" y="158"/>
                  <a:pt x="498" y="158"/>
                  <a:pt x="498" y="158"/>
                </a:cubicBezTo>
                <a:cubicBezTo>
                  <a:pt x="498" y="158"/>
                  <a:pt x="498" y="158"/>
                  <a:pt x="498" y="158"/>
                </a:cubicBezTo>
                <a:cubicBezTo>
                  <a:pt x="497" y="158"/>
                  <a:pt x="497" y="159"/>
                  <a:pt x="497" y="159"/>
                </a:cubicBezTo>
                <a:cubicBezTo>
                  <a:pt x="497" y="159"/>
                  <a:pt x="497" y="159"/>
                  <a:pt x="497" y="159"/>
                </a:cubicBezTo>
                <a:cubicBezTo>
                  <a:pt x="497" y="159"/>
                  <a:pt x="497" y="159"/>
                  <a:pt x="497" y="159"/>
                </a:cubicBezTo>
                <a:cubicBezTo>
                  <a:pt x="498" y="159"/>
                  <a:pt x="498" y="159"/>
                  <a:pt x="498" y="159"/>
                </a:cubicBezTo>
                <a:cubicBezTo>
                  <a:pt x="498" y="159"/>
                  <a:pt x="498" y="159"/>
                  <a:pt x="498" y="159"/>
                </a:cubicBezTo>
                <a:cubicBezTo>
                  <a:pt x="499" y="159"/>
                  <a:pt x="499" y="159"/>
                  <a:pt x="499" y="159"/>
                </a:cubicBezTo>
                <a:cubicBezTo>
                  <a:pt x="499" y="159"/>
                  <a:pt x="500" y="159"/>
                  <a:pt x="500" y="159"/>
                </a:cubicBezTo>
                <a:cubicBezTo>
                  <a:pt x="500" y="159"/>
                  <a:pt x="500" y="159"/>
                  <a:pt x="500" y="159"/>
                </a:cubicBezTo>
                <a:cubicBezTo>
                  <a:pt x="500" y="159"/>
                  <a:pt x="501" y="159"/>
                  <a:pt x="501" y="159"/>
                </a:cubicBezTo>
                <a:cubicBezTo>
                  <a:pt x="501" y="159"/>
                  <a:pt x="501" y="159"/>
                  <a:pt x="501" y="159"/>
                </a:cubicBezTo>
                <a:cubicBezTo>
                  <a:pt x="501" y="158"/>
                  <a:pt x="501" y="158"/>
                  <a:pt x="501" y="158"/>
                </a:cubicBezTo>
                <a:cubicBezTo>
                  <a:pt x="501" y="158"/>
                  <a:pt x="500" y="158"/>
                  <a:pt x="500" y="158"/>
                </a:cubicBezTo>
                <a:close/>
                <a:moveTo>
                  <a:pt x="262" y="338"/>
                </a:moveTo>
                <a:cubicBezTo>
                  <a:pt x="262" y="338"/>
                  <a:pt x="263" y="338"/>
                  <a:pt x="263" y="338"/>
                </a:cubicBezTo>
                <a:cubicBezTo>
                  <a:pt x="263" y="337"/>
                  <a:pt x="264" y="337"/>
                  <a:pt x="264" y="336"/>
                </a:cubicBezTo>
                <a:cubicBezTo>
                  <a:pt x="264" y="336"/>
                  <a:pt x="264" y="336"/>
                  <a:pt x="264" y="336"/>
                </a:cubicBezTo>
                <a:cubicBezTo>
                  <a:pt x="264" y="336"/>
                  <a:pt x="263" y="336"/>
                  <a:pt x="263" y="337"/>
                </a:cubicBezTo>
                <a:cubicBezTo>
                  <a:pt x="262" y="337"/>
                  <a:pt x="262" y="337"/>
                  <a:pt x="262" y="338"/>
                </a:cubicBezTo>
                <a:cubicBezTo>
                  <a:pt x="262" y="338"/>
                  <a:pt x="262" y="338"/>
                  <a:pt x="261" y="338"/>
                </a:cubicBezTo>
                <a:cubicBezTo>
                  <a:pt x="261" y="339"/>
                  <a:pt x="261" y="339"/>
                  <a:pt x="261" y="340"/>
                </a:cubicBezTo>
                <a:cubicBezTo>
                  <a:pt x="261" y="340"/>
                  <a:pt x="261" y="339"/>
                  <a:pt x="261" y="339"/>
                </a:cubicBezTo>
                <a:cubicBezTo>
                  <a:pt x="261" y="339"/>
                  <a:pt x="262" y="339"/>
                  <a:pt x="262" y="338"/>
                </a:cubicBezTo>
                <a:close/>
                <a:moveTo>
                  <a:pt x="555" y="166"/>
                </a:moveTo>
                <a:cubicBezTo>
                  <a:pt x="554" y="166"/>
                  <a:pt x="554" y="166"/>
                  <a:pt x="554" y="166"/>
                </a:cubicBezTo>
                <a:cubicBezTo>
                  <a:pt x="554" y="166"/>
                  <a:pt x="554" y="167"/>
                  <a:pt x="554" y="167"/>
                </a:cubicBezTo>
                <a:cubicBezTo>
                  <a:pt x="554" y="167"/>
                  <a:pt x="554" y="167"/>
                  <a:pt x="554" y="167"/>
                </a:cubicBezTo>
                <a:cubicBezTo>
                  <a:pt x="555" y="167"/>
                  <a:pt x="555" y="167"/>
                  <a:pt x="555" y="167"/>
                </a:cubicBezTo>
                <a:cubicBezTo>
                  <a:pt x="555" y="167"/>
                  <a:pt x="555" y="166"/>
                  <a:pt x="555" y="166"/>
                </a:cubicBezTo>
                <a:close/>
                <a:moveTo>
                  <a:pt x="516" y="160"/>
                </a:moveTo>
                <a:cubicBezTo>
                  <a:pt x="516" y="159"/>
                  <a:pt x="516" y="159"/>
                  <a:pt x="516" y="159"/>
                </a:cubicBezTo>
                <a:cubicBezTo>
                  <a:pt x="515" y="159"/>
                  <a:pt x="515" y="159"/>
                  <a:pt x="515" y="160"/>
                </a:cubicBezTo>
                <a:cubicBezTo>
                  <a:pt x="515" y="160"/>
                  <a:pt x="516" y="160"/>
                  <a:pt x="516" y="160"/>
                </a:cubicBezTo>
                <a:close/>
                <a:moveTo>
                  <a:pt x="453" y="174"/>
                </a:moveTo>
                <a:cubicBezTo>
                  <a:pt x="453" y="173"/>
                  <a:pt x="453" y="173"/>
                  <a:pt x="453" y="173"/>
                </a:cubicBezTo>
                <a:cubicBezTo>
                  <a:pt x="453" y="172"/>
                  <a:pt x="453" y="172"/>
                  <a:pt x="454" y="171"/>
                </a:cubicBezTo>
                <a:cubicBezTo>
                  <a:pt x="453" y="170"/>
                  <a:pt x="453" y="170"/>
                  <a:pt x="452" y="169"/>
                </a:cubicBezTo>
                <a:cubicBezTo>
                  <a:pt x="452" y="169"/>
                  <a:pt x="451" y="169"/>
                  <a:pt x="451" y="169"/>
                </a:cubicBezTo>
                <a:cubicBezTo>
                  <a:pt x="450" y="168"/>
                  <a:pt x="450" y="168"/>
                  <a:pt x="450" y="168"/>
                </a:cubicBezTo>
                <a:cubicBezTo>
                  <a:pt x="450" y="168"/>
                  <a:pt x="450" y="168"/>
                  <a:pt x="449" y="168"/>
                </a:cubicBezTo>
                <a:cubicBezTo>
                  <a:pt x="449" y="168"/>
                  <a:pt x="449" y="169"/>
                  <a:pt x="449" y="169"/>
                </a:cubicBezTo>
                <a:cubicBezTo>
                  <a:pt x="449" y="169"/>
                  <a:pt x="449" y="168"/>
                  <a:pt x="449" y="168"/>
                </a:cubicBezTo>
                <a:cubicBezTo>
                  <a:pt x="449" y="168"/>
                  <a:pt x="449" y="168"/>
                  <a:pt x="449" y="167"/>
                </a:cubicBezTo>
                <a:cubicBezTo>
                  <a:pt x="449" y="167"/>
                  <a:pt x="449" y="167"/>
                  <a:pt x="449" y="167"/>
                </a:cubicBezTo>
                <a:cubicBezTo>
                  <a:pt x="449" y="167"/>
                  <a:pt x="449" y="166"/>
                  <a:pt x="449" y="166"/>
                </a:cubicBezTo>
                <a:cubicBezTo>
                  <a:pt x="448" y="166"/>
                  <a:pt x="448" y="166"/>
                  <a:pt x="448" y="165"/>
                </a:cubicBezTo>
                <a:cubicBezTo>
                  <a:pt x="448" y="166"/>
                  <a:pt x="447" y="166"/>
                  <a:pt x="447" y="166"/>
                </a:cubicBezTo>
                <a:cubicBezTo>
                  <a:pt x="446" y="167"/>
                  <a:pt x="446" y="167"/>
                  <a:pt x="445" y="168"/>
                </a:cubicBezTo>
                <a:cubicBezTo>
                  <a:pt x="445" y="168"/>
                  <a:pt x="445" y="168"/>
                  <a:pt x="445" y="169"/>
                </a:cubicBezTo>
                <a:cubicBezTo>
                  <a:pt x="445" y="169"/>
                  <a:pt x="445" y="170"/>
                  <a:pt x="446" y="170"/>
                </a:cubicBezTo>
                <a:cubicBezTo>
                  <a:pt x="445" y="170"/>
                  <a:pt x="445" y="170"/>
                  <a:pt x="445" y="170"/>
                </a:cubicBezTo>
                <a:cubicBezTo>
                  <a:pt x="444" y="170"/>
                  <a:pt x="444" y="169"/>
                  <a:pt x="444" y="169"/>
                </a:cubicBezTo>
                <a:cubicBezTo>
                  <a:pt x="444" y="169"/>
                  <a:pt x="444" y="169"/>
                  <a:pt x="443" y="169"/>
                </a:cubicBezTo>
                <a:cubicBezTo>
                  <a:pt x="443" y="170"/>
                  <a:pt x="443" y="170"/>
                  <a:pt x="443" y="170"/>
                </a:cubicBezTo>
                <a:cubicBezTo>
                  <a:pt x="443" y="170"/>
                  <a:pt x="443" y="170"/>
                  <a:pt x="443" y="170"/>
                </a:cubicBezTo>
                <a:cubicBezTo>
                  <a:pt x="443" y="171"/>
                  <a:pt x="443" y="171"/>
                  <a:pt x="443" y="171"/>
                </a:cubicBezTo>
                <a:cubicBezTo>
                  <a:pt x="443" y="171"/>
                  <a:pt x="443" y="171"/>
                  <a:pt x="443" y="172"/>
                </a:cubicBezTo>
                <a:cubicBezTo>
                  <a:pt x="443" y="172"/>
                  <a:pt x="442" y="172"/>
                  <a:pt x="442" y="172"/>
                </a:cubicBezTo>
                <a:cubicBezTo>
                  <a:pt x="442" y="172"/>
                  <a:pt x="442" y="172"/>
                  <a:pt x="442" y="173"/>
                </a:cubicBezTo>
                <a:cubicBezTo>
                  <a:pt x="441" y="173"/>
                  <a:pt x="440" y="173"/>
                  <a:pt x="440" y="173"/>
                </a:cubicBezTo>
                <a:cubicBezTo>
                  <a:pt x="439" y="173"/>
                  <a:pt x="439" y="173"/>
                  <a:pt x="439" y="173"/>
                </a:cubicBezTo>
                <a:cubicBezTo>
                  <a:pt x="439" y="174"/>
                  <a:pt x="439" y="174"/>
                  <a:pt x="438" y="174"/>
                </a:cubicBezTo>
                <a:cubicBezTo>
                  <a:pt x="437" y="174"/>
                  <a:pt x="437" y="175"/>
                  <a:pt x="436" y="175"/>
                </a:cubicBezTo>
                <a:cubicBezTo>
                  <a:pt x="436" y="175"/>
                  <a:pt x="436" y="176"/>
                  <a:pt x="436" y="176"/>
                </a:cubicBezTo>
                <a:cubicBezTo>
                  <a:pt x="437" y="176"/>
                  <a:pt x="437" y="176"/>
                  <a:pt x="438" y="177"/>
                </a:cubicBezTo>
                <a:cubicBezTo>
                  <a:pt x="438" y="176"/>
                  <a:pt x="438" y="176"/>
                  <a:pt x="439" y="176"/>
                </a:cubicBezTo>
                <a:cubicBezTo>
                  <a:pt x="439" y="176"/>
                  <a:pt x="438" y="176"/>
                  <a:pt x="438" y="176"/>
                </a:cubicBezTo>
                <a:cubicBezTo>
                  <a:pt x="438" y="175"/>
                  <a:pt x="438" y="175"/>
                  <a:pt x="439" y="175"/>
                </a:cubicBezTo>
                <a:cubicBezTo>
                  <a:pt x="439" y="175"/>
                  <a:pt x="439" y="175"/>
                  <a:pt x="440" y="175"/>
                </a:cubicBezTo>
                <a:cubicBezTo>
                  <a:pt x="440" y="176"/>
                  <a:pt x="440" y="176"/>
                  <a:pt x="440" y="176"/>
                </a:cubicBezTo>
                <a:cubicBezTo>
                  <a:pt x="440" y="176"/>
                  <a:pt x="441" y="177"/>
                  <a:pt x="441" y="177"/>
                </a:cubicBezTo>
                <a:cubicBezTo>
                  <a:pt x="441" y="176"/>
                  <a:pt x="441" y="176"/>
                  <a:pt x="442" y="176"/>
                </a:cubicBezTo>
                <a:cubicBezTo>
                  <a:pt x="442" y="176"/>
                  <a:pt x="442" y="176"/>
                  <a:pt x="442" y="176"/>
                </a:cubicBezTo>
                <a:cubicBezTo>
                  <a:pt x="442" y="176"/>
                  <a:pt x="442" y="177"/>
                  <a:pt x="442" y="177"/>
                </a:cubicBezTo>
                <a:cubicBezTo>
                  <a:pt x="442" y="177"/>
                  <a:pt x="443" y="177"/>
                  <a:pt x="443" y="177"/>
                </a:cubicBezTo>
                <a:cubicBezTo>
                  <a:pt x="444" y="177"/>
                  <a:pt x="444" y="177"/>
                  <a:pt x="445" y="177"/>
                </a:cubicBezTo>
                <a:cubicBezTo>
                  <a:pt x="445" y="178"/>
                  <a:pt x="445" y="178"/>
                  <a:pt x="445" y="178"/>
                </a:cubicBezTo>
                <a:cubicBezTo>
                  <a:pt x="446" y="178"/>
                  <a:pt x="446" y="178"/>
                  <a:pt x="446" y="178"/>
                </a:cubicBezTo>
                <a:cubicBezTo>
                  <a:pt x="447" y="178"/>
                  <a:pt x="447" y="178"/>
                  <a:pt x="447" y="177"/>
                </a:cubicBezTo>
                <a:cubicBezTo>
                  <a:pt x="447" y="178"/>
                  <a:pt x="447" y="178"/>
                  <a:pt x="447" y="178"/>
                </a:cubicBezTo>
                <a:cubicBezTo>
                  <a:pt x="448" y="178"/>
                  <a:pt x="448" y="178"/>
                  <a:pt x="449" y="178"/>
                </a:cubicBezTo>
                <a:cubicBezTo>
                  <a:pt x="449" y="178"/>
                  <a:pt x="449" y="178"/>
                  <a:pt x="450" y="178"/>
                </a:cubicBezTo>
                <a:cubicBezTo>
                  <a:pt x="450" y="178"/>
                  <a:pt x="450" y="178"/>
                  <a:pt x="451" y="178"/>
                </a:cubicBezTo>
                <a:cubicBezTo>
                  <a:pt x="451" y="178"/>
                  <a:pt x="451" y="177"/>
                  <a:pt x="452" y="177"/>
                </a:cubicBezTo>
                <a:cubicBezTo>
                  <a:pt x="452" y="177"/>
                  <a:pt x="452" y="177"/>
                  <a:pt x="453" y="177"/>
                </a:cubicBezTo>
                <a:cubicBezTo>
                  <a:pt x="453" y="176"/>
                  <a:pt x="453" y="176"/>
                  <a:pt x="454" y="176"/>
                </a:cubicBezTo>
                <a:cubicBezTo>
                  <a:pt x="454" y="176"/>
                  <a:pt x="454" y="176"/>
                  <a:pt x="454" y="176"/>
                </a:cubicBezTo>
                <a:cubicBezTo>
                  <a:pt x="455" y="176"/>
                  <a:pt x="455" y="176"/>
                  <a:pt x="455" y="176"/>
                </a:cubicBezTo>
                <a:cubicBezTo>
                  <a:pt x="455" y="175"/>
                  <a:pt x="456" y="175"/>
                  <a:pt x="456" y="174"/>
                </a:cubicBezTo>
                <a:cubicBezTo>
                  <a:pt x="456" y="174"/>
                  <a:pt x="456" y="174"/>
                  <a:pt x="456" y="174"/>
                </a:cubicBezTo>
                <a:cubicBezTo>
                  <a:pt x="456" y="174"/>
                  <a:pt x="455" y="174"/>
                  <a:pt x="455" y="175"/>
                </a:cubicBezTo>
                <a:cubicBezTo>
                  <a:pt x="455" y="174"/>
                  <a:pt x="454" y="174"/>
                  <a:pt x="454" y="174"/>
                </a:cubicBezTo>
                <a:cubicBezTo>
                  <a:pt x="454" y="174"/>
                  <a:pt x="455" y="173"/>
                  <a:pt x="455" y="172"/>
                </a:cubicBezTo>
                <a:cubicBezTo>
                  <a:pt x="455" y="172"/>
                  <a:pt x="455" y="172"/>
                  <a:pt x="455" y="172"/>
                </a:cubicBezTo>
                <a:cubicBezTo>
                  <a:pt x="455" y="172"/>
                  <a:pt x="454" y="172"/>
                  <a:pt x="454" y="172"/>
                </a:cubicBezTo>
                <a:cubicBezTo>
                  <a:pt x="454" y="173"/>
                  <a:pt x="454" y="173"/>
                  <a:pt x="453" y="174"/>
                </a:cubicBezTo>
                <a:close/>
                <a:moveTo>
                  <a:pt x="428" y="170"/>
                </a:moveTo>
                <a:cubicBezTo>
                  <a:pt x="428" y="170"/>
                  <a:pt x="428" y="170"/>
                  <a:pt x="428" y="169"/>
                </a:cubicBezTo>
                <a:cubicBezTo>
                  <a:pt x="428" y="169"/>
                  <a:pt x="428" y="169"/>
                  <a:pt x="429" y="169"/>
                </a:cubicBezTo>
                <a:cubicBezTo>
                  <a:pt x="429" y="169"/>
                  <a:pt x="429" y="168"/>
                  <a:pt x="429" y="168"/>
                </a:cubicBezTo>
                <a:cubicBezTo>
                  <a:pt x="429" y="168"/>
                  <a:pt x="430" y="168"/>
                  <a:pt x="430" y="167"/>
                </a:cubicBezTo>
                <a:cubicBezTo>
                  <a:pt x="430" y="168"/>
                  <a:pt x="430" y="168"/>
                  <a:pt x="430" y="168"/>
                </a:cubicBezTo>
                <a:cubicBezTo>
                  <a:pt x="429" y="169"/>
                  <a:pt x="429" y="169"/>
                  <a:pt x="429" y="169"/>
                </a:cubicBezTo>
                <a:cubicBezTo>
                  <a:pt x="429" y="169"/>
                  <a:pt x="429" y="170"/>
                  <a:pt x="430" y="170"/>
                </a:cubicBezTo>
                <a:cubicBezTo>
                  <a:pt x="430" y="170"/>
                  <a:pt x="430" y="170"/>
                  <a:pt x="430" y="170"/>
                </a:cubicBezTo>
                <a:cubicBezTo>
                  <a:pt x="431" y="170"/>
                  <a:pt x="431" y="170"/>
                  <a:pt x="431" y="170"/>
                </a:cubicBezTo>
                <a:cubicBezTo>
                  <a:pt x="431" y="170"/>
                  <a:pt x="431" y="170"/>
                  <a:pt x="432" y="169"/>
                </a:cubicBezTo>
                <a:cubicBezTo>
                  <a:pt x="432" y="169"/>
                  <a:pt x="432" y="169"/>
                  <a:pt x="433" y="168"/>
                </a:cubicBezTo>
                <a:cubicBezTo>
                  <a:pt x="433" y="168"/>
                  <a:pt x="433" y="168"/>
                  <a:pt x="433" y="167"/>
                </a:cubicBezTo>
                <a:cubicBezTo>
                  <a:pt x="433" y="167"/>
                  <a:pt x="433" y="167"/>
                  <a:pt x="433" y="166"/>
                </a:cubicBezTo>
                <a:cubicBezTo>
                  <a:pt x="433" y="166"/>
                  <a:pt x="433" y="166"/>
                  <a:pt x="433" y="166"/>
                </a:cubicBezTo>
                <a:cubicBezTo>
                  <a:pt x="433" y="166"/>
                  <a:pt x="433" y="165"/>
                  <a:pt x="433" y="165"/>
                </a:cubicBezTo>
                <a:cubicBezTo>
                  <a:pt x="433" y="165"/>
                  <a:pt x="433" y="165"/>
                  <a:pt x="433" y="165"/>
                </a:cubicBezTo>
                <a:cubicBezTo>
                  <a:pt x="432" y="165"/>
                  <a:pt x="432" y="165"/>
                  <a:pt x="432" y="165"/>
                </a:cubicBezTo>
                <a:cubicBezTo>
                  <a:pt x="432" y="165"/>
                  <a:pt x="432" y="165"/>
                  <a:pt x="431" y="165"/>
                </a:cubicBezTo>
                <a:cubicBezTo>
                  <a:pt x="431" y="165"/>
                  <a:pt x="431" y="166"/>
                  <a:pt x="431" y="166"/>
                </a:cubicBezTo>
                <a:cubicBezTo>
                  <a:pt x="431" y="165"/>
                  <a:pt x="431" y="165"/>
                  <a:pt x="431" y="165"/>
                </a:cubicBezTo>
                <a:cubicBezTo>
                  <a:pt x="431" y="165"/>
                  <a:pt x="431" y="165"/>
                  <a:pt x="431" y="165"/>
                </a:cubicBezTo>
                <a:cubicBezTo>
                  <a:pt x="431" y="164"/>
                  <a:pt x="431" y="164"/>
                  <a:pt x="431" y="164"/>
                </a:cubicBezTo>
                <a:cubicBezTo>
                  <a:pt x="430" y="164"/>
                  <a:pt x="430" y="165"/>
                  <a:pt x="429" y="165"/>
                </a:cubicBezTo>
                <a:cubicBezTo>
                  <a:pt x="429" y="165"/>
                  <a:pt x="429" y="164"/>
                  <a:pt x="429" y="164"/>
                </a:cubicBezTo>
                <a:cubicBezTo>
                  <a:pt x="429" y="164"/>
                  <a:pt x="428" y="164"/>
                  <a:pt x="428" y="164"/>
                </a:cubicBezTo>
                <a:cubicBezTo>
                  <a:pt x="428" y="164"/>
                  <a:pt x="428" y="164"/>
                  <a:pt x="428" y="164"/>
                </a:cubicBezTo>
                <a:cubicBezTo>
                  <a:pt x="427" y="163"/>
                  <a:pt x="427" y="163"/>
                  <a:pt x="427" y="163"/>
                </a:cubicBezTo>
                <a:cubicBezTo>
                  <a:pt x="427" y="162"/>
                  <a:pt x="426" y="162"/>
                  <a:pt x="426" y="162"/>
                </a:cubicBezTo>
                <a:cubicBezTo>
                  <a:pt x="426" y="162"/>
                  <a:pt x="427" y="161"/>
                  <a:pt x="427" y="161"/>
                </a:cubicBezTo>
                <a:cubicBezTo>
                  <a:pt x="426" y="161"/>
                  <a:pt x="426" y="160"/>
                  <a:pt x="426" y="160"/>
                </a:cubicBezTo>
                <a:cubicBezTo>
                  <a:pt x="426" y="160"/>
                  <a:pt x="426" y="161"/>
                  <a:pt x="425" y="161"/>
                </a:cubicBezTo>
                <a:cubicBezTo>
                  <a:pt x="425" y="161"/>
                  <a:pt x="426" y="162"/>
                  <a:pt x="426" y="162"/>
                </a:cubicBezTo>
                <a:cubicBezTo>
                  <a:pt x="425" y="162"/>
                  <a:pt x="425" y="161"/>
                  <a:pt x="425" y="161"/>
                </a:cubicBezTo>
                <a:cubicBezTo>
                  <a:pt x="424" y="161"/>
                  <a:pt x="424" y="161"/>
                  <a:pt x="423" y="161"/>
                </a:cubicBezTo>
                <a:cubicBezTo>
                  <a:pt x="423" y="161"/>
                  <a:pt x="423" y="160"/>
                  <a:pt x="422" y="160"/>
                </a:cubicBezTo>
                <a:cubicBezTo>
                  <a:pt x="422" y="160"/>
                  <a:pt x="422" y="160"/>
                  <a:pt x="422" y="160"/>
                </a:cubicBezTo>
                <a:cubicBezTo>
                  <a:pt x="422" y="159"/>
                  <a:pt x="421" y="159"/>
                  <a:pt x="421" y="159"/>
                </a:cubicBezTo>
                <a:cubicBezTo>
                  <a:pt x="421" y="159"/>
                  <a:pt x="421" y="158"/>
                  <a:pt x="420" y="158"/>
                </a:cubicBezTo>
                <a:cubicBezTo>
                  <a:pt x="420" y="158"/>
                  <a:pt x="420" y="158"/>
                  <a:pt x="420" y="158"/>
                </a:cubicBezTo>
                <a:cubicBezTo>
                  <a:pt x="420" y="157"/>
                  <a:pt x="420" y="157"/>
                  <a:pt x="419" y="157"/>
                </a:cubicBezTo>
                <a:cubicBezTo>
                  <a:pt x="419" y="157"/>
                  <a:pt x="419" y="157"/>
                  <a:pt x="419" y="157"/>
                </a:cubicBezTo>
                <a:cubicBezTo>
                  <a:pt x="420" y="157"/>
                  <a:pt x="420" y="156"/>
                  <a:pt x="420" y="156"/>
                </a:cubicBezTo>
                <a:cubicBezTo>
                  <a:pt x="420" y="156"/>
                  <a:pt x="420" y="156"/>
                  <a:pt x="421" y="155"/>
                </a:cubicBezTo>
                <a:cubicBezTo>
                  <a:pt x="421" y="155"/>
                  <a:pt x="421" y="155"/>
                  <a:pt x="421" y="155"/>
                </a:cubicBezTo>
                <a:cubicBezTo>
                  <a:pt x="421" y="155"/>
                  <a:pt x="421" y="155"/>
                  <a:pt x="422" y="155"/>
                </a:cubicBezTo>
                <a:cubicBezTo>
                  <a:pt x="422" y="155"/>
                  <a:pt x="422" y="155"/>
                  <a:pt x="422" y="155"/>
                </a:cubicBezTo>
                <a:cubicBezTo>
                  <a:pt x="422" y="155"/>
                  <a:pt x="422" y="154"/>
                  <a:pt x="422" y="154"/>
                </a:cubicBezTo>
                <a:cubicBezTo>
                  <a:pt x="422" y="154"/>
                  <a:pt x="423" y="153"/>
                  <a:pt x="423" y="153"/>
                </a:cubicBezTo>
                <a:cubicBezTo>
                  <a:pt x="423" y="152"/>
                  <a:pt x="423" y="152"/>
                  <a:pt x="423" y="152"/>
                </a:cubicBezTo>
                <a:cubicBezTo>
                  <a:pt x="423" y="152"/>
                  <a:pt x="423" y="151"/>
                  <a:pt x="423" y="151"/>
                </a:cubicBezTo>
                <a:cubicBezTo>
                  <a:pt x="422" y="151"/>
                  <a:pt x="422" y="151"/>
                  <a:pt x="421" y="150"/>
                </a:cubicBezTo>
                <a:cubicBezTo>
                  <a:pt x="422" y="150"/>
                  <a:pt x="422" y="150"/>
                  <a:pt x="422" y="149"/>
                </a:cubicBezTo>
                <a:cubicBezTo>
                  <a:pt x="422" y="149"/>
                  <a:pt x="422" y="149"/>
                  <a:pt x="422" y="149"/>
                </a:cubicBezTo>
                <a:cubicBezTo>
                  <a:pt x="422" y="149"/>
                  <a:pt x="422" y="148"/>
                  <a:pt x="422" y="148"/>
                </a:cubicBezTo>
                <a:cubicBezTo>
                  <a:pt x="422" y="148"/>
                  <a:pt x="423" y="147"/>
                  <a:pt x="423" y="147"/>
                </a:cubicBezTo>
                <a:cubicBezTo>
                  <a:pt x="423" y="147"/>
                  <a:pt x="423" y="146"/>
                  <a:pt x="423" y="146"/>
                </a:cubicBezTo>
                <a:cubicBezTo>
                  <a:pt x="423" y="146"/>
                  <a:pt x="423" y="146"/>
                  <a:pt x="424" y="146"/>
                </a:cubicBezTo>
                <a:cubicBezTo>
                  <a:pt x="423" y="145"/>
                  <a:pt x="423" y="145"/>
                  <a:pt x="423" y="144"/>
                </a:cubicBezTo>
                <a:cubicBezTo>
                  <a:pt x="423" y="144"/>
                  <a:pt x="424" y="144"/>
                  <a:pt x="424" y="144"/>
                </a:cubicBezTo>
                <a:cubicBezTo>
                  <a:pt x="424" y="144"/>
                  <a:pt x="424" y="143"/>
                  <a:pt x="424" y="143"/>
                </a:cubicBezTo>
                <a:cubicBezTo>
                  <a:pt x="424" y="143"/>
                  <a:pt x="424" y="142"/>
                  <a:pt x="425" y="142"/>
                </a:cubicBezTo>
                <a:cubicBezTo>
                  <a:pt x="425" y="142"/>
                  <a:pt x="424" y="141"/>
                  <a:pt x="424" y="141"/>
                </a:cubicBezTo>
                <a:cubicBezTo>
                  <a:pt x="424" y="141"/>
                  <a:pt x="424" y="141"/>
                  <a:pt x="424" y="141"/>
                </a:cubicBezTo>
                <a:cubicBezTo>
                  <a:pt x="425" y="141"/>
                  <a:pt x="425" y="140"/>
                  <a:pt x="425" y="140"/>
                </a:cubicBezTo>
                <a:cubicBezTo>
                  <a:pt x="425" y="140"/>
                  <a:pt x="425" y="140"/>
                  <a:pt x="425" y="140"/>
                </a:cubicBezTo>
                <a:cubicBezTo>
                  <a:pt x="425" y="139"/>
                  <a:pt x="424" y="139"/>
                  <a:pt x="424" y="139"/>
                </a:cubicBezTo>
                <a:cubicBezTo>
                  <a:pt x="424" y="139"/>
                  <a:pt x="424" y="139"/>
                  <a:pt x="424" y="139"/>
                </a:cubicBezTo>
                <a:cubicBezTo>
                  <a:pt x="424" y="138"/>
                  <a:pt x="424" y="138"/>
                  <a:pt x="424" y="138"/>
                </a:cubicBezTo>
                <a:cubicBezTo>
                  <a:pt x="424" y="138"/>
                  <a:pt x="423" y="138"/>
                  <a:pt x="423" y="138"/>
                </a:cubicBezTo>
                <a:cubicBezTo>
                  <a:pt x="423" y="138"/>
                  <a:pt x="422" y="137"/>
                  <a:pt x="422" y="137"/>
                </a:cubicBezTo>
                <a:cubicBezTo>
                  <a:pt x="422" y="137"/>
                  <a:pt x="422" y="137"/>
                  <a:pt x="422" y="137"/>
                </a:cubicBezTo>
                <a:cubicBezTo>
                  <a:pt x="422" y="136"/>
                  <a:pt x="422" y="136"/>
                  <a:pt x="421" y="136"/>
                </a:cubicBezTo>
                <a:cubicBezTo>
                  <a:pt x="421" y="136"/>
                  <a:pt x="420" y="136"/>
                  <a:pt x="420" y="136"/>
                </a:cubicBezTo>
                <a:cubicBezTo>
                  <a:pt x="420" y="136"/>
                  <a:pt x="420" y="136"/>
                  <a:pt x="420" y="136"/>
                </a:cubicBezTo>
                <a:cubicBezTo>
                  <a:pt x="419" y="136"/>
                  <a:pt x="419" y="136"/>
                  <a:pt x="419" y="136"/>
                </a:cubicBezTo>
                <a:cubicBezTo>
                  <a:pt x="419" y="136"/>
                  <a:pt x="419" y="136"/>
                  <a:pt x="419" y="137"/>
                </a:cubicBezTo>
                <a:cubicBezTo>
                  <a:pt x="419" y="137"/>
                  <a:pt x="419" y="137"/>
                  <a:pt x="419" y="137"/>
                </a:cubicBezTo>
                <a:cubicBezTo>
                  <a:pt x="418" y="136"/>
                  <a:pt x="417" y="136"/>
                  <a:pt x="417" y="136"/>
                </a:cubicBezTo>
                <a:cubicBezTo>
                  <a:pt x="417" y="136"/>
                  <a:pt x="416" y="136"/>
                  <a:pt x="416" y="136"/>
                </a:cubicBezTo>
                <a:cubicBezTo>
                  <a:pt x="416" y="136"/>
                  <a:pt x="416" y="136"/>
                  <a:pt x="415" y="136"/>
                </a:cubicBezTo>
                <a:cubicBezTo>
                  <a:pt x="415" y="136"/>
                  <a:pt x="415" y="136"/>
                  <a:pt x="415" y="136"/>
                </a:cubicBezTo>
                <a:cubicBezTo>
                  <a:pt x="415" y="136"/>
                  <a:pt x="415" y="137"/>
                  <a:pt x="415" y="137"/>
                </a:cubicBezTo>
                <a:cubicBezTo>
                  <a:pt x="415" y="137"/>
                  <a:pt x="415" y="137"/>
                  <a:pt x="415" y="137"/>
                </a:cubicBezTo>
                <a:cubicBezTo>
                  <a:pt x="414" y="137"/>
                  <a:pt x="414" y="137"/>
                  <a:pt x="414" y="137"/>
                </a:cubicBezTo>
                <a:cubicBezTo>
                  <a:pt x="414" y="138"/>
                  <a:pt x="414" y="138"/>
                  <a:pt x="413" y="138"/>
                </a:cubicBezTo>
                <a:cubicBezTo>
                  <a:pt x="413" y="138"/>
                  <a:pt x="413" y="139"/>
                  <a:pt x="414" y="139"/>
                </a:cubicBezTo>
                <a:cubicBezTo>
                  <a:pt x="413" y="139"/>
                  <a:pt x="413" y="139"/>
                  <a:pt x="413" y="139"/>
                </a:cubicBezTo>
                <a:cubicBezTo>
                  <a:pt x="413" y="140"/>
                  <a:pt x="413" y="140"/>
                  <a:pt x="412" y="141"/>
                </a:cubicBezTo>
                <a:cubicBezTo>
                  <a:pt x="413" y="141"/>
                  <a:pt x="413" y="142"/>
                  <a:pt x="413" y="142"/>
                </a:cubicBezTo>
                <a:cubicBezTo>
                  <a:pt x="413" y="142"/>
                  <a:pt x="412" y="142"/>
                  <a:pt x="412" y="143"/>
                </a:cubicBezTo>
                <a:cubicBezTo>
                  <a:pt x="412" y="143"/>
                  <a:pt x="412" y="143"/>
                  <a:pt x="412" y="143"/>
                </a:cubicBezTo>
                <a:cubicBezTo>
                  <a:pt x="412" y="144"/>
                  <a:pt x="412" y="144"/>
                  <a:pt x="412" y="144"/>
                </a:cubicBezTo>
                <a:cubicBezTo>
                  <a:pt x="412" y="144"/>
                  <a:pt x="412" y="144"/>
                  <a:pt x="412" y="144"/>
                </a:cubicBezTo>
                <a:cubicBezTo>
                  <a:pt x="412" y="145"/>
                  <a:pt x="412" y="145"/>
                  <a:pt x="411" y="145"/>
                </a:cubicBezTo>
                <a:cubicBezTo>
                  <a:pt x="411" y="145"/>
                  <a:pt x="412" y="146"/>
                  <a:pt x="412" y="146"/>
                </a:cubicBezTo>
                <a:cubicBezTo>
                  <a:pt x="411" y="147"/>
                  <a:pt x="411" y="147"/>
                  <a:pt x="411" y="147"/>
                </a:cubicBezTo>
                <a:cubicBezTo>
                  <a:pt x="411" y="147"/>
                  <a:pt x="411" y="147"/>
                  <a:pt x="410" y="147"/>
                </a:cubicBezTo>
                <a:cubicBezTo>
                  <a:pt x="410" y="147"/>
                  <a:pt x="410" y="148"/>
                  <a:pt x="410" y="148"/>
                </a:cubicBezTo>
                <a:cubicBezTo>
                  <a:pt x="410" y="148"/>
                  <a:pt x="410" y="149"/>
                  <a:pt x="410" y="149"/>
                </a:cubicBezTo>
                <a:cubicBezTo>
                  <a:pt x="410" y="149"/>
                  <a:pt x="410" y="149"/>
                  <a:pt x="410" y="149"/>
                </a:cubicBezTo>
                <a:cubicBezTo>
                  <a:pt x="410" y="150"/>
                  <a:pt x="410" y="150"/>
                  <a:pt x="410" y="150"/>
                </a:cubicBezTo>
                <a:cubicBezTo>
                  <a:pt x="410" y="150"/>
                  <a:pt x="410" y="151"/>
                  <a:pt x="410" y="151"/>
                </a:cubicBezTo>
                <a:cubicBezTo>
                  <a:pt x="410" y="151"/>
                  <a:pt x="410" y="151"/>
                  <a:pt x="410" y="151"/>
                </a:cubicBezTo>
                <a:cubicBezTo>
                  <a:pt x="410" y="152"/>
                  <a:pt x="410" y="152"/>
                  <a:pt x="410" y="152"/>
                </a:cubicBezTo>
                <a:cubicBezTo>
                  <a:pt x="410" y="152"/>
                  <a:pt x="410" y="152"/>
                  <a:pt x="409" y="152"/>
                </a:cubicBezTo>
                <a:cubicBezTo>
                  <a:pt x="409" y="152"/>
                  <a:pt x="410" y="153"/>
                  <a:pt x="410" y="153"/>
                </a:cubicBezTo>
                <a:cubicBezTo>
                  <a:pt x="410" y="153"/>
                  <a:pt x="410" y="153"/>
                  <a:pt x="411" y="153"/>
                </a:cubicBezTo>
                <a:cubicBezTo>
                  <a:pt x="411" y="153"/>
                  <a:pt x="411" y="153"/>
                  <a:pt x="411" y="153"/>
                </a:cubicBezTo>
                <a:cubicBezTo>
                  <a:pt x="411" y="153"/>
                  <a:pt x="410" y="153"/>
                  <a:pt x="410" y="153"/>
                </a:cubicBezTo>
                <a:cubicBezTo>
                  <a:pt x="410" y="153"/>
                  <a:pt x="410" y="153"/>
                  <a:pt x="410" y="153"/>
                </a:cubicBezTo>
                <a:cubicBezTo>
                  <a:pt x="409" y="154"/>
                  <a:pt x="409" y="154"/>
                  <a:pt x="409" y="154"/>
                </a:cubicBezTo>
                <a:cubicBezTo>
                  <a:pt x="408" y="154"/>
                  <a:pt x="408" y="154"/>
                  <a:pt x="408" y="154"/>
                </a:cubicBezTo>
                <a:cubicBezTo>
                  <a:pt x="408" y="154"/>
                  <a:pt x="408" y="154"/>
                  <a:pt x="408" y="155"/>
                </a:cubicBezTo>
                <a:cubicBezTo>
                  <a:pt x="408" y="155"/>
                  <a:pt x="408" y="155"/>
                  <a:pt x="408" y="155"/>
                </a:cubicBezTo>
                <a:cubicBezTo>
                  <a:pt x="408" y="155"/>
                  <a:pt x="408" y="156"/>
                  <a:pt x="407" y="156"/>
                </a:cubicBezTo>
                <a:cubicBezTo>
                  <a:pt x="407" y="156"/>
                  <a:pt x="407" y="156"/>
                  <a:pt x="407" y="156"/>
                </a:cubicBezTo>
                <a:cubicBezTo>
                  <a:pt x="406" y="155"/>
                  <a:pt x="406" y="155"/>
                  <a:pt x="406" y="155"/>
                </a:cubicBezTo>
                <a:cubicBezTo>
                  <a:pt x="406" y="155"/>
                  <a:pt x="406" y="155"/>
                  <a:pt x="406" y="154"/>
                </a:cubicBezTo>
                <a:cubicBezTo>
                  <a:pt x="406" y="154"/>
                  <a:pt x="406" y="154"/>
                  <a:pt x="406" y="154"/>
                </a:cubicBezTo>
                <a:cubicBezTo>
                  <a:pt x="405" y="154"/>
                  <a:pt x="405" y="153"/>
                  <a:pt x="405" y="153"/>
                </a:cubicBezTo>
                <a:cubicBezTo>
                  <a:pt x="405" y="153"/>
                  <a:pt x="406" y="152"/>
                  <a:pt x="406" y="152"/>
                </a:cubicBezTo>
                <a:cubicBezTo>
                  <a:pt x="406" y="151"/>
                  <a:pt x="406" y="151"/>
                  <a:pt x="406" y="151"/>
                </a:cubicBezTo>
                <a:cubicBezTo>
                  <a:pt x="406" y="151"/>
                  <a:pt x="406" y="150"/>
                  <a:pt x="406" y="150"/>
                </a:cubicBezTo>
                <a:cubicBezTo>
                  <a:pt x="406" y="150"/>
                  <a:pt x="406" y="150"/>
                  <a:pt x="406" y="150"/>
                </a:cubicBezTo>
                <a:cubicBezTo>
                  <a:pt x="406" y="149"/>
                  <a:pt x="406" y="149"/>
                  <a:pt x="406" y="149"/>
                </a:cubicBezTo>
                <a:cubicBezTo>
                  <a:pt x="407" y="148"/>
                  <a:pt x="407" y="148"/>
                  <a:pt x="407" y="147"/>
                </a:cubicBezTo>
                <a:cubicBezTo>
                  <a:pt x="407" y="147"/>
                  <a:pt x="407" y="147"/>
                  <a:pt x="408" y="146"/>
                </a:cubicBezTo>
                <a:cubicBezTo>
                  <a:pt x="408" y="146"/>
                  <a:pt x="408" y="146"/>
                  <a:pt x="408" y="146"/>
                </a:cubicBezTo>
                <a:cubicBezTo>
                  <a:pt x="408" y="146"/>
                  <a:pt x="407" y="146"/>
                  <a:pt x="407" y="146"/>
                </a:cubicBezTo>
                <a:cubicBezTo>
                  <a:pt x="407" y="146"/>
                  <a:pt x="407" y="146"/>
                  <a:pt x="407" y="146"/>
                </a:cubicBezTo>
                <a:cubicBezTo>
                  <a:pt x="406" y="146"/>
                  <a:pt x="406" y="146"/>
                  <a:pt x="406" y="145"/>
                </a:cubicBezTo>
                <a:cubicBezTo>
                  <a:pt x="407" y="145"/>
                  <a:pt x="407" y="145"/>
                  <a:pt x="407" y="145"/>
                </a:cubicBezTo>
                <a:cubicBezTo>
                  <a:pt x="407" y="144"/>
                  <a:pt x="407" y="144"/>
                  <a:pt x="407" y="143"/>
                </a:cubicBezTo>
                <a:cubicBezTo>
                  <a:pt x="406" y="143"/>
                  <a:pt x="406" y="143"/>
                  <a:pt x="406" y="143"/>
                </a:cubicBezTo>
                <a:cubicBezTo>
                  <a:pt x="406" y="143"/>
                  <a:pt x="406" y="143"/>
                  <a:pt x="405" y="142"/>
                </a:cubicBezTo>
                <a:cubicBezTo>
                  <a:pt x="405" y="142"/>
                  <a:pt x="405" y="142"/>
                  <a:pt x="406" y="142"/>
                </a:cubicBezTo>
                <a:cubicBezTo>
                  <a:pt x="405" y="142"/>
                  <a:pt x="405" y="141"/>
                  <a:pt x="405" y="141"/>
                </a:cubicBezTo>
                <a:cubicBezTo>
                  <a:pt x="405" y="141"/>
                  <a:pt x="405" y="141"/>
                  <a:pt x="405" y="141"/>
                </a:cubicBezTo>
                <a:cubicBezTo>
                  <a:pt x="404" y="141"/>
                  <a:pt x="404" y="141"/>
                  <a:pt x="403" y="141"/>
                </a:cubicBezTo>
                <a:cubicBezTo>
                  <a:pt x="403" y="141"/>
                  <a:pt x="402" y="141"/>
                  <a:pt x="402" y="142"/>
                </a:cubicBezTo>
                <a:cubicBezTo>
                  <a:pt x="402" y="142"/>
                  <a:pt x="402" y="142"/>
                  <a:pt x="402" y="142"/>
                </a:cubicBezTo>
                <a:cubicBezTo>
                  <a:pt x="402" y="142"/>
                  <a:pt x="402" y="143"/>
                  <a:pt x="403" y="143"/>
                </a:cubicBezTo>
                <a:cubicBezTo>
                  <a:pt x="403" y="143"/>
                  <a:pt x="403" y="143"/>
                  <a:pt x="403" y="143"/>
                </a:cubicBezTo>
                <a:cubicBezTo>
                  <a:pt x="403" y="143"/>
                  <a:pt x="403" y="143"/>
                  <a:pt x="404" y="143"/>
                </a:cubicBezTo>
                <a:cubicBezTo>
                  <a:pt x="404" y="144"/>
                  <a:pt x="404" y="144"/>
                  <a:pt x="404" y="144"/>
                </a:cubicBezTo>
                <a:cubicBezTo>
                  <a:pt x="404" y="144"/>
                  <a:pt x="403" y="144"/>
                  <a:pt x="403" y="144"/>
                </a:cubicBezTo>
                <a:cubicBezTo>
                  <a:pt x="403" y="144"/>
                  <a:pt x="403" y="144"/>
                  <a:pt x="403" y="144"/>
                </a:cubicBezTo>
                <a:cubicBezTo>
                  <a:pt x="402" y="144"/>
                  <a:pt x="402" y="144"/>
                  <a:pt x="402" y="144"/>
                </a:cubicBezTo>
                <a:cubicBezTo>
                  <a:pt x="402" y="144"/>
                  <a:pt x="402" y="145"/>
                  <a:pt x="402" y="145"/>
                </a:cubicBezTo>
                <a:cubicBezTo>
                  <a:pt x="402" y="145"/>
                  <a:pt x="402" y="145"/>
                  <a:pt x="402" y="145"/>
                </a:cubicBezTo>
                <a:cubicBezTo>
                  <a:pt x="402" y="145"/>
                  <a:pt x="402" y="145"/>
                  <a:pt x="403" y="145"/>
                </a:cubicBezTo>
                <a:cubicBezTo>
                  <a:pt x="403" y="146"/>
                  <a:pt x="403" y="146"/>
                  <a:pt x="403" y="146"/>
                </a:cubicBezTo>
                <a:cubicBezTo>
                  <a:pt x="403" y="146"/>
                  <a:pt x="403" y="146"/>
                  <a:pt x="403" y="147"/>
                </a:cubicBezTo>
                <a:cubicBezTo>
                  <a:pt x="403" y="146"/>
                  <a:pt x="403" y="146"/>
                  <a:pt x="403" y="146"/>
                </a:cubicBezTo>
                <a:cubicBezTo>
                  <a:pt x="402" y="146"/>
                  <a:pt x="402" y="146"/>
                  <a:pt x="402" y="146"/>
                </a:cubicBezTo>
                <a:cubicBezTo>
                  <a:pt x="402" y="146"/>
                  <a:pt x="402" y="147"/>
                  <a:pt x="402" y="147"/>
                </a:cubicBezTo>
                <a:cubicBezTo>
                  <a:pt x="401" y="147"/>
                  <a:pt x="401" y="147"/>
                  <a:pt x="401" y="147"/>
                </a:cubicBezTo>
                <a:cubicBezTo>
                  <a:pt x="401" y="147"/>
                  <a:pt x="401" y="146"/>
                  <a:pt x="401" y="146"/>
                </a:cubicBezTo>
                <a:cubicBezTo>
                  <a:pt x="400" y="146"/>
                  <a:pt x="400" y="146"/>
                  <a:pt x="400" y="147"/>
                </a:cubicBezTo>
                <a:cubicBezTo>
                  <a:pt x="400" y="147"/>
                  <a:pt x="400" y="147"/>
                  <a:pt x="399" y="147"/>
                </a:cubicBezTo>
                <a:cubicBezTo>
                  <a:pt x="399" y="147"/>
                  <a:pt x="399" y="147"/>
                  <a:pt x="399" y="147"/>
                </a:cubicBezTo>
                <a:cubicBezTo>
                  <a:pt x="399" y="147"/>
                  <a:pt x="399" y="147"/>
                  <a:pt x="399" y="147"/>
                </a:cubicBezTo>
                <a:cubicBezTo>
                  <a:pt x="399" y="146"/>
                  <a:pt x="399" y="146"/>
                  <a:pt x="399" y="146"/>
                </a:cubicBezTo>
                <a:cubicBezTo>
                  <a:pt x="399" y="146"/>
                  <a:pt x="399" y="146"/>
                  <a:pt x="399" y="146"/>
                </a:cubicBezTo>
                <a:cubicBezTo>
                  <a:pt x="398" y="146"/>
                  <a:pt x="398" y="146"/>
                  <a:pt x="398" y="147"/>
                </a:cubicBezTo>
                <a:cubicBezTo>
                  <a:pt x="397" y="147"/>
                  <a:pt x="397" y="147"/>
                  <a:pt x="396" y="148"/>
                </a:cubicBezTo>
                <a:cubicBezTo>
                  <a:pt x="396" y="148"/>
                  <a:pt x="396" y="147"/>
                  <a:pt x="395" y="147"/>
                </a:cubicBezTo>
                <a:cubicBezTo>
                  <a:pt x="395" y="147"/>
                  <a:pt x="395" y="147"/>
                  <a:pt x="395" y="148"/>
                </a:cubicBezTo>
                <a:cubicBezTo>
                  <a:pt x="394" y="148"/>
                  <a:pt x="394" y="148"/>
                  <a:pt x="394" y="148"/>
                </a:cubicBezTo>
                <a:cubicBezTo>
                  <a:pt x="394" y="148"/>
                  <a:pt x="393" y="148"/>
                  <a:pt x="393" y="149"/>
                </a:cubicBezTo>
                <a:cubicBezTo>
                  <a:pt x="393" y="148"/>
                  <a:pt x="393" y="148"/>
                  <a:pt x="392" y="148"/>
                </a:cubicBezTo>
                <a:cubicBezTo>
                  <a:pt x="392" y="148"/>
                  <a:pt x="392" y="149"/>
                  <a:pt x="391" y="149"/>
                </a:cubicBezTo>
                <a:cubicBezTo>
                  <a:pt x="391" y="149"/>
                  <a:pt x="391" y="149"/>
                  <a:pt x="390" y="149"/>
                </a:cubicBezTo>
                <a:cubicBezTo>
                  <a:pt x="391" y="148"/>
                  <a:pt x="391" y="148"/>
                  <a:pt x="391" y="148"/>
                </a:cubicBezTo>
                <a:cubicBezTo>
                  <a:pt x="392" y="148"/>
                  <a:pt x="392" y="147"/>
                  <a:pt x="393" y="147"/>
                </a:cubicBezTo>
                <a:cubicBezTo>
                  <a:pt x="393" y="147"/>
                  <a:pt x="393" y="147"/>
                  <a:pt x="393" y="147"/>
                </a:cubicBezTo>
                <a:cubicBezTo>
                  <a:pt x="394" y="147"/>
                  <a:pt x="394" y="147"/>
                  <a:pt x="395" y="147"/>
                </a:cubicBezTo>
                <a:cubicBezTo>
                  <a:pt x="395" y="147"/>
                  <a:pt x="395" y="146"/>
                  <a:pt x="395" y="146"/>
                </a:cubicBezTo>
                <a:cubicBezTo>
                  <a:pt x="395" y="146"/>
                  <a:pt x="395" y="146"/>
                  <a:pt x="395" y="146"/>
                </a:cubicBezTo>
                <a:cubicBezTo>
                  <a:pt x="396" y="146"/>
                  <a:pt x="396" y="146"/>
                  <a:pt x="396" y="146"/>
                </a:cubicBezTo>
                <a:cubicBezTo>
                  <a:pt x="397" y="145"/>
                  <a:pt x="397" y="145"/>
                  <a:pt x="397" y="145"/>
                </a:cubicBezTo>
                <a:cubicBezTo>
                  <a:pt x="397" y="145"/>
                  <a:pt x="397" y="144"/>
                  <a:pt x="397" y="144"/>
                </a:cubicBezTo>
                <a:cubicBezTo>
                  <a:pt x="397" y="144"/>
                  <a:pt x="397" y="144"/>
                  <a:pt x="397" y="144"/>
                </a:cubicBezTo>
                <a:cubicBezTo>
                  <a:pt x="397" y="144"/>
                  <a:pt x="397" y="144"/>
                  <a:pt x="396" y="144"/>
                </a:cubicBezTo>
                <a:cubicBezTo>
                  <a:pt x="396" y="143"/>
                  <a:pt x="395" y="143"/>
                  <a:pt x="395" y="143"/>
                </a:cubicBezTo>
                <a:cubicBezTo>
                  <a:pt x="394" y="143"/>
                  <a:pt x="394" y="143"/>
                  <a:pt x="394" y="143"/>
                </a:cubicBezTo>
                <a:cubicBezTo>
                  <a:pt x="393" y="143"/>
                  <a:pt x="393" y="142"/>
                  <a:pt x="393" y="142"/>
                </a:cubicBezTo>
                <a:cubicBezTo>
                  <a:pt x="393" y="142"/>
                  <a:pt x="392" y="142"/>
                  <a:pt x="391" y="142"/>
                </a:cubicBezTo>
                <a:cubicBezTo>
                  <a:pt x="391" y="142"/>
                  <a:pt x="391" y="142"/>
                  <a:pt x="391" y="142"/>
                </a:cubicBezTo>
                <a:cubicBezTo>
                  <a:pt x="390" y="142"/>
                  <a:pt x="390" y="142"/>
                  <a:pt x="390" y="142"/>
                </a:cubicBezTo>
                <a:cubicBezTo>
                  <a:pt x="389" y="142"/>
                  <a:pt x="389" y="142"/>
                  <a:pt x="389" y="143"/>
                </a:cubicBezTo>
                <a:cubicBezTo>
                  <a:pt x="388" y="143"/>
                  <a:pt x="388" y="143"/>
                  <a:pt x="388" y="143"/>
                </a:cubicBezTo>
                <a:cubicBezTo>
                  <a:pt x="387" y="144"/>
                  <a:pt x="387" y="144"/>
                  <a:pt x="386" y="145"/>
                </a:cubicBezTo>
                <a:cubicBezTo>
                  <a:pt x="387" y="145"/>
                  <a:pt x="387" y="145"/>
                  <a:pt x="387" y="145"/>
                </a:cubicBezTo>
                <a:cubicBezTo>
                  <a:pt x="387" y="145"/>
                  <a:pt x="387" y="145"/>
                  <a:pt x="387" y="145"/>
                </a:cubicBezTo>
                <a:cubicBezTo>
                  <a:pt x="387" y="145"/>
                  <a:pt x="387" y="145"/>
                  <a:pt x="386" y="146"/>
                </a:cubicBezTo>
                <a:cubicBezTo>
                  <a:pt x="386" y="146"/>
                  <a:pt x="386" y="146"/>
                  <a:pt x="386" y="146"/>
                </a:cubicBezTo>
                <a:cubicBezTo>
                  <a:pt x="386" y="146"/>
                  <a:pt x="386" y="146"/>
                  <a:pt x="386" y="146"/>
                </a:cubicBezTo>
                <a:cubicBezTo>
                  <a:pt x="385" y="146"/>
                  <a:pt x="385" y="146"/>
                  <a:pt x="385" y="146"/>
                </a:cubicBezTo>
                <a:cubicBezTo>
                  <a:pt x="384" y="146"/>
                  <a:pt x="384" y="146"/>
                  <a:pt x="384" y="146"/>
                </a:cubicBezTo>
                <a:cubicBezTo>
                  <a:pt x="383" y="146"/>
                  <a:pt x="383" y="146"/>
                  <a:pt x="383" y="146"/>
                </a:cubicBezTo>
                <a:cubicBezTo>
                  <a:pt x="382" y="147"/>
                  <a:pt x="382" y="147"/>
                  <a:pt x="382" y="147"/>
                </a:cubicBezTo>
                <a:cubicBezTo>
                  <a:pt x="382" y="147"/>
                  <a:pt x="381" y="147"/>
                  <a:pt x="381" y="147"/>
                </a:cubicBezTo>
                <a:cubicBezTo>
                  <a:pt x="381" y="147"/>
                  <a:pt x="381" y="147"/>
                  <a:pt x="380" y="147"/>
                </a:cubicBezTo>
                <a:cubicBezTo>
                  <a:pt x="381" y="147"/>
                  <a:pt x="381" y="147"/>
                  <a:pt x="381" y="147"/>
                </a:cubicBezTo>
                <a:cubicBezTo>
                  <a:pt x="381" y="146"/>
                  <a:pt x="382" y="146"/>
                  <a:pt x="382" y="146"/>
                </a:cubicBezTo>
                <a:cubicBezTo>
                  <a:pt x="382" y="146"/>
                  <a:pt x="383" y="145"/>
                  <a:pt x="383" y="145"/>
                </a:cubicBezTo>
                <a:cubicBezTo>
                  <a:pt x="383" y="145"/>
                  <a:pt x="383" y="145"/>
                  <a:pt x="384" y="145"/>
                </a:cubicBezTo>
                <a:cubicBezTo>
                  <a:pt x="384" y="145"/>
                  <a:pt x="384" y="145"/>
                  <a:pt x="384" y="145"/>
                </a:cubicBezTo>
                <a:cubicBezTo>
                  <a:pt x="385" y="144"/>
                  <a:pt x="385" y="144"/>
                  <a:pt x="385" y="144"/>
                </a:cubicBezTo>
                <a:cubicBezTo>
                  <a:pt x="385" y="143"/>
                  <a:pt x="385" y="143"/>
                  <a:pt x="385" y="143"/>
                </a:cubicBezTo>
                <a:cubicBezTo>
                  <a:pt x="385" y="143"/>
                  <a:pt x="385" y="142"/>
                  <a:pt x="385" y="142"/>
                </a:cubicBezTo>
                <a:cubicBezTo>
                  <a:pt x="385" y="142"/>
                  <a:pt x="386" y="142"/>
                  <a:pt x="386" y="142"/>
                </a:cubicBezTo>
                <a:cubicBezTo>
                  <a:pt x="386" y="142"/>
                  <a:pt x="386" y="141"/>
                  <a:pt x="387" y="141"/>
                </a:cubicBezTo>
                <a:cubicBezTo>
                  <a:pt x="386" y="140"/>
                  <a:pt x="386" y="140"/>
                  <a:pt x="386" y="140"/>
                </a:cubicBezTo>
                <a:cubicBezTo>
                  <a:pt x="386" y="140"/>
                  <a:pt x="386" y="139"/>
                  <a:pt x="386" y="139"/>
                </a:cubicBezTo>
                <a:cubicBezTo>
                  <a:pt x="386" y="139"/>
                  <a:pt x="386" y="139"/>
                  <a:pt x="386" y="139"/>
                </a:cubicBezTo>
                <a:cubicBezTo>
                  <a:pt x="385" y="139"/>
                  <a:pt x="385" y="139"/>
                  <a:pt x="385" y="139"/>
                </a:cubicBezTo>
                <a:cubicBezTo>
                  <a:pt x="384" y="139"/>
                  <a:pt x="384" y="139"/>
                  <a:pt x="383" y="140"/>
                </a:cubicBezTo>
                <a:cubicBezTo>
                  <a:pt x="382" y="140"/>
                  <a:pt x="382" y="140"/>
                  <a:pt x="381" y="141"/>
                </a:cubicBezTo>
                <a:cubicBezTo>
                  <a:pt x="380" y="141"/>
                  <a:pt x="380" y="141"/>
                  <a:pt x="379" y="142"/>
                </a:cubicBezTo>
                <a:cubicBezTo>
                  <a:pt x="378" y="142"/>
                  <a:pt x="376" y="143"/>
                  <a:pt x="375" y="143"/>
                </a:cubicBezTo>
                <a:cubicBezTo>
                  <a:pt x="373" y="144"/>
                  <a:pt x="372" y="145"/>
                  <a:pt x="370" y="146"/>
                </a:cubicBezTo>
                <a:cubicBezTo>
                  <a:pt x="370" y="146"/>
                  <a:pt x="369" y="147"/>
                  <a:pt x="369" y="147"/>
                </a:cubicBezTo>
                <a:cubicBezTo>
                  <a:pt x="368" y="148"/>
                  <a:pt x="367" y="148"/>
                  <a:pt x="366" y="149"/>
                </a:cubicBezTo>
                <a:cubicBezTo>
                  <a:pt x="364" y="149"/>
                  <a:pt x="363" y="150"/>
                  <a:pt x="362" y="151"/>
                </a:cubicBezTo>
                <a:cubicBezTo>
                  <a:pt x="361" y="152"/>
                  <a:pt x="361" y="152"/>
                  <a:pt x="361" y="152"/>
                </a:cubicBezTo>
                <a:cubicBezTo>
                  <a:pt x="361" y="153"/>
                  <a:pt x="361" y="153"/>
                  <a:pt x="361" y="153"/>
                </a:cubicBezTo>
                <a:cubicBezTo>
                  <a:pt x="361" y="153"/>
                  <a:pt x="361" y="153"/>
                  <a:pt x="362" y="153"/>
                </a:cubicBezTo>
                <a:cubicBezTo>
                  <a:pt x="362" y="153"/>
                  <a:pt x="362" y="153"/>
                  <a:pt x="362" y="153"/>
                </a:cubicBezTo>
                <a:cubicBezTo>
                  <a:pt x="362" y="153"/>
                  <a:pt x="362" y="153"/>
                  <a:pt x="361" y="154"/>
                </a:cubicBezTo>
                <a:cubicBezTo>
                  <a:pt x="361" y="154"/>
                  <a:pt x="361" y="154"/>
                  <a:pt x="360" y="154"/>
                </a:cubicBezTo>
                <a:cubicBezTo>
                  <a:pt x="360" y="154"/>
                  <a:pt x="359" y="155"/>
                  <a:pt x="359" y="156"/>
                </a:cubicBezTo>
                <a:cubicBezTo>
                  <a:pt x="358" y="156"/>
                  <a:pt x="358" y="156"/>
                  <a:pt x="357" y="156"/>
                </a:cubicBezTo>
                <a:cubicBezTo>
                  <a:pt x="357" y="156"/>
                  <a:pt x="357" y="156"/>
                  <a:pt x="356" y="157"/>
                </a:cubicBezTo>
                <a:cubicBezTo>
                  <a:pt x="356" y="157"/>
                  <a:pt x="356" y="157"/>
                  <a:pt x="356" y="157"/>
                </a:cubicBezTo>
                <a:cubicBezTo>
                  <a:pt x="356" y="158"/>
                  <a:pt x="355" y="158"/>
                  <a:pt x="355" y="159"/>
                </a:cubicBezTo>
                <a:cubicBezTo>
                  <a:pt x="355" y="159"/>
                  <a:pt x="355" y="159"/>
                  <a:pt x="355" y="159"/>
                </a:cubicBezTo>
                <a:cubicBezTo>
                  <a:pt x="355" y="160"/>
                  <a:pt x="355" y="160"/>
                  <a:pt x="355" y="160"/>
                </a:cubicBezTo>
                <a:cubicBezTo>
                  <a:pt x="355" y="160"/>
                  <a:pt x="355" y="160"/>
                  <a:pt x="355" y="160"/>
                </a:cubicBezTo>
                <a:cubicBezTo>
                  <a:pt x="356" y="160"/>
                  <a:pt x="356" y="160"/>
                  <a:pt x="356" y="160"/>
                </a:cubicBezTo>
                <a:cubicBezTo>
                  <a:pt x="356" y="160"/>
                  <a:pt x="356" y="160"/>
                  <a:pt x="356" y="161"/>
                </a:cubicBezTo>
                <a:cubicBezTo>
                  <a:pt x="356" y="161"/>
                  <a:pt x="356" y="161"/>
                  <a:pt x="357" y="161"/>
                </a:cubicBezTo>
                <a:cubicBezTo>
                  <a:pt x="357" y="160"/>
                  <a:pt x="357" y="160"/>
                  <a:pt x="357" y="160"/>
                </a:cubicBezTo>
                <a:cubicBezTo>
                  <a:pt x="357" y="160"/>
                  <a:pt x="358" y="160"/>
                  <a:pt x="358" y="160"/>
                </a:cubicBezTo>
                <a:cubicBezTo>
                  <a:pt x="358" y="160"/>
                  <a:pt x="359" y="159"/>
                  <a:pt x="359" y="159"/>
                </a:cubicBezTo>
                <a:cubicBezTo>
                  <a:pt x="359" y="159"/>
                  <a:pt x="360" y="159"/>
                  <a:pt x="360" y="159"/>
                </a:cubicBezTo>
                <a:cubicBezTo>
                  <a:pt x="360" y="160"/>
                  <a:pt x="360" y="160"/>
                  <a:pt x="360" y="160"/>
                </a:cubicBezTo>
                <a:cubicBezTo>
                  <a:pt x="360" y="160"/>
                  <a:pt x="359" y="161"/>
                  <a:pt x="359" y="161"/>
                </a:cubicBezTo>
                <a:cubicBezTo>
                  <a:pt x="358" y="161"/>
                  <a:pt x="358" y="161"/>
                  <a:pt x="357" y="161"/>
                </a:cubicBezTo>
                <a:cubicBezTo>
                  <a:pt x="357" y="161"/>
                  <a:pt x="357" y="161"/>
                  <a:pt x="357" y="161"/>
                </a:cubicBezTo>
                <a:cubicBezTo>
                  <a:pt x="357" y="162"/>
                  <a:pt x="357" y="162"/>
                  <a:pt x="357" y="162"/>
                </a:cubicBezTo>
                <a:cubicBezTo>
                  <a:pt x="358" y="162"/>
                  <a:pt x="358" y="162"/>
                  <a:pt x="359" y="162"/>
                </a:cubicBezTo>
                <a:cubicBezTo>
                  <a:pt x="359" y="162"/>
                  <a:pt x="360" y="162"/>
                  <a:pt x="360" y="161"/>
                </a:cubicBezTo>
                <a:cubicBezTo>
                  <a:pt x="360" y="161"/>
                  <a:pt x="360" y="161"/>
                  <a:pt x="360" y="161"/>
                </a:cubicBezTo>
                <a:cubicBezTo>
                  <a:pt x="360" y="161"/>
                  <a:pt x="360" y="161"/>
                  <a:pt x="361" y="161"/>
                </a:cubicBezTo>
                <a:cubicBezTo>
                  <a:pt x="361" y="161"/>
                  <a:pt x="361" y="161"/>
                  <a:pt x="361" y="161"/>
                </a:cubicBezTo>
                <a:cubicBezTo>
                  <a:pt x="361" y="161"/>
                  <a:pt x="361" y="161"/>
                  <a:pt x="361" y="162"/>
                </a:cubicBezTo>
                <a:cubicBezTo>
                  <a:pt x="361" y="161"/>
                  <a:pt x="361" y="161"/>
                  <a:pt x="362" y="161"/>
                </a:cubicBezTo>
                <a:cubicBezTo>
                  <a:pt x="362" y="161"/>
                  <a:pt x="363" y="161"/>
                  <a:pt x="364" y="161"/>
                </a:cubicBezTo>
                <a:cubicBezTo>
                  <a:pt x="364" y="161"/>
                  <a:pt x="365" y="160"/>
                  <a:pt x="365" y="160"/>
                </a:cubicBezTo>
                <a:cubicBezTo>
                  <a:pt x="366" y="160"/>
                  <a:pt x="366" y="160"/>
                  <a:pt x="366" y="160"/>
                </a:cubicBezTo>
                <a:cubicBezTo>
                  <a:pt x="367" y="160"/>
                  <a:pt x="368" y="160"/>
                  <a:pt x="368" y="160"/>
                </a:cubicBezTo>
                <a:cubicBezTo>
                  <a:pt x="369" y="159"/>
                  <a:pt x="369" y="159"/>
                  <a:pt x="369" y="159"/>
                </a:cubicBezTo>
                <a:cubicBezTo>
                  <a:pt x="370" y="159"/>
                  <a:pt x="370" y="159"/>
                  <a:pt x="371" y="159"/>
                </a:cubicBezTo>
                <a:cubicBezTo>
                  <a:pt x="371" y="159"/>
                  <a:pt x="371" y="159"/>
                  <a:pt x="371" y="159"/>
                </a:cubicBezTo>
                <a:cubicBezTo>
                  <a:pt x="372" y="159"/>
                  <a:pt x="372" y="159"/>
                  <a:pt x="372" y="159"/>
                </a:cubicBezTo>
                <a:cubicBezTo>
                  <a:pt x="372" y="159"/>
                  <a:pt x="372" y="160"/>
                  <a:pt x="372" y="160"/>
                </a:cubicBezTo>
                <a:cubicBezTo>
                  <a:pt x="372" y="160"/>
                  <a:pt x="372" y="160"/>
                  <a:pt x="371" y="160"/>
                </a:cubicBezTo>
                <a:cubicBezTo>
                  <a:pt x="371" y="160"/>
                  <a:pt x="370" y="160"/>
                  <a:pt x="370" y="160"/>
                </a:cubicBezTo>
                <a:cubicBezTo>
                  <a:pt x="369" y="160"/>
                  <a:pt x="368" y="160"/>
                  <a:pt x="367" y="160"/>
                </a:cubicBezTo>
                <a:cubicBezTo>
                  <a:pt x="367" y="161"/>
                  <a:pt x="367" y="161"/>
                  <a:pt x="367" y="161"/>
                </a:cubicBezTo>
                <a:cubicBezTo>
                  <a:pt x="367" y="161"/>
                  <a:pt x="368" y="161"/>
                  <a:pt x="368" y="161"/>
                </a:cubicBezTo>
                <a:cubicBezTo>
                  <a:pt x="369" y="161"/>
                  <a:pt x="369" y="161"/>
                  <a:pt x="369" y="161"/>
                </a:cubicBezTo>
                <a:cubicBezTo>
                  <a:pt x="368" y="161"/>
                  <a:pt x="368" y="161"/>
                  <a:pt x="367" y="162"/>
                </a:cubicBezTo>
                <a:cubicBezTo>
                  <a:pt x="367" y="161"/>
                  <a:pt x="366" y="161"/>
                  <a:pt x="366" y="161"/>
                </a:cubicBezTo>
                <a:cubicBezTo>
                  <a:pt x="365" y="162"/>
                  <a:pt x="364" y="162"/>
                  <a:pt x="364" y="162"/>
                </a:cubicBezTo>
                <a:cubicBezTo>
                  <a:pt x="363" y="162"/>
                  <a:pt x="363" y="163"/>
                  <a:pt x="363" y="163"/>
                </a:cubicBezTo>
                <a:cubicBezTo>
                  <a:pt x="363" y="163"/>
                  <a:pt x="362" y="163"/>
                  <a:pt x="362" y="163"/>
                </a:cubicBezTo>
                <a:cubicBezTo>
                  <a:pt x="362" y="163"/>
                  <a:pt x="362" y="163"/>
                  <a:pt x="361" y="163"/>
                </a:cubicBezTo>
                <a:cubicBezTo>
                  <a:pt x="361" y="163"/>
                  <a:pt x="361" y="163"/>
                  <a:pt x="361" y="163"/>
                </a:cubicBezTo>
                <a:cubicBezTo>
                  <a:pt x="360" y="163"/>
                  <a:pt x="360" y="164"/>
                  <a:pt x="360" y="164"/>
                </a:cubicBezTo>
                <a:cubicBezTo>
                  <a:pt x="359" y="164"/>
                  <a:pt x="358" y="164"/>
                  <a:pt x="357" y="165"/>
                </a:cubicBezTo>
                <a:cubicBezTo>
                  <a:pt x="357" y="165"/>
                  <a:pt x="357" y="165"/>
                  <a:pt x="357" y="165"/>
                </a:cubicBezTo>
                <a:cubicBezTo>
                  <a:pt x="356" y="165"/>
                  <a:pt x="355" y="166"/>
                  <a:pt x="355" y="166"/>
                </a:cubicBezTo>
                <a:cubicBezTo>
                  <a:pt x="355" y="166"/>
                  <a:pt x="354" y="166"/>
                  <a:pt x="354" y="167"/>
                </a:cubicBezTo>
                <a:cubicBezTo>
                  <a:pt x="355" y="167"/>
                  <a:pt x="355" y="168"/>
                  <a:pt x="355" y="169"/>
                </a:cubicBezTo>
                <a:cubicBezTo>
                  <a:pt x="356" y="169"/>
                  <a:pt x="356" y="169"/>
                  <a:pt x="356" y="169"/>
                </a:cubicBezTo>
                <a:cubicBezTo>
                  <a:pt x="356" y="169"/>
                  <a:pt x="356" y="169"/>
                  <a:pt x="356" y="170"/>
                </a:cubicBezTo>
                <a:cubicBezTo>
                  <a:pt x="356" y="170"/>
                  <a:pt x="356" y="170"/>
                  <a:pt x="356" y="170"/>
                </a:cubicBezTo>
                <a:cubicBezTo>
                  <a:pt x="356" y="170"/>
                  <a:pt x="356" y="170"/>
                  <a:pt x="356" y="170"/>
                </a:cubicBezTo>
                <a:cubicBezTo>
                  <a:pt x="356" y="170"/>
                  <a:pt x="356" y="170"/>
                  <a:pt x="357" y="170"/>
                </a:cubicBezTo>
                <a:cubicBezTo>
                  <a:pt x="357" y="170"/>
                  <a:pt x="357" y="170"/>
                  <a:pt x="357" y="170"/>
                </a:cubicBezTo>
                <a:cubicBezTo>
                  <a:pt x="358" y="170"/>
                  <a:pt x="358" y="170"/>
                  <a:pt x="358" y="170"/>
                </a:cubicBezTo>
                <a:cubicBezTo>
                  <a:pt x="358" y="170"/>
                  <a:pt x="359" y="170"/>
                  <a:pt x="359" y="170"/>
                </a:cubicBezTo>
                <a:cubicBezTo>
                  <a:pt x="359" y="170"/>
                  <a:pt x="360" y="170"/>
                  <a:pt x="360" y="170"/>
                </a:cubicBezTo>
                <a:cubicBezTo>
                  <a:pt x="360" y="170"/>
                  <a:pt x="360" y="169"/>
                  <a:pt x="360" y="169"/>
                </a:cubicBezTo>
                <a:cubicBezTo>
                  <a:pt x="360" y="169"/>
                  <a:pt x="360" y="169"/>
                  <a:pt x="360" y="169"/>
                </a:cubicBezTo>
                <a:cubicBezTo>
                  <a:pt x="361" y="169"/>
                  <a:pt x="361" y="169"/>
                  <a:pt x="361" y="169"/>
                </a:cubicBezTo>
                <a:cubicBezTo>
                  <a:pt x="361" y="169"/>
                  <a:pt x="361" y="169"/>
                  <a:pt x="362" y="169"/>
                </a:cubicBezTo>
                <a:cubicBezTo>
                  <a:pt x="362" y="169"/>
                  <a:pt x="362" y="169"/>
                  <a:pt x="362" y="169"/>
                </a:cubicBezTo>
                <a:cubicBezTo>
                  <a:pt x="362" y="169"/>
                  <a:pt x="363" y="169"/>
                  <a:pt x="363" y="169"/>
                </a:cubicBezTo>
                <a:cubicBezTo>
                  <a:pt x="363" y="169"/>
                  <a:pt x="363" y="169"/>
                  <a:pt x="363" y="170"/>
                </a:cubicBezTo>
                <a:cubicBezTo>
                  <a:pt x="363" y="170"/>
                  <a:pt x="364" y="169"/>
                  <a:pt x="364" y="169"/>
                </a:cubicBezTo>
                <a:cubicBezTo>
                  <a:pt x="364" y="169"/>
                  <a:pt x="365" y="169"/>
                  <a:pt x="365" y="169"/>
                </a:cubicBezTo>
                <a:cubicBezTo>
                  <a:pt x="365" y="169"/>
                  <a:pt x="365" y="169"/>
                  <a:pt x="365" y="169"/>
                </a:cubicBezTo>
                <a:cubicBezTo>
                  <a:pt x="366" y="169"/>
                  <a:pt x="366" y="169"/>
                  <a:pt x="366" y="169"/>
                </a:cubicBezTo>
                <a:cubicBezTo>
                  <a:pt x="366" y="169"/>
                  <a:pt x="367" y="169"/>
                  <a:pt x="367" y="169"/>
                </a:cubicBezTo>
                <a:cubicBezTo>
                  <a:pt x="368" y="169"/>
                  <a:pt x="368" y="168"/>
                  <a:pt x="368" y="168"/>
                </a:cubicBezTo>
                <a:cubicBezTo>
                  <a:pt x="368" y="168"/>
                  <a:pt x="369" y="168"/>
                  <a:pt x="369" y="168"/>
                </a:cubicBezTo>
                <a:cubicBezTo>
                  <a:pt x="370" y="168"/>
                  <a:pt x="370" y="168"/>
                  <a:pt x="370" y="168"/>
                </a:cubicBezTo>
                <a:cubicBezTo>
                  <a:pt x="370" y="168"/>
                  <a:pt x="371" y="168"/>
                  <a:pt x="371" y="168"/>
                </a:cubicBezTo>
                <a:cubicBezTo>
                  <a:pt x="371" y="168"/>
                  <a:pt x="372" y="167"/>
                  <a:pt x="372" y="167"/>
                </a:cubicBezTo>
                <a:cubicBezTo>
                  <a:pt x="373" y="167"/>
                  <a:pt x="373" y="167"/>
                  <a:pt x="373" y="167"/>
                </a:cubicBezTo>
                <a:cubicBezTo>
                  <a:pt x="374" y="167"/>
                  <a:pt x="374" y="167"/>
                  <a:pt x="374" y="167"/>
                </a:cubicBezTo>
                <a:cubicBezTo>
                  <a:pt x="375" y="167"/>
                  <a:pt x="375" y="167"/>
                  <a:pt x="375" y="167"/>
                </a:cubicBezTo>
                <a:cubicBezTo>
                  <a:pt x="375" y="167"/>
                  <a:pt x="375" y="167"/>
                  <a:pt x="375" y="167"/>
                </a:cubicBezTo>
                <a:cubicBezTo>
                  <a:pt x="376" y="167"/>
                  <a:pt x="376" y="167"/>
                  <a:pt x="376" y="167"/>
                </a:cubicBezTo>
                <a:cubicBezTo>
                  <a:pt x="376" y="167"/>
                  <a:pt x="377" y="167"/>
                  <a:pt x="377" y="167"/>
                </a:cubicBezTo>
                <a:cubicBezTo>
                  <a:pt x="377" y="168"/>
                  <a:pt x="377" y="168"/>
                  <a:pt x="377" y="168"/>
                </a:cubicBezTo>
                <a:cubicBezTo>
                  <a:pt x="377" y="168"/>
                  <a:pt x="377" y="168"/>
                  <a:pt x="378" y="168"/>
                </a:cubicBezTo>
                <a:cubicBezTo>
                  <a:pt x="378" y="168"/>
                  <a:pt x="378" y="168"/>
                  <a:pt x="379" y="168"/>
                </a:cubicBezTo>
                <a:cubicBezTo>
                  <a:pt x="379" y="168"/>
                  <a:pt x="379" y="168"/>
                  <a:pt x="379" y="168"/>
                </a:cubicBezTo>
                <a:cubicBezTo>
                  <a:pt x="380" y="168"/>
                  <a:pt x="380" y="168"/>
                  <a:pt x="380" y="168"/>
                </a:cubicBezTo>
                <a:cubicBezTo>
                  <a:pt x="380" y="168"/>
                  <a:pt x="380" y="168"/>
                  <a:pt x="380" y="168"/>
                </a:cubicBezTo>
                <a:cubicBezTo>
                  <a:pt x="381" y="168"/>
                  <a:pt x="381" y="168"/>
                  <a:pt x="381" y="168"/>
                </a:cubicBezTo>
                <a:cubicBezTo>
                  <a:pt x="381" y="168"/>
                  <a:pt x="381" y="168"/>
                  <a:pt x="381" y="168"/>
                </a:cubicBezTo>
                <a:cubicBezTo>
                  <a:pt x="381" y="169"/>
                  <a:pt x="381" y="169"/>
                  <a:pt x="381" y="169"/>
                </a:cubicBezTo>
                <a:cubicBezTo>
                  <a:pt x="382" y="169"/>
                  <a:pt x="382" y="169"/>
                  <a:pt x="382" y="169"/>
                </a:cubicBezTo>
                <a:cubicBezTo>
                  <a:pt x="383" y="169"/>
                  <a:pt x="384" y="169"/>
                  <a:pt x="384" y="170"/>
                </a:cubicBezTo>
                <a:cubicBezTo>
                  <a:pt x="384" y="170"/>
                  <a:pt x="384" y="170"/>
                  <a:pt x="384" y="170"/>
                </a:cubicBezTo>
                <a:cubicBezTo>
                  <a:pt x="384" y="170"/>
                  <a:pt x="384" y="170"/>
                  <a:pt x="384" y="170"/>
                </a:cubicBezTo>
                <a:cubicBezTo>
                  <a:pt x="384" y="170"/>
                  <a:pt x="384" y="170"/>
                  <a:pt x="384" y="171"/>
                </a:cubicBezTo>
                <a:cubicBezTo>
                  <a:pt x="384" y="171"/>
                  <a:pt x="384" y="171"/>
                  <a:pt x="384" y="170"/>
                </a:cubicBezTo>
                <a:cubicBezTo>
                  <a:pt x="383" y="171"/>
                  <a:pt x="382" y="171"/>
                  <a:pt x="382" y="171"/>
                </a:cubicBezTo>
                <a:cubicBezTo>
                  <a:pt x="381" y="171"/>
                  <a:pt x="381" y="171"/>
                  <a:pt x="380" y="171"/>
                </a:cubicBezTo>
                <a:cubicBezTo>
                  <a:pt x="380" y="171"/>
                  <a:pt x="379" y="171"/>
                  <a:pt x="379" y="171"/>
                </a:cubicBezTo>
                <a:cubicBezTo>
                  <a:pt x="379" y="171"/>
                  <a:pt x="379" y="171"/>
                  <a:pt x="378" y="171"/>
                </a:cubicBezTo>
                <a:cubicBezTo>
                  <a:pt x="378" y="172"/>
                  <a:pt x="378" y="172"/>
                  <a:pt x="378" y="172"/>
                </a:cubicBezTo>
                <a:cubicBezTo>
                  <a:pt x="378" y="172"/>
                  <a:pt x="377" y="172"/>
                  <a:pt x="377" y="172"/>
                </a:cubicBezTo>
                <a:cubicBezTo>
                  <a:pt x="377" y="172"/>
                  <a:pt x="377" y="172"/>
                  <a:pt x="376" y="172"/>
                </a:cubicBezTo>
                <a:cubicBezTo>
                  <a:pt x="376" y="172"/>
                  <a:pt x="376" y="172"/>
                  <a:pt x="375" y="172"/>
                </a:cubicBezTo>
                <a:cubicBezTo>
                  <a:pt x="375" y="172"/>
                  <a:pt x="375" y="172"/>
                  <a:pt x="375" y="171"/>
                </a:cubicBezTo>
                <a:cubicBezTo>
                  <a:pt x="374" y="171"/>
                  <a:pt x="374" y="171"/>
                  <a:pt x="374" y="171"/>
                </a:cubicBezTo>
                <a:cubicBezTo>
                  <a:pt x="374" y="172"/>
                  <a:pt x="373" y="172"/>
                  <a:pt x="373" y="172"/>
                </a:cubicBezTo>
                <a:cubicBezTo>
                  <a:pt x="373" y="172"/>
                  <a:pt x="372" y="172"/>
                  <a:pt x="372" y="172"/>
                </a:cubicBezTo>
                <a:cubicBezTo>
                  <a:pt x="372" y="172"/>
                  <a:pt x="372" y="172"/>
                  <a:pt x="372" y="172"/>
                </a:cubicBezTo>
                <a:cubicBezTo>
                  <a:pt x="371" y="172"/>
                  <a:pt x="371" y="172"/>
                  <a:pt x="370" y="172"/>
                </a:cubicBezTo>
                <a:cubicBezTo>
                  <a:pt x="370" y="172"/>
                  <a:pt x="370" y="172"/>
                  <a:pt x="370" y="171"/>
                </a:cubicBezTo>
                <a:cubicBezTo>
                  <a:pt x="370" y="171"/>
                  <a:pt x="370" y="171"/>
                  <a:pt x="369" y="172"/>
                </a:cubicBezTo>
                <a:cubicBezTo>
                  <a:pt x="369" y="172"/>
                  <a:pt x="369" y="172"/>
                  <a:pt x="369" y="172"/>
                </a:cubicBezTo>
                <a:cubicBezTo>
                  <a:pt x="368" y="172"/>
                  <a:pt x="368" y="172"/>
                  <a:pt x="368" y="172"/>
                </a:cubicBezTo>
                <a:cubicBezTo>
                  <a:pt x="367" y="172"/>
                  <a:pt x="367" y="172"/>
                  <a:pt x="367" y="172"/>
                </a:cubicBezTo>
                <a:cubicBezTo>
                  <a:pt x="366" y="172"/>
                  <a:pt x="365" y="173"/>
                  <a:pt x="364" y="173"/>
                </a:cubicBezTo>
                <a:cubicBezTo>
                  <a:pt x="364" y="173"/>
                  <a:pt x="363" y="173"/>
                  <a:pt x="363" y="173"/>
                </a:cubicBezTo>
                <a:cubicBezTo>
                  <a:pt x="362" y="173"/>
                  <a:pt x="362" y="173"/>
                  <a:pt x="362" y="173"/>
                </a:cubicBezTo>
                <a:cubicBezTo>
                  <a:pt x="360" y="174"/>
                  <a:pt x="359" y="174"/>
                  <a:pt x="357" y="175"/>
                </a:cubicBezTo>
                <a:cubicBezTo>
                  <a:pt x="357" y="175"/>
                  <a:pt x="357" y="175"/>
                  <a:pt x="356" y="175"/>
                </a:cubicBezTo>
                <a:cubicBezTo>
                  <a:pt x="356" y="175"/>
                  <a:pt x="356" y="175"/>
                  <a:pt x="355" y="176"/>
                </a:cubicBezTo>
                <a:cubicBezTo>
                  <a:pt x="355" y="176"/>
                  <a:pt x="355" y="176"/>
                  <a:pt x="355" y="176"/>
                </a:cubicBezTo>
                <a:cubicBezTo>
                  <a:pt x="355" y="177"/>
                  <a:pt x="355" y="177"/>
                  <a:pt x="355" y="177"/>
                </a:cubicBezTo>
                <a:cubicBezTo>
                  <a:pt x="355" y="178"/>
                  <a:pt x="354" y="178"/>
                  <a:pt x="354" y="179"/>
                </a:cubicBezTo>
                <a:cubicBezTo>
                  <a:pt x="354" y="179"/>
                  <a:pt x="355" y="179"/>
                  <a:pt x="355" y="180"/>
                </a:cubicBezTo>
                <a:cubicBezTo>
                  <a:pt x="355" y="180"/>
                  <a:pt x="355" y="180"/>
                  <a:pt x="355" y="180"/>
                </a:cubicBezTo>
                <a:cubicBezTo>
                  <a:pt x="355" y="180"/>
                  <a:pt x="355" y="180"/>
                  <a:pt x="355" y="181"/>
                </a:cubicBezTo>
                <a:cubicBezTo>
                  <a:pt x="355" y="181"/>
                  <a:pt x="356" y="181"/>
                  <a:pt x="356" y="181"/>
                </a:cubicBezTo>
                <a:cubicBezTo>
                  <a:pt x="356" y="181"/>
                  <a:pt x="356" y="181"/>
                  <a:pt x="356" y="181"/>
                </a:cubicBezTo>
                <a:cubicBezTo>
                  <a:pt x="356" y="181"/>
                  <a:pt x="356" y="181"/>
                  <a:pt x="355" y="181"/>
                </a:cubicBezTo>
                <a:cubicBezTo>
                  <a:pt x="356" y="182"/>
                  <a:pt x="356" y="182"/>
                  <a:pt x="357" y="182"/>
                </a:cubicBezTo>
                <a:cubicBezTo>
                  <a:pt x="357" y="183"/>
                  <a:pt x="357" y="183"/>
                  <a:pt x="358" y="183"/>
                </a:cubicBezTo>
                <a:cubicBezTo>
                  <a:pt x="358" y="183"/>
                  <a:pt x="358" y="183"/>
                  <a:pt x="358" y="183"/>
                </a:cubicBezTo>
                <a:cubicBezTo>
                  <a:pt x="359" y="183"/>
                  <a:pt x="359" y="183"/>
                  <a:pt x="360" y="183"/>
                </a:cubicBezTo>
                <a:cubicBezTo>
                  <a:pt x="360" y="183"/>
                  <a:pt x="360" y="183"/>
                  <a:pt x="361" y="183"/>
                </a:cubicBezTo>
                <a:cubicBezTo>
                  <a:pt x="361" y="183"/>
                  <a:pt x="361" y="183"/>
                  <a:pt x="361" y="183"/>
                </a:cubicBezTo>
                <a:cubicBezTo>
                  <a:pt x="362" y="183"/>
                  <a:pt x="362" y="183"/>
                  <a:pt x="362" y="183"/>
                </a:cubicBezTo>
                <a:cubicBezTo>
                  <a:pt x="362" y="183"/>
                  <a:pt x="363" y="183"/>
                  <a:pt x="363" y="183"/>
                </a:cubicBezTo>
                <a:cubicBezTo>
                  <a:pt x="363" y="183"/>
                  <a:pt x="364" y="182"/>
                  <a:pt x="364" y="182"/>
                </a:cubicBezTo>
                <a:cubicBezTo>
                  <a:pt x="364" y="182"/>
                  <a:pt x="365" y="182"/>
                  <a:pt x="365" y="182"/>
                </a:cubicBezTo>
                <a:cubicBezTo>
                  <a:pt x="365" y="182"/>
                  <a:pt x="365" y="182"/>
                  <a:pt x="366" y="182"/>
                </a:cubicBezTo>
                <a:cubicBezTo>
                  <a:pt x="366" y="182"/>
                  <a:pt x="367" y="182"/>
                  <a:pt x="367" y="182"/>
                </a:cubicBezTo>
                <a:cubicBezTo>
                  <a:pt x="367" y="182"/>
                  <a:pt x="368" y="182"/>
                  <a:pt x="368" y="182"/>
                </a:cubicBezTo>
                <a:cubicBezTo>
                  <a:pt x="368" y="182"/>
                  <a:pt x="368" y="182"/>
                  <a:pt x="369" y="182"/>
                </a:cubicBezTo>
                <a:cubicBezTo>
                  <a:pt x="369" y="183"/>
                  <a:pt x="369" y="183"/>
                  <a:pt x="369" y="183"/>
                </a:cubicBezTo>
                <a:cubicBezTo>
                  <a:pt x="369" y="183"/>
                  <a:pt x="368" y="183"/>
                  <a:pt x="368" y="183"/>
                </a:cubicBezTo>
                <a:cubicBezTo>
                  <a:pt x="368" y="183"/>
                  <a:pt x="368" y="184"/>
                  <a:pt x="368" y="184"/>
                </a:cubicBezTo>
                <a:cubicBezTo>
                  <a:pt x="368" y="184"/>
                  <a:pt x="368" y="184"/>
                  <a:pt x="368" y="184"/>
                </a:cubicBezTo>
                <a:cubicBezTo>
                  <a:pt x="368" y="184"/>
                  <a:pt x="368" y="184"/>
                  <a:pt x="368" y="185"/>
                </a:cubicBezTo>
                <a:cubicBezTo>
                  <a:pt x="368" y="185"/>
                  <a:pt x="368" y="185"/>
                  <a:pt x="368" y="185"/>
                </a:cubicBezTo>
                <a:cubicBezTo>
                  <a:pt x="367" y="185"/>
                  <a:pt x="367" y="186"/>
                  <a:pt x="366" y="186"/>
                </a:cubicBezTo>
                <a:cubicBezTo>
                  <a:pt x="366" y="186"/>
                  <a:pt x="366" y="186"/>
                  <a:pt x="366" y="186"/>
                </a:cubicBezTo>
                <a:cubicBezTo>
                  <a:pt x="366" y="187"/>
                  <a:pt x="366" y="187"/>
                  <a:pt x="366" y="187"/>
                </a:cubicBezTo>
                <a:cubicBezTo>
                  <a:pt x="366" y="187"/>
                  <a:pt x="367" y="187"/>
                  <a:pt x="367" y="187"/>
                </a:cubicBezTo>
                <a:cubicBezTo>
                  <a:pt x="367" y="187"/>
                  <a:pt x="367" y="188"/>
                  <a:pt x="367" y="188"/>
                </a:cubicBezTo>
                <a:cubicBezTo>
                  <a:pt x="368" y="188"/>
                  <a:pt x="368" y="188"/>
                  <a:pt x="368" y="189"/>
                </a:cubicBezTo>
                <a:cubicBezTo>
                  <a:pt x="368" y="189"/>
                  <a:pt x="368" y="189"/>
                  <a:pt x="368" y="189"/>
                </a:cubicBezTo>
                <a:cubicBezTo>
                  <a:pt x="368" y="189"/>
                  <a:pt x="368" y="189"/>
                  <a:pt x="367" y="190"/>
                </a:cubicBezTo>
                <a:cubicBezTo>
                  <a:pt x="367" y="190"/>
                  <a:pt x="367" y="190"/>
                  <a:pt x="368" y="190"/>
                </a:cubicBezTo>
                <a:cubicBezTo>
                  <a:pt x="368" y="190"/>
                  <a:pt x="369" y="189"/>
                  <a:pt x="370" y="189"/>
                </a:cubicBezTo>
                <a:cubicBezTo>
                  <a:pt x="370" y="189"/>
                  <a:pt x="370" y="189"/>
                  <a:pt x="370" y="189"/>
                </a:cubicBezTo>
                <a:cubicBezTo>
                  <a:pt x="370" y="189"/>
                  <a:pt x="371" y="189"/>
                  <a:pt x="371" y="189"/>
                </a:cubicBezTo>
                <a:cubicBezTo>
                  <a:pt x="371" y="189"/>
                  <a:pt x="371" y="189"/>
                  <a:pt x="371" y="189"/>
                </a:cubicBezTo>
                <a:cubicBezTo>
                  <a:pt x="371" y="189"/>
                  <a:pt x="372" y="189"/>
                  <a:pt x="372" y="189"/>
                </a:cubicBezTo>
                <a:cubicBezTo>
                  <a:pt x="372" y="188"/>
                  <a:pt x="372" y="188"/>
                  <a:pt x="372" y="188"/>
                </a:cubicBezTo>
                <a:cubicBezTo>
                  <a:pt x="372" y="188"/>
                  <a:pt x="373" y="188"/>
                  <a:pt x="373" y="188"/>
                </a:cubicBezTo>
                <a:cubicBezTo>
                  <a:pt x="373" y="188"/>
                  <a:pt x="374" y="188"/>
                  <a:pt x="374" y="188"/>
                </a:cubicBezTo>
                <a:cubicBezTo>
                  <a:pt x="375" y="188"/>
                  <a:pt x="376" y="188"/>
                  <a:pt x="376" y="188"/>
                </a:cubicBezTo>
                <a:cubicBezTo>
                  <a:pt x="376" y="188"/>
                  <a:pt x="377" y="187"/>
                  <a:pt x="377" y="187"/>
                </a:cubicBezTo>
                <a:cubicBezTo>
                  <a:pt x="377" y="187"/>
                  <a:pt x="378" y="187"/>
                  <a:pt x="378" y="187"/>
                </a:cubicBezTo>
                <a:cubicBezTo>
                  <a:pt x="378" y="187"/>
                  <a:pt x="378" y="187"/>
                  <a:pt x="379" y="187"/>
                </a:cubicBezTo>
                <a:cubicBezTo>
                  <a:pt x="379" y="187"/>
                  <a:pt x="379" y="187"/>
                  <a:pt x="379" y="187"/>
                </a:cubicBezTo>
                <a:cubicBezTo>
                  <a:pt x="379" y="187"/>
                  <a:pt x="379" y="187"/>
                  <a:pt x="379" y="187"/>
                </a:cubicBezTo>
                <a:cubicBezTo>
                  <a:pt x="380" y="187"/>
                  <a:pt x="380" y="186"/>
                  <a:pt x="380" y="186"/>
                </a:cubicBezTo>
                <a:cubicBezTo>
                  <a:pt x="380" y="186"/>
                  <a:pt x="380" y="186"/>
                  <a:pt x="381" y="186"/>
                </a:cubicBezTo>
                <a:cubicBezTo>
                  <a:pt x="381" y="186"/>
                  <a:pt x="381" y="187"/>
                  <a:pt x="381" y="187"/>
                </a:cubicBezTo>
                <a:cubicBezTo>
                  <a:pt x="381" y="187"/>
                  <a:pt x="381" y="186"/>
                  <a:pt x="382" y="186"/>
                </a:cubicBezTo>
                <a:cubicBezTo>
                  <a:pt x="382" y="186"/>
                  <a:pt x="382" y="186"/>
                  <a:pt x="382" y="186"/>
                </a:cubicBezTo>
                <a:cubicBezTo>
                  <a:pt x="382" y="186"/>
                  <a:pt x="382" y="186"/>
                  <a:pt x="383" y="186"/>
                </a:cubicBezTo>
                <a:cubicBezTo>
                  <a:pt x="383" y="186"/>
                  <a:pt x="383" y="186"/>
                  <a:pt x="383" y="187"/>
                </a:cubicBezTo>
                <a:cubicBezTo>
                  <a:pt x="383" y="187"/>
                  <a:pt x="383" y="186"/>
                  <a:pt x="383" y="186"/>
                </a:cubicBezTo>
                <a:cubicBezTo>
                  <a:pt x="384" y="186"/>
                  <a:pt x="384" y="186"/>
                  <a:pt x="384" y="186"/>
                </a:cubicBezTo>
                <a:cubicBezTo>
                  <a:pt x="384" y="186"/>
                  <a:pt x="385" y="186"/>
                  <a:pt x="385" y="185"/>
                </a:cubicBezTo>
                <a:cubicBezTo>
                  <a:pt x="385" y="185"/>
                  <a:pt x="386" y="185"/>
                  <a:pt x="386" y="185"/>
                </a:cubicBezTo>
                <a:cubicBezTo>
                  <a:pt x="386" y="185"/>
                  <a:pt x="386" y="185"/>
                  <a:pt x="387" y="184"/>
                </a:cubicBezTo>
                <a:cubicBezTo>
                  <a:pt x="387" y="184"/>
                  <a:pt x="387" y="184"/>
                  <a:pt x="387" y="184"/>
                </a:cubicBezTo>
                <a:cubicBezTo>
                  <a:pt x="388" y="184"/>
                  <a:pt x="388" y="183"/>
                  <a:pt x="388" y="183"/>
                </a:cubicBezTo>
                <a:cubicBezTo>
                  <a:pt x="389" y="183"/>
                  <a:pt x="389" y="183"/>
                  <a:pt x="390" y="182"/>
                </a:cubicBezTo>
                <a:cubicBezTo>
                  <a:pt x="390" y="182"/>
                  <a:pt x="390" y="182"/>
                  <a:pt x="391" y="182"/>
                </a:cubicBezTo>
                <a:cubicBezTo>
                  <a:pt x="391" y="182"/>
                  <a:pt x="391" y="182"/>
                  <a:pt x="391" y="182"/>
                </a:cubicBezTo>
                <a:cubicBezTo>
                  <a:pt x="391" y="181"/>
                  <a:pt x="391" y="181"/>
                  <a:pt x="391" y="181"/>
                </a:cubicBezTo>
                <a:cubicBezTo>
                  <a:pt x="392" y="181"/>
                  <a:pt x="392" y="181"/>
                  <a:pt x="393" y="181"/>
                </a:cubicBezTo>
                <a:cubicBezTo>
                  <a:pt x="393" y="181"/>
                  <a:pt x="393" y="181"/>
                  <a:pt x="393" y="181"/>
                </a:cubicBezTo>
                <a:cubicBezTo>
                  <a:pt x="394" y="181"/>
                  <a:pt x="394" y="181"/>
                  <a:pt x="394" y="181"/>
                </a:cubicBezTo>
                <a:cubicBezTo>
                  <a:pt x="395" y="181"/>
                  <a:pt x="396" y="180"/>
                  <a:pt x="397" y="180"/>
                </a:cubicBezTo>
                <a:cubicBezTo>
                  <a:pt x="397" y="180"/>
                  <a:pt x="398" y="179"/>
                  <a:pt x="398" y="179"/>
                </a:cubicBezTo>
                <a:cubicBezTo>
                  <a:pt x="399" y="179"/>
                  <a:pt x="399" y="178"/>
                  <a:pt x="399" y="178"/>
                </a:cubicBezTo>
                <a:cubicBezTo>
                  <a:pt x="399" y="178"/>
                  <a:pt x="399" y="178"/>
                  <a:pt x="399" y="178"/>
                </a:cubicBezTo>
                <a:cubicBezTo>
                  <a:pt x="399" y="178"/>
                  <a:pt x="399" y="178"/>
                  <a:pt x="400" y="178"/>
                </a:cubicBezTo>
                <a:cubicBezTo>
                  <a:pt x="400" y="178"/>
                  <a:pt x="400" y="178"/>
                  <a:pt x="400" y="178"/>
                </a:cubicBezTo>
                <a:cubicBezTo>
                  <a:pt x="400" y="177"/>
                  <a:pt x="400" y="177"/>
                  <a:pt x="401" y="177"/>
                </a:cubicBezTo>
                <a:cubicBezTo>
                  <a:pt x="401" y="177"/>
                  <a:pt x="400" y="177"/>
                  <a:pt x="400" y="177"/>
                </a:cubicBezTo>
                <a:cubicBezTo>
                  <a:pt x="400" y="177"/>
                  <a:pt x="401" y="176"/>
                  <a:pt x="401" y="176"/>
                </a:cubicBezTo>
                <a:cubicBezTo>
                  <a:pt x="401" y="176"/>
                  <a:pt x="401" y="176"/>
                  <a:pt x="401" y="176"/>
                </a:cubicBezTo>
                <a:cubicBezTo>
                  <a:pt x="401" y="176"/>
                  <a:pt x="402" y="176"/>
                  <a:pt x="402" y="176"/>
                </a:cubicBezTo>
                <a:cubicBezTo>
                  <a:pt x="402" y="176"/>
                  <a:pt x="402" y="176"/>
                  <a:pt x="402" y="176"/>
                </a:cubicBezTo>
                <a:cubicBezTo>
                  <a:pt x="402" y="175"/>
                  <a:pt x="402" y="175"/>
                  <a:pt x="402" y="175"/>
                </a:cubicBezTo>
                <a:cubicBezTo>
                  <a:pt x="402" y="175"/>
                  <a:pt x="402" y="175"/>
                  <a:pt x="402" y="175"/>
                </a:cubicBezTo>
                <a:cubicBezTo>
                  <a:pt x="403" y="175"/>
                  <a:pt x="403" y="175"/>
                  <a:pt x="403" y="175"/>
                </a:cubicBezTo>
                <a:cubicBezTo>
                  <a:pt x="403" y="175"/>
                  <a:pt x="403" y="175"/>
                  <a:pt x="403" y="175"/>
                </a:cubicBezTo>
                <a:cubicBezTo>
                  <a:pt x="403" y="175"/>
                  <a:pt x="403" y="176"/>
                  <a:pt x="404" y="176"/>
                </a:cubicBezTo>
                <a:cubicBezTo>
                  <a:pt x="404" y="176"/>
                  <a:pt x="404" y="176"/>
                  <a:pt x="404" y="176"/>
                </a:cubicBezTo>
                <a:cubicBezTo>
                  <a:pt x="404" y="176"/>
                  <a:pt x="404" y="176"/>
                  <a:pt x="403" y="176"/>
                </a:cubicBezTo>
                <a:cubicBezTo>
                  <a:pt x="403" y="177"/>
                  <a:pt x="403" y="177"/>
                  <a:pt x="403" y="177"/>
                </a:cubicBezTo>
                <a:cubicBezTo>
                  <a:pt x="403" y="177"/>
                  <a:pt x="403" y="177"/>
                  <a:pt x="403" y="177"/>
                </a:cubicBezTo>
                <a:cubicBezTo>
                  <a:pt x="403" y="178"/>
                  <a:pt x="403" y="178"/>
                  <a:pt x="403" y="178"/>
                </a:cubicBezTo>
                <a:cubicBezTo>
                  <a:pt x="403" y="178"/>
                  <a:pt x="403" y="178"/>
                  <a:pt x="403" y="178"/>
                </a:cubicBezTo>
                <a:cubicBezTo>
                  <a:pt x="403" y="178"/>
                  <a:pt x="403" y="178"/>
                  <a:pt x="404" y="178"/>
                </a:cubicBezTo>
                <a:cubicBezTo>
                  <a:pt x="404" y="178"/>
                  <a:pt x="404" y="178"/>
                  <a:pt x="405" y="178"/>
                </a:cubicBezTo>
                <a:cubicBezTo>
                  <a:pt x="405" y="178"/>
                  <a:pt x="405" y="178"/>
                  <a:pt x="405" y="178"/>
                </a:cubicBezTo>
                <a:cubicBezTo>
                  <a:pt x="405" y="178"/>
                  <a:pt x="405" y="178"/>
                  <a:pt x="406" y="178"/>
                </a:cubicBezTo>
                <a:cubicBezTo>
                  <a:pt x="406" y="178"/>
                  <a:pt x="406" y="178"/>
                  <a:pt x="407" y="178"/>
                </a:cubicBezTo>
                <a:cubicBezTo>
                  <a:pt x="407" y="178"/>
                  <a:pt x="407" y="178"/>
                  <a:pt x="407" y="178"/>
                </a:cubicBezTo>
                <a:cubicBezTo>
                  <a:pt x="407" y="178"/>
                  <a:pt x="407" y="178"/>
                  <a:pt x="408" y="178"/>
                </a:cubicBezTo>
                <a:cubicBezTo>
                  <a:pt x="408" y="178"/>
                  <a:pt x="408" y="178"/>
                  <a:pt x="408" y="178"/>
                </a:cubicBezTo>
                <a:cubicBezTo>
                  <a:pt x="408" y="178"/>
                  <a:pt x="408" y="178"/>
                  <a:pt x="408" y="178"/>
                </a:cubicBezTo>
                <a:cubicBezTo>
                  <a:pt x="408" y="178"/>
                  <a:pt x="408" y="178"/>
                  <a:pt x="409" y="178"/>
                </a:cubicBezTo>
                <a:cubicBezTo>
                  <a:pt x="409" y="178"/>
                  <a:pt x="409" y="178"/>
                  <a:pt x="409" y="178"/>
                </a:cubicBezTo>
                <a:cubicBezTo>
                  <a:pt x="409" y="178"/>
                  <a:pt x="408" y="179"/>
                  <a:pt x="408" y="179"/>
                </a:cubicBezTo>
                <a:cubicBezTo>
                  <a:pt x="408" y="179"/>
                  <a:pt x="408" y="179"/>
                  <a:pt x="407" y="179"/>
                </a:cubicBezTo>
                <a:cubicBezTo>
                  <a:pt x="407" y="179"/>
                  <a:pt x="407" y="179"/>
                  <a:pt x="407" y="180"/>
                </a:cubicBezTo>
                <a:cubicBezTo>
                  <a:pt x="407" y="180"/>
                  <a:pt x="407" y="180"/>
                  <a:pt x="407" y="180"/>
                </a:cubicBezTo>
                <a:cubicBezTo>
                  <a:pt x="407" y="180"/>
                  <a:pt x="407" y="180"/>
                  <a:pt x="408" y="180"/>
                </a:cubicBezTo>
                <a:cubicBezTo>
                  <a:pt x="408" y="180"/>
                  <a:pt x="408" y="180"/>
                  <a:pt x="408" y="180"/>
                </a:cubicBezTo>
                <a:cubicBezTo>
                  <a:pt x="409" y="180"/>
                  <a:pt x="409" y="180"/>
                  <a:pt x="409" y="180"/>
                </a:cubicBezTo>
                <a:cubicBezTo>
                  <a:pt x="410" y="180"/>
                  <a:pt x="410" y="180"/>
                  <a:pt x="410" y="180"/>
                </a:cubicBezTo>
                <a:cubicBezTo>
                  <a:pt x="410" y="179"/>
                  <a:pt x="411" y="179"/>
                  <a:pt x="411" y="179"/>
                </a:cubicBezTo>
                <a:cubicBezTo>
                  <a:pt x="411" y="179"/>
                  <a:pt x="411" y="179"/>
                  <a:pt x="411" y="179"/>
                </a:cubicBezTo>
                <a:cubicBezTo>
                  <a:pt x="411" y="179"/>
                  <a:pt x="411" y="179"/>
                  <a:pt x="411" y="179"/>
                </a:cubicBezTo>
                <a:cubicBezTo>
                  <a:pt x="411" y="179"/>
                  <a:pt x="412" y="180"/>
                  <a:pt x="412" y="180"/>
                </a:cubicBezTo>
                <a:cubicBezTo>
                  <a:pt x="412" y="180"/>
                  <a:pt x="413" y="180"/>
                  <a:pt x="413" y="180"/>
                </a:cubicBezTo>
                <a:cubicBezTo>
                  <a:pt x="413" y="179"/>
                  <a:pt x="413" y="179"/>
                  <a:pt x="413" y="179"/>
                </a:cubicBezTo>
                <a:cubicBezTo>
                  <a:pt x="414" y="179"/>
                  <a:pt x="414" y="179"/>
                  <a:pt x="414" y="179"/>
                </a:cubicBezTo>
                <a:cubicBezTo>
                  <a:pt x="414" y="179"/>
                  <a:pt x="415" y="179"/>
                  <a:pt x="415" y="179"/>
                </a:cubicBezTo>
                <a:cubicBezTo>
                  <a:pt x="415" y="179"/>
                  <a:pt x="415" y="179"/>
                  <a:pt x="416" y="179"/>
                </a:cubicBezTo>
                <a:cubicBezTo>
                  <a:pt x="416" y="179"/>
                  <a:pt x="416" y="179"/>
                  <a:pt x="416" y="179"/>
                </a:cubicBezTo>
                <a:cubicBezTo>
                  <a:pt x="416" y="179"/>
                  <a:pt x="417" y="179"/>
                  <a:pt x="417" y="179"/>
                </a:cubicBezTo>
                <a:cubicBezTo>
                  <a:pt x="417" y="179"/>
                  <a:pt x="417" y="179"/>
                  <a:pt x="417" y="179"/>
                </a:cubicBezTo>
                <a:cubicBezTo>
                  <a:pt x="417" y="179"/>
                  <a:pt x="417" y="179"/>
                  <a:pt x="417" y="179"/>
                </a:cubicBezTo>
                <a:cubicBezTo>
                  <a:pt x="417" y="178"/>
                  <a:pt x="418" y="178"/>
                  <a:pt x="418" y="178"/>
                </a:cubicBezTo>
                <a:cubicBezTo>
                  <a:pt x="418" y="178"/>
                  <a:pt x="418" y="178"/>
                  <a:pt x="418" y="178"/>
                </a:cubicBezTo>
                <a:cubicBezTo>
                  <a:pt x="418" y="178"/>
                  <a:pt x="418" y="179"/>
                  <a:pt x="418" y="179"/>
                </a:cubicBezTo>
                <a:cubicBezTo>
                  <a:pt x="419" y="179"/>
                  <a:pt x="419" y="179"/>
                  <a:pt x="419" y="179"/>
                </a:cubicBezTo>
                <a:cubicBezTo>
                  <a:pt x="419" y="179"/>
                  <a:pt x="419" y="179"/>
                  <a:pt x="420" y="178"/>
                </a:cubicBezTo>
                <a:cubicBezTo>
                  <a:pt x="420" y="178"/>
                  <a:pt x="420" y="178"/>
                  <a:pt x="420" y="178"/>
                </a:cubicBezTo>
                <a:cubicBezTo>
                  <a:pt x="420" y="178"/>
                  <a:pt x="420" y="178"/>
                  <a:pt x="421" y="178"/>
                </a:cubicBezTo>
                <a:cubicBezTo>
                  <a:pt x="421" y="178"/>
                  <a:pt x="421" y="178"/>
                  <a:pt x="421" y="178"/>
                </a:cubicBezTo>
                <a:cubicBezTo>
                  <a:pt x="421" y="178"/>
                  <a:pt x="421" y="178"/>
                  <a:pt x="421" y="178"/>
                </a:cubicBezTo>
                <a:cubicBezTo>
                  <a:pt x="421" y="178"/>
                  <a:pt x="422" y="178"/>
                  <a:pt x="422" y="178"/>
                </a:cubicBezTo>
                <a:cubicBezTo>
                  <a:pt x="422" y="178"/>
                  <a:pt x="422" y="178"/>
                  <a:pt x="422" y="178"/>
                </a:cubicBezTo>
                <a:cubicBezTo>
                  <a:pt x="422" y="177"/>
                  <a:pt x="422" y="177"/>
                  <a:pt x="422" y="177"/>
                </a:cubicBezTo>
                <a:cubicBezTo>
                  <a:pt x="423" y="177"/>
                  <a:pt x="423" y="177"/>
                  <a:pt x="423" y="177"/>
                </a:cubicBezTo>
                <a:cubicBezTo>
                  <a:pt x="423" y="177"/>
                  <a:pt x="423" y="177"/>
                  <a:pt x="424" y="177"/>
                </a:cubicBezTo>
                <a:cubicBezTo>
                  <a:pt x="424" y="177"/>
                  <a:pt x="424" y="177"/>
                  <a:pt x="424" y="177"/>
                </a:cubicBezTo>
                <a:cubicBezTo>
                  <a:pt x="424" y="177"/>
                  <a:pt x="424" y="177"/>
                  <a:pt x="424" y="177"/>
                </a:cubicBezTo>
                <a:cubicBezTo>
                  <a:pt x="424" y="177"/>
                  <a:pt x="424" y="176"/>
                  <a:pt x="424" y="176"/>
                </a:cubicBezTo>
                <a:cubicBezTo>
                  <a:pt x="424" y="176"/>
                  <a:pt x="424" y="176"/>
                  <a:pt x="424" y="176"/>
                </a:cubicBezTo>
                <a:cubicBezTo>
                  <a:pt x="424" y="176"/>
                  <a:pt x="425" y="176"/>
                  <a:pt x="425" y="175"/>
                </a:cubicBezTo>
                <a:cubicBezTo>
                  <a:pt x="425" y="175"/>
                  <a:pt x="425" y="175"/>
                  <a:pt x="425" y="175"/>
                </a:cubicBezTo>
                <a:cubicBezTo>
                  <a:pt x="425" y="175"/>
                  <a:pt x="425" y="175"/>
                  <a:pt x="425" y="175"/>
                </a:cubicBezTo>
                <a:cubicBezTo>
                  <a:pt x="425" y="174"/>
                  <a:pt x="425" y="174"/>
                  <a:pt x="425" y="174"/>
                </a:cubicBezTo>
                <a:cubicBezTo>
                  <a:pt x="425" y="174"/>
                  <a:pt x="424" y="174"/>
                  <a:pt x="424" y="174"/>
                </a:cubicBezTo>
                <a:cubicBezTo>
                  <a:pt x="424" y="174"/>
                  <a:pt x="424" y="174"/>
                  <a:pt x="424" y="174"/>
                </a:cubicBezTo>
                <a:cubicBezTo>
                  <a:pt x="424" y="174"/>
                  <a:pt x="424" y="173"/>
                  <a:pt x="424" y="173"/>
                </a:cubicBezTo>
                <a:cubicBezTo>
                  <a:pt x="424" y="173"/>
                  <a:pt x="424" y="173"/>
                  <a:pt x="425" y="173"/>
                </a:cubicBezTo>
                <a:cubicBezTo>
                  <a:pt x="425" y="173"/>
                  <a:pt x="425" y="172"/>
                  <a:pt x="425" y="172"/>
                </a:cubicBezTo>
                <a:cubicBezTo>
                  <a:pt x="424" y="172"/>
                  <a:pt x="424" y="172"/>
                  <a:pt x="423" y="172"/>
                </a:cubicBezTo>
                <a:cubicBezTo>
                  <a:pt x="423" y="172"/>
                  <a:pt x="423" y="172"/>
                  <a:pt x="423" y="172"/>
                </a:cubicBezTo>
                <a:cubicBezTo>
                  <a:pt x="423" y="173"/>
                  <a:pt x="423" y="173"/>
                  <a:pt x="423" y="173"/>
                </a:cubicBezTo>
                <a:cubicBezTo>
                  <a:pt x="423" y="173"/>
                  <a:pt x="422" y="173"/>
                  <a:pt x="422" y="173"/>
                </a:cubicBezTo>
                <a:cubicBezTo>
                  <a:pt x="422" y="173"/>
                  <a:pt x="422" y="173"/>
                  <a:pt x="422" y="173"/>
                </a:cubicBezTo>
                <a:cubicBezTo>
                  <a:pt x="421" y="173"/>
                  <a:pt x="421" y="173"/>
                  <a:pt x="420" y="174"/>
                </a:cubicBezTo>
                <a:cubicBezTo>
                  <a:pt x="420" y="174"/>
                  <a:pt x="419" y="174"/>
                  <a:pt x="419" y="175"/>
                </a:cubicBezTo>
                <a:cubicBezTo>
                  <a:pt x="419" y="175"/>
                  <a:pt x="418" y="175"/>
                  <a:pt x="418" y="176"/>
                </a:cubicBezTo>
                <a:cubicBezTo>
                  <a:pt x="418" y="175"/>
                  <a:pt x="418" y="175"/>
                  <a:pt x="418" y="175"/>
                </a:cubicBezTo>
                <a:cubicBezTo>
                  <a:pt x="418" y="175"/>
                  <a:pt x="419" y="175"/>
                  <a:pt x="419" y="174"/>
                </a:cubicBezTo>
                <a:cubicBezTo>
                  <a:pt x="419" y="174"/>
                  <a:pt x="419" y="174"/>
                  <a:pt x="420" y="174"/>
                </a:cubicBezTo>
                <a:cubicBezTo>
                  <a:pt x="420" y="173"/>
                  <a:pt x="419" y="173"/>
                  <a:pt x="419" y="173"/>
                </a:cubicBezTo>
                <a:cubicBezTo>
                  <a:pt x="419" y="173"/>
                  <a:pt x="419" y="173"/>
                  <a:pt x="419" y="174"/>
                </a:cubicBezTo>
                <a:cubicBezTo>
                  <a:pt x="419" y="174"/>
                  <a:pt x="419" y="174"/>
                  <a:pt x="418" y="174"/>
                </a:cubicBezTo>
                <a:cubicBezTo>
                  <a:pt x="418" y="173"/>
                  <a:pt x="418" y="173"/>
                  <a:pt x="418" y="173"/>
                </a:cubicBezTo>
                <a:cubicBezTo>
                  <a:pt x="419" y="173"/>
                  <a:pt x="419" y="172"/>
                  <a:pt x="419" y="172"/>
                </a:cubicBezTo>
                <a:cubicBezTo>
                  <a:pt x="419" y="172"/>
                  <a:pt x="418" y="172"/>
                  <a:pt x="418" y="172"/>
                </a:cubicBezTo>
                <a:cubicBezTo>
                  <a:pt x="418" y="171"/>
                  <a:pt x="418" y="171"/>
                  <a:pt x="419" y="171"/>
                </a:cubicBezTo>
                <a:cubicBezTo>
                  <a:pt x="419" y="171"/>
                  <a:pt x="419" y="171"/>
                  <a:pt x="419" y="171"/>
                </a:cubicBezTo>
                <a:cubicBezTo>
                  <a:pt x="419" y="171"/>
                  <a:pt x="419" y="171"/>
                  <a:pt x="419" y="171"/>
                </a:cubicBezTo>
                <a:cubicBezTo>
                  <a:pt x="420" y="171"/>
                  <a:pt x="420" y="172"/>
                  <a:pt x="420" y="172"/>
                </a:cubicBezTo>
                <a:cubicBezTo>
                  <a:pt x="420" y="172"/>
                  <a:pt x="421" y="172"/>
                  <a:pt x="421" y="172"/>
                </a:cubicBezTo>
                <a:cubicBezTo>
                  <a:pt x="421" y="172"/>
                  <a:pt x="421" y="172"/>
                  <a:pt x="422" y="172"/>
                </a:cubicBezTo>
                <a:cubicBezTo>
                  <a:pt x="422" y="172"/>
                  <a:pt x="422" y="172"/>
                  <a:pt x="423" y="172"/>
                </a:cubicBezTo>
                <a:cubicBezTo>
                  <a:pt x="423" y="171"/>
                  <a:pt x="423" y="171"/>
                  <a:pt x="423" y="171"/>
                </a:cubicBezTo>
                <a:cubicBezTo>
                  <a:pt x="423" y="171"/>
                  <a:pt x="423" y="171"/>
                  <a:pt x="422" y="170"/>
                </a:cubicBezTo>
                <a:cubicBezTo>
                  <a:pt x="422" y="170"/>
                  <a:pt x="422" y="170"/>
                  <a:pt x="422" y="170"/>
                </a:cubicBezTo>
                <a:cubicBezTo>
                  <a:pt x="422" y="170"/>
                  <a:pt x="423" y="170"/>
                  <a:pt x="423" y="170"/>
                </a:cubicBezTo>
                <a:cubicBezTo>
                  <a:pt x="423" y="170"/>
                  <a:pt x="423" y="170"/>
                  <a:pt x="423" y="170"/>
                </a:cubicBezTo>
                <a:cubicBezTo>
                  <a:pt x="424" y="170"/>
                  <a:pt x="424" y="170"/>
                  <a:pt x="424" y="170"/>
                </a:cubicBezTo>
                <a:cubicBezTo>
                  <a:pt x="424" y="170"/>
                  <a:pt x="425" y="169"/>
                  <a:pt x="425" y="169"/>
                </a:cubicBezTo>
                <a:cubicBezTo>
                  <a:pt x="425" y="169"/>
                  <a:pt x="425" y="168"/>
                  <a:pt x="425" y="168"/>
                </a:cubicBezTo>
                <a:cubicBezTo>
                  <a:pt x="425" y="168"/>
                  <a:pt x="425" y="169"/>
                  <a:pt x="425" y="169"/>
                </a:cubicBezTo>
                <a:cubicBezTo>
                  <a:pt x="425" y="169"/>
                  <a:pt x="426" y="169"/>
                  <a:pt x="426" y="169"/>
                </a:cubicBezTo>
                <a:cubicBezTo>
                  <a:pt x="426" y="168"/>
                  <a:pt x="426" y="168"/>
                  <a:pt x="427" y="168"/>
                </a:cubicBezTo>
                <a:cubicBezTo>
                  <a:pt x="426" y="168"/>
                  <a:pt x="426" y="169"/>
                  <a:pt x="426" y="169"/>
                </a:cubicBezTo>
                <a:cubicBezTo>
                  <a:pt x="426" y="170"/>
                  <a:pt x="426" y="170"/>
                  <a:pt x="426" y="170"/>
                </a:cubicBezTo>
                <a:cubicBezTo>
                  <a:pt x="427" y="170"/>
                  <a:pt x="427" y="170"/>
                  <a:pt x="427" y="170"/>
                </a:cubicBezTo>
                <a:cubicBezTo>
                  <a:pt x="427" y="170"/>
                  <a:pt x="427" y="170"/>
                  <a:pt x="427" y="170"/>
                </a:cubicBezTo>
                <a:cubicBezTo>
                  <a:pt x="427" y="170"/>
                  <a:pt x="427" y="170"/>
                  <a:pt x="427" y="171"/>
                </a:cubicBezTo>
                <a:cubicBezTo>
                  <a:pt x="427" y="171"/>
                  <a:pt x="427" y="170"/>
                  <a:pt x="428" y="170"/>
                </a:cubicBezTo>
                <a:close/>
                <a:moveTo>
                  <a:pt x="431" y="178"/>
                </a:moveTo>
                <a:cubicBezTo>
                  <a:pt x="431" y="178"/>
                  <a:pt x="431" y="178"/>
                  <a:pt x="431" y="178"/>
                </a:cubicBezTo>
                <a:cubicBezTo>
                  <a:pt x="431" y="178"/>
                  <a:pt x="431" y="178"/>
                  <a:pt x="431" y="177"/>
                </a:cubicBezTo>
                <a:cubicBezTo>
                  <a:pt x="432" y="177"/>
                  <a:pt x="432" y="177"/>
                  <a:pt x="432" y="177"/>
                </a:cubicBezTo>
                <a:cubicBezTo>
                  <a:pt x="432" y="177"/>
                  <a:pt x="432" y="176"/>
                  <a:pt x="433" y="176"/>
                </a:cubicBezTo>
                <a:cubicBezTo>
                  <a:pt x="432" y="176"/>
                  <a:pt x="432" y="176"/>
                  <a:pt x="432" y="176"/>
                </a:cubicBezTo>
                <a:cubicBezTo>
                  <a:pt x="432" y="175"/>
                  <a:pt x="432" y="175"/>
                  <a:pt x="432" y="175"/>
                </a:cubicBezTo>
                <a:cubicBezTo>
                  <a:pt x="431" y="175"/>
                  <a:pt x="431" y="175"/>
                  <a:pt x="431" y="175"/>
                </a:cubicBezTo>
                <a:cubicBezTo>
                  <a:pt x="431" y="175"/>
                  <a:pt x="431" y="176"/>
                  <a:pt x="430" y="176"/>
                </a:cubicBezTo>
                <a:cubicBezTo>
                  <a:pt x="430" y="176"/>
                  <a:pt x="431" y="176"/>
                  <a:pt x="431" y="176"/>
                </a:cubicBezTo>
                <a:cubicBezTo>
                  <a:pt x="430" y="177"/>
                  <a:pt x="430" y="177"/>
                  <a:pt x="430" y="178"/>
                </a:cubicBezTo>
                <a:cubicBezTo>
                  <a:pt x="430" y="178"/>
                  <a:pt x="430" y="178"/>
                  <a:pt x="430" y="178"/>
                </a:cubicBezTo>
                <a:cubicBezTo>
                  <a:pt x="430" y="178"/>
                  <a:pt x="431" y="178"/>
                  <a:pt x="431" y="178"/>
                </a:cubicBezTo>
                <a:close/>
                <a:moveTo>
                  <a:pt x="430" y="173"/>
                </a:moveTo>
                <a:cubicBezTo>
                  <a:pt x="430" y="173"/>
                  <a:pt x="430" y="173"/>
                  <a:pt x="430" y="172"/>
                </a:cubicBezTo>
                <a:cubicBezTo>
                  <a:pt x="430" y="172"/>
                  <a:pt x="430" y="172"/>
                  <a:pt x="430" y="172"/>
                </a:cubicBezTo>
                <a:cubicBezTo>
                  <a:pt x="430" y="172"/>
                  <a:pt x="431" y="172"/>
                  <a:pt x="431" y="172"/>
                </a:cubicBezTo>
                <a:cubicBezTo>
                  <a:pt x="431" y="172"/>
                  <a:pt x="431" y="172"/>
                  <a:pt x="431" y="171"/>
                </a:cubicBezTo>
                <a:cubicBezTo>
                  <a:pt x="430" y="171"/>
                  <a:pt x="430" y="171"/>
                  <a:pt x="430" y="171"/>
                </a:cubicBezTo>
                <a:cubicBezTo>
                  <a:pt x="430" y="171"/>
                  <a:pt x="430" y="171"/>
                  <a:pt x="430" y="171"/>
                </a:cubicBezTo>
                <a:cubicBezTo>
                  <a:pt x="430" y="171"/>
                  <a:pt x="429" y="171"/>
                  <a:pt x="429" y="171"/>
                </a:cubicBezTo>
                <a:cubicBezTo>
                  <a:pt x="429" y="171"/>
                  <a:pt x="429" y="171"/>
                  <a:pt x="429" y="172"/>
                </a:cubicBezTo>
                <a:cubicBezTo>
                  <a:pt x="429" y="172"/>
                  <a:pt x="429" y="172"/>
                  <a:pt x="430" y="172"/>
                </a:cubicBezTo>
                <a:cubicBezTo>
                  <a:pt x="429" y="172"/>
                  <a:pt x="429" y="172"/>
                  <a:pt x="429" y="172"/>
                </a:cubicBezTo>
                <a:cubicBezTo>
                  <a:pt x="429" y="172"/>
                  <a:pt x="429" y="173"/>
                  <a:pt x="429" y="173"/>
                </a:cubicBezTo>
                <a:cubicBezTo>
                  <a:pt x="429" y="173"/>
                  <a:pt x="429" y="173"/>
                  <a:pt x="429" y="173"/>
                </a:cubicBezTo>
                <a:cubicBezTo>
                  <a:pt x="429" y="173"/>
                  <a:pt x="429" y="173"/>
                  <a:pt x="430" y="173"/>
                </a:cubicBezTo>
                <a:close/>
                <a:moveTo>
                  <a:pt x="433" y="176"/>
                </a:moveTo>
                <a:cubicBezTo>
                  <a:pt x="433" y="176"/>
                  <a:pt x="434" y="175"/>
                  <a:pt x="434" y="175"/>
                </a:cubicBezTo>
                <a:cubicBezTo>
                  <a:pt x="434" y="175"/>
                  <a:pt x="434" y="175"/>
                  <a:pt x="434" y="175"/>
                </a:cubicBezTo>
                <a:cubicBezTo>
                  <a:pt x="434" y="174"/>
                  <a:pt x="434" y="174"/>
                  <a:pt x="434" y="174"/>
                </a:cubicBezTo>
                <a:cubicBezTo>
                  <a:pt x="434" y="174"/>
                  <a:pt x="434" y="174"/>
                  <a:pt x="433" y="174"/>
                </a:cubicBezTo>
                <a:cubicBezTo>
                  <a:pt x="433" y="174"/>
                  <a:pt x="433" y="174"/>
                  <a:pt x="433" y="174"/>
                </a:cubicBezTo>
                <a:cubicBezTo>
                  <a:pt x="433" y="174"/>
                  <a:pt x="433" y="175"/>
                  <a:pt x="433" y="175"/>
                </a:cubicBezTo>
                <a:cubicBezTo>
                  <a:pt x="433" y="175"/>
                  <a:pt x="433" y="175"/>
                  <a:pt x="433" y="175"/>
                </a:cubicBezTo>
                <a:cubicBezTo>
                  <a:pt x="433" y="175"/>
                  <a:pt x="433" y="175"/>
                  <a:pt x="433" y="176"/>
                </a:cubicBezTo>
                <a:close/>
                <a:moveTo>
                  <a:pt x="435" y="184"/>
                </a:moveTo>
                <a:cubicBezTo>
                  <a:pt x="435" y="184"/>
                  <a:pt x="435" y="184"/>
                  <a:pt x="435" y="184"/>
                </a:cubicBezTo>
                <a:cubicBezTo>
                  <a:pt x="435" y="184"/>
                  <a:pt x="435" y="184"/>
                  <a:pt x="436" y="183"/>
                </a:cubicBezTo>
                <a:cubicBezTo>
                  <a:pt x="436" y="183"/>
                  <a:pt x="435" y="183"/>
                  <a:pt x="435" y="183"/>
                </a:cubicBezTo>
                <a:cubicBezTo>
                  <a:pt x="435" y="183"/>
                  <a:pt x="435" y="183"/>
                  <a:pt x="434" y="183"/>
                </a:cubicBezTo>
                <a:cubicBezTo>
                  <a:pt x="434" y="183"/>
                  <a:pt x="435" y="183"/>
                  <a:pt x="435" y="184"/>
                </a:cubicBezTo>
                <a:close/>
                <a:moveTo>
                  <a:pt x="457" y="170"/>
                </a:moveTo>
                <a:cubicBezTo>
                  <a:pt x="457" y="169"/>
                  <a:pt x="457" y="169"/>
                  <a:pt x="458" y="168"/>
                </a:cubicBezTo>
                <a:cubicBezTo>
                  <a:pt x="457" y="168"/>
                  <a:pt x="457" y="168"/>
                  <a:pt x="457" y="168"/>
                </a:cubicBezTo>
                <a:cubicBezTo>
                  <a:pt x="457" y="168"/>
                  <a:pt x="456" y="168"/>
                  <a:pt x="456" y="168"/>
                </a:cubicBezTo>
                <a:cubicBezTo>
                  <a:pt x="456" y="168"/>
                  <a:pt x="455" y="169"/>
                  <a:pt x="455" y="169"/>
                </a:cubicBezTo>
                <a:cubicBezTo>
                  <a:pt x="455" y="169"/>
                  <a:pt x="455" y="170"/>
                  <a:pt x="455" y="170"/>
                </a:cubicBezTo>
                <a:cubicBezTo>
                  <a:pt x="455" y="170"/>
                  <a:pt x="455" y="170"/>
                  <a:pt x="455" y="170"/>
                </a:cubicBezTo>
                <a:cubicBezTo>
                  <a:pt x="455" y="170"/>
                  <a:pt x="455" y="170"/>
                  <a:pt x="455" y="170"/>
                </a:cubicBezTo>
                <a:cubicBezTo>
                  <a:pt x="456" y="169"/>
                  <a:pt x="456" y="169"/>
                  <a:pt x="456" y="169"/>
                </a:cubicBezTo>
                <a:cubicBezTo>
                  <a:pt x="456" y="169"/>
                  <a:pt x="456" y="170"/>
                  <a:pt x="456" y="170"/>
                </a:cubicBezTo>
                <a:cubicBezTo>
                  <a:pt x="456" y="170"/>
                  <a:pt x="456" y="170"/>
                  <a:pt x="456" y="170"/>
                </a:cubicBezTo>
                <a:cubicBezTo>
                  <a:pt x="456" y="170"/>
                  <a:pt x="456" y="170"/>
                  <a:pt x="457" y="170"/>
                </a:cubicBezTo>
                <a:close/>
                <a:moveTo>
                  <a:pt x="492" y="178"/>
                </a:moveTo>
                <a:cubicBezTo>
                  <a:pt x="492" y="178"/>
                  <a:pt x="492" y="178"/>
                  <a:pt x="492" y="178"/>
                </a:cubicBezTo>
                <a:cubicBezTo>
                  <a:pt x="492" y="178"/>
                  <a:pt x="492" y="178"/>
                  <a:pt x="492" y="178"/>
                </a:cubicBezTo>
                <a:cubicBezTo>
                  <a:pt x="493" y="178"/>
                  <a:pt x="493" y="178"/>
                  <a:pt x="494" y="178"/>
                </a:cubicBezTo>
                <a:cubicBezTo>
                  <a:pt x="494" y="178"/>
                  <a:pt x="494" y="178"/>
                  <a:pt x="494" y="177"/>
                </a:cubicBezTo>
                <a:cubicBezTo>
                  <a:pt x="494" y="177"/>
                  <a:pt x="494" y="177"/>
                  <a:pt x="494" y="177"/>
                </a:cubicBezTo>
                <a:cubicBezTo>
                  <a:pt x="494" y="177"/>
                  <a:pt x="493" y="177"/>
                  <a:pt x="493" y="177"/>
                </a:cubicBezTo>
                <a:cubicBezTo>
                  <a:pt x="493" y="177"/>
                  <a:pt x="492" y="177"/>
                  <a:pt x="492" y="178"/>
                </a:cubicBezTo>
                <a:close/>
                <a:moveTo>
                  <a:pt x="481" y="135"/>
                </a:moveTo>
                <a:cubicBezTo>
                  <a:pt x="482" y="135"/>
                  <a:pt x="482" y="135"/>
                  <a:pt x="483" y="136"/>
                </a:cubicBezTo>
                <a:cubicBezTo>
                  <a:pt x="483" y="136"/>
                  <a:pt x="484" y="135"/>
                  <a:pt x="484" y="135"/>
                </a:cubicBezTo>
                <a:cubicBezTo>
                  <a:pt x="484" y="135"/>
                  <a:pt x="484" y="136"/>
                  <a:pt x="484" y="136"/>
                </a:cubicBezTo>
                <a:cubicBezTo>
                  <a:pt x="484" y="136"/>
                  <a:pt x="485" y="136"/>
                  <a:pt x="485" y="136"/>
                </a:cubicBezTo>
                <a:cubicBezTo>
                  <a:pt x="485" y="135"/>
                  <a:pt x="486" y="135"/>
                  <a:pt x="486" y="135"/>
                </a:cubicBezTo>
                <a:cubicBezTo>
                  <a:pt x="487" y="135"/>
                  <a:pt x="487" y="134"/>
                  <a:pt x="488" y="134"/>
                </a:cubicBezTo>
                <a:cubicBezTo>
                  <a:pt x="488" y="133"/>
                  <a:pt x="489" y="133"/>
                  <a:pt x="489" y="132"/>
                </a:cubicBezTo>
                <a:cubicBezTo>
                  <a:pt x="490" y="132"/>
                  <a:pt x="490" y="132"/>
                  <a:pt x="491" y="131"/>
                </a:cubicBezTo>
                <a:cubicBezTo>
                  <a:pt x="491" y="131"/>
                  <a:pt x="491" y="131"/>
                  <a:pt x="491" y="131"/>
                </a:cubicBezTo>
                <a:cubicBezTo>
                  <a:pt x="491" y="130"/>
                  <a:pt x="491" y="130"/>
                  <a:pt x="491" y="130"/>
                </a:cubicBezTo>
                <a:cubicBezTo>
                  <a:pt x="491" y="130"/>
                  <a:pt x="491" y="130"/>
                  <a:pt x="491" y="130"/>
                </a:cubicBezTo>
                <a:cubicBezTo>
                  <a:pt x="491" y="130"/>
                  <a:pt x="492" y="130"/>
                  <a:pt x="492" y="130"/>
                </a:cubicBezTo>
                <a:cubicBezTo>
                  <a:pt x="493" y="129"/>
                  <a:pt x="493" y="129"/>
                  <a:pt x="493" y="128"/>
                </a:cubicBezTo>
                <a:cubicBezTo>
                  <a:pt x="494" y="128"/>
                  <a:pt x="495" y="127"/>
                  <a:pt x="495" y="127"/>
                </a:cubicBezTo>
                <a:cubicBezTo>
                  <a:pt x="495" y="127"/>
                  <a:pt x="495" y="126"/>
                  <a:pt x="495" y="126"/>
                </a:cubicBezTo>
                <a:cubicBezTo>
                  <a:pt x="496" y="126"/>
                  <a:pt x="496" y="126"/>
                  <a:pt x="496" y="126"/>
                </a:cubicBezTo>
                <a:cubicBezTo>
                  <a:pt x="496" y="126"/>
                  <a:pt x="497" y="125"/>
                  <a:pt x="497" y="125"/>
                </a:cubicBezTo>
                <a:cubicBezTo>
                  <a:pt x="497" y="125"/>
                  <a:pt x="498" y="124"/>
                  <a:pt x="498" y="124"/>
                </a:cubicBezTo>
                <a:cubicBezTo>
                  <a:pt x="499" y="123"/>
                  <a:pt x="499" y="123"/>
                  <a:pt x="499" y="123"/>
                </a:cubicBezTo>
                <a:cubicBezTo>
                  <a:pt x="499" y="123"/>
                  <a:pt x="499" y="123"/>
                  <a:pt x="499" y="123"/>
                </a:cubicBezTo>
                <a:cubicBezTo>
                  <a:pt x="499" y="123"/>
                  <a:pt x="500" y="123"/>
                  <a:pt x="500" y="123"/>
                </a:cubicBezTo>
                <a:cubicBezTo>
                  <a:pt x="500" y="122"/>
                  <a:pt x="500" y="122"/>
                  <a:pt x="499" y="122"/>
                </a:cubicBezTo>
                <a:cubicBezTo>
                  <a:pt x="499" y="122"/>
                  <a:pt x="499" y="122"/>
                  <a:pt x="499" y="122"/>
                </a:cubicBezTo>
                <a:cubicBezTo>
                  <a:pt x="499" y="122"/>
                  <a:pt x="498" y="122"/>
                  <a:pt x="498" y="121"/>
                </a:cubicBezTo>
                <a:cubicBezTo>
                  <a:pt x="498" y="121"/>
                  <a:pt x="497" y="121"/>
                  <a:pt x="497" y="121"/>
                </a:cubicBezTo>
                <a:cubicBezTo>
                  <a:pt x="496" y="121"/>
                  <a:pt x="495" y="121"/>
                  <a:pt x="494" y="122"/>
                </a:cubicBezTo>
                <a:cubicBezTo>
                  <a:pt x="493" y="122"/>
                  <a:pt x="493" y="122"/>
                  <a:pt x="492" y="122"/>
                </a:cubicBezTo>
                <a:cubicBezTo>
                  <a:pt x="492" y="122"/>
                  <a:pt x="492" y="122"/>
                  <a:pt x="491" y="122"/>
                </a:cubicBezTo>
                <a:cubicBezTo>
                  <a:pt x="491" y="122"/>
                  <a:pt x="491" y="122"/>
                  <a:pt x="491" y="122"/>
                </a:cubicBezTo>
                <a:cubicBezTo>
                  <a:pt x="491" y="122"/>
                  <a:pt x="491" y="122"/>
                  <a:pt x="491" y="122"/>
                </a:cubicBezTo>
                <a:cubicBezTo>
                  <a:pt x="491" y="121"/>
                  <a:pt x="490" y="121"/>
                  <a:pt x="490" y="121"/>
                </a:cubicBezTo>
                <a:cubicBezTo>
                  <a:pt x="490" y="121"/>
                  <a:pt x="490" y="121"/>
                  <a:pt x="490" y="121"/>
                </a:cubicBezTo>
                <a:cubicBezTo>
                  <a:pt x="489" y="121"/>
                  <a:pt x="489" y="121"/>
                  <a:pt x="489" y="121"/>
                </a:cubicBezTo>
                <a:cubicBezTo>
                  <a:pt x="489" y="121"/>
                  <a:pt x="488" y="121"/>
                  <a:pt x="488" y="121"/>
                </a:cubicBezTo>
                <a:cubicBezTo>
                  <a:pt x="488" y="121"/>
                  <a:pt x="487" y="121"/>
                  <a:pt x="487" y="120"/>
                </a:cubicBezTo>
                <a:cubicBezTo>
                  <a:pt x="487" y="121"/>
                  <a:pt x="486" y="121"/>
                  <a:pt x="486" y="121"/>
                </a:cubicBezTo>
                <a:cubicBezTo>
                  <a:pt x="485" y="121"/>
                  <a:pt x="485" y="121"/>
                  <a:pt x="485" y="121"/>
                </a:cubicBezTo>
                <a:cubicBezTo>
                  <a:pt x="485" y="121"/>
                  <a:pt x="485" y="121"/>
                  <a:pt x="484" y="121"/>
                </a:cubicBezTo>
                <a:cubicBezTo>
                  <a:pt x="484" y="121"/>
                  <a:pt x="484" y="121"/>
                  <a:pt x="483" y="121"/>
                </a:cubicBezTo>
                <a:cubicBezTo>
                  <a:pt x="483" y="121"/>
                  <a:pt x="483" y="121"/>
                  <a:pt x="483" y="121"/>
                </a:cubicBezTo>
                <a:cubicBezTo>
                  <a:pt x="482" y="121"/>
                  <a:pt x="482" y="121"/>
                  <a:pt x="482" y="122"/>
                </a:cubicBezTo>
                <a:cubicBezTo>
                  <a:pt x="481" y="122"/>
                  <a:pt x="481" y="122"/>
                  <a:pt x="480" y="122"/>
                </a:cubicBezTo>
                <a:cubicBezTo>
                  <a:pt x="479" y="122"/>
                  <a:pt x="478" y="123"/>
                  <a:pt x="478" y="123"/>
                </a:cubicBezTo>
                <a:cubicBezTo>
                  <a:pt x="477" y="123"/>
                  <a:pt x="477" y="124"/>
                  <a:pt x="477" y="124"/>
                </a:cubicBezTo>
                <a:cubicBezTo>
                  <a:pt x="477" y="124"/>
                  <a:pt x="478" y="124"/>
                  <a:pt x="478" y="125"/>
                </a:cubicBezTo>
                <a:cubicBezTo>
                  <a:pt x="478" y="125"/>
                  <a:pt x="477" y="125"/>
                  <a:pt x="477" y="125"/>
                </a:cubicBezTo>
                <a:cubicBezTo>
                  <a:pt x="477" y="125"/>
                  <a:pt x="477" y="125"/>
                  <a:pt x="477" y="125"/>
                </a:cubicBezTo>
                <a:cubicBezTo>
                  <a:pt x="477" y="125"/>
                  <a:pt x="478" y="126"/>
                  <a:pt x="478" y="126"/>
                </a:cubicBezTo>
                <a:cubicBezTo>
                  <a:pt x="478" y="126"/>
                  <a:pt x="478" y="126"/>
                  <a:pt x="479" y="126"/>
                </a:cubicBezTo>
                <a:cubicBezTo>
                  <a:pt x="478" y="127"/>
                  <a:pt x="478" y="127"/>
                  <a:pt x="477" y="127"/>
                </a:cubicBezTo>
                <a:cubicBezTo>
                  <a:pt x="477" y="126"/>
                  <a:pt x="477" y="126"/>
                  <a:pt x="477" y="126"/>
                </a:cubicBezTo>
                <a:cubicBezTo>
                  <a:pt x="476" y="126"/>
                  <a:pt x="476" y="126"/>
                  <a:pt x="476" y="125"/>
                </a:cubicBezTo>
                <a:cubicBezTo>
                  <a:pt x="475" y="125"/>
                  <a:pt x="475" y="125"/>
                  <a:pt x="475" y="125"/>
                </a:cubicBezTo>
                <a:cubicBezTo>
                  <a:pt x="475" y="126"/>
                  <a:pt x="474" y="126"/>
                  <a:pt x="474" y="127"/>
                </a:cubicBezTo>
                <a:cubicBezTo>
                  <a:pt x="474" y="127"/>
                  <a:pt x="474" y="127"/>
                  <a:pt x="475" y="127"/>
                </a:cubicBezTo>
                <a:cubicBezTo>
                  <a:pt x="475" y="127"/>
                  <a:pt x="475" y="127"/>
                  <a:pt x="475" y="127"/>
                </a:cubicBezTo>
                <a:cubicBezTo>
                  <a:pt x="474" y="127"/>
                  <a:pt x="474" y="127"/>
                  <a:pt x="474" y="128"/>
                </a:cubicBezTo>
                <a:cubicBezTo>
                  <a:pt x="474" y="128"/>
                  <a:pt x="474" y="128"/>
                  <a:pt x="474" y="129"/>
                </a:cubicBezTo>
                <a:cubicBezTo>
                  <a:pt x="473" y="129"/>
                  <a:pt x="473" y="130"/>
                  <a:pt x="472" y="130"/>
                </a:cubicBezTo>
                <a:cubicBezTo>
                  <a:pt x="472" y="130"/>
                  <a:pt x="472" y="131"/>
                  <a:pt x="472" y="131"/>
                </a:cubicBezTo>
                <a:cubicBezTo>
                  <a:pt x="472" y="131"/>
                  <a:pt x="472" y="131"/>
                  <a:pt x="472" y="131"/>
                </a:cubicBezTo>
                <a:cubicBezTo>
                  <a:pt x="472" y="132"/>
                  <a:pt x="472" y="132"/>
                  <a:pt x="472" y="132"/>
                </a:cubicBezTo>
                <a:cubicBezTo>
                  <a:pt x="471" y="132"/>
                  <a:pt x="471" y="133"/>
                  <a:pt x="471" y="133"/>
                </a:cubicBezTo>
                <a:cubicBezTo>
                  <a:pt x="471" y="133"/>
                  <a:pt x="471" y="133"/>
                  <a:pt x="471" y="134"/>
                </a:cubicBezTo>
                <a:cubicBezTo>
                  <a:pt x="471" y="134"/>
                  <a:pt x="471" y="134"/>
                  <a:pt x="470" y="134"/>
                </a:cubicBezTo>
                <a:cubicBezTo>
                  <a:pt x="470" y="135"/>
                  <a:pt x="470" y="135"/>
                  <a:pt x="470" y="136"/>
                </a:cubicBezTo>
                <a:cubicBezTo>
                  <a:pt x="470" y="136"/>
                  <a:pt x="470" y="136"/>
                  <a:pt x="470" y="137"/>
                </a:cubicBezTo>
                <a:cubicBezTo>
                  <a:pt x="470" y="137"/>
                  <a:pt x="469" y="137"/>
                  <a:pt x="469" y="137"/>
                </a:cubicBezTo>
                <a:cubicBezTo>
                  <a:pt x="470" y="137"/>
                  <a:pt x="470" y="137"/>
                  <a:pt x="470" y="137"/>
                </a:cubicBezTo>
                <a:cubicBezTo>
                  <a:pt x="470" y="138"/>
                  <a:pt x="470" y="138"/>
                  <a:pt x="470" y="138"/>
                </a:cubicBezTo>
                <a:cubicBezTo>
                  <a:pt x="470" y="138"/>
                  <a:pt x="470" y="138"/>
                  <a:pt x="470" y="138"/>
                </a:cubicBezTo>
                <a:cubicBezTo>
                  <a:pt x="470" y="138"/>
                  <a:pt x="470" y="139"/>
                  <a:pt x="470" y="139"/>
                </a:cubicBezTo>
                <a:cubicBezTo>
                  <a:pt x="470" y="139"/>
                  <a:pt x="470" y="140"/>
                  <a:pt x="470" y="140"/>
                </a:cubicBezTo>
                <a:cubicBezTo>
                  <a:pt x="469" y="141"/>
                  <a:pt x="469" y="141"/>
                  <a:pt x="469" y="142"/>
                </a:cubicBezTo>
                <a:cubicBezTo>
                  <a:pt x="469" y="142"/>
                  <a:pt x="469" y="142"/>
                  <a:pt x="469" y="142"/>
                </a:cubicBezTo>
                <a:cubicBezTo>
                  <a:pt x="469" y="142"/>
                  <a:pt x="470" y="142"/>
                  <a:pt x="470" y="142"/>
                </a:cubicBezTo>
                <a:cubicBezTo>
                  <a:pt x="470" y="142"/>
                  <a:pt x="470" y="142"/>
                  <a:pt x="470" y="142"/>
                </a:cubicBezTo>
                <a:cubicBezTo>
                  <a:pt x="470" y="142"/>
                  <a:pt x="470" y="142"/>
                  <a:pt x="470" y="142"/>
                </a:cubicBezTo>
                <a:cubicBezTo>
                  <a:pt x="470" y="142"/>
                  <a:pt x="470" y="142"/>
                  <a:pt x="469" y="142"/>
                </a:cubicBezTo>
                <a:cubicBezTo>
                  <a:pt x="469" y="142"/>
                  <a:pt x="469" y="143"/>
                  <a:pt x="468" y="143"/>
                </a:cubicBezTo>
                <a:cubicBezTo>
                  <a:pt x="468" y="143"/>
                  <a:pt x="468" y="143"/>
                  <a:pt x="468" y="144"/>
                </a:cubicBezTo>
                <a:cubicBezTo>
                  <a:pt x="469" y="144"/>
                  <a:pt x="469" y="143"/>
                  <a:pt x="470" y="143"/>
                </a:cubicBezTo>
                <a:cubicBezTo>
                  <a:pt x="470" y="143"/>
                  <a:pt x="470" y="143"/>
                  <a:pt x="471" y="143"/>
                </a:cubicBezTo>
                <a:cubicBezTo>
                  <a:pt x="471" y="143"/>
                  <a:pt x="472" y="143"/>
                  <a:pt x="473" y="143"/>
                </a:cubicBezTo>
                <a:cubicBezTo>
                  <a:pt x="473" y="143"/>
                  <a:pt x="473" y="143"/>
                  <a:pt x="473" y="143"/>
                </a:cubicBezTo>
                <a:cubicBezTo>
                  <a:pt x="473" y="143"/>
                  <a:pt x="473" y="143"/>
                  <a:pt x="473" y="142"/>
                </a:cubicBezTo>
                <a:cubicBezTo>
                  <a:pt x="473" y="142"/>
                  <a:pt x="473" y="142"/>
                  <a:pt x="474" y="142"/>
                </a:cubicBezTo>
                <a:cubicBezTo>
                  <a:pt x="474" y="142"/>
                  <a:pt x="474" y="142"/>
                  <a:pt x="474" y="142"/>
                </a:cubicBezTo>
                <a:cubicBezTo>
                  <a:pt x="475" y="141"/>
                  <a:pt x="475" y="141"/>
                  <a:pt x="475" y="141"/>
                </a:cubicBezTo>
                <a:cubicBezTo>
                  <a:pt x="475" y="141"/>
                  <a:pt x="475" y="140"/>
                  <a:pt x="475" y="140"/>
                </a:cubicBezTo>
                <a:cubicBezTo>
                  <a:pt x="476" y="140"/>
                  <a:pt x="476" y="140"/>
                  <a:pt x="477" y="140"/>
                </a:cubicBezTo>
                <a:cubicBezTo>
                  <a:pt x="477" y="140"/>
                  <a:pt x="477" y="140"/>
                  <a:pt x="477" y="139"/>
                </a:cubicBezTo>
                <a:cubicBezTo>
                  <a:pt x="477" y="139"/>
                  <a:pt x="478" y="139"/>
                  <a:pt x="478" y="139"/>
                </a:cubicBezTo>
                <a:cubicBezTo>
                  <a:pt x="478" y="139"/>
                  <a:pt x="478" y="138"/>
                  <a:pt x="478" y="138"/>
                </a:cubicBezTo>
                <a:cubicBezTo>
                  <a:pt x="478" y="138"/>
                  <a:pt x="478" y="138"/>
                  <a:pt x="478" y="137"/>
                </a:cubicBezTo>
                <a:cubicBezTo>
                  <a:pt x="478" y="137"/>
                  <a:pt x="477" y="137"/>
                  <a:pt x="477" y="137"/>
                </a:cubicBezTo>
                <a:cubicBezTo>
                  <a:pt x="477" y="137"/>
                  <a:pt x="478" y="137"/>
                  <a:pt x="478" y="136"/>
                </a:cubicBezTo>
                <a:cubicBezTo>
                  <a:pt x="478" y="136"/>
                  <a:pt x="478" y="136"/>
                  <a:pt x="478" y="136"/>
                </a:cubicBezTo>
                <a:cubicBezTo>
                  <a:pt x="477" y="136"/>
                  <a:pt x="477" y="136"/>
                  <a:pt x="476" y="136"/>
                </a:cubicBezTo>
                <a:cubicBezTo>
                  <a:pt x="476" y="136"/>
                  <a:pt x="476" y="136"/>
                  <a:pt x="475" y="136"/>
                </a:cubicBezTo>
                <a:cubicBezTo>
                  <a:pt x="475" y="136"/>
                  <a:pt x="475" y="136"/>
                  <a:pt x="475" y="135"/>
                </a:cubicBezTo>
                <a:cubicBezTo>
                  <a:pt x="476" y="135"/>
                  <a:pt x="476" y="135"/>
                  <a:pt x="476" y="135"/>
                </a:cubicBezTo>
                <a:cubicBezTo>
                  <a:pt x="477" y="135"/>
                  <a:pt x="477" y="135"/>
                  <a:pt x="477" y="135"/>
                </a:cubicBezTo>
                <a:cubicBezTo>
                  <a:pt x="478" y="135"/>
                  <a:pt x="478" y="135"/>
                  <a:pt x="478" y="135"/>
                </a:cubicBezTo>
                <a:cubicBezTo>
                  <a:pt x="479" y="135"/>
                  <a:pt x="479" y="135"/>
                  <a:pt x="479" y="135"/>
                </a:cubicBezTo>
                <a:cubicBezTo>
                  <a:pt x="480" y="135"/>
                  <a:pt x="480" y="135"/>
                  <a:pt x="480" y="135"/>
                </a:cubicBezTo>
                <a:cubicBezTo>
                  <a:pt x="480" y="135"/>
                  <a:pt x="481" y="135"/>
                  <a:pt x="481" y="135"/>
                </a:cubicBezTo>
                <a:cubicBezTo>
                  <a:pt x="481" y="135"/>
                  <a:pt x="481" y="135"/>
                  <a:pt x="481" y="135"/>
                </a:cubicBezTo>
                <a:close/>
                <a:moveTo>
                  <a:pt x="451" y="130"/>
                </a:moveTo>
                <a:cubicBezTo>
                  <a:pt x="451" y="130"/>
                  <a:pt x="451" y="130"/>
                  <a:pt x="452" y="130"/>
                </a:cubicBezTo>
                <a:cubicBezTo>
                  <a:pt x="452" y="130"/>
                  <a:pt x="452" y="131"/>
                  <a:pt x="452" y="131"/>
                </a:cubicBezTo>
                <a:cubicBezTo>
                  <a:pt x="452" y="131"/>
                  <a:pt x="452" y="131"/>
                  <a:pt x="452" y="131"/>
                </a:cubicBezTo>
                <a:cubicBezTo>
                  <a:pt x="451" y="131"/>
                  <a:pt x="451" y="132"/>
                  <a:pt x="451" y="132"/>
                </a:cubicBezTo>
                <a:cubicBezTo>
                  <a:pt x="451" y="132"/>
                  <a:pt x="451" y="132"/>
                  <a:pt x="451" y="132"/>
                </a:cubicBezTo>
                <a:cubicBezTo>
                  <a:pt x="451" y="132"/>
                  <a:pt x="451" y="131"/>
                  <a:pt x="450" y="131"/>
                </a:cubicBezTo>
                <a:cubicBezTo>
                  <a:pt x="450" y="131"/>
                  <a:pt x="450" y="130"/>
                  <a:pt x="450" y="130"/>
                </a:cubicBezTo>
                <a:cubicBezTo>
                  <a:pt x="449" y="130"/>
                  <a:pt x="449" y="130"/>
                  <a:pt x="449" y="130"/>
                </a:cubicBezTo>
                <a:cubicBezTo>
                  <a:pt x="449" y="130"/>
                  <a:pt x="449" y="131"/>
                  <a:pt x="449" y="131"/>
                </a:cubicBezTo>
                <a:cubicBezTo>
                  <a:pt x="448" y="131"/>
                  <a:pt x="448" y="131"/>
                  <a:pt x="448" y="131"/>
                </a:cubicBezTo>
                <a:cubicBezTo>
                  <a:pt x="447" y="131"/>
                  <a:pt x="447" y="131"/>
                  <a:pt x="447" y="132"/>
                </a:cubicBezTo>
                <a:cubicBezTo>
                  <a:pt x="447" y="132"/>
                  <a:pt x="447" y="132"/>
                  <a:pt x="447" y="132"/>
                </a:cubicBezTo>
                <a:cubicBezTo>
                  <a:pt x="448" y="133"/>
                  <a:pt x="448" y="133"/>
                  <a:pt x="448" y="133"/>
                </a:cubicBezTo>
                <a:cubicBezTo>
                  <a:pt x="449" y="133"/>
                  <a:pt x="449" y="133"/>
                  <a:pt x="449" y="133"/>
                </a:cubicBezTo>
                <a:cubicBezTo>
                  <a:pt x="449" y="134"/>
                  <a:pt x="449" y="134"/>
                  <a:pt x="450" y="134"/>
                </a:cubicBezTo>
                <a:cubicBezTo>
                  <a:pt x="450" y="134"/>
                  <a:pt x="451" y="134"/>
                  <a:pt x="451" y="134"/>
                </a:cubicBezTo>
                <a:cubicBezTo>
                  <a:pt x="451" y="133"/>
                  <a:pt x="451" y="133"/>
                  <a:pt x="452" y="133"/>
                </a:cubicBezTo>
                <a:cubicBezTo>
                  <a:pt x="452" y="133"/>
                  <a:pt x="452" y="133"/>
                  <a:pt x="452" y="133"/>
                </a:cubicBezTo>
                <a:cubicBezTo>
                  <a:pt x="452" y="133"/>
                  <a:pt x="452" y="133"/>
                  <a:pt x="452" y="133"/>
                </a:cubicBezTo>
                <a:cubicBezTo>
                  <a:pt x="453" y="134"/>
                  <a:pt x="453" y="134"/>
                  <a:pt x="453" y="134"/>
                </a:cubicBezTo>
                <a:cubicBezTo>
                  <a:pt x="453" y="134"/>
                  <a:pt x="454" y="134"/>
                  <a:pt x="454" y="134"/>
                </a:cubicBezTo>
                <a:cubicBezTo>
                  <a:pt x="453" y="134"/>
                  <a:pt x="453" y="135"/>
                  <a:pt x="453" y="135"/>
                </a:cubicBezTo>
                <a:cubicBezTo>
                  <a:pt x="453" y="134"/>
                  <a:pt x="452" y="134"/>
                  <a:pt x="452" y="134"/>
                </a:cubicBezTo>
                <a:cubicBezTo>
                  <a:pt x="452" y="134"/>
                  <a:pt x="452" y="134"/>
                  <a:pt x="451" y="134"/>
                </a:cubicBezTo>
                <a:cubicBezTo>
                  <a:pt x="451" y="134"/>
                  <a:pt x="451" y="134"/>
                  <a:pt x="450" y="134"/>
                </a:cubicBezTo>
                <a:cubicBezTo>
                  <a:pt x="450" y="135"/>
                  <a:pt x="450" y="135"/>
                  <a:pt x="450" y="135"/>
                </a:cubicBezTo>
                <a:cubicBezTo>
                  <a:pt x="450" y="135"/>
                  <a:pt x="450" y="135"/>
                  <a:pt x="450" y="135"/>
                </a:cubicBezTo>
                <a:cubicBezTo>
                  <a:pt x="450" y="136"/>
                  <a:pt x="450" y="136"/>
                  <a:pt x="450" y="136"/>
                </a:cubicBezTo>
                <a:cubicBezTo>
                  <a:pt x="450" y="136"/>
                  <a:pt x="450" y="136"/>
                  <a:pt x="450" y="137"/>
                </a:cubicBezTo>
                <a:cubicBezTo>
                  <a:pt x="450" y="137"/>
                  <a:pt x="450" y="137"/>
                  <a:pt x="450" y="137"/>
                </a:cubicBezTo>
                <a:cubicBezTo>
                  <a:pt x="450" y="137"/>
                  <a:pt x="450" y="138"/>
                  <a:pt x="450" y="138"/>
                </a:cubicBezTo>
                <a:cubicBezTo>
                  <a:pt x="449" y="138"/>
                  <a:pt x="449" y="138"/>
                  <a:pt x="449" y="138"/>
                </a:cubicBezTo>
                <a:cubicBezTo>
                  <a:pt x="449" y="139"/>
                  <a:pt x="449" y="139"/>
                  <a:pt x="449" y="139"/>
                </a:cubicBezTo>
                <a:cubicBezTo>
                  <a:pt x="449" y="139"/>
                  <a:pt x="449" y="139"/>
                  <a:pt x="449" y="139"/>
                </a:cubicBezTo>
                <a:cubicBezTo>
                  <a:pt x="449" y="139"/>
                  <a:pt x="448" y="139"/>
                  <a:pt x="448" y="139"/>
                </a:cubicBezTo>
                <a:cubicBezTo>
                  <a:pt x="448" y="139"/>
                  <a:pt x="447" y="139"/>
                  <a:pt x="447" y="139"/>
                </a:cubicBezTo>
                <a:cubicBezTo>
                  <a:pt x="447" y="139"/>
                  <a:pt x="447" y="139"/>
                  <a:pt x="447" y="138"/>
                </a:cubicBezTo>
                <a:cubicBezTo>
                  <a:pt x="446" y="138"/>
                  <a:pt x="446" y="138"/>
                  <a:pt x="445" y="138"/>
                </a:cubicBezTo>
                <a:cubicBezTo>
                  <a:pt x="445" y="138"/>
                  <a:pt x="445" y="137"/>
                  <a:pt x="445" y="137"/>
                </a:cubicBezTo>
                <a:cubicBezTo>
                  <a:pt x="445" y="137"/>
                  <a:pt x="445" y="137"/>
                  <a:pt x="445" y="137"/>
                </a:cubicBezTo>
                <a:cubicBezTo>
                  <a:pt x="444" y="137"/>
                  <a:pt x="444" y="137"/>
                  <a:pt x="444" y="137"/>
                </a:cubicBezTo>
                <a:cubicBezTo>
                  <a:pt x="444" y="137"/>
                  <a:pt x="444" y="137"/>
                  <a:pt x="444" y="137"/>
                </a:cubicBezTo>
                <a:cubicBezTo>
                  <a:pt x="444" y="137"/>
                  <a:pt x="444" y="136"/>
                  <a:pt x="444" y="136"/>
                </a:cubicBezTo>
                <a:cubicBezTo>
                  <a:pt x="444" y="136"/>
                  <a:pt x="444" y="136"/>
                  <a:pt x="444" y="136"/>
                </a:cubicBezTo>
                <a:cubicBezTo>
                  <a:pt x="444" y="136"/>
                  <a:pt x="444" y="136"/>
                  <a:pt x="444" y="136"/>
                </a:cubicBezTo>
                <a:cubicBezTo>
                  <a:pt x="444" y="136"/>
                  <a:pt x="443" y="136"/>
                  <a:pt x="443" y="136"/>
                </a:cubicBezTo>
                <a:cubicBezTo>
                  <a:pt x="442" y="136"/>
                  <a:pt x="442" y="136"/>
                  <a:pt x="441" y="136"/>
                </a:cubicBezTo>
                <a:cubicBezTo>
                  <a:pt x="441" y="136"/>
                  <a:pt x="441" y="136"/>
                  <a:pt x="441" y="136"/>
                </a:cubicBezTo>
                <a:cubicBezTo>
                  <a:pt x="441" y="136"/>
                  <a:pt x="440" y="136"/>
                  <a:pt x="440" y="136"/>
                </a:cubicBezTo>
                <a:cubicBezTo>
                  <a:pt x="440" y="137"/>
                  <a:pt x="440" y="137"/>
                  <a:pt x="440" y="137"/>
                </a:cubicBezTo>
                <a:cubicBezTo>
                  <a:pt x="439" y="137"/>
                  <a:pt x="439" y="137"/>
                  <a:pt x="439" y="138"/>
                </a:cubicBezTo>
                <a:cubicBezTo>
                  <a:pt x="438" y="138"/>
                  <a:pt x="438" y="139"/>
                  <a:pt x="438" y="139"/>
                </a:cubicBezTo>
                <a:cubicBezTo>
                  <a:pt x="438" y="139"/>
                  <a:pt x="438" y="139"/>
                  <a:pt x="438" y="139"/>
                </a:cubicBezTo>
                <a:cubicBezTo>
                  <a:pt x="438" y="140"/>
                  <a:pt x="438" y="140"/>
                  <a:pt x="439" y="141"/>
                </a:cubicBezTo>
                <a:cubicBezTo>
                  <a:pt x="438" y="141"/>
                  <a:pt x="438" y="141"/>
                  <a:pt x="438" y="141"/>
                </a:cubicBezTo>
                <a:cubicBezTo>
                  <a:pt x="439" y="141"/>
                  <a:pt x="439" y="141"/>
                  <a:pt x="439" y="141"/>
                </a:cubicBezTo>
                <a:cubicBezTo>
                  <a:pt x="439" y="142"/>
                  <a:pt x="439" y="142"/>
                  <a:pt x="439" y="143"/>
                </a:cubicBezTo>
                <a:cubicBezTo>
                  <a:pt x="439" y="143"/>
                  <a:pt x="438" y="143"/>
                  <a:pt x="438" y="143"/>
                </a:cubicBezTo>
                <a:cubicBezTo>
                  <a:pt x="438" y="143"/>
                  <a:pt x="438" y="144"/>
                  <a:pt x="438" y="144"/>
                </a:cubicBezTo>
                <a:cubicBezTo>
                  <a:pt x="439" y="144"/>
                  <a:pt x="439" y="144"/>
                  <a:pt x="439" y="144"/>
                </a:cubicBezTo>
                <a:cubicBezTo>
                  <a:pt x="439" y="144"/>
                  <a:pt x="439" y="144"/>
                  <a:pt x="440" y="144"/>
                </a:cubicBezTo>
                <a:cubicBezTo>
                  <a:pt x="440" y="144"/>
                  <a:pt x="440" y="144"/>
                  <a:pt x="440" y="144"/>
                </a:cubicBezTo>
                <a:cubicBezTo>
                  <a:pt x="441" y="144"/>
                  <a:pt x="441" y="144"/>
                  <a:pt x="441" y="143"/>
                </a:cubicBezTo>
                <a:cubicBezTo>
                  <a:pt x="441" y="143"/>
                  <a:pt x="442" y="143"/>
                  <a:pt x="442" y="144"/>
                </a:cubicBezTo>
                <a:cubicBezTo>
                  <a:pt x="442" y="144"/>
                  <a:pt x="442" y="144"/>
                  <a:pt x="442" y="144"/>
                </a:cubicBezTo>
                <a:cubicBezTo>
                  <a:pt x="442" y="144"/>
                  <a:pt x="442" y="144"/>
                  <a:pt x="442" y="145"/>
                </a:cubicBezTo>
                <a:cubicBezTo>
                  <a:pt x="443" y="145"/>
                  <a:pt x="443" y="144"/>
                  <a:pt x="443" y="144"/>
                </a:cubicBezTo>
                <a:cubicBezTo>
                  <a:pt x="443" y="145"/>
                  <a:pt x="444" y="145"/>
                  <a:pt x="444" y="145"/>
                </a:cubicBezTo>
                <a:cubicBezTo>
                  <a:pt x="444" y="145"/>
                  <a:pt x="444" y="146"/>
                  <a:pt x="444" y="146"/>
                </a:cubicBezTo>
                <a:cubicBezTo>
                  <a:pt x="445" y="146"/>
                  <a:pt x="445" y="147"/>
                  <a:pt x="445" y="147"/>
                </a:cubicBezTo>
                <a:cubicBezTo>
                  <a:pt x="445" y="147"/>
                  <a:pt x="445" y="147"/>
                  <a:pt x="446" y="147"/>
                </a:cubicBezTo>
                <a:cubicBezTo>
                  <a:pt x="446" y="147"/>
                  <a:pt x="446" y="148"/>
                  <a:pt x="446" y="148"/>
                </a:cubicBezTo>
                <a:cubicBezTo>
                  <a:pt x="447" y="148"/>
                  <a:pt x="447" y="148"/>
                  <a:pt x="447" y="148"/>
                </a:cubicBezTo>
                <a:cubicBezTo>
                  <a:pt x="447" y="148"/>
                  <a:pt x="447" y="148"/>
                  <a:pt x="447" y="148"/>
                </a:cubicBezTo>
                <a:cubicBezTo>
                  <a:pt x="447" y="149"/>
                  <a:pt x="447" y="149"/>
                  <a:pt x="447" y="149"/>
                </a:cubicBezTo>
                <a:cubicBezTo>
                  <a:pt x="447" y="150"/>
                  <a:pt x="447" y="150"/>
                  <a:pt x="447" y="150"/>
                </a:cubicBezTo>
                <a:cubicBezTo>
                  <a:pt x="447" y="150"/>
                  <a:pt x="448" y="150"/>
                  <a:pt x="448" y="151"/>
                </a:cubicBezTo>
                <a:cubicBezTo>
                  <a:pt x="448" y="151"/>
                  <a:pt x="448" y="151"/>
                  <a:pt x="448" y="151"/>
                </a:cubicBezTo>
                <a:cubicBezTo>
                  <a:pt x="448" y="152"/>
                  <a:pt x="448" y="152"/>
                  <a:pt x="448" y="152"/>
                </a:cubicBezTo>
                <a:cubicBezTo>
                  <a:pt x="448" y="152"/>
                  <a:pt x="448" y="152"/>
                  <a:pt x="449" y="152"/>
                </a:cubicBezTo>
                <a:cubicBezTo>
                  <a:pt x="449" y="152"/>
                  <a:pt x="449" y="152"/>
                  <a:pt x="449" y="152"/>
                </a:cubicBezTo>
                <a:cubicBezTo>
                  <a:pt x="449" y="152"/>
                  <a:pt x="450" y="152"/>
                  <a:pt x="450" y="152"/>
                </a:cubicBezTo>
                <a:cubicBezTo>
                  <a:pt x="450" y="152"/>
                  <a:pt x="450" y="153"/>
                  <a:pt x="450" y="153"/>
                </a:cubicBezTo>
                <a:cubicBezTo>
                  <a:pt x="450" y="153"/>
                  <a:pt x="451" y="153"/>
                  <a:pt x="451" y="153"/>
                </a:cubicBezTo>
                <a:cubicBezTo>
                  <a:pt x="451" y="153"/>
                  <a:pt x="452" y="152"/>
                  <a:pt x="452" y="152"/>
                </a:cubicBezTo>
                <a:cubicBezTo>
                  <a:pt x="452" y="152"/>
                  <a:pt x="453" y="152"/>
                  <a:pt x="453" y="151"/>
                </a:cubicBezTo>
                <a:cubicBezTo>
                  <a:pt x="453" y="151"/>
                  <a:pt x="453" y="151"/>
                  <a:pt x="454" y="151"/>
                </a:cubicBezTo>
                <a:cubicBezTo>
                  <a:pt x="454" y="150"/>
                  <a:pt x="454" y="150"/>
                  <a:pt x="454" y="150"/>
                </a:cubicBezTo>
                <a:cubicBezTo>
                  <a:pt x="454" y="150"/>
                  <a:pt x="454" y="150"/>
                  <a:pt x="453" y="150"/>
                </a:cubicBezTo>
                <a:cubicBezTo>
                  <a:pt x="453" y="149"/>
                  <a:pt x="452" y="149"/>
                  <a:pt x="452" y="148"/>
                </a:cubicBezTo>
                <a:cubicBezTo>
                  <a:pt x="452" y="148"/>
                  <a:pt x="452" y="148"/>
                  <a:pt x="452" y="148"/>
                </a:cubicBezTo>
                <a:cubicBezTo>
                  <a:pt x="453" y="147"/>
                  <a:pt x="453" y="147"/>
                  <a:pt x="454" y="146"/>
                </a:cubicBezTo>
                <a:cubicBezTo>
                  <a:pt x="454" y="146"/>
                  <a:pt x="454" y="147"/>
                  <a:pt x="454" y="147"/>
                </a:cubicBezTo>
                <a:cubicBezTo>
                  <a:pt x="453" y="147"/>
                  <a:pt x="453" y="147"/>
                  <a:pt x="453" y="148"/>
                </a:cubicBezTo>
                <a:cubicBezTo>
                  <a:pt x="453" y="148"/>
                  <a:pt x="454" y="149"/>
                  <a:pt x="454" y="149"/>
                </a:cubicBezTo>
                <a:cubicBezTo>
                  <a:pt x="454" y="149"/>
                  <a:pt x="454" y="149"/>
                  <a:pt x="455" y="149"/>
                </a:cubicBezTo>
                <a:cubicBezTo>
                  <a:pt x="455" y="149"/>
                  <a:pt x="455" y="149"/>
                  <a:pt x="456" y="148"/>
                </a:cubicBezTo>
                <a:cubicBezTo>
                  <a:pt x="456" y="148"/>
                  <a:pt x="457" y="149"/>
                  <a:pt x="457" y="149"/>
                </a:cubicBezTo>
                <a:cubicBezTo>
                  <a:pt x="458" y="148"/>
                  <a:pt x="458" y="148"/>
                  <a:pt x="459" y="148"/>
                </a:cubicBezTo>
                <a:cubicBezTo>
                  <a:pt x="459" y="148"/>
                  <a:pt x="459" y="148"/>
                  <a:pt x="459" y="147"/>
                </a:cubicBezTo>
                <a:cubicBezTo>
                  <a:pt x="459" y="147"/>
                  <a:pt x="459" y="147"/>
                  <a:pt x="460" y="147"/>
                </a:cubicBezTo>
                <a:cubicBezTo>
                  <a:pt x="460" y="147"/>
                  <a:pt x="461" y="146"/>
                  <a:pt x="461" y="146"/>
                </a:cubicBezTo>
                <a:cubicBezTo>
                  <a:pt x="461" y="146"/>
                  <a:pt x="461" y="146"/>
                  <a:pt x="462" y="146"/>
                </a:cubicBezTo>
                <a:cubicBezTo>
                  <a:pt x="462" y="146"/>
                  <a:pt x="462" y="146"/>
                  <a:pt x="462" y="146"/>
                </a:cubicBezTo>
                <a:cubicBezTo>
                  <a:pt x="462" y="146"/>
                  <a:pt x="463" y="145"/>
                  <a:pt x="463" y="145"/>
                </a:cubicBezTo>
                <a:cubicBezTo>
                  <a:pt x="463" y="145"/>
                  <a:pt x="463" y="145"/>
                  <a:pt x="462" y="145"/>
                </a:cubicBezTo>
                <a:cubicBezTo>
                  <a:pt x="463" y="144"/>
                  <a:pt x="463" y="144"/>
                  <a:pt x="463" y="144"/>
                </a:cubicBezTo>
                <a:cubicBezTo>
                  <a:pt x="464" y="144"/>
                  <a:pt x="464" y="144"/>
                  <a:pt x="464" y="144"/>
                </a:cubicBezTo>
                <a:cubicBezTo>
                  <a:pt x="463" y="144"/>
                  <a:pt x="463" y="144"/>
                  <a:pt x="462" y="144"/>
                </a:cubicBezTo>
                <a:cubicBezTo>
                  <a:pt x="462" y="144"/>
                  <a:pt x="462" y="143"/>
                  <a:pt x="462" y="143"/>
                </a:cubicBezTo>
                <a:cubicBezTo>
                  <a:pt x="462" y="143"/>
                  <a:pt x="462" y="143"/>
                  <a:pt x="463" y="143"/>
                </a:cubicBezTo>
                <a:cubicBezTo>
                  <a:pt x="463" y="143"/>
                  <a:pt x="463" y="143"/>
                  <a:pt x="463" y="143"/>
                </a:cubicBezTo>
                <a:cubicBezTo>
                  <a:pt x="463" y="143"/>
                  <a:pt x="463" y="143"/>
                  <a:pt x="464" y="143"/>
                </a:cubicBezTo>
                <a:cubicBezTo>
                  <a:pt x="464" y="143"/>
                  <a:pt x="464" y="142"/>
                  <a:pt x="464" y="142"/>
                </a:cubicBezTo>
                <a:cubicBezTo>
                  <a:pt x="464" y="142"/>
                  <a:pt x="464" y="142"/>
                  <a:pt x="463" y="142"/>
                </a:cubicBezTo>
                <a:cubicBezTo>
                  <a:pt x="463" y="141"/>
                  <a:pt x="464" y="141"/>
                  <a:pt x="464" y="141"/>
                </a:cubicBezTo>
                <a:cubicBezTo>
                  <a:pt x="464" y="141"/>
                  <a:pt x="464" y="141"/>
                  <a:pt x="465" y="141"/>
                </a:cubicBezTo>
                <a:cubicBezTo>
                  <a:pt x="465" y="140"/>
                  <a:pt x="466" y="140"/>
                  <a:pt x="466" y="140"/>
                </a:cubicBezTo>
                <a:cubicBezTo>
                  <a:pt x="466" y="139"/>
                  <a:pt x="466" y="139"/>
                  <a:pt x="466" y="139"/>
                </a:cubicBezTo>
                <a:cubicBezTo>
                  <a:pt x="466" y="139"/>
                  <a:pt x="466" y="138"/>
                  <a:pt x="467" y="138"/>
                </a:cubicBezTo>
                <a:cubicBezTo>
                  <a:pt x="466" y="137"/>
                  <a:pt x="466" y="137"/>
                  <a:pt x="466" y="137"/>
                </a:cubicBezTo>
                <a:cubicBezTo>
                  <a:pt x="466" y="137"/>
                  <a:pt x="467" y="136"/>
                  <a:pt x="467" y="136"/>
                </a:cubicBezTo>
                <a:cubicBezTo>
                  <a:pt x="466" y="136"/>
                  <a:pt x="466" y="136"/>
                  <a:pt x="466" y="136"/>
                </a:cubicBezTo>
                <a:cubicBezTo>
                  <a:pt x="466" y="136"/>
                  <a:pt x="466" y="137"/>
                  <a:pt x="466" y="137"/>
                </a:cubicBezTo>
                <a:cubicBezTo>
                  <a:pt x="465" y="137"/>
                  <a:pt x="465" y="137"/>
                  <a:pt x="464" y="137"/>
                </a:cubicBezTo>
                <a:cubicBezTo>
                  <a:pt x="464" y="138"/>
                  <a:pt x="464" y="138"/>
                  <a:pt x="464" y="138"/>
                </a:cubicBezTo>
                <a:cubicBezTo>
                  <a:pt x="464" y="138"/>
                  <a:pt x="464" y="138"/>
                  <a:pt x="464" y="138"/>
                </a:cubicBezTo>
                <a:cubicBezTo>
                  <a:pt x="464" y="138"/>
                  <a:pt x="463" y="138"/>
                  <a:pt x="463" y="137"/>
                </a:cubicBezTo>
                <a:cubicBezTo>
                  <a:pt x="464" y="137"/>
                  <a:pt x="464" y="137"/>
                  <a:pt x="464" y="137"/>
                </a:cubicBezTo>
                <a:cubicBezTo>
                  <a:pt x="464" y="137"/>
                  <a:pt x="464" y="136"/>
                  <a:pt x="464" y="136"/>
                </a:cubicBezTo>
                <a:cubicBezTo>
                  <a:pt x="464" y="136"/>
                  <a:pt x="464" y="136"/>
                  <a:pt x="464" y="136"/>
                </a:cubicBezTo>
                <a:cubicBezTo>
                  <a:pt x="463" y="136"/>
                  <a:pt x="463" y="136"/>
                  <a:pt x="463" y="136"/>
                </a:cubicBezTo>
                <a:cubicBezTo>
                  <a:pt x="463" y="135"/>
                  <a:pt x="463" y="135"/>
                  <a:pt x="464" y="135"/>
                </a:cubicBezTo>
                <a:cubicBezTo>
                  <a:pt x="464" y="135"/>
                  <a:pt x="464" y="135"/>
                  <a:pt x="464" y="135"/>
                </a:cubicBezTo>
                <a:cubicBezTo>
                  <a:pt x="464" y="135"/>
                  <a:pt x="464" y="134"/>
                  <a:pt x="464" y="134"/>
                </a:cubicBezTo>
                <a:cubicBezTo>
                  <a:pt x="463" y="134"/>
                  <a:pt x="462" y="134"/>
                  <a:pt x="462" y="134"/>
                </a:cubicBezTo>
                <a:cubicBezTo>
                  <a:pt x="461" y="134"/>
                  <a:pt x="461" y="134"/>
                  <a:pt x="461" y="134"/>
                </a:cubicBezTo>
                <a:cubicBezTo>
                  <a:pt x="460" y="135"/>
                  <a:pt x="460" y="135"/>
                  <a:pt x="459" y="135"/>
                </a:cubicBezTo>
                <a:cubicBezTo>
                  <a:pt x="459" y="135"/>
                  <a:pt x="459" y="135"/>
                  <a:pt x="459" y="135"/>
                </a:cubicBezTo>
                <a:cubicBezTo>
                  <a:pt x="459" y="135"/>
                  <a:pt x="459" y="136"/>
                  <a:pt x="458" y="136"/>
                </a:cubicBezTo>
                <a:cubicBezTo>
                  <a:pt x="458" y="135"/>
                  <a:pt x="458" y="135"/>
                  <a:pt x="458" y="135"/>
                </a:cubicBezTo>
                <a:cubicBezTo>
                  <a:pt x="458" y="135"/>
                  <a:pt x="459" y="134"/>
                  <a:pt x="459" y="134"/>
                </a:cubicBezTo>
                <a:cubicBezTo>
                  <a:pt x="459" y="134"/>
                  <a:pt x="459" y="134"/>
                  <a:pt x="460" y="134"/>
                </a:cubicBezTo>
                <a:cubicBezTo>
                  <a:pt x="460" y="134"/>
                  <a:pt x="460" y="133"/>
                  <a:pt x="461" y="133"/>
                </a:cubicBezTo>
                <a:cubicBezTo>
                  <a:pt x="461" y="133"/>
                  <a:pt x="462" y="132"/>
                  <a:pt x="463" y="132"/>
                </a:cubicBezTo>
                <a:cubicBezTo>
                  <a:pt x="463" y="132"/>
                  <a:pt x="463" y="132"/>
                  <a:pt x="463" y="132"/>
                </a:cubicBezTo>
                <a:cubicBezTo>
                  <a:pt x="464" y="131"/>
                  <a:pt x="464" y="131"/>
                  <a:pt x="464" y="131"/>
                </a:cubicBezTo>
                <a:cubicBezTo>
                  <a:pt x="465" y="131"/>
                  <a:pt x="465" y="131"/>
                  <a:pt x="465" y="131"/>
                </a:cubicBezTo>
                <a:cubicBezTo>
                  <a:pt x="465" y="131"/>
                  <a:pt x="466" y="131"/>
                  <a:pt x="466" y="131"/>
                </a:cubicBezTo>
                <a:cubicBezTo>
                  <a:pt x="466" y="131"/>
                  <a:pt x="466" y="131"/>
                  <a:pt x="466" y="131"/>
                </a:cubicBezTo>
                <a:cubicBezTo>
                  <a:pt x="466" y="130"/>
                  <a:pt x="466" y="130"/>
                  <a:pt x="466" y="130"/>
                </a:cubicBezTo>
                <a:cubicBezTo>
                  <a:pt x="466" y="130"/>
                  <a:pt x="466" y="129"/>
                  <a:pt x="467" y="129"/>
                </a:cubicBezTo>
                <a:cubicBezTo>
                  <a:pt x="466" y="129"/>
                  <a:pt x="466" y="129"/>
                  <a:pt x="465" y="129"/>
                </a:cubicBezTo>
                <a:cubicBezTo>
                  <a:pt x="465" y="129"/>
                  <a:pt x="465" y="129"/>
                  <a:pt x="465" y="129"/>
                </a:cubicBezTo>
                <a:cubicBezTo>
                  <a:pt x="465" y="129"/>
                  <a:pt x="465" y="128"/>
                  <a:pt x="466" y="128"/>
                </a:cubicBezTo>
                <a:cubicBezTo>
                  <a:pt x="466" y="128"/>
                  <a:pt x="466" y="128"/>
                  <a:pt x="466" y="128"/>
                </a:cubicBezTo>
                <a:cubicBezTo>
                  <a:pt x="466" y="128"/>
                  <a:pt x="466" y="128"/>
                  <a:pt x="466" y="128"/>
                </a:cubicBezTo>
                <a:cubicBezTo>
                  <a:pt x="467" y="128"/>
                  <a:pt x="467" y="128"/>
                  <a:pt x="467" y="128"/>
                </a:cubicBezTo>
                <a:cubicBezTo>
                  <a:pt x="468" y="128"/>
                  <a:pt x="468" y="127"/>
                  <a:pt x="469" y="127"/>
                </a:cubicBezTo>
                <a:cubicBezTo>
                  <a:pt x="469" y="127"/>
                  <a:pt x="469" y="127"/>
                  <a:pt x="469" y="126"/>
                </a:cubicBezTo>
                <a:cubicBezTo>
                  <a:pt x="469" y="126"/>
                  <a:pt x="469" y="126"/>
                  <a:pt x="469" y="126"/>
                </a:cubicBezTo>
                <a:cubicBezTo>
                  <a:pt x="469" y="126"/>
                  <a:pt x="469" y="126"/>
                  <a:pt x="469" y="126"/>
                </a:cubicBezTo>
                <a:cubicBezTo>
                  <a:pt x="469" y="125"/>
                  <a:pt x="468" y="125"/>
                  <a:pt x="468" y="125"/>
                </a:cubicBezTo>
                <a:cubicBezTo>
                  <a:pt x="468" y="125"/>
                  <a:pt x="468" y="125"/>
                  <a:pt x="468" y="126"/>
                </a:cubicBezTo>
                <a:cubicBezTo>
                  <a:pt x="467" y="125"/>
                  <a:pt x="467" y="125"/>
                  <a:pt x="467" y="125"/>
                </a:cubicBezTo>
                <a:cubicBezTo>
                  <a:pt x="466" y="125"/>
                  <a:pt x="465" y="126"/>
                  <a:pt x="464" y="126"/>
                </a:cubicBezTo>
                <a:cubicBezTo>
                  <a:pt x="463" y="126"/>
                  <a:pt x="463" y="126"/>
                  <a:pt x="463" y="126"/>
                </a:cubicBezTo>
                <a:cubicBezTo>
                  <a:pt x="463" y="126"/>
                  <a:pt x="463" y="126"/>
                  <a:pt x="462" y="126"/>
                </a:cubicBezTo>
                <a:cubicBezTo>
                  <a:pt x="462" y="126"/>
                  <a:pt x="461" y="127"/>
                  <a:pt x="461" y="127"/>
                </a:cubicBezTo>
                <a:cubicBezTo>
                  <a:pt x="460" y="127"/>
                  <a:pt x="460" y="127"/>
                  <a:pt x="460" y="127"/>
                </a:cubicBezTo>
                <a:cubicBezTo>
                  <a:pt x="459" y="127"/>
                  <a:pt x="459" y="127"/>
                  <a:pt x="459" y="127"/>
                </a:cubicBezTo>
                <a:cubicBezTo>
                  <a:pt x="458" y="127"/>
                  <a:pt x="458" y="127"/>
                  <a:pt x="458" y="127"/>
                </a:cubicBezTo>
                <a:cubicBezTo>
                  <a:pt x="457" y="127"/>
                  <a:pt x="457" y="126"/>
                  <a:pt x="457" y="126"/>
                </a:cubicBezTo>
                <a:cubicBezTo>
                  <a:pt x="457" y="126"/>
                  <a:pt x="457" y="126"/>
                  <a:pt x="457" y="126"/>
                </a:cubicBezTo>
                <a:cubicBezTo>
                  <a:pt x="457" y="126"/>
                  <a:pt x="457" y="126"/>
                  <a:pt x="457" y="126"/>
                </a:cubicBezTo>
                <a:cubicBezTo>
                  <a:pt x="457" y="126"/>
                  <a:pt x="457" y="125"/>
                  <a:pt x="457" y="125"/>
                </a:cubicBezTo>
                <a:cubicBezTo>
                  <a:pt x="456" y="125"/>
                  <a:pt x="456" y="126"/>
                  <a:pt x="455" y="126"/>
                </a:cubicBezTo>
                <a:cubicBezTo>
                  <a:pt x="455" y="126"/>
                  <a:pt x="455" y="126"/>
                  <a:pt x="454" y="126"/>
                </a:cubicBezTo>
                <a:cubicBezTo>
                  <a:pt x="454" y="126"/>
                  <a:pt x="454" y="126"/>
                  <a:pt x="454" y="127"/>
                </a:cubicBezTo>
                <a:cubicBezTo>
                  <a:pt x="454" y="127"/>
                  <a:pt x="454" y="127"/>
                  <a:pt x="454" y="127"/>
                </a:cubicBezTo>
                <a:cubicBezTo>
                  <a:pt x="455" y="127"/>
                  <a:pt x="455" y="127"/>
                  <a:pt x="456" y="127"/>
                </a:cubicBezTo>
                <a:cubicBezTo>
                  <a:pt x="455" y="127"/>
                  <a:pt x="455" y="127"/>
                  <a:pt x="455" y="127"/>
                </a:cubicBezTo>
                <a:cubicBezTo>
                  <a:pt x="455" y="127"/>
                  <a:pt x="454" y="127"/>
                  <a:pt x="454" y="127"/>
                </a:cubicBezTo>
                <a:cubicBezTo>
                  <a:pt x="453" y="127"/>
                  <a:pt x="453" y="127"/>
                  <a:pt x="453" y="127"/>
                </a:cubicBezTo>
                <a:cubicBezTo>
                  <a:pt x="452" y="127"/>
                  <a:pt x="452" y="127"/>
                  <a:pt x="452" y="127"/>
                </a:cubicBezTo>
                <a:cubicBezTo>
                  <a:pt x="452" y="127"/>
                  <a:pt x="452" y="127"/>
                  <a:pt x="452" y="127"/>
                </a:cubicBezTo>
                <a:cubicBezTo>
                  <a:pt x="451" y="127"/>
                  <a:pt x="451" y="127"/>
                  <a:pt x="451" y="128"/>
                </a:cubicBezTo>
                <a:cubicBezTo>
                  <a:pt x="450" y="128"/>
                  <a:pt x="450" y="128"/>
                  <a:pt x="450" y="128"/>
                </a:cubicBezTo>
                <a:cubicBezTo>
                  <a:pt x="450" y="128"/>
                  <a:pt x="450" y="129"/>
                  <a:pt x="450" y="129"/>
                </a:cubicBezTo>
                <a:cubicBezTo>
                  <a:pt x="450" y="129"/>
                  <a:pt x="450" y="129"/>
                  <a:pt x="450" y="129"/>
                </a:cubicBezTo>
                <a:cubicBezTo>
                  <a:pt x="450" y="130"/>
                  <a:pt x="451" y="130"/>
                  <a:pt x="451" y="130"/>
                </a:cubicBezTo>
                <a:close/>
                <a:moveTo>
                  <a:pt x="457" y="152"/>
                </a:moveTo>
                <a:cubicBezTo>
                  <a:pt x="458" y="152"/>
                  <a:pt x="458" y="152"/>
                  <a:pt x="458" y="152"/>
                </a:cubicBezTo>
                <a:cubicBezTo>
                  <a:pt x="458" y="152"/>
                  <a:pt x="458" y="152"/>
                  <a:pt x="458" y="152"/>
                </a:cubicBezTo>
                <a:cubicBezTo>
                  <a:pt x="458" y="152"/>
                  <a:pt x="458" y="151"/>
                  <a:pt x="458" y="151"/>
                </a:cubicBezTo>
                <a:cubicBezTo>
                  <a:pt x="458" y="151"/>
                  <a:pt x="458" y="151"/>
                  <a:pt x="458" y="151"/>
                </a:cubicBezTo>
                <a:cubicBezTo>
                  <a:pt x="458" y="151"/>
                  <a:pt x="458" y="152"/>
                  <a:pt x="457" y="152"/>
                </a:cubicBezTo>
                <a:close/>
                <a:moveTo>
                  <a:pt x="494" y="176"/>
                </a:moveTo>
                <a:cubicBezTo>
                  <a:pt x="494" y="176"/>
                  <a:pt x="494" y="175"/>
                  <a:pt x="494" y="175"/>
                </a:cubicBezTo>
                <a:cubicBezTo>
                  <a:pt x="494" y="175"/>
                  <a:pt x="494" y="175"/>
                  <a:pt x="494" y="174"/>
                </a:cubicBezTo>
                <a:cubicBezTo>
                  <a:pt x="494" y="174"/>
                  <a:pt x="494" y="174"/>
                  <a:pt x="494" y="174"/>
                </a:cubicBezTo>
                <a:cubicBezTo>
                  <a:pt x="494" y="174"/>
                  <a:pt x="494" y="175"/>
                  <a:pt x="493" y="175"/>
                </a:cubicBezTo>
                <a:cubicBezTo>
                  <a:pt x="493" y="175"/>
                  <a:pt x="493" y="175"/>
                  <a:pt x="492" y="176"/>
                </a:cubicBezTo>
                <a:cubicBezTo>
                  <a:pt x="492" y="176"/>
                  <a:pt x="492" y="176"/>
                  <a:pt x="493" y="176"/>
                </a:cubicBezTo>
                <a:cubicBezTo>
                  <a:pt x="492" y="177"/>
                  <a:pt x="492" y="177"/>
                  <a:pt x="492" y="177"/>
                </a:cubicBezTo>
                <a:cubicBezTo>
                  <a:pt x="493" y="177"/>
                  <a:pt x="493" y="177"/>
                  <a:pt x="494" y="177"/>
                </a:cubicBezTo>
                <a:cubicBezTo>
                  <a:pt x="494" y="177"/>
                  <a:pt x="494" y="177"/>
                  <a:pt x="495" y="176"/>
                </a:cubicBezTo>
                <a:cubicBezTo>
                  <a:pt x="495" y="176"/>
                  <a:pt x="494" y="176"/>
                  <a:pt x="494" y="176"/>
                </a:cubicBezTo>
                <a:close/>
                <a:moveTo>
                  <a:pt x="562" y="229"/>
                </a:moveTo>
                <a:cubicBezTo>
                  <a:pt x="562" y="229"/>
                  <a:pt x="563" y="229"/>
                  <a:pt x="563" y="230"/>
                </a:cubicBezTo>
                <a:cubicBezTo>
                  <a:pt x="563" y="230"/>
                  <a:pt x="563" y="230"/>
                  <a:pt x="563" y="230"/>
                </a:cubicBezTo>
                <a:cubicBezTo>
                  <a:pt x="563" y="230"/>
                  <a:pt x="563" y="230"/>
                  <a:pt x="563" y="230"/>
                </a:cubicBezTo>
                <a:cubicBezTo>
                  <a:pt x="563" y="230"/>
                  <a:pt x="563" y="229"/>
                  <a:pt x="563" y="229"/>
                </a:cubicBezTo>
                <a:cubicBezTo>
                  <a:pt x="563" y="229"/>
                  <a:pt x="563" y="229"/>
                  <a:pt x="563" y="229"/>
                </a:cubicBezTo>
                <a:cubicBezTo>
                  <a:pt x="562" y="229"/>
                  <a:pt x="562" y="229"/>
                  <a:pt x="562" y="229"/>
                </a:cubicBezTo>
                <a:close/>
                <a:moveTo>
                  <a:pt x="504" y="273"/>
                </a:moveTo>
                <a:cubicBezTo>
                  <a:pt x="504" y="273"/>
                  <a:pt x="504" y="273"/>
                  <a:pt x="503" y="273"/>
                </a:cubicBezTo>
                <a:cubicBezTo>
                  <a:pt x="503" y="274"/>
                  <a:pt x="504" y="274"/>
                  <a:pt x="504" y="274"/>
                </a:cubicBezTo>
                <a:cubicBezTo>
                  <a:pt x="504" y="274"/>
                  <a:pt x="504" y="274"/>
                  <a:pt x="504" y="274"/>
                </a:cubicBezTo>
                <a:cubicBezTo>
                  <a:pt x="504" y="274"/>
                  <a:pt x="504" y="274"/>
                  <a:pt x="504" y="274"/>
                </a:cubicBezTo>
                <a:cubicBezTo>
                  <a:pt x="504" y="274"/>
                  <a:pt x="504" y="273"/>
                  <a:pt x="504" y="273"/>
                </a:cubicBezTo>
                <a:cubicBezTo>
                  <a:pt x="504" y="273"/>
                  <a:pt x="504" y="273"/>
                  <a:pt x="504" y="273"/>
                </a:cubicBezTo>
                <a:close/>
                <a:moveTo>
                  <a:pt x="497" y="191"/>
                </a:moveTo>
                <a:cubicBezTo>
                  <a:pt x="497" y="191"/>
                  <a:pt x="497" y="191"/>
                  <a:pt x="496" y="191"/>
                </a:cubicBezTo>
                <a:cubicBezTo>
                  <a:pt x="496" y="192"/>
                  <a:pt x="496" y="192"/>
                  <a:pt x="496" y="192"/>
                </a:cubicBezTo>
                <a:cubicBezTo>
                  <a:pt x="496" y="192"/>
                  <a:pt x="496" y="193"/>
                  <a:pt x="496" y="193"/>
                </a:cubicBezTo>
                <a:cubicBezTo>
                  <a:pt x="496" y="193"/>
                  <a:pt x="496" y="193"/>
                  <a:pt x="496" y="193"/>
                </a:cubicBezTo>
                <a:cubicBezTo>
                  <a:pt x="496" y="194"/>
                  <a:pt x="497" y="194"/>
                  <a:pt x="497" y="194"/>
                </a:cubicBezTo>
                <a:cubicBezTo>
                  <a:pt x="497" y="194"/>
                  <a:pt x="497" y="194"/>
                  <a:pt x="497" y="194"/>
                </a:cubicBezTo>
                <a:cubicBezTo>
                  <a:pt x="497" y="194"/>
                  <a:pt x="497" y="194"/>
                  <a:pt x="497" y="194"/>
                </a:cubicBezTo>
                <a:cubicBezTo>
                  <a:pt x="497" y="194"/>
                  <a:pt x="498" y="193"/>
                  <a:pt x="498" y="193"/>
                </a:cubicBezTo>
                <a:cubicBezTo>
                  <a:pt x="498" y="193"/>
                  <a:pt x="497" y="193"/>
                  <a:pt x="497" y="192"/>
                </a:cubicBezTo>
                <a:cubicBezTo>
                  <a:pt x="497" y="192"/>
                  <a:pt x="497" y="192"/>
                  <a:pt x="497" y="192"/>
                </a:cubicBezTo>
                <a:cubicBezTo>
                  <a:pt x="497" y="192"/>
                  <a:pt x="497" y="192"/>
                  <a:pt x="497" y="192"/>
                </a:cubicBezTo>
                <a:cubicBezTo>
                  <a:pt x="497" y="192"/>
                  <a:pt x="497" y="191"/>
                  <a:pt x="497" y="191"/>
                </a:cubicBezTo>
                <a:close/>
                <a:moveTo>
                  <a:pt x="506" y="282"/>
                </a:moveTo>
                <a:cubicBezTo>
                  <a:pt x="506" y="281"/>
                  <a:pt x="507" y="281"/>
                  <a:pt x="507" y="281"/>
                </a:cubicBezTo>
                <a:cubicBezTo>
                  <a:pt x="507" y="281"/>
                  <a:pt x="507" y="280"/>
                  <a:pt x="507" y="280"/>
                </a:cubicBezTo>
                <a:cubicBezTo>
                  <a:pt x="506" y="280"/>
                  <a:pt x="506" y="281"/>
                  <a:pt x="506" y="281"/>
                </a:cubicBezTo>
                <a:cubicBezTo>
                  <a:pt x="506" y="281"/>
                  <a:pt x="506" y="281"/>
                  <a:pt x="505" y="281"/>
                </a:cubicBezTo>
                <a:cubicBezTo>
                  <a:pt x="505" y="281"/>
                  <a:pt x="505" y="281"/>
                  <a:pt x="505" y="282"/>
                </a:cubicBezTo>
                <a:cubicBezTo>
                  <a:pt x="505" y="282"/>
                  <a:pt x="506" y="282"/>
                  <a:pt x="506" y="282"/>
                </a:cubicBezTo>
                <a:close/>
                <a:moveTo>
                  <a:pt x="513" y="255"/>
                </a:moveTo>
                <a:cubicBezTo>
                  <a:pt x="513" y="255"/>
                  <a:pt x="513" y="255"/>
                  <a:pt x="513" y="255"/>
                </a:cubicBezTo>
                <a:cubicBezTo>
                  <a:pt x="513" y="255"/>
                  <a:pt x="512" y="255"/>
                  <a:pt x="512" y="255"/>
                </a:cubicBezTo>
                <a:cubicBezTo>
                  <a:pt x="512" y="255"/>
                  <a:pt x="512" y="255"/>
                  <a:pt x="512" y="255"/>
                </a:cubicBezTo>
                <a:cubicBezTo>
                  <a:pt x="512" y="256"/>
                  <a:pt x="512" y="256"/>
                  <a:pt x="512" y="256"/>
                </a:cubicBezTo>
                <a:cubicBezTo>
                  <a:pt x="512" y="256"/>
                  <a:pt x="512" y="256"/>
                  <a:pt x="512" y="256"/>
                </a:cubicBezTo>
                <a:cubicBezTo>
                  <a:pt x="512" y="256"/>
                  <a:pt x="513" y="256"/>
                  <a:pt x="513" y="255"/>
                </a:cubicBezTo>
                <a:close/>
                <a:moveTo>
                  <a:pt x="511" y="253"/>
                </a:moveTo>
                <a:cubicBezTo>
                  <a:pt x="511" y="253"/>
                  <a:pt x="511" y="253"/>
                  <a:pt x="511" y="253"/>
                </a:cubicBezTo>
                <a:cubicBezTo>
                  <a:pt x="511" y="253"/>
                  <a:pt x="511" y="253"/>
                  <a:pt x="511" y="253"/>
                </a:cubicBezTo>
                <a:cubicBezTo>
                  <a:pt x="510" y="253"/>
                  <a:pt x="510" y="253"/>
                  <a:pt x="510" y="253"/>
                </a:cubicBezTo>
                <a:cubicBezTo>
                  <a:pt x="510" y="253"/>
                  <a:pt x="510" y="253"/>
                  <a:pt x="511" y="253"/>
                </a:cubicBezTo>
                <a:close/>
                <a:moveTo>
                  <a:pt x="503" y="192"/>
                </a:moveTo>
                <a:cubicBezTo>
                  <a:pt x="503" y="192"/>
                  <a:pt x="503" y="193"/>
                  <a:pt x="503" y="193"/>
                </a:cubicBezTo>
                <a:cubicBezTo>
                  <a:pt x="503" y="193"/>
                  <a:pt x="503" y="193"/>
                  <a:pt x="503" y="193"/>
                </a:cubicBezTo>
                <a:cubicBezTo>
                  <a:pt x="504" y="193"/>
                  <a:pt x="504" y="193"/>
                  <a:pt x="504" y="193"/>
                </a:cubicBezTo>
                <a:cubicBezTo>
                  <a:pt x="505" y="193"/>
                  <a:pt x="505" y="193"/>
                  <a:pt x="505" y="193"/>
                </a:cubicBezTo>
                <a:cubicBezTo>
                  <a:pt x="505" y="192"/>
                  <a:pt x="505" y="192"/>
                  <a:pt x="505" y="192"/>
                </a:cubicBezTo>
                <a:cubicBezTo>
                  <a:pt x="505" y="192"/>
                  <a:pt x="505" y="192"/>
                  <a:pt x="504" y="192"/>
                </a:cubicBezTo>
                <a:cubicBezTo>
                  <a:pt x="504" y="192"/>
                  <a:pt x="504" y="192"/>
                  <a:pt x="503" y="192"/>
                </a:cubicBezTo>
                <a:cubicBezTo>
                  <a:pt x="503" y="192"/>
                  <a:pt x="503" y="191"/>
                  <a:pt x="503" y="191"/>
                </a:cubicBezTo>
                <a:cubicBezTo>
                  <a:pt x="503" y="191"/>
                  <a:pt x="502" y="191"/>
                  <a:pt x="502" y="191"/>
                </a:cubicBezTo>
                <a:cubicBezTo>
                  <a:pt x="502" y="191"/>
                  <a:pt x="502" y="191"/>
                  <a:pt x="502" y="190"/>
                </a:cubicBezTo>
                <a:cubicBezTo>
                  <a:pt x="502" y="190"/>
                  <a:pt x="501" y="190"/>
                  <a:pt x="501" y="190"/>
                </a:cubicBezTo>
                <a:cubicBezTo>
                  <a:pt x="501" y="190"/>
                  <a:pt x="500" y="190"/>
                  <a:pt x="500" y="190"/>
                </a:cubicBezTo>
                <a:cubicBezTo>
                  <a:pt x="500" y="190"/>
                  <a:pt x="500" y="190"/>
                  <a:pt x="500" y="190"/>
                </a:cubicBezTo>
                <a:cubicBezTo>
                  <a:pt x="500" y="190"/>
                  <a:pt x="500" y="191"/>
                  <a:pt x="500" y="191"/>
                </a:cubicBezTo>
                <a:cubicBezTo>
                  <a:pt x="500" y="191"/>
                  <a:pt x="501" y="191"/>
                  <a:pt x="501" y="191"/>
                </a:cubicBezTo>
                <a:cubicBezTo>
                  <a:pt x="501" y="191"/>
                  <a:pt x="501" y="192"/>
                  <a:pt x="501" y="192"/>
                </a:cubicBezTo>
                <a:cubicBezTo>
                  <a:pt x="501" y="192"/>
                  <a:pt x="501" y="192"/>
                  <a:pt x="501" y="192"/>
                </a:cubicBezTo>
                <a:cubicBezTo>
                  <a:pt x="502" y="192"/>
                  <a:pt x="502" y="192"/>
                  <a:pt x="503" y="192"/>
                </a:cubicBezTo>
                <a:close/>
                <a:moveTo>
                  <a:pt x="505" y="214"/>
                </a:moveTo>
                <a:cubicBezTo>
                  <a:pt x="505" y="213"/>
                  <a:pt x="506" y="213"/>
                  <a:pt x="506" y="213"/>
                </a:cubicBezTo>
                <a:cubicBezTo>
                  <a:pt x="506" y="213"/>
                  <a:pt x="506" y="213"/>
                  <a:pt x="505" y="213"/>
                </a:cubicBezTo>
                <a:cubicBezTo>
                  <a:pt x="505" y="213"/>
                  <a:pt x="505" y="213"/>
                  <a:pt x="504" y="213"/>
                </a:cubicBezTo>
                <a:cubicBezTo>
                  <a:pt x="504" y="213"/>
                  <a:pt x="504" y="213"/>
                  <a:pt x="504" y="213"/>
                </a:cubicBezTo>
                <a:cubicBezTo>
                  <a:pt x="504" y="213"/>
                  <a:pt x="503" y="213"/>
                  <a:pt x="503" y="213"/>
                </a:cubicBezTo>
                <a:cubicBezTo>
                  <a:pt x="503" y="213"/>
                  <a:pt x="503" y="213"/>
                  <a:pt x="502" y="214"/>
                </a:cubicBezTo>
                <a:cubicBezTo>
                  <a:pt x="502" y="213"/>
                  <a:pt x="502" y="213"/>
                  <a:pt x="502" y="213"/>
                </a:cubicBezTo>
                <a:cubicBezTo>
                  <a:pt x="502" y="214"/>
                  <a:pt x="501" y="214"/>
                  <a:pt x="501" y="214"/>
                </a:cubicBezTo>
                <a:cubicBezTo>
                  <a:pt x="501" y="214"/>
                  <a:pt x="501" y="214"/>
                  <a:pt x="501" y="214"/>
                </a:cubicBezTo>
                <a:cubicBezTo>
                  <a:pt x="500" y="214"/>
                  <a:pt x="500" y="214"/>
                  <a:pt x="500" y="214"/>
                </a:cubicBezTo>
                <a:cubicBezTo>
                  <a:pt x="500" y="214"/>
                  <a:pt x="499" y="214"/>
                  <a:pt x="499" y="214"/>
                </a:cubicBezTo>
                <a:cubicBezTo>
                  <a:pt x="499" y="214"/>
                  <a:pt x="499" y="214"/>
                  <a:pt x="499" y="214"/>
                </a:cubicBezTo>
                <a:cubicBezTo>
                  <a:pt x="499" y="214"/>
                  <a:pt x="498" y="214"/>
                  <a:pt x="498" y="214"/>
                </a:cubicBezTo>
                <a:cubicBezTo>
                  <a:pt x="498" y="215"/>
                  <a:pt x="497" y="215"/>
                  <a:pt x="497" y="216"/>
                </a:cubicBezTo>
                <a:cubicBezTo>
                  <a:pt x="497" y="216"/>
                  <a:pt x="497" y="216"/>
                  <a:pt x="497" y="216"/>
                </a:cubicBezTo>
                <a:cubicBezTo>
                  <a:pt x="497" y="216"/>
                  <a:pt x="497" y="216"/>
                  <a:pt x="497" y="216"/>
                </a:cubicBezTo>
                <a:cubicBezTo>
                  <a:pt x="496" y="217"/>
                  <a:pt x="495" y="217"/>
                  <a:pt x="495" y="217"/>
                </a:cubicBezTo>
                <a:cubicBezTo>
                  <a:pt x="495" y="217"/>
                  <a:pt x="495" y="218"/>
                  <a:pt x="495" y="218"/>
                </a:cubicBezTo>
                <a:cubicBezTo>
                  <a:pt x="495" y="218"/>
                  <a:pt x="495" y="218"/>
                  <a:pt x="495" y="218"/>
                </a:cubicBezTo>
                <a:cubicBezTo>
                  <a:pt x="495" y="218"/>
                  <a:pt x="496" y="218"/>
                  <a:pt x="496" y="219"/>
                </a:cubicBezTo>
                <a:cubicBezTo>
                  <a:pt x="496" y="219"/>
                  <a:pt x="496" y="219"/>
                  <a:pt x="496" y="219"/>
                </a:cubicBezTo>
                <a:cubicBezTo>
                  <a:pt x="496" y="219"/>
                  <a:pt x="496" y="220"/>
                  <a:pt x="496" y="220"/>
                </a:cubicBezTo>
                <a:cubicBezTo>
                  <a:pt x="496" y="220"/>
                  <a:pt x="496" y="220"/>
                  <a:pt x="496" y="220"/>
                </a:cubicBezTo>
                <a:cubicBezTo>
                  <a:pt x="496" y="220"/>
                  <a:pt x="496" y="220"/>
                  <a:pt x="496" y="220"/>
                </a:cubicBezTo>
                <a:cubicBezTo>
                  <a:pt x="497" y="219"/>
                  <a:pt x="497" y="219"/>
                  <a:pt x="497" y="219"/>
                </a:cubicBezTo>
                <a:cubicBezTo>
                  <a:pt x="497" y="219"/>
                  <a:pt x="498" y="218"/>
                  <a:pt x="498" y="218"/>
                </a:cubicBezTo>
                <a:cubicBezTo>
                  <a:pt x="498" y="218"/>
                  <a:pt x="498" y="218"/>
                  <a:pt x="498" y="218"/>
                </a:cubicBezTo>
                <a:cubicBezTo>
                  <a:pt x="499" y="219"/>
                  <a:pt x="499" y="219"/>
                  <a:pt x="499" y="219"/>
                </a:cubicBezTo>
                <a:cubicBezTo>
                  <a:pt x="499" y="219"/>
                  <a:pt x="499" y="219"/>
                  <a:pt x="500" y="219"/>
                </a:cubicBezTo>
                <a:cubicBezTo>
                  <a:pt x="500" y="218"/>
                  <a:pt x="500" y="218"/>
                  <a:pt x="501" y="217"/>
                </a:cubicBezTo>
                <a:cubicBezTo>
                  <a:pt x="501" y="217"/>
                  <a:pt x="501" y="217"/>
                  <a:pt x="502" y="217"/>
                </a:cubicBezTo>
                <a:cubicBezTo>
                  <a:pt x="502" y="217"/>
                  <a:pt x="502" y="217"/>
                  <a:pt x="502" y="216"/>
                </a:cubicBezTo>
                <a:cubicBezTo>
                  <a:pt x="503" y="216"/>
                  <a:pt x="503" y="216"/>
                  <a:pt x="503" y="215"/>
                </a:cubicBezTo>
                <a:cubicBezTo>
                  <a:pt x="503" y="215"/>
                  <a:pt x="504" y="215"/>
                  <a:pt x="504" y="215"/>
                </a:cubicBezTo>
                <a:cubicBezTo>
                  <a:pt x="504" y="215"/>
                  <a:pt x="505" y="215"/>
                  <a:pt x="505" y="214"/>
                </a:cubicBezTo>
                <a:cubicBezTo>
                  <a:pt x="505" y="214"/>
                  <a:pt x="505" y="214"/>
                  <a:pt x="505" y="214"/>
                </a:cubicBezTo>
                <a:close/>
                <a:moveTo>
                  <a:pt x="561" y="229"/>
                </a:moveTo>
                <a:cubicBezTo>
                  <a:pt x="561" y="229"/>
                  <a:pt x="561" y="229"/>
                  <a:pt x="561" y="229"/>
                </a:cubicBezTo>
                <a:cubicBezTo>
                  <a:pt x="561" y="229"/>
                  <a:pt x="561" y="229"/>
                  <a:pt x="561" y="229"/>
                </a:cubicBezTo>
                <a:cubicBezTo>
                  <a:pt x="561" y="229"/>
                  <a:pt x="561" y="229"/>
                  <a:pt x="561" y="229"/>
                </a:cubicBezTo>
                <a:close/>
                <a:moveTo>
                  <a:pt x="507" y="255"/>
                </a:moveTo>
                <a:cubicBezTo>
                  <a:pt x="508" y="255"/>
                  <a:pt x="508" y="255"/>
                  <a:pt x="508" y="254"/>
                </a:cubicBezTo>
                <a:cubicBezTo>
                  <a:pt x="508" y="255"/>
                  <a:pt x="508" y="255"/>
                  <a:pt x="507" y="255"/>
                </a:cubicBezTo>
                <a:cubicBezTo>
                  <a:pt x="507" y="255"/>
                  <a:pt x="507" y="255"/>
                  <a:pt x="507" y="255"/>
                </a:cubicBezTo>
                <a:cubicBezTo>
                  <a:pt x="507" y="255"/>
                  <a:pt x="506" y="255"/>
                  <a:pt x="506" y="255"/>
                </a:cubicBezTo>
                <a:cubicBezTo>
                  <a:pt x="506" y="255"/>
                  <a:pt x="506" y="256"/>
                  <a:pt x="506" y="256"/>
                </a:cubicBezTo>
                <a:cubicBezTo>
                  <a:pt x="506" y="256"/>
                  <a:pt x="506" y="256"/>
                  <a:pt x="505" y="256"/>
                </a:cubicBezTo>
                <a:cubicBezTo>
                  <a:pt x="505" y="256"/>
                  <a:pt x="505" y="256"/>
                  <a:pt x="505" y="257"/>
                </a:cubicBezTo>
                <a:cubicBezTo>
                  <a:pt x="505" y="257"/>
                  <a:pt x="505" y="257"/>
                  <a:pt x="505" y="257"/>
                </a:cubicBezTo>
                <a:cubicBezTo>
                  <a:pt x="506" y="257"/>
                  <a:pt x="506" y="256"/>
                  <a:pt x="506" y="256"/>
                </a:cubicBezTo>
                <a:cubicBezTo>
                  <a:pt x="507" y="256"/>
                  <a:pt x="507" y="256"/>
                  <a:pt x="507" y="255"/>
                </a:cubicBezTo>
                <a:close/>
                <a:moveTo>
                  <a:pt x="562" y="229"/>
                </a:moveTo>
                <a:cubicBezTo>
                  <a:pt x="562" y="229"/>
                  <a:pt x="562" y="229"/>
                  <a:pt x="562" y="229"/>
                </a:cubicBezTo>
                <a:cubicBezTo>
                  <a:pt x="562" y="229"/>
                  <a:pt x="562" y="229"/>
                  <a:pt x="562" y="229"/>
                </a:cubicBezTo>
                <a:cubicBezTo>
                  <a:pt x="562" y="229"/>
                  <a:pt x="562" y="229"/>
                  <a:pt x="562" y="229"/>
                </a:cubicBezTo>
                <a:close/>
                <a:moveTo>
                  <a:pt x="594" y="281"/>
                </a:moveTo>
                <a:cubicBezTo>
                  <a:pt x="594" y="281"/>
                  <a:pt x="594" y="281"/>
                  <a:pt x="594" y="281"/>
                </a:cubicBezTo>
                <a:cubicBezTo>
                  <a:pt x="594" y="281"/>
                  <a:pt x="594" y="281"/>
                  <a:pt x="593" y="281"/>
                </a:cubicBezTo>
                <a:cubicBezTo>
                  <a:pt x="593" y="280"/>
                  <a:pt x="593" y="280"/>
                  <a:pt x="593" y="280"/>
                </a:cubicBezTo>
                <a:cubicBezTo>
                  <a:pt x="593" y="280"/>
                  <a:pt x="592" y="280"/>
                  <a:pt x="592" y="280"/>
                </a:cubicBezTo>
                <a:cubicBezTo>
                  <a:pt x="592" y="280"/>
                  <a:pt x="591" y="280"/>
                  <a:pt x="591" y="280"/>
                </a:cubicBezTo>
                <a:cubicBezTo>
                  <a:pt x="591" y="280"/>
                  <a:pt x="590" y="280"/>
                  <a:pt x="590" y="279"/>
                </a:cubicBezTo>
                <a:cubicBezTo>
                  <a:pt x="590" y="279"/>
                  <a:pt x="589" y="279"/>
                  <a:pt x="589" y="279"/>
                </a:cubicBezTo>
                <a:cubicBezTo>
                  <a:pt x="589" y="279"/>
                  <a:pt x="588" y="279"/>
                  <a:pt x="588" y="279"/>
                </a:cubicBezTo>
                <a:cubicBezTo>
                  <a:pt x="588" y="279"/>
                  <a:pt x="587" y="279"/>
                  <a:pt x="587" y="279"/>
                </a:cubicBezTo>
                <a:cubicBezTo>
                  <a:pt x="586" y="279"/>
                  <a:pt x="586" y="279"/>
                  <a:pt x="585" y="279"/>
                </a:cubicBezTo>
                <a:cubicBezTo>
                  <a:pt x="584" y="279"/>
                  <a:pt x="583" y="279"/>
                  <a:pt x="583" y="279"/>
                </a:cubicBezTo>
                <a:cubicBezTo>
                  <a:pt x="582" y="279"/>
                  <a:pt x="582" y="279"/>
                  <a:pt x="582" y="279"/>
                </a:cubicBezTo>
                <a:cubicBezTo>
                  <a:pt x="581" y="279"/>
                  <a:pt x="581" y="279"/>
                  <a:pt x="581" y="279"/>
                </a:cubicBezTo>
                <a:cubicBezTo>
                  <a:pt x="581" y="280"/>
                  <a:pt x="581" y="280"/>
                  <a:pt x="581" y="280"/>
                </a:cubicBezTo>
                <a:cubicBezTo>
                  <a:pt x="582" y="280"/>
                  <a:pt x="582" y="280"/>
                  <a:pt x="582" y="280"/>
                </a:cubicBezTo>
                <a:cubicBezTo>
                  <a:pt x="583" y="280"/>
                  <a:pt x="584" y="281"/>
                  <a:pt x="584" y="281"/>
                </a:cubicBezTo>
                <a:cubicBezTo>
                  <a:pt x="584" y="281"/>
                  <a:pt x="585" y="281"/>
                  <a:pt x="585" y="281"/>
                </a:cubicBezTo>
                <a:cubicBezTo>
                  <a:pt x="585" y="281"/>
                  <a:pt x="585" y="281"/>
                  <a:pt x="585" y="282"/>
                </a:cubicBezTo>
                <a:cubicBezTo>
                  <a:pt x="585" y="282"/>
                  <a:pt x="585" y="282"/>
                  <a:pt x="586" y="281"/>
                </a:cubicBezTo>
                <a:cubicBezTo>
                  <a:pt x="586" y="282"/>
                  <a:pt x="587" y="282"/>
                  <a:pt x="588" y="282"/>
                </a:cubicBezTo>
                <a:cubicBezTo>
                  <a:pt x="588" y="282"/>
                  <a:pt x="589" y="282"/>
                  <a:pt x="589" y="282"/>
                </a:cubicBezTo>
                <a:cubicBezTo>
                  <a:pt x="590" y="282"/>
                  <a:pt x="590" y="282"/>
                  <a:pt x="590" y="282"/>
                </a:cubicBezTo>
                <a:cubicBezTo>
                  <a:pt x="591" y="282"/>
                  <a:pt x="591" y="282"/>
                  <a:pt x="591" y="282"/>
                </a:cubicBezTo>
                <a:cubicBezTo>
                  <a:pt x="592" y="282"/>
                  <a:pt x="592" y="282"/>
                  <a:pt x="592" y="282"/>
                </a:cubicBezTo>
                <a:cubicBezTo>
                  <a:pt x="592" y="282"/>
                  <a:pt x="593" y="282"/>
                  <a:pt x="593" y="282"/>
                </a:cubicBezTo>
                <a:cubicBezTo>
                  <a:pt x="594" y="282"/>
                  <a:pt x="594" y="282"/>
                  <a:pt x="594" y="282"/>
                </a:cubicBezTo>
                <a:cubicBezTo>
                  <a:pt x="594" y="281"/>
                  <a:pt x="594" y="281"/>
                  <a:pt x="594" y="281"/>
                </a:cubicBezTo>
                <a:close/>
                <a:moveTo>
                  <a:pt x="498" y="278"/>
                </a:moveTo>
                <a:cubicBezTo>
                  <a:pt x="499" y="278"/>
                  <a:pt x="499" y="278"/>
                  <a:pt x="500" y="278"/>
                </a:cubicBezTo>
                <a:cubicBezTo>
                  <a:pt x="500" y="278"/>
                  <a:pt x="500" y="277"/>
                  <a:pt x="500" y="277"/>
                </a:cubicBezTo>
                <a:cubicBezTo>
                  <a:pt x="500" y="277"/>
                  <a:pt x="500" y="277"/>
                  <a:pt x="500" y="277"/>
                </a:cubicBezTo>
                <a:cubicBezTo>
                  <a:pt x="500" y="277"/>
                  <a:pt x="500" y="276"/>
                  <a:pt x="500" y="276"/>
                </a:cubicBezTo>
                <a:cubicBezTo>
                  <a:pt x="499" y="276"/>
                  <a:pt x="499" y="276"/>
                  <a:pt x="498" y="276"/>
                </a:cubicBezTo>
                <a:cubicBezTo>
                  <a:pt x="498" y="276"/>
                  <a:pt x="498" y="276"/>
                  <a:pt x="497" y="276"/>
                </a:cubicBezTo>
                <a:cubicBezTo>
                  <a:pt x="497" y="276"/>
                  <a:pt x="497" y="276"/>
                  <a:pt x="497" y="276"/>
                </a:cubicBezTo>
                <a:cubicBezTo>
                  <a:pt x="497" y="276"/>
                  <a:pt x="496" y="276"/>
                  <a:pt x="496" y="276"/>
                </a:cubicBezTo>
                <a:cubicBezTo>
                  <a:pt x="496" y="276"/>
                  <a:pt x="496" y="276"/>
                  <a:pt x="495" y="277"/>
                </a:cubicBezTo>
                <a:cubicBezTo>
                  <a:pt x="495" y="277"/>
                  <a:pt x="496" y="277"/>
                  <a:pt x="496" y="277"/>
                </a:cubicBezTo>
                <a:cubicBezTo>
                  <a:pt x="495" y="277"/>
                  <a:pt x="495" y="277"/>
                  <a:pt x="495" y="277"/>
                </a:cubicBezTo>
                <a:cubicBezTo>
                  <a:pt x="494" y="278"/>
                  <a:pt x="494" y="278"/>
                  <a:pt x="494" y="278"/>
                </a:cubicBezTo>
                <a:cubicBezTo>
                  <a:pt x="494" y="278"/>
                  <a:pt x="494" y="278"/>
                  <a:pt x="494" y="279"/>
                </a:cubicBezTo>
                <a:cubicBezTo>
                  <a:pt x="494" y="278"/>
                  <a:pt x="495" y="278"/>
                  <a:pt x="495" y="278"/>
                </a:cubicBezTo>
                <a:cubicBezTo>
                  <a:pt x="495" y="278"/>
                  <a:pt x="495" y="278"/>
                  <a:pt x="495" y="279"/>
                </a:cubicBezTo>
                <a:cubicBezTo>
                  <a:pt x="496" y="279"/>
                  <a:pt x="496" y="279"/>
                  <a:pt x="496" y="279"/>
                </a:cubicBezTo>
                <a:cubicBezTo>
                  <a:pt x="496" y="279"/>
                  <a:pt x="496" y="279"/>
                  <a:pt x="496" y="279"/>
                </a:cubicBezTo>
                <a:cubicBezTo>
                  <a:pt x="496" y="278"/>
                  <a:pt x="496" y="278"/>
                  <a:pt x="496" y="278"/>
                </a:cubicBezTo>
                <a:cubicBezTo>
                  <a:pt x="496" y="278"/>
                  <a:pt x="496" y="278"/>
                  <a:pt x="497" y="278"/>
                </a:cubicBezTo>
                <a:cubicBezTo>
                  <a:pt x="497" y="278"/>
                  <a:pt x="497" y="278"/>
                  <a:pt x="498" y="278"/>
                </a:cubicBezTo>
                <a:close/>
                <a:moveTo>
                  <a:pt x="508" y="188"/>
                </a:moveTo>
                <a:cubicBezTo>
                  <a:pt x="508" y="188"/>
                  <a:pt x="508" y="188"/>
                  <a:pt x="508" y="188"/>
                </a:cubicBezTo>
                <a:cubicBezTo>
                  <a:pt x="507" y="188"/>
                  <a:pt x="507" y="188"/>
                  <a:pt x="507" y="188"/>
                </a:cubicBezTo>
                <a:cubicBezTo>
                  <a:pt x="507" y="188"/>
                  <a:pt x="507" y="188"/>
                  <a:pt x="506" y="188"/>
                </a:cubicBezTo>
                <a:cubicBezTo>
                  <a:pt x="506" y="188"/>
                  <a:pt x="506" y="188"/>
                  <a:pt x="506" y="188"/>
                </a:cubicBezTo>
                <a:cubicBezTo>
                  <a:pt x="506" y="188"/>
                  <a:pt x="507" y="188"/>
                  <a:pt x="507" y="188"/>
                </a:cubicBezTo>
                <a:cubicBezTo>
                  <a:pt x="507" y="188"/>
                  <a:pt x="507" y="188"/>
                  <a:pt x="508" y="188"/>
                </a:cubicBezTo>
                <a:close/>
                <a:moveTo>
                  <a:pt x="593" y="290"/>
                </a:moveTo>
                <a:cubicBezTo>
                  <a:pt x="593" y="290"/>
                  <a:pt x="594" y="290"/>
                  <a:pt x="594" y="289"/>
                </a:cubicBezTo>
                <a:cubicBezTo>
                  <a:pt x="594" y="289"/>
                  <a:pt x="594" y="290"/>
                  <a:pt x="594" y="290"/>
                </a:cubicBezTo>
                <a:cubicBezTo>
                  <a:pt x="594" y="289"/>
                  <a:pt x="594" y="289"/>
                  <a:pt x="594" y="289"/>
                </a:cubicBezTo>
                <a:cubicBezTo>
                  <a:pt x="594" y="289"/>
                  <a:pt x="594" y="289"/>
                  <a:pt x="594" y="289"/>
                </a:cubicBezTo>
                <a:cubicBezTo>
                  <a:pt x="594" y="290"/>
                  <a:pt x="593" y="290"/>
                  <a:pt x="593" y="290"/>
                </a:cubicBezTo>
                <a:cubicBezTo>
                  <a:pt x="593" y="290"/>
                  <a:pt x="593" y="291"/>
                  <a:pt x="593" y="291"/>
                </a:cubicBezTo>
                <a:cubicBezTo>
                  <a:pt x="593" y="291"/>
                  <a:pt x="593" y="291"/>
                  <a:pt x="593" y="291"/>
                </a:cubicBezTo>
                <a:cubicBezTo>
                  <a:pt x="593" y="291"/>
                  <a:pt x="593" y="291"/>
                  <a:pt x="593" y="291"/>
                </a:cubicBezTo>
                <a:cubicBezTo>
                  <a:pt x="593" y="291"/>
                  <a:pt x="593" y="291"/>
                  <a:pt x="593" y="291"/>
                </a:cubicBezTo>
                <a:cubicBezTo>
                  <a:pt x="593" y="291"/>
                  <a:pt x="593" y="291"/>
                  <a:pt x="593" y="291"/>
                </a:cubicBezTo>
                <a:cubicBezTo>
                  <a:pt x="593" y="291"/>
                  <a:pt x="593" y="291"/>
                  <a:pt x="593" y="291"/>
                </a:cubicBezTo>
                <a:cubicBezTo>
                  <a:pt x="593" y="291"/>
                  <a:pt x="593" y="291"/>
                  <a:pt x="593" y="291"/>
                </a:cubicBezTo>
                <a:cubicBezTo>
                  <a:pt x="593" y="290"/>
                  <a:pt x="593" y="290"/>
                  <a:pt x="593" y="290"/>
                </a:cubicBezTo>
                <a:close/>
                <a:moveTo>
                  <a:pt x="591" y="295"/>
                </a:moveTo>
                <a:cubicBezTo>
                  <a:pt x="591" y="295"/>
                  <a:pt x="591" y="295"/>
                  <a:pt x="591" y="295"/>
                </a:cubicBezTo>
                <a:cubicBezTo>
                  <a:pt x="591" y="295"/>
                  <a:pt x="590" y="295"/>
                  <a:pt x="590" y="295"/>
                </a:cubicBezTo>
                <a:cubicBezTo>
                  <a:pt x="589" y="295"/>
                  <a:pt x="589" y="295"/>
                  <a:pt x="589" y="295"/>
                </a:cubicBezTo>
                <a:cubicBezTo>
                  <a:pt x="589" y="295"/>
                  <a:pt x="589" y="296"/>
                  <a:pt x="589" y="296"/>
                </a:cubicBezTo>
                <a:cubicBezTo>
                  <a:pt x="588" y="296"/>
                  <a:pt x="587" y="296"/>
                  <a:pt x="587" y="296"/>
                </a:cubicBezTo>
                <a:cubicBezTo>
                  <a:pt x="587" y="296"/>
                  <a:pt x="587" y="296"/>
                  <a:pt x="586" y="296"/>
                </a:cubicBezTo>
                <a:cubicBezTo>
                  <a:pt x="586" y="296"/>
                  <a:pt x="586" y="296"/>
                  <a:pt x="586" y="296"/>
                </a:cubicBezTo>
                <a:cubicBezTo>
                  <a:pt x="585" y="296"/>
                  <a:pt x="585" y="296"/>
                  <a:pt x="584" y="295"/>
                </a:cubicBezTo>
                <a:cubicBezTo>
                  <a:pt x="584" y="296"/>
                  <a:pt x="584" y="296"/>
                  <a:pt x="584" y="296"/>
                </a:cubicBezTo>
                <a:cubicBezTo>
                  <a:pt x="583" y="296"/>
                  <a:pt x="583" y="296"/>
                  <a:pt x="583" y="296"/>
                </a:cubicBezTo>
                <a:cubicBezTo>
                  <a:pt x="583" y="296"/>
                  <a:pt x="583" y="296"/>
                  <a:pt x="583" y="296"/>
                </a:cubicBezTo>
                <a:cubicBezTo>
                  <a:pt x="583" y="296"/>
                  <a:pt x="582" y="296"/>
                  <a:pt x="582" y="295"/>
                </a:cubicBezTo>
                <a:cubicBezTo>
                  <a:pt x="582" y="295"/>
                  <a:pt x="582" y="295"/>
                  <a:pt x="582" y="295"/>
                </a:cubicBezTo>
                <a:cubicBezTo>
                  <a:pt x="582" y="295"/>
                  <a:pt x="582" y="295"/>
                  <a:pt x="582" y="295"/>
                </a:cubicBezTo>
                <a:cubicBezTo>
                  <a:pt x="582" y="295"/>
                  <a:pt x="582" y="294"/>
                  <a:pt x="582" y="294"/>
                </a:cubicBezTo>
                <a:cubicBezTo>
                  <a:pt x="582" y="294"/>
                  <a:pt x="582" y="294"/>
                  <a:pt x="582" y="294"/>
                </a:cubicBezTo>
                <a:cubicBezTo>
                  <a:pt x="582" y="294"/>
                  <a:pt x="581" y="295"/>
                  <a:pt x="580" y="295"/>
                </a:cubicBezTo>
                <a:cubicBezTo>
                  <a:pt x="580" y="295"/>
                  <a:pt x="580" y="295"/>
                  <a:pt x="580" y="296"/>
                </a:cubicBezTo>
                <a:cubicBezTo>
                  <a:pt x="580" y="296"/>
                  <a:pt x="580" y="296"/>
                  <a:pt x="580" y="296"/>
                </a:cubicBezTo>
                <a:cubicBezTo>
                  <a:pt x="581" y="296"/>
                  <a:pt x="581" y="296"/>
                  <a:pt x="581" y="296"/>
                </a:cubicBezTo>
                <a:cubicBezTo>
                  <a:pt x="581" y="296"/>
                  <a:pt x="581" y="296"/>
                  <a:pt x="582" y="296"/>
                </a:cubicBezTo>
                <a:cubicBezTo>
                  <a:pt x="582" y="296"/>
                  <a:pt x="582" y="296"/>
                  <a:pt x="582" y="296"/>
                </a:cubicBezTo>
                <a:cubicBezTo>
                  <a:pt x="582" y="296"/>
                  <a:pt x="582" y="296"/>
                  <a:pt x="582" y="296"/>
                </a:cubicBezTo>
                <a:cubicBezTo>
                  <a:pt x="582" y="297"/>
                  <a:pt x="583" y="297"/>
                  <a:pt x="583" y="297"/>
                </a:cubicBezTo>
                <a:cubicBezTo>
                  <a:pt x="583" y="297"/>
                  <a:pt x="583" y="297"/>
                  <a:pt x="583" y="297"/>
                </a:cubicBezTo>
                <a:cubicBezTo>
                  <a:pt x="583" y="297"/>
                  <a:pt x="584" y="297"/>
                  <a:pt x="584" y="297"/>
                </a:cubicBezTo>
                <a:cubicBezTo>
                  <a:pt x="584" y="297"/>
                  <a:pt x="584" y="297"/>
                  <a:pt x="584" y="297"/>
                </a:cubicBezTo>
                <a:cubicBezTo>
                  <a:pt x="584" y="297"/>
                  <a:pt x="584" y="297"/>
                  <a:pt x="585" y="297"/>
                </a:cubicBezTo>
                <a:cubicBezTo>
                  <a:pt x="585" y="297"/>
                  <a:pt x="586" y="297"/>
                  <a:pt x="587" y="297"/>
                </a:cubicBezTo>
                <a:cubicBezTo>
                  <a:pt x="587" y="297"/>
                  <a:pt x="587" y="298"/>
                  <a:pt x="588" y="298"/>
                </a:cubicBezTo>
                <a:cubicBezTo>
                  <a:pt x="588" y="298"/>
                  <a:pt x="588" y="298"/>
                  <a:pt x="589" y="298"/>
                </a:cubicBezTo>
                <a:cubicBezTo>
                  <a:pt x="589" y="298"/>
                  <a:pt x="589" y="298"/>
                  <a:pt x="590" y="298"/>
                </a:cubicBezTo>
                <a:cubicBezTo>
                  <a:pt x="590" y="297"/>
                  <a:pt x="590" y="297"/>
                  <a:pt x="590" y="297"/>
                </a:cubicBezTo>
                <a:cubicBezTo>
                  <a:pt x="590" y="297"/>
                  <a:pt x="590" y="297"/>
                  <a:pt x="590" y="296"/>
                </a:cubicBezTo>
                <a:cubicBezTo>
                  <a:pt x="590" y="296"/>
                  <a:pt x="590" y="296"/>
                  <a:pt x="590" y="296"/>
                </a:cubicBezTo>
                <a:cubicBezTo>
                  <a:pt x="590" y="296"/>
                  <a:pt x="591" y="295"/>
                  <a:pt x="591" y="295"/>
                </a:cubicBezTo>
                <a:close/>
                <a:moveTo>
                  <a:pt x="524" y="212"/>
                </a:moveTo>
                <a:cubicBezTo>
                  <a:pt x="524" y="212"/>
                  <a:pt x="524" y="212"/>
                  <a:pt x="524" y="212"/>
                </a:cubicBezTo>
                <a:cubicBezTo>
                  <a:pt x="524" y="212"/>
                  <a:pt x="525" y="212"/>
                  <a:pt x="525" y="212"/>
                </a:cubicBezTo>
                <a:cubicBezTo>
                  <a:pt x="525" y="212"/>
                  <a:pt x="525" y="212"/>
                  <a:pt x="525" y="212"/>
                </a:cubicBezTo>
                <a:cubicBezTo>
                  <a:pt x="525" y="212"/>
                  <a:pt x="524" y="212"/>
                  <a:pt x="524" y="212"/>
                </a:cubicBezTo>
                <a:cubicBezTo>
                  <a:pt x="524" y="212"/>
                  <a:pt x="524" y="212"/>
                  <a:pt x="524" y="212"/>
                </a:cubicBezTo>
                <a:close/>
                <a:moveTo>
                  <a:pt x="517" y="215"/>
                </a:moveTo>
                <a:cubicBezTo>
                  <a:pt x="517" y="215"/>
                  <a:pt x="517" y="215"/>
                  <a:pt x="517" y="215"/>
                </a:cubicBezTo>
                <a:cubicBezTo>
                  <a:pt x="517" y="215"/>
                  <a:pt x="517" y="214"/>
                  <a:pt x="517" y="214"/>
                </a:cubicBezTo>
                <a:cubicBezTo>
                  <a:pt x="517" y="214"/>
                  <a:pt x="516" y="214"/>
                  <a:pt x="516" y="214"/>
                </a:cubicBezTo>
                <a:cubicBezTo>
                  <a:pt x="516" y="214"/>
                  <a:pt x="516" y="214"/>
                  <a:pt x="516" y="214"/>
                </a:cubicBezTo>
                <a:cubicBezTo>
                  <a:pt x="516" y="214"/>
                  <a:pt x="516" y="214"/>
                  <a:pt x="515" y="214"/>
                </a:cubicBezTo>
                <a:cubicBezTo>
                  <a:pt x="515" y="214"/>
                  <a:pt x="515" y="214"/>
                  <a:pt x="515" y="214"/>
                </a:cubicBezTo>
                <a:cubicBezTo>
                  <a:pt x="515" y="214"/>
                  <a:pt x="514" y="214"/>
                  <a:pt x="514" y="214"/>
                </a:cubicBezTo>
                <a:cubicBezTo>
                  <a:pt x="514" y="214"/>
                  <a:pt x="514" y="214"/>
                  <a:pt x="514" y="215"/>
                </a:cubicBezTo>
                <a:cubicBezTo>
                  <a:pt x="514" y="215"/>
                  <a:pt x="513" y="215"/>
                  <a:pt x="513" y="216"/>
                </a:cubicBezTo>
                <a:cubicBezTo>
                  <a:pt x="513" y="216"/>
                  <a:pt x="513" y="216"/>
                  <a:pt x="513" y="216"/>
                </a:cubicBezTo>
                <a:cubicBezTo>
                  <a:pt x="512" y="216"/>
                  <a:pt x="512" y="216"/>
                  <a:pt x="512" y="216"/>
                </a:cubicBezTo>
                <a:cubicBezTo>
                  <a:pt x="512" y="217"/>
                  <a:pt x="512" y="217"/>
                  <a:pt x="512" y="217"/>
                </a:cubicBezTo>
                <a:cubicBezTo>
                  <a:pt x="512" y="217"/>
                  <a:pt x="512" y="217"/>
                  <a:pt x="512" y="217"/>
                </a:cubicBezTo>
                <a:cubicBezTo>
                  <a:pt x="512" y="218"/>
                  <a:pt x="512" y="218"/>
                  <a:pt x="512" y="218"/>
                </a:cubicBezTo>
                <a:cubicBezTo>
                  <a:pt x="512" y="218"/>
                  <a:pt x="512" y="218"/>
                  <a:pt x="512" y="218"/>
                </a:cubicBezTo>
                <a:cubicBezTo>
                  <a:pt x="512" y="219"/>
                  <a:pt x="512" y="219"/>
                  <a:pt x="512" y="219"/>
                </a:cubicBezTo>
                <a:cubicBezTo>
                  <a:pt x="512" y="219"/>
                  <a:pt x="512" y="219"/>
                  <a:pt x="512" y="219"/>
                </a:cubicBezTo>
                <a:cubicBezTo>
                  <a:pt x="512" y="220"/>
                  <a:pt x="512" y="220"/>
                  <a:pt x="512" y="220"/>
                </a:cubicBezTo>
                <a:cubicBezTo>
                  <a:pt x="512" y="220"/>
                  <a:pt x="512" y="220"/>
                  <a:pt x="513" y="220"/>
                </a:cubicBezTo>
                <a:cubicBezTo>
                  <a:pt x="513" y="220"/>
                  <a:pt x="513" y="220"/>
                  <a:pt x="513" y="220"/>
                </a:cubicBezTo>
                <a:cubicBezTo>
                  <a:pt x="513" y="220"/>
                  <a:pt x="513" y="220"/>
                  <a:pt x="514" y="220"/>
                </a:cubicBezTo>
                <a:cubicBezTo>
                  <a:pt x="514" y="220"/>
                  <a:pt x="514" y="220"/>
                  <a:pt x="514" y="221"/>
                </a:cubicBezTo>
                <a:cubicBezTo>
                  <a:pt x="514" y="220"/>
                  <a:pt x="514" y="220"/>
                  <a:pt x="514" y="220"/>
                </a:cubicBezTo>
                <a:cubicBezTo>
                  <a:pt x="514" y="220"/>
                  <a:pt x="514" y="220"/>
                  <a:pt x="514" y="220"/>
                </a:cubicBezTo>
                <a:cubicBezTo>
                  <a:pt x="514" y="220"/>
                  <a:pt x="515" y="220"/>
                  <a:pt x="515" y="220"/>
                </a:cubicBezTo>
                <a:cubicBezTo>
                  <a:pt x="515" y="220"/>
                  <a:pt x="515" y="220"/>
                  <a:pt x="515" y="219"/>
                </a:cubicBezTo>
                <a:cubicBezTo>
                  <a:pt x="515" y="219"/>
                  <a:pt x="515" y="219"/>
                  <a:pt x="515" y="219"/>
                </a:cubicBezTo>
                <a:cubicBezTo>
                  <a:pt x="515" y="219"/>
                  <a:pt x="515" y="219"/>
                  <a:pt x="515" y="219"/>
                </a:cubicBezTo>
                <a:cubicBezTo>
                  <a:pt x="515" y="219"/>
                  <a:pt x="515" y="219"/>
                  <a:pt x="515" y="219"/>
                </a:cubicBezTo>
                <a:cubicBezTo>
                  <a:pt x="515" y="218"/>
                  <a:pt x="515" y="218"/>
                  <a:pt x="515" y="218"/>
                </a:cubicBezTo>
                <a:cubicBezTo>
                  <a:pt x="516" y="218"/>
                  <a:pt x="516" y="217"/>
                  <a:pt x="516" y="217"/>
                </a:cubicBezTo>
                <a:cubicBezTo>
                  <a:pt x="516" y="217"/>
                  <a:pt x="516" y="217"/>
                  <a:pt x="517" y="217"/>
                </a:cubicBezTo>
                <a:cubicBezTo>
                  <a:pt x="517" y="217"/>
                  <a:pt x="517" y="217"/>
                  <a:pt x="517" y="217"/>
                </a:cubicBezTo>
                <a:cubicBezTo>
                  <a:pt x="517" y="217"/>
                  <a:pt x="517" y="216"/>
                  <a:pt x="517" y="216"/>
                </a:cubicBezTo>
                <a:cubicBezTo>
                  <a:pt x="517" y="216"/>
                  <a:pt x="516" y="216"/>
                  <a:pt x="516" y="216"/>
                </a:cubicBezTo>
                <a:cubicBezTo>
                  <a:pt x="517" y="216"/>
                  <a:pt x="517" y="216"/>
                  <a:pt x="517" y="216"/>
                </a:cubicBezTo>
                <a:cubicBezTo>
                  <a:pt x="517" y="215"/>
                  <a:pt x="517" y="215"/>
                  <a:pt x="517" y="215"/>
                </a:cubicBezTo>
                <a:close/>
                <a:moveTo>
                  <a:pt x="488" y="214"/>
                </a:moveTo>
                <a:cubicBezTo>
                  <a:pt x="488" y="214"/>
                  <a:pt x="489" y="214"/>
                  <a:pt x="489" y="214"/>
                </a:cubicBezTo>
                <a:cubicBezTo>
                  <a:pt x="489" y="214"/>
                  <a:pt x="489" y="214"/>
                  <a:pt x="489" y="214"/>
                </a:cubicBezTo>
                <a:cubicBezTo>
                  <a:pt x="489" y="214"/>
                  <a:pt x="490" y="214"/>
                  <a:pt x="490" y="214"/>
                </a:cubicBezTo>
                <a:cubicBezTo>
                  <a:pt x="490" y="214"/>
                  <a:pt x="490" y="213"/>
                  <a:pt x="490" y="213"/>
                </a:cubicBezTo>
                <a:cubicBezTo>
                  <a:pt x="491" y="213"/>
                  <a:pt x="491" y="213"/>
                  <a:pt x="491" y="213"/>
                </a:cubicBezTo>
                <a:cubicBezTo>
                  <a:pt x="491" y="213"/>
                  <a:pt x="492" y="213"/>
                  <a:pt x="492" y="213"/>
                </a:cubicBezTo>
                <a:cubicBezTo>
                  <a:pt x="492" y="213"/>
                  <a:pt x="492" y="213"/>
                  <a:pt x="492" y="212"/>
                </a:cubicBezTo>
                <a:cubicBezTo>
                  <a:pt x="492" y="212"/>
                  <a:pt x="493" y="212"/>
                  <a:pt x="493" y="212"/>
                </a:cubicBezTo>
                <a:cubicBezTo>
                  <a:pt x="493" y="212"/>
                  <a:pt x="493" y="212"/>
                  <a:pt x="494" y="212"/>
                </a:cubicBezTo>
                <a:cubicBezTo>
                  <a:pt x="494" y="212"/>
                  <a:pt x="494" y="211"/>
                  <a:pt x="494" y="211"/>
                </a:cubicBezTo>
                <a:cubicBezTo>
                  <a:pt x="494" y="211"/>
                  <a:pt x="495" y="210"/>
                  <a:pt x="495" y="210"/>
                </a:cubicBezTo>
                <a:cubicBezTo>
                  <a:pt x="495" y="210"/>
                  <a:pt x="495" y="210"/>
                  <a:pt x="495" y="210"/>
                </a:cubicBezTo>
                <a:cubicBezTo>
                  <a:pt x="495" y="209"/>
                  <a:pt x="495" y="209"/>
                  <a:pt x="496" y="209"/>
                </a:cubicBezTo>
                <a:cubicBezTo>
                  <a:pt x="496" y="209"/>
                  <a:pt x="496" y="209"/>
                  <a:pt x="496" y="209"/>
                </a:cubicBezTo>
                <a:cubicBezTo>
                  <a:pt x="496" y="209"/>
                  <a:pt x="496" y="209"/>
                  <a:pt x="497" y="209"/>
                </a:cubicBezTo>
                <a:cubicBezTo>
                  <a:pt x="497" y="209"/>
                  <a:pt x="497" y="209"/>
                  <a:pt x="497" y="208"/>
                </a:cubicBezTo>
                <a:cubicBezTo>
                  <a:pt x="498" y="208"/>
                  <a:pt x="498" y="208"/>
                  <a:pt x="498" y="208"/>
                </a:cubicBezTo>
                <a:cubicBezTo>
                  <a:pt x="498" y="208"/>
                  <a:pt x="498" y="208"/>
                  <a:pt x="499" y="208"/>
                </a:cubicBezTo>
                <a:cubicBezTo>
                  <a:pt x="499" y="208"/>
                  <a:pt x="499" y="207"/>
                  <a:pt x="499" y="207"/>
                </a:cubicBezTo>
                <a:cubicBezTo>
                  <a:pt x="499" y="207"/>
                  <a:pt x="499" y="206"/>
                  <a:pt x="498" y="206"/>
                </a:cubicBezTo>
                <a:cubicBezTo>
                  <a:pt x="499" y="206"/>
                  <a:pt x="499" y="206"/>
                  <a:pt x="499" y="205"/>
                </a:cubicBezTo>
                <a:cubicBezTo>
                  <a:pt x="499" y="205"/>
                  <a:pt x="499" y="205"/>
                  <a:pt x="500" y="205"/>
                </a:cubicBezTo>
                <a:cubicBezTo>
                  <a:pt x="500" y="205"/>
                  <a:pt x="500" y="205"/>
                  <a:pt x="500" y="205"/>
                </a:cubicBezTo>
                <a:cubicBezTo>
                  <a:pt x="500" y="205"/>
                  <a:pt x="501" y="205"/>
                  <a:pt x="501" y="205"/>
                </a:cubicBezTo>
                <a:cubicBezTo>
                  <a:pt x="501" y="205"/>
                  <a:pt x="501" y="205"/>
                  <a:pt x="501" y="204"/>
                </a:cubicBezTo>
                <a:cubicBezTo>
                  <a:pt x="501" y="204"/>
                  <a:pt x="502" y="204"/>
                  <a:pt x="502" y="204"/>
                </a:cubicBezTo>
                <a:cubicBezTo>
                  <a:pt x="502" y="204"/>
                  <a:pt x="502" y="204"/>
                  <a:pt x="502" y="204"/>
                </a:cubicBezTo>
                <a:cubicBezTo>
                  <a:pt x="503" y="204"/>
                  <a:pt x="503" y="205"/>
                  <a:pt x="503" y="205"/>
                </a:cubicBezTo>
                <a:cubicBezTo>
                  <a:pt x="503" y="205"/>
                  <a:pt x="502" y="205"/>
                  <a:pt x="502" y="205"/>
                </a:cubicBezTo>
                <a:cubicBezTo>
                  <a:pt x="502" y="205"/>
                  <a:pt x="502" y="206"/>
                  <a:pt x="502" y="206"/>
                </a:cubicBezTo>
                <a:cubicBezTo>
                  <a:pt x="502" y="206"/>
                  <a:pt x="502" y="206"/>
                  <a:pt x="503" y="206"/>
                </a:cubicBezTo>
                <a:cubicBezTo>
                  <a:pt x="503" y="206"/>
                  <a:pt x="504" y="206"/>
                  <a:pt x="504" y="206"/>
                </a:cubicBezTo>
                <a:cubicBezTo>
                  <a:pt x="505" y="206"/>
                  <a:pt x="505" y="206"/>
                  <a:pt x="505" y="206"/>
                </a:cubicBezTo>
                <a:cubicBezTo>
                  <a:pt x="505" y="206"/>
                  <a:pt x="505" y="206"/>
                  <a:pt x="505" y="206"/>
                </a:cubicBezTo>
                <a:cubicBezTo>
                  <a:pt x="505" y="206"/>
                  <a:pt x="505" y="207"/>
                  <a:pt x="505" y="207"/>
                </a:cubicBezTo>
                <a:cubicBezTo>
                  <a:pt x="505" y="207"/>
                  <a:pt x="505" y="207"/>
                  <a:pt x="504" y="207"/>
                </a:cubicBezTo>
                <a:cubicBezTo>
                  <a:pt x="504" y="207"/>
                  <a:pt x="504" y="208"/>
                  <a:pt x="504" y="208"/>
                </a:cubicBezTo>
                <a:cubicBezTo>
                  <a:pt x="505" y="208"/>
                  <a:pt x="505" y="208"/>
                  <a:pt x="505" y="208"/>
                </a:cubicBezTo>
                <a:cubicBezTo>
                  <a:pt x="505" y="208"/>
                  <a:pt x="505" y="208"/>
                  <a:pt x="506" y="208"/>
                </a:cubicBezTo>
                <a:cubicBezTo>
                  <a:pt x="506" y="208"/>
                  <a:pt x="506" y="208"/>
                  <a:pt x="506" y="208"/>
                </a:cubicBezTo>
                <a:cubicBezTo>
                  <a:pt x="506" y="208"/>
                  <a:pt x="507" y="208"/>
                  <a:pt x="507" y="208"/>
                </a:cubicBezTo>
                <a:cubicBezTo>
                  <a:pt x="507" y="208"/>
                  <a:pt x="507" y="208"/>
                  <a:pt x="507" y="207"/>
                </a:cubicBezTo>
                <a:cubicBezTo>
                  <a:pt x="508" y="208"/>
                  <a:pt x="508" y="208"/>
                  <a:pt x="508" y="208"/>
                </a:cubicBezTo>
                <a:cubicBezTo>
                  <a:pt x="508" y="208"/>
                  <a:pt x="509" y="208"/>
                  <a:pt x="509" y="208"/>
                </a:cubicBezTo>
                <a:cubicBezTo>
                  <a:pt x="509" y="208"/>
                  <a:pt x="509" y="208"/>
                  <a:pt x="510" y="208"/>
                </a:cubicBezTo>
                <a:cubicBezTo>
                  <a:pt x="510" y="208"/>
                  <a:pt x="510" y="208"/>
                  <a:pt x="510" y="208"/>
                </a:cubicBezTo>
                <a:cubicBezTo>
                  <a:pt x="511" y="208"/>
                  <a:pt x="511" y="208"/>
                  <a:pt x="512" y="208"/>
                </a:cubicBezTo>
                <a:cubicBezTo>
                  <a:pt x="512" y="208"/>
                  <a:pt x="512" y="208"/>
                  <a:pt x="512" y="208"/>
                </a:cubicBezTo>
                <a:cubicBezTo>
                  <a:pt x="512" y="207"/>
                  <a:pt x="512" y="207"/>
                  <a:pt x="513" y="207"/>
                </a:cubicBezTo>
                <a:cubicBezTo>
                  <a:pt x="513" y="207"/>
                  <a:pt x="513" y="206"/>
                  <a:pt x="513" y="206"/>
                </a:cubicBezTo>
                <a:cubicBezTo>
                  <a:pt x="513" y="206"/>
                  <a:pt x="514" y="206"/>
                  <a:pt x="514" y="206"/>
                </a:cubicBezTo>
                <a:cubicBezTo>
                  <a:pt x="514" y="206"/>
                  <a:pt x="514" y="205"/>
                  <a:pt x="515" y="205"/>
                </a:cubicBezTo>
                <a:cubicBezTo>
                  <a:pt x="515" y="205"/>
                  <a:pt x="515" y="205"/>
                  <a:pt x="515" y="205"/>
                </a:cubicBezTo>
                <a:cubicBezTo>
                  <a:pt x="515" y="205"/>
                  <a:pt x="514" y="205"/>
                  <a:pt x="514" y="205"/>
                </a:cubicBezTo>
                <a:cubicBezTo>
                  <a:pt x="514" y="205"/>
                  <a:pt x="514" y="205"/>
                  <a:pt x="514" y="205"/>
                </a:cubicBezTo>
                <a:cubicBezTo>
                  <a:pt x="514" y="205"/>
                  <a:pt x="514" y="204"/>
                  <a:pt x="514" y="204"/>
                </a:cubicBezTo>
                <a:cubicBezTo>
                  <a:pt x="514" y="204"/>
                  <a:pt x="514" y="204"/>
                  <a:pt x="514" y="204"/>
                </a:cubicBezTo>
                <a:cubicBezTo>
                  <a:pt x="514" y="204"/>
                  <a:pt x="514" y="204"/>
                  <a:pt x="514" y="204"/>
                </a:cubicBezTo>
                <a:cubicBezTo>
                  <a:pt x="514" y="204"/>
                  <a:pt x="513" y="203"/>
                  <a:pt x="513" y="203"/>
                </a:cubicBezTo>
                <a:cubicBezTo>
                  <a:pt x="513" y="203"/>
                  <a:pt x="513" y="203"/>
                  <a:pt x="513" y="204"/>
                </a:cubicBezTo>
                <a:cubicBezTo>
                  <a:pt x="513" y="204"/>
                  <a:pt x="513" y="204"/>
                  <a:pt x="513" y="204"/>
                </a:cubicBezTo>
                <a:cubicBezTo>
                  <a:pt x="513" y="204"/>
                  <a:pt x="513" y="204"/>
                  <a:pt x="513" y="204"/>
                </a:cubicBezTo>
                <a:cubicBezTo>
                  <a:pt x="512" y="204"/>
                  <a:pt x="512" y="204"/>
                  <a:pt x="512" y="204"/>
                </a:cubicBezTo>
                <a:cubicBezTo>
                  <a:pt x="512" y="204"/>
                  <a:pt x="511" y="204"/>
                  <a:pt x="511" y="204"/>
                </a:cubicBezTo>
                <a:cubicBezTo>
                  <a:pt x="511" y="204"/>
                  <a:pt x="511" y="204"/>
                  <a:pt x="511" y="204"/>
                </a:cubicBezTo>
                <a:cubicBezTo>
                  <a:pt x="511" y="204"/>
                  <a:pt x="511" y="204"/>
                  <a:pt x="510" y="204"/>
                </a:cubicBezTo>
                <a:cubicBezTo>
                  <a:pt x="510" y="204"/>
                  <a:pt x="510" y="204"/>
                  <a:pt x="510" y="205"/>
                </a:cubicBezTo>
                <a:cubicBezTo>
                  <a:pt x="509" y="205"/>
                  <a:pt x="509" y="205"/>
                  <a:pt x="508" y="205"/>
                </a:cubicBezTo>
                <a:cubicBezTo>
                  <a:pt x="508" y="205"/>
                  <a:pt x="508" y="205"/>
                  <a:pt x="507" y="205"/>
                </a:cubicBezTo>
                <a:cubicBezTo>
                  <a:pt x="508" y="204"/>
                  <a:pt x="508" y="204"/>
                  <a:pt x="508" y="204"/>
                </a:cubicBezTo>
                <a:cubicBezTo>
                  <a:pt x="508" y="204"/>
                  <a:pt x="509" y="204"/>
                  <a:pt x="509" y="204"/>
                </a:cubicBezTo>
                <a:cubicBezTo>
                  <a:pt x="509" y="204"/>
                  <a:pt x="509" y="204"/>
                  <a:pt x="510" y="203"/>
                </a:cubicBezTo>
                <a:cubicBezTo>
                  <a:pt x="510" y="203"/>
                  <a:pt x="510" y="203"/>
                  <a:pt x="510" y="203"/>
                </a:cubicBezTo>
                <a:cubicBezTo>
                  <a:pt x="509" y="203"/>
                  <a:pt x="509" y="203"/>
                  <a:pt x="509" y="203"/>
                </a:cubicBezTo>
                <a:cubicBezTo>
                  <a:pt x="509" y="202"/>
                  <a:pt x="509" y="202"/>
                  <a:pt x="509" y="202"/>
                </a:cubicBezTo>
                <a:cubicBezTo>
                  <a:pt x="509" y="202"/>
                  <a:pt x="509" y="202"/>
                  <a:pt x="509" y="201"/>
                </a:cubicBezTo>
                <a:cubicBezTo>
                  <a:pt x="509" y="201"/>
                  <a:pt x="509" y="201"/>
                  <a:pt x="509" y="201"/>
                </a:cubicBezTo>
                <a:cubicBezTo>
                  <a:pt x="509" y="201"/>
                  <a:pt x="509" y="201"/>
                  <a:pt x="508" y="201"/>
                </a:cubicBezTo>
                <a:cubicBezTo>
                  <a:pt x="508" y="201"/>
                  <a:pt x="508" y="201"/>
                  <a:pt x="508" y="200"/>
                </a:cubicBezTo>
                <a:cubicBezTo>
                  <a:pt x="508" y="200"/>
                  <a:pt x="507" y="200"/>
                  <a:pt x="506" y="200"/>
                </a:cubicBezTo>
                <a:cubicBezTo>
                  <a:pt x="506" y="200"/>
                  <a:pt x="505" y="200"/>
                  <a:pt x="505" y="200"/>
                </a:cubicBezTo>
                <a:cubicBezTo>
                  <a:pt x="505" y="200"/>
                  <a:pt x="505" y="199"/>
                  <a:pt x="505" y="199"/>
                </a:cubicBezTo>
                <a:cubicBezTo>
                  <a:pt x="505" y="199"/>
                  <a:pt x="504" y="199"/>
                  <a:pt x="504" y="199"/>
                </a:cubicBezTo>
                <a:cubicBezTo>
                  <a:pt x="504" y="199"/>
                  <a:pt x="504" y="199"/>
                  <a:pt x="503" y="199"/>
                </a:cubicBezTo>
                <a:cubicBezTo>
                  <a:pt x="503" y="199"/>
                  <a:pt x="503" y="199"/>
                  <a:pt x="503" y="198"/>
                </a:cubicBezTo>
                <a:cubicBezTo>
                  <a:pt x="503" y="198"/>
                  <a:pt x="503" y="198"/>
                  <a:pt x="503" y="198"/>
                </a:cubicBezTo>
                <a:cubicBezTo>
                  <a:pt x="503" y="197"/>
                  <a:pt x="503" y="197"/>
                  <a:pt x="503" y="197"/>
                </a:cubicBezTo>
                <a:cubicBezTo>
                  <a:pt x="502" y="197"/>
                  <a:pt x="502" y="197"/>
                  <a:pt x="501" y="197"/>
                </a:cubicBezTo>
                <a:cubicBezTo>
                  <a:pt x="500" y="197"/>
                  <a:pt x="500" y="197"/>
                  <a:pt x="499" y="197"/>
                </a:cubicBezTo>
                <a:cubicBezTo>
                  <a:pt x="499" y="197"/>
                  <a:pt x="499" y="197"/>
                  <a:pt x="498" y="197"/>
                </a:cubicBezTo>
                <a:cubicBezTo>
                  <a:pt x="499" y="197"/>
                  <a:pt x="499" y="197"/>
                  <a:pt x="499" y="196"/>
                </a:cubicBezTo>
                <a:cubicBezTo>
                  <a:pt x="499" y="196"/>
                  <a:pt x="499" y="196"/>
                  <a:pt x="499" y="196"/>
                </a:cubicBezTo>
                <a:cubicBezTo>
                  <a:pt x="498" y="196"/>
                  <a:pt x="498" y="196"/>
                  <a:pt x="498" y="196"/>
                </a:cubicBezTo>
                <a:cubicBezTo>
                  <a:pt x="498" y="196"/>
                  <a:pt x="498" y="195"/>
                  <a:pt x="497" y="195"/>
                </a:cubicBezTo>
                <a:cubicBezTo>
                  <a:pt x="497" y="195"/>
                  <a:pt x="497" y="195"/>
                  <a:pt x="497" y="195"/>
                </a:cubicBezTo>
                <a:cubicBezTo>
                  <a:pt x="497" y="196"/>
                  <a:pt x="496" y="196"/>
                  <a:pt x="496" y="196"/>
                </a:cubicBezTo>
                <a:cubicBezTo>
                  <a:pt x="496" y="197"/>
                  <a:pt x="496" y="197"/>
                  <a:pt x="496" y="197"/>
                </a:cubicBezTo>
                <a:cubicBezTo>
                  <a:pt x="496" y="197"/>
                  <a:pt x="496" y="197"/>
                  <a:pt x="496" y="198"/>
                </a:cubicBezTo>
                <a:cubicBezTo>
                  <a:pt x="495" y="197"/>
                  <a:pt x="495" y="197"/>
                  <a:pt x="495" y="197"/>
                </a:cubicBezTo>
                <a:cubicBezTo>
                  <a:pt x="495" y="197"/>
                  <a:pt x="495" y="197"/>
                  <a:pt x="495" y="196"/>
                </a:cubicBezTo>
                <a:cubicBezTo>
                  <a:pt x="495" y="196"/>
                  <a:pt x="494" y="196"/>
                  <a:pt x="494" y="196"/>
                </a:cubicBezTo>
                <a:cubicBezTo>
                  <a:pt x="494" y="196"/>
                  <a:pt x="494" y="196"/>
                  <a:pt x="494" y="195"/>
                </a:cubicBezTo>
                <a:cubicBezTo>
                  <a:pt x="495" y="195"/>
                  <a:pt x="495" y="195"/>
                  <a:pt x="495" y="195"/>
                </a:cubicBezTo>
                <a:cubicBezTo>
                  <a:pt x="495" y="195"/>
                  <a:pt x="495" y="195"/>
                  <a:pt x="496" y="195"/>
                </a:cubicBezTo>
                <a:cubicBezTo>
                  <a:pt x="496" y="195"/>
                  <a:pt x="495" y="195"/>
                  <a:pt x="495" y="195"/>
                </a:cubicBezTo>
                <a:cubicBezTo>
                  <a:pt x="495" y="195"/>
                  <a:pt x="495" y="194"/>
                  <a:pt x="495" y="194"/>
                </a:cubicBezTo>
                <a:cubicBezTo>
                  <a:pt x="495" y="194"/>
                  <a:pt x="495" y="194"/>
                  <a:pt x="495" y="194"/>
                </a:cubicBezTo>
                <a:cubicBezTo>
                  <a:pt x="495" y="194"/>
                  <a:pt x="494" y="194"/>
                  <a:pt x="494" y="194"/>
                </a:cubicBezTo>
                <a:cubicBezTo>
                  <a:pt x="494" y="194"/>
                  <a:pt x="494" y="194"/>
                  <a:pt x="494" y="194"/>
                </a:cubicBezTo>
                <a:cubicBezTo>
                  <a:pt x="494" y="193"/>
                  <a:pt x="494" y="193"/>
                  <a:pt x="495" y="193"/>
                </a:cubicBezTo>
                <a:cubicBezTo>
                  <a:pt x="494" y="193"/>
                  <a:pt x="494" y="193"/>
                  <a:pt x="494" y="193"/>
                </a:cubicBezTo>
                <a:cubicBezTo>
                  <a:pt x="493" y="193"/>
                  <a:pt x="493" y="193"/>
                  <a:pt x="492" y="194"/>
                </a:cubicBezTo>
                <a:cubicBezTo>
                  <a:pt x="492" y="194"/>
                  <a:pt x="491" y="194"/>
                  <a:pt x="491" y="195"/>
                </a:cubicBezTo>
                <a:cubicBezTo>
                  <a:pt x="491" y="195"/>
                  <a:pt x="491" y="196"/>
                  <a:pt x="490" y="196"/>
                </a:cubicBezTo>
                <a:cubicBezTo>
                  <a:pt x="490" y="197"/>
                  <a:pt x="490" y="197"/>
                  <a:pt x="490" y="197"/>
                </a:cubicBezTo>
                <a:cubicBezTo>
                  <a:pt x="490" y="198"/>
                  <a:pt x="490" y="198"/>
                  <a:pt x="490" y="198"/>
                </a:cubicBezTo>
                <a:cubicBezTo>
                  <a:pt x="490" y="198"/>
                  <a:pt x="489" y="198"/>
                  <a:pt x="489" y="199"/>
                </a:cubicBezTo>
                <a:cubicBezTo>
                  <a:pt x="489" y="199"/>
                  <a:pt x="489" y="199"/>
                  <a:pt x="489" y="199"/>
                </a:cubicBezTo>
                <a:cubicBezTo>
                  <a:pt x="489" y="200"/>
                  <a:pt x="489" y="200"/>
                  <a:pt x="488" y="201"/>
                </a:cubicBezTo>
                <a:cubicBezTo>
                  <a:pt x="489" y="201"/>
                  <a:pt x="489" y="201"/>
                  <a:pt x="489" y="201"/>
                </a:cubicBezTo>
                <a:cubicBezTo>
                  <a:pt x="489" y="201"/>
                  <a:pt x="489" y="201"/>
                  <a:pt x="488" y="201"/>
                </a:cubicBezTo>
                <a:cubicBezTo>
                  <a:pt x="488" y="201"/>
                  <a:pt x="488" y="202"/>
                  <a:pt x="488" y="202"/>
                </a:cubicBezTo>
                <a:cubicBezTo>
                  <a:pt x="488" y="202"/>
                  <a:pt x="488" y="202"/>
                  <a:pt x="488" y="203"/>
                </a:cubicBezTo>
                <a:cubicBezTo>
                  <a:pt x="488" y="203"/>
                  <a:pt x="488" y="203"/>
                  <a:pt x="487" y="204"/>
                </a:cubicBezTo>
                <a:cubicBezTo>
                  <a:pt x="487" y="204"/>
                  <a:pt x="487" y="204"/>
                  <a:pt x="487" y="204"/>
                </a:cubicBezTo>
                <a:cubicBezTo>
                  <a:pt x="487" y="205"/>
                  <a:pt x="487" y="205"/>
                  <a:pt x="487" y="205"/>
                </a:cubicBezTo>
                <a:cubicBezTo>
                  <a:pt x="487" y="206"/>
                  <a:pt x="487" y="206"/>
                  <a:pt x="487" y="206"/>
                </a:cubicBezTo>
                <a:cubicBezTo>
                  <a:pt x="487" y="206"/>
                  <a:pt x="487" y="207"/>
                  <a:pt x="487" y="207"/>
                </a:cubicBezTo>
                <a:cubicBezTo>
                  <a:pt x="487" y="207"/>
                  <a:pt x="487" y="207"/>
                  <a:pt x="487" y="207"/>
                </a:cubicBezTo>
                <a:cubicBezTo>
                  <a:pt x="486" y="208"/>
                  <a:pt x="486" y="208"/>
                  <a:pt x="485" y="208"/>
                </a:cubicBezTo>
                <a:cubicBezTo>
                  <a:pt x="485" y="208"/>
                  <a:pt x="484" y="208"/>
                  <a:pt x="484" y="209"/>
                </a:cubicBezTo>
                <a:cubicBezTo>
                  <a:pt x="484" y="209"/>
                  <a:pt x="484" y="209"/>
                  <a:pt x="484" y="209"/>
                </a:cubicBezTo>
                <a:cubicBezTo>
                  <a:pt x="484" y="210"/>
                  <a:pt x="484" y="210"/>
                  <a:pt x="483" y="211"/>
                </a:cubicBezTo>
                <a:cubicBezTo>
                  <a:pt x="484" y="211"/>
                  <a:pt x="484" y="211"/>
                  <a:pt x="484" y="211"/>
                </a:cubicBezTo>
                <a:cubicBezTo>
                  <a:pt x="484" y="212"/>
                  <a:pt x="484" y="211"/>
                  <a:pt x="484" y="211"/>
                </a:cubicBezTo>
                <a:cubicBezTo>
                  <a:pt x="484" y="211"/>
                  <a:pt x="484" y="211"/>
                  <a:pt x="484" y="211"/>
                </a:cubicBezTo>
                <a:cubicBezTo>
                  <a:pt x="485" y="211"/>
                  <a:pt x="485" y="211"/>
                  <a:pt x="485" y="210"/>
                </a:cubicBezTo>
                <a:cubicBezTo>
                  <a:pt x="485" y="210"/>
                  <a:pt x="485" y="210"/>
                  <a:pt x="485" y="211"/>
                </a:cubicBezTo>
                <a:cubicBezTo>
                  <a:pt x="486" y="211"/>
                  <a:pt x="486" y="211"/>
                  <a:pt x="486" y="211"/>
                </a:cubicBezTo>
                <a:cubicBezTo>
                  <a:pt x="486" y="211"/>
                  <a:pt x="487" y="210"/>
                  <a:pt x="487" y="210"/>
                </a:cubicBezTo>
                <a:cubicBezTo>
                  <a:pt x="487" y="210"/>
                  <a:pt x="487" y="210"/>
                  <a:pt x="487" y="210"/>
                </a:cubicBezTo>
                <a:cubicBezTo>
                  <a:pt x="488" y="210"/>
                  <a:pt x="488" y="210"/>
                  <a:pt x="488" y="210"/>
                </a:cubicBezTo>
                <a:cubicBezTo>
                  <a:pt x="488" y="210"/>
                  <a:pt x="488" y="210"/>
                  <a:pt x="489" y="210"/>
                </a:cubicBezTo>
                <a:cubicBezTo>
                  <a:pt x="489" y="210"/>
                  <a:pt x="489" y="210"/>
                  <a:pt x="489" y="211"/>
                </a:cubicBezTo>
                <a:cubicBezTo>
                  <a:pt x="489" y="211"/>
                  <a:pt x="488" y="211"/>
                  <a:pt x="488" y="211"/>
                </a:cubicBezTo>
                <a:cubicBezTo>
                  <a:pt x="488" y="212"/>
                  <a:pt x="488" y="212"/>
                  <a:pt x="489" y="212"/>
                </a:cubicBezTo>
                <a:cubicBezTo>
                  <a:pt x="488" y="212"/>
                  <a:pt x="488" y="212"/>
                  <a:pt x="488" y="213"/>
                </a:cubicBezTo>
                <a:cubicBezTo>
                  <a:pt x="488" y="213"/>
                  <a:pt x="488" y="213"/>
                  <a:pt x="488" y="214"/>
                </a:cubicBezTo>
                <a:close/>
                <a:moveTo>
                  <a:pt x="510" y="257"/>
                </a:moveTo>
                <a:cubicBezTo>
                  <a:pt x="510" y="257"/>
                  <a:pt x="510" y="257"/>
                  <a:pt x="510" y="257"/>
                </a:cubicBezTo>
                <a:cubicBezTo>
                  <a:pt x="511" y="256"/>
                  <a:pt x="511" y="256"/>
                  <a:pt x="511" y="256"/>
                </a:cubicBezTo>
                <a:cubicBezTo>
                  <a:pt x="512" y="255"/>
                  <a:pt x="512" y="255"/>
                  <a:pt x="512" y="255"/>
                </a:cubicBezTo>
                <a:cubicBezTo>
                  <a:pt x="512" y="255"/>
                  <a:pt x="512" y="255"/>
                  <a:pt x="512" y="254"/>
                </a:cubicBezTo>
                <a:cubicBezTo>
                  <a:pt x="512" y="254"/>
                  <a:pt x="511" y="254"/>
                  <a:pt x="511" y="254"/>
                </a:cubicBezTo>
                <a:cubicBezTo>
                  <a:pt x="511" y="254"/>
                  <a:pt x="511" y="254"/>
                  <a:pt x="511" y="254"/>
                </a:cubicBezTo>
                <a:cubicBezTo>
                  <a:pt x="511" y="254"/>
                  <a:pt x="511" y="254"/>
                  <a:pt x="511" y="254"/>
                </a:cubicBezTo>
                <a:cubicBezTo>
                  <a:pt x="511" y="254"/>
                  <a:pt x="510" y="254"/>
                  <a:pt x="510" y="254"/>
                </a:cubicBezTo>
                <a:cubicBezTo>
                  <a:pt x="510" y="254"/>
                  <a:pt x="510" y="254"/>
                  <a:pt x="510" y="254"/>
                </a:cubicBezTo>
                <a:cubicBezTo>
                  <a:pt x="510" y="254"/>
                  <a:pt x="510" y="255"/>
                  <a:pt x="510" y="255"/>
                </a:cubicBezTo>
                <a:cubicBezTo>
                  <a:pt x="509" y="255"/>
                  <a:pt x="509" y="256"/>
                  <a:pt x="509" y="256"/>
                </a:cubicBezTo>
                <a:cubicBezTo>
                  <a:pt x="509" y="256"/>
                  <a:pt x="508" y="256"/>
                  <a:pt x="508" y="256"/>
                </a:cubicBezTo>
                <a:cubicBezTo>
                  <a:pt x="508" y="256"/>
                  <a:pt x="508" y="256"/>
                  <a:pt x="508" y="256"/>
                </a:cubicBezTo>
                <a:cubicBezTo>
                  <a:pt x="508" y="256"/>
                  <a:pt x="509" y="255"/>
                  <a:pt x="509" y="255"/>
                </a:cubicBezTo>
                <a:cubicBezTo>
                  <a:pt x="509" y="255"/>
                  <a:pt x="509" y="255"/>
                  <a:pt x="509" y="255"/>
                </a:cubicBezTo>
                <a:cubicBezTo>
                  <a:pt x="509" y="254"/>
                  <a:pt x="509" y="254"/>
                  <a:pt x="509" y="254"/>
                </a:cubicBezTo>
                <a:cubicBezTo>
                  <a:pt x="509" y="255"/>
                  <a:pt x="508" y="255"/>
                  <a:pt x="508" y="255"/>
                </a:cubicBezTo>
                <a:cubicBezTo>
                  <a:pt x="508" y="255"/>
                  <a:pt x="508" y="256"/>
                  <a:pt x="508" y="256"/>
                </a:cubicBezTo>
                <a:cubicBezTo>
                  <a:pt x="507" y="256"/>
                  <a:pt x="507" y="257"/>
                  <a:pt x="507" y="257"/>
                </a:cubicBezTo>
                <a:cubicBezTo>
                  <a:pt x="507" y="257"/>
                  <a:pt x="507" y="257"/>
                  <a:pt x="507" y="257"/>
                </a:cubicBezTo>
                <a:cubicBezTo>
                  <a:pt x="507" y="258"/>
                  <a:pt x="506" y="258"/>
                  <a:pt x="506" y="258"/>
                </a:cubicBezTo>
                <a:cubicBezTo>
                  <a:pt x="506" y="258"/>
                  <a:pt x="506" y="258"/>
                  <a:pt x="506" y="259"/>
                </a:cubicBezTo>
                <a:cubicBezTo>
                  <a:pt x="507" y="259"/>
                  <a:pt x="507" y="258"/>
                  <a:pt x="507" y="258"/>
                </a:cubicBezTo>
                <a:cubicBezTo>
                  <a:pt x="507" y="258"/>
                  <a:pt x="507" y="258"/>
                  <a:pt x="508" y="257"/>
                </a:cubicBezTo>
                <a:cubicBezTo>
                  <a:pt x="508" y="257"/>
                  <a:pt x="508" y="257"/>
                  <a:pt x="508" y="257"/>
                </a:cubicBezTo>
                <a:cubicBezTo>
                  <a:pt x="508" y="257"/>
                  <a:pt x="508" y="257"/>
                  <a:pt x="508" y="257"/>
                </a:cubicBezTo>
                <a:cubicBezTo>
                  <a:pt x="508" y="258"/>
                  <a:pt x="508" y="258"/>
                  <a:pt x="507" y="258"/>
                </a:cubicBezTo>
                <a:cubicBezTo>
                  <a:pt x="508" y="258"/>
                  <a:pt x="508" y="258"/>
                  <a:pt x="508" y="258"/>
                </a:cubicBezTo>
                <a:cubicBezTo>
                  <a:pt x="508" y="258"/>
                  <a:pt x="508" y="258"/>
                  <a:pt x="509" y="258"/>
                </a:cubicBezTo>
                <a:cubicBezTo>
                  <a:pt x="509" y="258"/>
                  <a:pt x="509" y="258"/>
                  <a:pt x="509" y="258"/>
                </a:cubicBezTo>
                <a:cubicBezTo>
                  <a:pt x="509" y="258"/>
                  <a:pt x="510" y="257"/>
                  <a:pt x="510" y="257"/>
                </a:cubicBezTo>
                <a:cubicBezTo>
                  <a:pt x="510" y="256"/>
                  <a:pt x="510" y="256"/>
                  <a:pt x="511" y="255"/>
                </a:cubicBezTo>
                <a:cubicBezTo>
                  <a:pt x="511" y="255"/>
                  <a:pt x="511" y="255"/>
                  <a:pt x="511" y="255"/>
                </a:cubicBezTo>
                <a:cubicBezTo>
                  <a:pt x="511" y="255"/>
                  <a:pt x="511" y="255"/>
                  <a:pt x="511" y="255"/>
                </a:cubicBezTo>
                <a:cubicBezTo>
                  <a:pt x="511" y="255"/>
                  <a:pt x="511" y="255"/>
                  <a:pt x="511" y="255"/>
                </a:cubicBezTo>
                <a:cubicBezTo>
                  <a:pt x="511" y="256"/>
                  <a:pt x="511" y="256"/>
                  <a:pt x="510" y="257"/>
                </a:cubicBezTo>
                <a:cubicBezTo>
                  <a:pt x="510" y="257"/>
                  <a:pt x="510" y="257"/>
                  <a:pt x="510" y="257"/>
                </a:cubicBezTo>
                <a:close/>
                <a:moveTo>
                  <a:pt x="503" y="437"/>
                </a:moveTo>
                <a:cubicBezTo>
                  <a:pt x="504" y="437"/>
                  <a:pt x="504" y="437"/>
                  <a:pt x="504" y="437"/>
                </a:cubicBezTo>
                <a:cubicBezTo>
                  <a:pt x="504" y="436"/>
                  <a:pt x="504" y="436"/>
                  <a:pt x="504" y="436"/>
                </a:cubicBezTo>
                <a:cubicBezTo>
                  <a:pt x="504" y="436"/>
                  <a:pt x="504" y="436"/>
                  <a:pt x="503" y="436"/>
                </a:cubicBezTo>
                <a:cubicBezTo>
                  <a:pt x="503" y="437"/>
                  <a:pt x="503" y="437"/>
                  <a:pt x="503" y="437"/>
                </a:cubicBezTo>
                <a:close/>
                <a:moveTo>
                  <a:pt x="527" y="437"/>
                </a:moveTo>
                <a:cubicBezTo>
                  <a:pt x="527" y="436"/>
                  <a:pt x="528" y="436"/>
                  <a:pt x="528" y="436"/>
                </a:cubicBezTo>
                <a:cubicBezTo>
                  <a:pt x="528" y="436"/>
                  <a:pt x="528" y="436"/>
                  <a:pt x="528" y="436"/>
                </a:cubicBezTo>
                <a:cubicBezTo>
                  <a:pt x="528" y="436"/>
                  <a:pt x="528" y="436"/>
                  <a:pt x="529" y="436"/>
                </a:cubicBezTo>
                <a:cubicBezTo>
                  <a:pt x="529" y="436"/>
                  <a:pt x="530" y="435"/>
                  <a:pt x="530" y="435"/>
                </a:cubicBezTo>
                <a:cubicBezTo>
                  <a:pt x="530" y="435"/>
                  <a:pt x="530" y="435"/>
                  <a:pt x="530" y="435"/>
                </a:cubicBezTo>
                <a:cubicBezTo>
                  <a:pt x="530" y="435"/>
                  <a:pt x="530" y="435"/>
                  <a:pt x="529" y="435"/>
                </a:cubicBezTo>
                <a:cubicBezTo>
                  <a:pt x="529" y="435"/>
                  <a:pt x="529" y="435"/>
                  <a:pt x="528" y="435"/>
                </a:cubicBezTo>
                <a:cubicBezTo>
                  <a:pt x="528" y="434"/>
                  <a:pt x="527" y="434"/>
                  <a:pt x="527" y="434"/>
                </a:cubicBezTo>
                <a:cubicBezTo>
                  <a:pt x="526" y="434"/>
                  <a:pt x="524" y="434"/>
                  <a:pt x="523" y="435"/>
                </a:cubicBezTo>
                <a:cubicBezTo>
                  <a:pt x="522" y="435"/>
                  <a:pt x="522" y="435"/>
                  <a:pt x="521" y="435"/>
                </a:cubicBezTo>
                <a:cubicBezTo>
                  <a:pt x="521" y="435"/>
                  <a:pt x="521" y="435"/>
                  <a:pt x="520" y="436"/>
                </a:cubicBezTo>
                <a:cubicBezTo>
                  <a:pt x="520" y="436"/>
                  <a:pt x="520" y="436"/>
                  <a:pt x="519" y="436"/>
                </a:cubicBezTo>
                <a:cubicBezTo>
                  <a:pt x="519" y="436"/>
                  <a:pt x="519" y="436"/>
                  <a:pt x="519" y="437"/>
                </a:cubicBezTo>
                <a:cubicBezTo>
                  <a:pt x="519" y="437"/>
                  <a:pt x="520" y="437"/>
                  <a:pt x="520" y="437"/>
                </a:cubicBezTo>
                <a:cubicBezTo>
                  <a:pt x="520" y="437"/>
                  <a:pt x="520" y="437"/>
                  <a:pt x="521" y="437"/>
                </a:cubicBezTo>
                <a:cubicBezTo>
                  <a:pt x="521" y="437"/>
                  <a:pt x="521" y="437"/>
                  <a:pt x="521" y="437"/>
                </a:cubicBezTo>
                <a:cubicBezTo>
                  <a:pt x="522" y="437"/>
                  <a:pt x="522" y="437"/>
                  <a:pt x="522" y="437"/>
                </a:cubicBezTo>
                <a:cubicBezTo>
                  <a:pt x="522" y="438"/>
                  <a:pt x="523" y="438"/>
                  <a:pt x="523" y="438"/>
                </a:cubicBezTo>
                <a:cubicBezTo>
                  <a:pt x="523" y="438"/>
                  <a:pt x="524" y="437"/>
                  <a:pt x="524" y="437"/>
                </a:cubicBezTo>
                <a:cubicBezTo>
                  <a:pt x="524" y="437"/>
                  <a:pt x="525" y="437"/>
                  <a:pt x="525" y="438"/>
                </a:cubicBezTo>
                <a:cubicBezTo>
                  <a:pt x="525" y="437"/>
                  <a:pt x="526" y="437"/>
                  <a:pt x="526" y="437"/>
                </a:cubicBezTo>
                <a:cubicBezTo>
                  <a:pt x="526" y="437"/>
                  <a:pt x="526" y="437"/>
                  <a:pt x="526" y="437"/>
                </a:cubicBezTo>
                <a:cubicBezTo>
                  <a:pt x="526" y="436"/>
                  <a:pt x="527" y="436"/>
                  <a:pt x="527" y="436"/>
                </a:cubicBezTo>
                <a:cubicBezTo>
                  <a:pt x="527" y="436"/>
                  <a:pt x="527" y="436"/>
                  <a:pt x="527" y="437"/>
                </a:cubicBezTo>
                <a:close/>
                <a:moveTo>
                  <a:pt x="546" y="427"/>
                </a:moveTo>
                <a:cubicBezTo>
                  <a:pt x="545" y="427"/>
                  <a:pt x="545" y="427"/>
                  <a:pt x="545" y="427"/>
                </a:cubicBezTo>
                <a:cubicBezTo>
                  <a:pt x="544" y="427"/>
                  <a:pt x="544" y="428"/>
                  <a:pt x="544" y="428"/>
                </a:cubicBezTo>
                <a:cubicBezTo>
                  <a:pt x="544" y="428"/>
                  <a:pt x="544" y="428"/>
                  <a:pt x="545" y="428"/>
                </a:cubicBezTo>
                <a:cubicBezTo>
                  <a:pt x="545" y="428"/>
                  <a:pt x="546" y="428"/>
                  <a:pt x="546" y="428"/>
                </a:cubicBezTo>
                <a:cubicBezTo>
                  <a:pt x="546" y="428"/>
                  <a:pt x="546" y="428"/>
                  <a:pt x="546" y="427"/>
                </a:cubicBezTo>
                <a:close/>
                <a:moveTo>
                  <a:pt x="547" y="423"/>
                </a:moveTo>
                <a:cubicBezTo>
                  <a:pt x="547" y="422"/>
                  <a:pt x="546" y="422"/>
                  <a:pt x="545" y="422"/>
                </a:cubicBezTo>
                <a:cubicBezTo>
                  <a:pt x="545" y="422"/>
                  <a:pt x="545" y="423"/>
                  <a:pt x="545" y="423"/>
                </a:cubicBezTo>
                <a:cubicBezTo>
                  <a:pt x="545" y="423"/>
                  <a:pt x="545" y="423"/>
                  <a:pt x="545" y="423"/>
                </a:cubicBezTo>
                <a:cubicBezTo>
                  <a:pt x="546" y="423"/>
                  <a:pt x="547" y="423"/>
                  <a:pt x="547" y="423"/>
                </a:cubicBezTo>
                <a:close/>
                <a:moveTo>
                  <a:pt x="534" y="426"/>
                </a:moveTo>
                <a:cubicBezTo>
                  <a:pt x="534" y="426"/>
                  <a:pt x="534" y="426"/>
                  <a:pt x="534" y="426"/>
                </a:cubicBezTo>
                <a:cubicBezTo>
                  <a:pt x="534" y="426"/>
                  <a:pt x="534" y="426"/>
                  <a:pt x="534" y="426"/>
                </a:cubicBezTo>
                <a:cubicBezTo>
                  <a:pt x="535" y="426"/>
                  <a:pt x="535" y="426"/>
                  <a:pt x="535" y="425"/>
                </a:cubicBezTo>
                <a:cubicBezTo>
                  <a:pt x="536" y="425"/>
                  <a:pt x="536" y="425"/>
                  <a:pt x="537" y="425"/>
                </a:cubicBezTo>
                <a:cubicBezTo>
                  <a:pt x="537" y="425"/>
                  <a:pt x="538" y="425"/>
                  <a:pt x="538" y="425"/>
                </a:cubicBezTo>
                <a:cubicBezTo>
                  <a:pt x="538" y="424"/>
                  <a:pt x="538" y="424"/>
                  <a:pt x="538" y="424"/>
                </a:cubicBezTo>
                <a:cubicBezTo>
                  <a:pt x="538" y="424"/>
                  <a:pt x="538" y="424"/>
                  <a:pt x="538" y="423"/>
                </a:cubicBezTo>
                <a:cubicBezTo>
                  <a:pt x="537" y="423"/>
                  <a:pt x="537" y="424"/>
                  <a:pt x="537" y="424"/>
                </a:cubicBezTo>
                <a:cubicBezTo>
                  <a:pt x="537" y="423"/>
                  <a:pt x="536" y="423"/>
                  <a:pt x="536" y="423"/>
                </a:cubicBezTo>
                <a:cubicBezTo>
                  <a:pt x="535" y="423"/>
                  <a:pt x="534" y="423"/>
                  <a:pt x="534" y="423"/>
                </a:cubicBezTo>
                <a:cubicBezTo>
                  <a:pt x="533" y="423"/>
                  <a:pt x="532" y="423"/>
                  <a:pt x="531" y="423"/>
                </a:cubicBezTo>
                <a:cubicBezTo>
                  <a:pt x="531" y="423"/>
                  <a:pt x="531" y="423"/>
                  <a:pt x="530" y="423"/>
                </a:cubicBezTo>
                <a:cubicBezTo>
                  <a:pt x="531" y="423"/>
                  <a:pt x="531" y="423"/>
                  <a:pt x="531" y="423"/>
                </a:cubicBezTo>
                <a:cubicBezTo>
                  <a:pt x="531" y="422"/>
                  <a:pt x="531" y="422"/>
                  <a:pt x="531" y="422"/>
                </a:cubicBezTo>
                <a:cubicBezTo>
                  <a:pt x="531" y="422"/>
                  <a:pt x="530" y="422"/>
                  <a:pt x="530" y="422"/>
                </a:cubicBezTo>
                <a:cubicBezTo>
                  <a:pt x="530" y="422"/>
                  <a:pt x="530" y="422"/>
                  <a:pt x="530" y="422"/>
                </a:cubicBezTo>
                <a:cubicBezTo>
                  <a:pt x="529" y="422"/>
                  <a:pt x="529" y="422"/>
                  <a:pt x="529" y="422"/>
                </a:cubicBezTo>
                <a:cubicBezTo>
                  <a:pt x="528" y="422"/>
                  <a:pt x="527" y="422"/>
                  <a:pt x="527" y="422"/>
                </a:cubicBezTo>
                <a:cubicBezTo>
                  <a:pt x="526" y="422"/>
                  <a:pt x="526" y="422"/>
                  <a:pt x="526" y="422"/>
                </a:cubicBezTo>
                <a:cubicBezTo>
                  <a:pt x="526" y="422"/>
                  <a:pt x="525" y="422"/>
                  <a:pt x="525" y="422"/>
                </a:cubicBezTo>
                <a:cubicBezTo>
                  <a:pt x="525" y="422"/>
                  <a:pt x="524" y="422"/>
                  <a:pt x="524" y="422"/>
                </a:cubicBezTo>
                <a:cubicBezTo>
                  <a:pt x="523" y="422"/>
                  <a:pt x="523" y="422"/>
                  <a:pt x="523" y="422"/>
                </a:cubicBezTo>
                <a:cubicBezTo>
                  <a:pt x="523" y="422"/>
                  <a:pt x="523" y="422"/>
                  <a:pt x="523" y="422"/>
                </a:cubicBezTo>
                <a:cubicBezTo>
                  <a:pt x="523" y="422"/>
                  <a:pt x="523" y="422"/>
                  <a:pt x="523" y="422"/>
                </a:cubicBezTo>
                <a:cubicBezTo>
                  <a:pt x="522" y="422"/>
                  <a:pt x="522" y="422"/>
                  <a:pt x="522" y="422"/>
                </a:cubicBezTo>
                <a:cubicBezTo>
                  <a:pt x="522" y="422"/>
                  <a:pt x="522" y="422"/>
                  <a:pt x="522" y="422"/>
                </a:cubicBezTo>
                <a:cubicBezTo>
                  <a:pt x="522" y="422"/>
                  <a:pt x="521" y="422"/>
                  <a:pt x="521" y="422"/>
                </a:cubicBezTo>
                <a:cubicBezTo>
                  <a:pt x="520" y="422"/>
                  <a:pt x="520" y="422"/>
                  <a:pt x="519" y="422"/>
                </a:cubicBezTo>
                <a:cubicBezTo>
                  <a:pt x="519" y="422"/>
                  <a:pt x="518" y="422"/>
                  <a:pt x="518" y="422"/>
                </a:cubicBezTo>
                <a:cubicBezTo>
                  <a:pt x="517" y="421"/>
                  <a:pt x="517" y="421"/>
                  <a:pt x="516" y="421"/>
                </a:cubicBezTo>
                <a:cubicBezTo>
                  <a:pt x="516" y="421"/>
                  <a:pt x="515" y="421"/>
                  <a:pt x="515" y="421"/>
                </a:cubicBezTo>
                <a:cubicBezTo>
                  <a:pt x="514" y="421"/>
                  <a:pt x="513" y="421"/>
                  <a:pt x="512" y="422"/>
                </a:cubicBezTo>
                <a:cubicBezTo>
                  <a:pt x="512" y="422"/>
                  <a:pt x="511" y="422"/>
                  <a:pt x="511" y="422"/>
                </a:cubicBezTo>
                <a:cubicBezTo>
                  <a:pt x="511" y="421"/>
                  <a:pt x="511" y="421"/>
                  <a:pt x="510" y="421"/>
                </a:cubicBezTo>
                <a:cubicBezTo>
                  <a:pt x="510" y="421"/>
                  <a:pt x="510" y="420"/>
                  <a:pt x="509" y="420"/>
                </a:cubicBezTo>
                <a:cubicBezTo>
                  <a:pt x="509" y="420"/>
                  <a:pt x="508" y="420"/>
                  <a:pt x="508" y="421"/>
                </a:cubicBezTo>
                <a:cubicBezTo>
                  <a:pt x="508" y="421"/>
                  <a:pt x="508" y="420"/>
                  <a:pt x="508" y="420"/>
                </a:cubicBezTo>
                <a:cubicBezTo>
                  <a:pt x="506" y="421"/>
                  <a:pt x="505" y="421"/>
                  <a:pt x="504" y="421"/>
                </a:cubicBezTo>
                <a:cubicBezTo>
                  <a:pt x="503" y="421"/>
                  <a:pt x="503" y="421"/>
                  <a:pt x="503" y="422"/>
                </a:cubicBezTo>
                <a:cubicBezTo>
                  <a:pt x="502" y="422"/>
                  <a:pt x="502" y="422"/>
                  <a:pt x="501" y="422"/>
                </a:cubicBezTo>
                <a:cubicBezTo>
                  <a:pt x="501" y="422"/>
                  <a:pt x="500" y="421"/>
                  <a:pt x="500" y="421"/>
                </a:cubicBezTo>
                <a:cubicBezTo>
                  <a:pt x="499" y="421"/>
                  <a:pt x="498" y="421"/>
                  <a:pt x="498" y="422"/>
                </a:cubicBezTo>
                <a:cubicBezTo>
                  <a:pt x="497" y="422"/>
                  <a:pt x="496" y="422"/>
                  <a:pt x="496" y="422"/>
                </a:cubicBezTo>
                <a:cubicBezTo>
                  <a:pt x="495" y="422"/>
                  <a:pt x="495" y="423"/>
                  <a:pt x="495" y="423"/>
                </a:cubicBezTo>
                <a:cubicBezTo>
                  <a:pt x="494" y="423"/>
                  <a:pt x="493" y="424"/>
                  <a:pt x="492" y="424"/>
                </a:cubicBezTo>
                <a:cubicBezTo>
                  <a:pt x="491" y="424"/>
                  <a:pt x="491" y="424"/>
                  <a:pt x="490" y="425"/>
                </a:cubicBezTo>
                <a:cubicBezTo>
                  <a:pt x="490" y="425"/>
                  <a:pt x="490" y="425"/>
                  <a:pt x="490" y="425"/>
                </a:cubicBezTo>
                <a:cubicBezTo>
                  <a:pt x="489" y="426"/>
                  <a:pt x="488" y="426"/>
                  <a:pt x="488" y="426"/>
                </a:cubicBezTo>
                <a:cubicBezTo>
                  <a:pt x="487" y="427"/>
                  <a:pt x="487" y="427"/>
                  <a:pt x="487" y="427"/>
                </a:cubicBezTo>
                <a:cubicBezTo>
                  <a:pt x="487" y="427"/>
                  <a:pt x="486" y="428"/>
                  <a:pt x="486" y="428"/>
                </a:cubicBezTo>
                <a:cubicBezTo>
                  <a:pt x="486" y="428"/>
                  <a:pt x="486" y="428"/>
                  <a:pt x="486" y="429"/>
                </a:cubicBezTo>
                <a:cubicBezTo>
                  <a:pt x="487" y="429"/>
                  <a:pt x="487" y="429"/>
                  <a:pt x="487" y="429"/>
                </a:cubicBezTo>
                <a:cubicBezTo>
                  <a:pt x="487" y="429"/>
                  <a:pt x="487" y="429"/>
                  <a:pt x="487" y="430"/>
                </a:cubicBezTo>
                <a:cubicBezTo>
                  <a:pt x="487" y="429"/>
                  <a:pt x="486" y="429"/>
                  <a:pt x="486" y="429"/>
                </a:cubicBezTo>
                <a:cubicBezTo>
                  <a:pt x="485" y="430"/>
                  <a:pt x="485" y="430"/>
                  <a:pt x="484" y="431"/>
                </a:cubicBezTo>
                <a:cubicBezTo>
                  <a:pt x="484" y="431"/>
                  <a:pt x="484" y="431"/>
                  <a:pt x="484" y="431"/>
                </a:cubicBezTo>
                <a:cubicBezTo>
                  <a:pt x="484" y="431"/>
                  <a:pt x="484" y="431"/>
                  <a:pt x="484" y="431"/>
                </a:cubicBezTo>
                <a:cubicBezTo>
                  <a:pt x="484" y="431"/>
                  <a:pt x="484" y="431"/>
                  <a:pt x="485" y="431"/>
                </a:cubicBezTo>
                <a:cubicBezTo>
                  <a:pt x="485" y="431"/>
                  <a:pt x="485" y="430"/>
                  <a:pt x="486" y="430"/>
                </a:cubicBezTo>
                <a:cubicBezTo>
                  <a:pt x="486" y="430"/>
                  <a:pt x="486" y="430"/>
                  <a:pt x="486" y="430"/>
                </a:cubicBezTo>
                <a:cubicBezTo>
                  <a:pt x="486" y="430"/>
                  <a:pt x="486" y="431"/>
                  <a:pt x="486" y="431"/>
                </a:cubicBezTo>
                <a:cubicBezTo>
                  <a:pt x="487" y="430"/>
                  <a:pt x="487" y="430"/>
                  <a:pt x="487" y="430"/>
                </a:cubicBezTo>
                <a:cubicBezTo>
                  <a:pt x="488" y="430"/>
                  <a:pt x="488" y="430"/>
                  <a:pt x="488" y="430"/>
                </a:cubicBezTo>
                <a:cubicBezTo>
                  <a:pt x="488" y="429"/>
                  <a:pt x="489" y="429"/>
                  <a:pt x="489" y="428"/>
                </a:cubicBezTo>
                <a:cubicBezTo>
                  <a:pt x="489" y="428"/>
                  <a:pt x="490" y="428"/>
                  <a:pt x="490" y="428"/>
                </a:cubicBezTo>
                <a:cubicBezTo>
                  <a:pt x="490" y="428"/>
                  <a:pt x="490" y="428"/>
                  <a:pt x="490" y="428"/>
                </a:cubicBezTo>
                <a:cubicBezTo>
                  <a:pt x="491" y="428"/>
                  <a:pt x="491" y="428"/>
                  <a:pt x="491" y="428"/>
                </a:cubicBezTo>
                <a:cubicBezTo>
                  <a:pt x="492" y="428"/>
                  <a:pt x="492" y="428"/>
                  <a:pt x="492" y="427"/>
                </a:cubicBezTo>
                <a:cubicBezTo>
                  <a:pt x="493" y="427"/>
                  <a:pt x="493" y="426"/>
                  <a:pt x="493" y="426"/>
                </a:cubicBezTo>
                <a:cubicBezTo>
                  <a:pt x="494" y="426"/>
                  <a:pt x="494" y="425"/>
                  <a:pt x="494" y="425"/>
                </a:cubicBezTo>
                <a:cubicBezTo>
                  <a:pt x="494" y="425"/>
                  <a:pt x="494" y="425"/>
                  <a:pt x="495" y="425"/>
                </a:cubicBezTo>
                <a:cubicBezTo>
                  <a:pt x="495" y="425"/>
                  <a:pt x="496" y="425"/>
                  <a:pt x="496" y="424"/>
                </a:cubicBezTo>
                <a:cubicBezTo>
                  <a:pt x="496" y="424"/>
                  <a:pt x="497" y="424"/>
                  <a:pt x="497" y="424"/>
                </a:cubicBezTo>
                <a:cubicBezTo>
                  <a:pt x="498" y="424"/>
                  <a:pt x="498" y="424"/>
                  <a:pt x="499" y="424"/>
                </a:cubicBezTo>
                <a:cubicBezTo>
                  <a:pt x="499" y="424"/>
                  <a:pt x="500" y="424"/>
                  <a:pt x="500" y="424"/>
                </a:cubicBezTo>
                <a:cubicBezTo>
                  <a:pt x="500" y="424"/>
                  <a:pt x="500" y="424"/>
                  <a:pt x="499" y="425"/>
                </a:cubicBezTo>
                <a:cubicBezTo>
                  <a:pt x="499" y="425"/>
                  <a:pt x="499" y="425"/>
                  <a:pt x="498" y="425"/>
                </a:cubicBezTo>
                <a:cubicBezTo>
                  <a:pt x="498" y="425"/>
                  <a:pt x="498" y="425"/>
                  <a:pt x="498" y="425"/>
                </a:cubicBezTo>
                <a:cubicBezTo>
                  <a:pt x="498" y="425"/>
                  <a:pt x="498" y="425"/>
                  <a:pt x="498" y="426"/>
                </a:cubicBezTo>
                <a:cubicBezTo>
                  <a:pt x="499" y="425"/>
                  <a:pt x="501" y="425"/>
                  <a:pt x="502" y="425"/>
                </a:cubicBezTo>
                <a:cubicBezTo>
                  <a:pt x="502" y="425"/>
                  <a:pt x="502" y="425"/>
                  <a:pt x="502" y="425"/>
                </a:cubicBezTo>
                <a:cubicBezTo>
                  <a:pt x="502" y="425"/>
                  <a:pt x="503" y="425"/>
                  <a:pt x="503" y="425"/>
                </a:cubicBezTo>
                <a:cubicBezTo>
                  <a:pt x="503" y="425"/>
                  <a:pt x="504" y="425"/>
                  <a:pt x="504" y="425"/>
                </a:cubicBezTo>
                <a:cubicBezTo>
                  <a:pt x="504" y="425"/>
                  <a:pt x="505" y="425"/>
                  <a:pt x="505" y="425"/>
                </a:cubicBezTo>
                <a:cubicBezTo>
                  <a:pt x="506" y="425"/>
                  <a:pt x="506" y="424"/>
                  <a:pt x="506" y="424"/>
                </a:cubicBezTo>
                <a:cubicBezTo>
                  <a:pt x="506" y="424"/>
                  <a:pt x="506" y="424"/>
                  <a:pt x="506" y="424"/>
                </a:cubicBezTo>
                <a:cubicBezTo>
                  <a:pt x="507" y="424"/>
                  <a:pt x="507" y="424"/>
                  <a:pt x="507" y="424"/>
                </a:cubicBezTo>
                <a:cubicBezTo>
                  <a:pt x="507" y="424"/>
                  <a:pt x="507" y="424"/>
                  <a:pt x="507" y="424"/>
                </a:cubicBezTo>
                <a:cubicBezTo>
                  <a:pt x="508" y="425"/>
                  <a:pt x="508" y="425"/>
                  <a:pt x="509" y="425"/>
                </a:cubicBezTo>
                <a:cubicBezTo>
                  <a:pt x="509" y="425"/>
                  <a:pt x="510" y="425"/>
                  <a:pt x="510" y="425"/>
                </a:cubicBezTo>
                <a:cubicBezTo>
                  <a:pt x="511" y="425"/>
                  <a:pt x="511" y="424"/>
                  <a:pt x="511" y="424"/>
                </a:cubicBezTo>
                <a:cubicBezTo>
                  <a:pt x="511" y="424"/>
                  <a:pt x="512" y="425"/>
                  <a:pt x="512" y="425"/>
                </a:cubicBezTo>
                <a:cubicBezTo>
                  <a:pt x="512" y="425"/>
                  <a:pt x="512" y="424"/>
                  <a:pt x="513" y="424"/>
                </a:cubicBezTo>
                <a:cubicBezTo>
                  <a:pt x="513" y="424"/>
                  <a:pt x="513" y="424"/>
                  <a:pt x="514" y="424"/>
                </a:cubicBezTo>
                <a:cubicBezTo>
                  <a:pt x="514" y="424"/>
                  <a:pt x="514" y="424"/>
                  <a:pt x="515" y="424"/>
                </a:cubicBezTo>
                <a:cubicBezTo>
                  <a:pt x="515" y="424"/>
                  <a:pt x="515" y="424"/>
                  <a:pt x="515" y="424"/>
                </a:cubicBezTo>
                <a:cubicBezTo>
                  <a:pt x="516" y="424"/>
                  <a:pt x="516" y="425"/>
                  <a:pt x="517" y="426"/>
                </a:cubicBezTo>
                <a:cubicBezTo>
                  <a:pt x="518" y="426"/>
                  <a:pt x="518" y="426"/>
                  <a:pt x="519" y="427"/>
                </a:cubicBezTo>
                <a:cubicBezTo>
                  <a:pt x="519" y="426"/>
                  <a:pt x="519" y="426"/>
                  <a:pt x="520" y="426"/>
                </a:cubicBezTo>
                <a:cubicBezTo>
                  <a:pt x="520" y="426"/>
                  <a:pt x="520" y="426"/>
                  <a:pt x="520" y="426"/>
                </a:cubicBezTo>
                <a:cubicBezTo>
                  <a:pt x="520" y="426"/>
                  <a:pt x="521" y="426"/>
                  <a:pt x="521" y="426"/>
                </a:cubicBezTo>
                <a:cubicBezTo>
                  <a:pt x="522" y="426"/>
                  <a:pt x="522" y="426"/>
                  <a:pt x="523" y="426"/>
                </a:cubicBezTo>
                <a:cubicBezTo>
                  <a:pt x="523" y="426"/>
                  <a:pt x="523" y="426"/>
                  <a:pt x="523" y="426"/>
                </a:cubicBezTo>
                <a:cubicBezTo>
                  <a:pt x="524" y="426"/>
                  <a:pt x="524" y="426"/>
                  <a:pt x="524" y="426"/>
                </a:cubicBezTo>
                <a:cubicBezTo>
                  <a:pt x="524" y="426"/>
                  <a:pt x="524" y="427"/>
                  <a:pt x="524" y="427"/>
                </a:cubicBezTo>
                <a:cubicBezTo>
                  <a:pt x="524" y="427"/>
                  <a:pt x="523" y="427"/>
                  <a:pt x="523" y="427"/>
                </a:cubicBezTo>
                <a:cubicBezTo>
                  <a:pt x="523" y="428"/>
                  <a:pt x="522" y="428"/>
                  <a:pt x="522" y="429"/>
                </a:cubicBezTo>
                <a:cubicBezTo>
                  <a:pt x="522" y="429"/>
                  <a:pt x="522" y="429"/>
                  <a:pt x="522" y="430"/>
                </a:cubicBezTo>
                <a:cubicBezTo>
                  <a:pt x="522" y="429"/>
                  <a:pt x="523" y="429"/>
                  <a:pt x="524" y="429"/>
                </a:cubicBezTo>
                <a:cubicBezTo>
                  <a:pt x="524" y="429"/>
                  <a:pt x="524" y="429"/>
                  <a:pt x="525" y="429"/>
                </a:cubicBezTo>
                <a:cubicBezTo>
                  <a:pt x="525" y="429"/>
                  <a:pt x="525" y="429"/>
                  <a:pt x="526" y="429"/>
                </a:cubicBezTo>
                <a:cubicBezTo>
                  <a:pt x="526" y="428"/>
                  <a:pt x="527" y="428"/>
                  <a:pt x="528" y="428"/>
                </a:cubicBezTo>
                <a:cubicBezTo>
                  <a:pt x="528" y="428"/>
                  <a:pt x="529" y="427"/>
                  <a:pt x="529" y="427"/>
                </a:cubicBezTo>
                <a:cubicBezTo>
                  <a:pt x="530" y="427"/>
                  <a:pt x="531" y="427"/>
                  <a:pt x="531" y="428"/>
                </a:cubicBezTo>
                <a:cubicBezTo>
                  <a:pt x="532" y="427"/>
                  <a:pt x="533" y="427"/>
                  <a:pt x="534" y="426"/>
                </a:cubicBezTo>
                <a:close/>
                <a:moveTo>
                  <a:pt x="494" y="429"/>
                </a:moveTo>
                <a:cubicBezTo>
                  <a:pt x="494" y="429"/>
                  <a:pt x="493" y="429"/>
                  <a:pt x="493" y="429"/>
                </a:cubicBezTo>
                <a:cubicBezTo>
                  <a:pt x="493" y="429"/>
                  <a:pt x="493" y="430"/>
                  <a:pt x="494" y="430"/>
                </a:cubicBezTo>
                <a:cubicBezTo>
                  <a:pt x="494" y="430"/>
                  <a:pt x="494" y="430"/>
                  <a:pt x="495" y="430"/>
                </a:cubicBezTo>
                <a:cubicBezTo>
                  <a:pt x="495" y="430"/>
                  <a:pt x="496" y="429"/>
                  <a:pt x="496" y="429"/>
                </a:cubicBezTo>
                <a:cubicBezTo>
                  <a:pt x="496" y="429"/>
                  <a:pt x="496" y="429"/>
                  <a:pt x="496" y="428"/>
                </a:cubicBezTo>
                <a:cubicBezTo>
                  <a:pt x="496" y="428"/>
                  <a:pt x="495" y="428"/>
                  <a:pt x="495" y="428"/>
                </a:cubicBezTo>
                <a:cubicBezTo>
                  <a:pt x="495" y="428"/>
                  <a:pt x="494" y="428"/>
                  <a:pt x="494" y="428"/>
                </a:cubicBezTo>
                <a:cubicBezTo>
                  <a:pt x="494" y="428"/>
                  <a:pt x="494" y="428"/>
                  <a:pt x="494" y="429"/>
                </a:cubicBezTo>
                <a:cubicBezTo>
                  <a:pt x="494" y="429"/>
                  <a:pt x="494" y="429"/>
                  <a:pt x="494" y="429"/>
                </a:cubicBezTo>
                <a:cubicBezTo>
                  <a:pt x="494" y="429"/>
                  <a:pt x="495" y="429"/>
                  <a:pt x="495" y="429"/>
                </a:cubicBezTo>
                <a:cubicBezTo>
                  <a:pt x="495" y="429"/>
                  <a:pt x="494" y="429"/>
                  <a:pt x="494" y="429"/>
                </a:cubicBezTo>
                <a:cubicBezTo>
                  <a:pt x="494" y="429"/>
                  <a:pt x="494" y="429"/>
                  <a:pt x="494" y="429"/>
                </a:cubicBezTo>
                <a:close/>
                <a:moveTo>
                  <a:pt x="539" y="414"/>
                </a:moveTo>
                <a:cubicBezTo>
                  <a:pt x="539" y="414"/>
                  <a:pt x="539" y="414"/>
                  <a:pt x="539" y="413"/>
                </a:cubicBezTo>
                <a:cubicBezTo>
                  <a:pt x="539" y="413"/>
                  <a:pt x="539" y="413"/>
                  <a:pt x="539" y="413"/>
                </a:cubicBezTo>
                <a:cubicBezTo>
                  <a:pt x="538" y="413"/>
                  <a:pt x="538" y="413"/>
                  <a:pt x="538" y="413"/>
                </a:cubicBezTo>
                <a:cubicBezTo>
                  <a:pt x="538" y="414"/>
                  <a:pt x="538" y="414"/>
                  <a:pt x="538" y="414"/>
                </a:cubicBezTo>
                <a:cubicBezTo>
                  <a:pt x="538" y="414"/>
                  <a:pt x="537" y="415"/>
                  <a:pt x="537" y="415"/>
                </a:cubicBezTo>
                <a:cubicBezTo>
                  <a:pt x="537" y="415"/>
                  <a:pt x="537" y="415"/>
                  <a:pt x="537" y="415"/>
                </a:cubicBezTo>
                <a:cubicBezTo>
                  <a:pt x="536" y="415"/>
                  <a:pt x="536" y="416"/>
                  <a:pt x="536" y="416"/>
                </a:cubicBezTo>
                <a:cubicBezTo>
                  <a:pt x="537" y="416"/>
                  <a:pt x="537" y="416"/>
                  <a:pt x="537" y="416"/>
                </a:cubicBezTo>
                <a:cubicBezTo>
                  <a:pt x="538" y="415"/>
                  <a:pt x="538" y="415"/>
                  <a:pt x="539" y="414"/>
                </a:cubicBezTo>
                <a:close/>
                <a:moveTo>
                  <a:pt x="544" y="417"/>
                </a:moveTo>
                <a:cubicBezTo>
                  <a:pt x="543" y="417"/>
                  <a:pt x="543" y="417"/>
                  <a:pt x="543" y="417"/>
                </a:cubicBezTo>
                <a:cubicBezTo>
                  <a:pt x="543" y="417"/>
                  <a:pt x="544" y="418"/>
                  <a:pt x="544" y="418"/>
                </a:cubicBezTo>
                <a:cubicBezTo>
                  <a:pt x="544" y="417"/>
                  <a:pt x="544" y="417"/>
                  <a:pt x="544" y="417"/>
                </a:cubicBezTo>
                <a:close/>
                <a:moveTo>
                  <a:pt x="531" y="412"/>
                </a:moveTo>
                <a:cubicBezTo>
                  <a:pt x="531" y="412"/>
                  <a:pt x="531" y="412"/>
                  <a:pt x="532" y="412"/>
                </a:cubicBezTo>
                <a:cubicBezTo>
                  <a:pt x="532" y="413"/>
                  <a:pt x="531" y="413"/>
                  <a:pt x="531" y="413"/>
                </a:cubicBezTo>
                <a:cubicBezTo>
                  <a:pt x="532" y="413"/>
                  <a:pt x="532" y="413"/>
                  <a:pt x="532" y="414"/>
                </a:cubicBezTo>
                <a:cubicBezTo>
                  <a:pt x="533" y="414"/>
                  <a:pt x="533" y="414"/>
                  <a:pt x="533" y="414"/>
                </a:cubicBezTo>
                <a:cubicBezTo>
                  <a:pt x="533" y="414"/>
                  <a:pt x="533" y="414"/>
                  <a:pt x="534" y="414"/>
                </a:cubicBezTo>
                <a:cubicBezTo>
                  <a:pt x="533" y="414"/>
                  <a:pt x="533" y="413"/>
                  <a:pt x="533" y="413"/>
                </a:cubicBezTo>
                <a:cubicBezTo>
                  <a:pt x="532" y="413"/>
                  <a:pt x="532" y="412"/>
                  <a:pt x="532" y="412"/>
                </a:cubicBezTo>
                <a:cubicBezTo>
                  <a:pt x="532" y="412"/>
                  <a:pt x="531" y="412"/>
                  <a:pt x="531" y="411"/>
                </a:cubicBezTo>
                <a:cubicBezTo>
                  <a:pt x="531" y="411"/>
                  <a:pt x="531" y="412"/>
                  <a:pt x="531" y="412"/>
                </a:cubicBezTo>
                <a:close/>
                <a:moveTo>
                  <a:pt x="530" y="409"/>
                </a:moveTo>
                <a:cubicBezTo>
                  <a:pt x="530" y="409"/>
                  <a:pt x="530" y="408"/>
                  <a:pt x="530" y="408"/>
                </a:cubicBezTo>
                <a:cubicBezTo>
                  <a:pt x="529" y="408"/>
                  <a:pt x="529" y="408"/>
                  <a:pt x="529" y="408"/>
                </a:cubicBezTo>
                <a:cubicBezTo>
                  <a:pt x="529" y="408"/>
                  <a:pt x="529" y="408"/>
                  <a:pt x="529" y="408"/>
                </a:cubicBezTo>
                <a:cubicBezTo>
                  <a:pt x="529" y="408"/>
                  <a:pt x="529" y="409"/>
                  <a:pt x="529" y="409"/>
                </a:cubicBezTo>
                <a:cubicBezTo>
                  <a:pt x="530" y="409"/>
                  <a:pt x="530" y="409"/>
                  <a:pt x="530" y="410"/>
                </a:cubicBezTo>
                <a:cubicBezTo>
                  <a:pt x="530" y="410"/>
                  <a:pt x="530" y="410"/>
                  <a:pt x="530" y="410"/>
                </a:cubicBezTo>
                <a:cubicBezTo>
                  <a:pt x="530" y="410"/>
                  <a:pt x="530" y="410"/>
                  <a:pt x="530" y="410"/>
                </a:cubicBezTo>
                <a:cubicBezTo>
                  <a:pt x="531" y="410"/>
                  <a:pt x="531" y="410"/>
                  <a:pt x="531" y="410"/>
                </a:cubicBezTo>
                <a:cubicBezTo>
                  <a:pt x="531" y="410"/>
                  <a:pt x="531" y="410"/>
                  <a:pt x="531" y="410"/>
                </a:cubicBezTo>
                <a:cubicBezTo>
                  <a:pt x="531" y="409"/>
                  <a:pt x="531" y="409"/>
                  <a:pt x="530" y="409"/>
                </a:cubicBezTo>
                <a:close/>
                <a:moveTo>
                  <a:pt x="527" y="412"/>
                </a:moveTo>
                <a:cubicBezTo>
                  <a:pt x="527" y="412"/>
                  <a:pt x="528" y="412"/>
                  <a:pt x="528" y="412"/>
                </a:cubicBezTo>
                <a:cubicBezTo>
                  <a:pt x="528" y="412"/>
                  <a:pt x="527" y="412"/>
                  <a:pt x="527" y="412"/>
                </a:cubicBezTo>
                <a:cubicBezTo>
                  <a:pt x="527" y="412"/>
                  <a:pt x="527" y="412"/>
                  <a:pt x="527" y="412"/>
                </a:cubicBezTo>
                <a:close/>
                <a:moveTo>
                  <a:pt x="544" y="414"/>
                </a:moveTo>
                <a:cubicBezTo>
                  <a:pt x="544" y="414"/>
                  <a:pt x="543" y="414"/>
                  <a:pt x="543" y="414"/>
                </a:cubicBezTo>
                <a:cubicBezTo>
                  <a:pt x="542" y="414"/>
                  <a:pt x="542" y="414"/>
                  <a:pt x="542" y="414"/>
                </a:cubicBezTo>
                <a:cubicBezTo>
                  <a:pt x="542" y="414"/>
                  <a:pt x="542" y="414"/>
                  <a:pt x="542" y="414"/>
                </a:cubicBezTo>
                <a:cubicBezTo>
                  <a:pt x="543" y="414"/>
                  <a:pt x="543" y="414"/>
                  <a:pt x="543" y="414"/>
                </a:cubicBezTo>
                <a:cubicBezTo>
                  <a:pt x="543" y="414"/>
                  <a:pt x="544" y="414"/>
                  <a:pt x="544" y="414"/>
                </a:cubicBezTo>
                <a:cubicBezTo>
                  <a:pt x="544" y="414"/>
                  <a:pt x="544" y="414"/>
                  <a:pt x="544" y="414"/>
                </a:cubicBezTo>
                <a:close/>
                <a:moveTo>
                  <a:pt x="535" y="409"/>
                </a:moveTo>
                <a:cubicBezTo>
                  <a:pt x="535" y="409"/>
                  <a:pt x="535" y="409"/>
                  <a:pt x="535" y="409"/>
                </a:cubicBezTo>
                <a:cubicBezTo>
                  <a:pt x="535" y="409"/>
                  <a:pt x="535" y="409"/>
                  <a:pt x="535" y="408"/>
                </a:cubicBezTo>
                <a:cubicBezTo>
                  <a:pt x="534" y="409"/>
                  <a:pt x="534" y="409"/>
                  <a:pt x="534" y="409"/>
                </a:cubicBezTo>
                <a:cubicBezTo>
                  <a:pt x="534" y="409"/>
                  <a:pt x="535" y="409"/>
                  <a:pt x="535" y="409"/>
                </a:cubicBezTo>
                <a:close/>
                <a:moveTo>
                  <a:pt x="537" y="413"/>
                </a:moveTo>
                <a:cubicBezTo>
                  <a:pt x="536" y="413"/>
                  <a:pt x="536" y="413"/>
                  <a:pt x="535" y="413"/>
                </a:cubicBezTo>
                <a:cubicBezTo>
                  <a:pt x="535" y="413"/>
                  <a:pt x="536" y="413"/>
                  <a:pt x="536" y="414"/>
                </a:cubicBezTo>
                <a:cubicBezTo>
                  <a:pt x="536" y="414"/>
                  <a:pt x="536" y="414"/>
                  <a:pt x="536" y="414"/>
                </a:cubicBezTo>
                <a:cubicBezTo>
                  <a:pt x="537" y="414"/>
                  <a:pt x="537" y="414"/>
                  <a:pt x="537" y="414"/>
                </a:cubicBezTo>
                <a:cubicBezTo>
                  <a:pt x="537" y="414"/>
                  <a:pt x="537" y="413"/>
                  <a:pt x="537" y="413"/>
                </a:cubicBezTo>
                <a:close/>
                <a:moveTo>
                  <a:pt x="543" y="419"/>
                </a:moveTo>
                <a:cubicBezTo>
                  <a:pt x="542" y="419"/>
                  <a:pt x="542" y="419"/>
                  <a:pt x="541" y="419"/>
                </a:cubicBezTo>
                <a:cubicBezTo>
                  <a:pt x="541" y="419"/>
                  <a:pt x="541" y="419"/>
                  <a:pt x="540" y="420"/>
                </a:cubicBezTo>
                <a:cubicBezTo>
                  <a:pt x="540" y="420"/>
                  <a:pt x="540" y="420"/>
                  <a:pt x="540" y="421"/>
                </a:cubicBezTo>
                <a:cubicBezTo>
                  <a:pt x="541" y="420"/>
                  <a:pt x="542" y="420"/>
                  <a:pt x="543" y="420"/>
                </a:cubicBezTo>
                <a:cubicBezTo>
                  <a:pt x="543" y="420"/>
                  <a:pt x="543" y="419"/>
                  <a:pt x="544" y="419"/>
                </a:cubicBezTo>
                <a:cubicBezTo>
                  <a:pt x="543" y="419"/>
                  <a:pt x="543" y="418"/>
                  <a:pt x="543" y="418"/>
                </a:cubicBezTo>
                <a:cubicBezTo>
                  <a:pt x="543" y="418"/>
                  <a:pt x="543" y="418"/>
                  <a:pt x="543" y="418"/>
                </a:cubicBezTo>
                <a:cubicBezTo>
                  <a:pt x="543" y="419"/>
                  <a:pt x="543" y="419"/>
                  <a:pt x="543" y="419"/>
                </a:cubicBezTo>
                <a:close/>
                <a:moveTo>
                  <a:pt x="525" y="408"/>
                </a:moveTo>
                <a:cubicBezTo>
                  <a:pt x="525" y="408"/>
                  <a:pt x="526" y="408"/>
                  <a:pt x="526" y="408"/>
                </a:cubicBezTo>
                <a:cubicBezTo>
                  <a:pt x="526" y="408"/>
                  <a:pt x="526" y="408"/>
                  <a:pt x="526" y="408"/>
                </a:cubicBezTo>
                <a:cubicBezTo>
                  <a:pt x="526" y="407"/>
                  <a:pt x="526" y="407"/>
                  <a:pt x="526" y="407"/>
                </a:cubicBezTo>
                <a:cubicBezTo>
                  <a:pt x="526" y="406"/>
                  <a:pt x="526" y="406"/>
                  <a:pt x="525" y="406"/>
                </a:cubicBezTo>
                <a:cubicBezTo>
                  <a:pt x="525" y="406"/>
                  <a:pt x="524" y="406"/>
                  <a:pt x="524" y="406"/>
                </a:cubicBezTo>
                <a:cubicBezTo>
                  <a:pt x="524" y="406"/>
                  <a:pt x="524" y="406"/>
                  <a:pt x="524" y="406"/>
                </a:cubicBezTo>
                <a:cubicBezTo>
                  <a:pt x="524" y="406"/>
                  <a:pt x="525" y="406"/>
                  <a:pt x="525" y="406"/>
                </a:cubicBezTo>
                <a:cubicBezTo>
                  <a:pt x="525" y="406"/>
                  <a:pt x="526" y="407"/>
                  <a:pt x="526" y="407"/>
                </a:cubicBezTo>
                <a:cubicBezTo>
                  <a:pt x="526" y="407"/>
                  <a:pt x="526" y="407"/>
                  <a:pt x="526" y="407"/>
                </a:cubicBezTo>
                <a:cubicBezTo>
                  <a:pt x="526" y="408"/>
                  <a:pt x="525" y="408"/>
                  <a:pt x="525" y="408"/>
                </a:cubicBezTo>
                <a:close/>
                <a:moveTo>
                  <a:pt x="519" y="411"/>
                </a:moveTo>
                <a:cubicBezTo>
                  <a:pt x="519" y="412"/>
                  <a:pt x="518" y="412"/>
                  <a:pt x="518" y="412"/>
                </a:cubicBezTo>
                <a:cubicBezTo>
                  <a:pt x="518" y="412"/>
                  <a:pt x="518" y="412"/>
                  <a:pt x="519" y="412"/>
                </a:cubicBezTo>
                <a:cubicBezTo>
                  <a:pt x="519" y="412"/>
                  <a:pt x="519" y="412"/>
                  <a:pt x="519" y="411"/>
                </a:cubicBezTo>
                <a:close/>
                <a:moveTo>
                  <a:pt x="518" y="412"/>
                </a:moveTo>
                <a:cubicBezTo>
                  <a:pt x="518" y="412"/>
                  <a:pt x="518" y="412"/>
                  <a:pt x="518" y="413"/>
                </a:cubicBezTo>
                <a:cubicBezTo>
                  <a:pt x="518" y="413"/>
                  <a:pt x="518" y="413"/>
                  <a:pt x="518" y="413"/>
                </a:cubicBezTo>
                <a:cubicBezTo>
                  <a:pt x="518" y="412"/>
                  <a:pt x="518" y="412"/>
                  <a:pt x="518" y="412"/>
                </a:cubicBezTo>
                <a:close/>
                <a:moveTo>
                  <a:pt x="517" y="409"/>
                </a:moveTo>
                <a:cubicBezTo>
                  <a:pt x="517" y="409"/>
                  <a:pt x="516" y="409"/>
                  <a:pt x="516" y="409"/>
                </a:cubicBezTo>
                <a:cubicBezTo>
                  <a:pt x="516" y="409"/>
                  <a:pt x="516" y="410"/>
                  <a:pt x="516" y="410"/>
                </a:cubicBezTo>
                <a:cubicBezTo>
                  <a:pt x="516" y="410"/>
                  <a:pt x="516" y="411"/>
                  <a:pt x="516" y="411"/>
                </a:cubicBezTo>
                <a:cubicBezTo>
                  <a:pt x="516" y="411"/>
                  <a:pt x="516" y="411"/>
                  <a:pt x="516" y="411"/>
                </a:cubicBezTo>
                <a:cubicBezTo>
                  <a:pt x="517" y="411"/>
                  <a:pt x="517" y="411"/>
                  <a:pt x="517" y="411"/>
                </a:cubicBezTo>
                <a:cubicBezTo>
                  <a:pt x="517" y="411"/>
                  <a:pt x="517" y="411"/>
                  <a:pt x="518" y="411"/>
                </a:cubicBezTo>
                <a:cubicBezTo>
                  <a:pt x="518" y="411"/>
                  <a:pt x="518" y="411"/>
                  <a:pt x="519" y="411"/>
                </a:cubicBezTo>
                <a:cubicBezTo>
                  <a:pt x="518" y="410"/>
                  <a:pt x="518" y="410"/>
                  <a:pt x="517" y="410"/>
                </a:cubicBezTo>
                <a:cubicBezTo>
                  <a:pt x="517" y="409"/>
                  <a:pt x="517" y="409"/>
                  <a:pt x="517" y="409"/>
                </a:cubicBezTo>
                <a:close/>
                <a:moveTo>
                  <a:pt x="519" y="414"/>
                </a:moveTo>
                <a:cubicBezTo>
                  <a:pt x="519" y="414"/>
                  <a:pt x="520" y="414"/>
                  <a:pt x="520" y="414"/>
                </a:cubicBezTo>
                <a:cubicBezTo>
                  <a:pt x="520" y="414"/>
                  <a:pt x="520" y="413"/>
                  <a:pt x="520" y="413"/>
                </a:cubicBezTo>
                <a:cubicBezTo>
                  <a:pt x="520" y="413"/>
                  <a:pt x="520" y="413"/>
                  <a:pt x="520" y="413"/>
                </a:cubicBezTo>
                <a:cubicBezTo>
                  <a:pt x="520" y="413"/>
                  <a:pt x="520" y="412"/>
                  <a:pt x="520" y="412"/>
                </a:cubicBezTo>
                <a:cubicBezTo>
                  <a:pt x="520" y="412"/>
                  <a:pt x="519" y="412"/>
                  <a:pt x="519" y="412"/>
                </a:cubicBezTo>
                <a:cubicBezTo>
                  <a:pt x="519" y="412"/>
                  <a:pt x="518" y="413"/>
                  <a:pt x="518" y="413"/>
                </a:cubicBezTo>
                <a:cubicBezTo>
                  <a:pt x="518" y="413"/>
                  <a:pt x="518" y="413"/>
                  <a:pt x="518" y="414"/>
                </a:cubicBezTo>
                <a:cubicBezTo>
                  <a:pt x="519" y="414"/>
                  <a:pt x="519" y="414"/>
                  <a:pt x="519" y="414"/>
                </a:cubicBezTo>
                <a:close/>
                <a:moveTo>
                  <a:pt x="521" y="407"/>
                </a:moveTo>
                <a:cubicBezTo>
                  <a:pt x="521" y="407"/>
                  <a:pt x="521" y="407"/>
                  <a:pt x="520" y="408"/>
                </a:cubicBezTo>
                <a:cubicBezTo>
                  <a:pt x="520" y="408"/>
                  <a:pt x="519" y="408"/>
                  <a:pt x="519" y="408"/>
                </a:cubicBezTo>
                <a:cubicBezTo>
                  <a:pt x="519" y="408"/>
                  <a:pt x="519" y="408"/>
                  <a:pt x="520" y="408"/>
                </a:cubicBezTo>
                <a:cubicBezTo>
                  <a:pt x="520" y="408"/>
                  <a:pt x="521" y="408"/>
                  <a:pt x="521" y="408"/>
                </a:cubicBezTo>
                <a:cubicBezTo>
                  <a:pt x="521" y="408"/>
                  <a:pt x="521" y="408"/>
                  <a:pt x="521" y="407"/>
                </a:cubicBezTo>
                <a:close/>
                <a:moveTo>
                  <a:pt x="521" y="402"/>
                </a:moveTo>
                <a:cubicBezTo>
                  <a:pt x="521" y="402"/>
                  <a:pt x="521" y="401"/>
                  <a:pt x="520" y="401"/>
                </a:cubicBezTo>
                <a:cubicBezTo>
                  <a:pt x="520" y="401"/>
                  <a:pt x="520" y="401"/>
                  <a:pt x="520" y="401"/>
                </a:cubicBezTo>
                <a:cubicBezTo>
                  <a:pt x="519" y="401"/>
                  <a:pt x="519" y="401"/>
                  <a:pt x="518" y="400"/>
                </a:cubicBezTo>
                <a:cubicBezTo>
                  <a:pt x="518" y="401"/>
                  <a:pt x="517" y="401"/>
                  <a:pt x="517" y="401"/>
                </a:cubicBezTo>
                <a:cubicBezTo>
                  <a:pt x="517" y="401"/>
                  <a:pt x="518" y="401"/>
                  <a:pt x="518" y="401"/>
                </a:cubicBezTo>
                <a:cubicBezTo>
                  <a:pt x="519" y="401"/>
                  <a:pt x="519" y="401"/>
                  <a:pt x="519" y="401"/>
                </a:cubicBezTo>
                <a:cubicBezTo>
                  <a:pt x="519" y="402"/>
                  <a:pt x="520" y="402"/>
                  <a:pt x="520" y="402"/>
                </a:cubicBezTo>
                <a:cubicBezTo>
                  <a:pt x="520" y="402"/>
                  <a:pt x="520" y="403"/>
                  <a:pt x="520" y="403"/>
                </a:cubicBezTo>
                <a:cubicBezTo>
                  <a:pt x="520" y="403"/>
                  <a:pt x="520" y="403"/>
                  <a:pt x="520" y="403"/>
                </a:cubicBezTo>
                <a:cubicBezTo>
                  <a:pt x="520" y="404"/>
                  <a:pt x="520" y="404"/>
                  <a:pt x="520" y="405"/>
                </a:cubicBezTo>
                <a:cubicBezTo>
                  <a:pt x="520" y="404"/>
                  <a:pt x="521" y="404"/>
                  <a:pt x="521" y="404"/>
                </a:cubicBezTo>
                <a:cubicBezTo>
                  <a:pt x="521" y="404"/>
                  <a:pt x="521" y="403"/>
                  <a:pt x="521" y="403"/>
                </a:cubicBezTo>
                <a:cubicBezTo>
                  <a:pt x="521" y="403"/>
                  <a:pt x="521" y="403"/>
                  <a:pt x="521" y="403"/>
                </a:cubicBezTo>
                <a:cubicBezTo>
                  <a:pt x="521" y="402"/>
                  <a:pt x="521" y="402"/>
                  <a:pt x="521" y="402"/>
                </a:cubicBezTo>
                <a:close/>
                <a:moveTo>
                  <a:pt x="514" y="402"/>
                </a:moveTo>
                <a:cubicBezTo>
                  <a:pt x="514" y="402"/>
                  <a:pt x="513" y="403"/>
                  <a:pt x="513" y="403"/>
                </a:cubicBezTo>
                <a:cubicBezTo>
                  <a:pt x="513" y="403"/>
                  <a:pt x="512" y="403"/>
                  <a:pt x="512" y="403"/>
                </a:cubicBezTo>
                <a:cubicBezTo>
                  <a:pt x="512" y="403"/>
                  <a:pt x="511" y="403"/>
                  <a:pt x="511" y="403"/>
                </a:cubicBezTo>
                <a:cubicBezTo>
                  <a:pt x="511" y="403"/>
                  <a:pt x="512" y="404"/>
                  <a:pt x="512" y="404"/>
                </a:cubicBezTo>
                <a:cubicBezTo>
                  <a:pt x="513" y="404"/>
                  <a:pt x="513" y="404"/>
                  <a:pt x="514" y="404"/>
                </a:cubicBezTo>
                <a:cubicBezTo>
                  <a:pt x="514" y="403"/>
                  <a:pt x="515" y="403"/>
                  <a:pt x="515" y="402"/>
                </a:cubicBezTo>
                <a:cubicBezTo>
                  <a:pt x="516" y="402"/>
                  <a:pt x="516" y="402"/>
                  <a:pt x="516" y="402"/>
                </a:cubicBezTo>
                <a:cubicBezTo>
                  <a:pt x="516" y="402"/>
                  <a:pt x="517" y="402"/>
                  <a:pt x="517" y="402"/>
                </a:cubicBezTo>
                <a:cubicBezTo>
                  <a:pt x="517" y="402"/>
                  <a:pt x="516" y="402"/>
                  <a:pt x="516" y="402"/>
                </a:cubicBezTo>
                <a:cubicBezTo>
                  <a:pt x="515" y="402"/>
                  <a:pt x="515" y="402"/>
                  <a:pt x="514" y="402"/>
                </a:cubicBezTo>
                <a:close/>
                <a:moveTo>
                  <a:pt x="540" y="331"/>
                </a:moveTo>
                <a:cubicBezTo>
                  <a:pt x="540" y="331"/>
                  <a:pt x="540" y="331"/>
                  <a:pt x="540" y="331"/>
                </a:cubicBezTo>
                <a:cubicBezTo>
                  <a:pt x="540" y="331"/>
                  <a:pt x="539" y="331"/>
                  <a:pt x="539" y="332"/>
                </a:cubicBezTo>
                <a:cubicBezTo>
                  <a:pt x="538" y="332"/>
                  <a:pt x="538" y="332"/>
                  <a:pt x="537" y="332"/>
                </a:cubicBezTo>
                <a:cubicBezTo>
                  <a:pt x="537" y="332"/>
                  <a:pt x="536" y="332"/>
                  <a:pt x="536" y="333"/>
                </a:cubicBezTo>
                <a:cubicBezTo>
                  <a:pt x="535" y="333"/>
                  <a:pt x="535" y="333"/>
                  <a:pt x="535" y="333"/>
                </a:cubicBezTo>
                <a:cubicBezTo>
                  <a:pt x="534" y="333"/>
                  <a:pt x="534" y="333"/>
                  <a:pt x="533" y="333"/>
                </a:cubicBezTo>
                <a:cubicBezTo>
                  <a:pt x="533" y="334"/>
                  <a:pt x="532" y="334"/>
                  <a:pt x="532" y="334"/>
                </a:cubicBezTo>
                <a:cubicBezTo>
                  <a:pt x="532" y="334"/>
                  <a:pt x="532" y="334"/>
                  <a:pt x="532" y="334"/>
                </a:cubicBezTo>
                <a:cubicBezTo>
                  <a:pt x="532" y="334"/>
                  <a:pt x="532" y="335"/>
                  <a:pt x="532" y="335"/>
                </a:cubicBezTo>
                <a:cubicBezTo>
                  <a:pt x="532" y="335"/>
                  <a:pt x="532" y="335"/>
                  <a:pt x="533" y="335"/>
                </a:cubicBezTo>
                <a:cubicBezTo>
                  <a:pt x="532" y="335"/>
                  <a:pt x="532" y="335"/>
                  <a:pt x="532" y="335"/>
                </a:cubicBezTo>
                <a:cubicBezTo>
                  <a:pt x="532" y="335"/>
                  <a:pt x="533" y="335"/>
                  <a:pt x="533" y="335"/>
                </a:cubicBezTo>
                <a:cubicBezTo>
                  <a:pt x="533" y="334"/>
                  <a:pt x="533" y="334"/>
                  <a:pt x="533" y="334"/>
                </a:cubicBezTo>
                <a:cubicBezTo>
                  <a:pt x="534" y="334"/>
                  <a:pt x="534" y="334"/>
                  <a:pt x="534" y="334"/>
                </a:cubicBezTo>
                <a:cubicBezTo>
                  <a:pt x="535" y="334"/>
                  <a:pt x="535" y="334"/>
                  <a:pt x="535" y="334"/>
                </a:cubicBezTo>
                <a:cubicBezTo>
                  <a:pt x="536" y="333"/>
                  <a:pt x="536" y="333"/>
                  <a:pt x="537" y="333"/>
                </a:cubicBezTo>
                <a:cubicBezTo>
                  <a:pt x="537" y="333"/>
                  <a:pt x="538" y="333"/>
                  <a:pt x="538" y="333"/>
                </a:cubicBezTo>
                <a:cubicBezTo>
                  <a:pt x="538" y="332"/>
                  <a:pt x="539" y="332"/>
                  <a:pt x="539" y="332"/>
                </a:cubicBezTo>
                <a:cubicBezTo>
                  <a:pt x="539" y="332"/>
                  <a:pt x="540" y="332"/>
                  <a:pt x="540" y="332"/>
                </a:cubicBezTo>
                <a:cubicBezTo>
                  <a:pt x="540" y="332"/>
                  <a:pt x="540" y="332"/>
                  <a:pt x="540" y="332"/>
                </a:cubicBezTo>
                <a:cubicBezTo>
                  <a:pt x="541" y="332"/>
                  <a:pt x="541" y="331"/>
                  <a:pt x="541" y="331"/>
                </a:cubicBezTo>
                <a:cubicBezTo>
                  <a:pt x="542" y="331"/>
                  <a:pt x="542" y="331"/>
                  <a:pt x="542" y="331"/>
                </a:cubicBezTo>
                <a:cubicBezTo>
                  <a:pt x="542" y="331"/>
                  <a:pt x="541" y="331"/>
                  <a:pt x="541" y="331"/>
                </a:cubicBezTo>
                <a:cubicBezTo>
                  <a:pt x="541" y="331"/>
                  <a:pt x="541" y="331"/>
                  <a:pt x="540" y="331"/>
                </a:cubicBezTo>
                <a:cubicBezTo>
                  <a:pt x="540" y="331"/>
                  <a:pt x="540" y="332"/>
                  <a:pt x="540" y="332"/>
                </a:cubicBezTo>
                <a:cubicBezTo>
                  <a:pt x="540" y="332"/>
                  <a:pt x="540" y="331"/>
                  <a:pt x="540" y="331"/>
                </a:cubicBezTo>
                <a:cubicBezTo>
                  <a:pt x="540" y="331"/>
                  <a:pt x="540" y="331"/>
                  <a:pt x="540" y="331"/>
                </a:cubicBezTo>
                <a:close/>
                <a:moveTo>
                  <a:pt x="420" y="424"/>
                </a:moveTo>
                <a:cubicBezTo>
                  <a:pt x="420" y="424"/>
                  <a:pt x="420" y="425"/>
                  <a:pt x="420" y="426"/>
                </a:cubicBezTo>
                <a:cubicBezTo>
                  <a:pt x="420" y="425"/>
                  <a:pt x="420" y="425"/>
                  <a:pt x="420" y="425"/>
                </a:cubicBezTo>
                <a:cubicBezTo>
                  <a:pt x="420" y="425"/>
                  <a:pt x="420" y="425"/>
                  <a:pt x="420" y="424"/>
                </a:cubicBezTo>
                <a:cubicBezTo>
                  <a:pt x="420" y="424"/>
                  <a:pt x="420" y="424"/>
                  <a:pt x="420" y="424"/>
                </a:cubicBezTo>
                <a:close/>
                <a:moveTo>
                  <a:pt x="419" y="428"/>
                </a:moveTo>
                <a:cubicBezTo>
                  <a:pt x="420" y="428"/>
                  <a:pt x="420" y="429"/>
                  <a:pt x="420" y="429"/>
                </a:cubicBezTo>
                <a:cubicBezTo>
                  <a:pt x="420" y="429"/>
                  <a:pt x="421" y="430"/>
                  <a:pt x="421" y="430"/>
                </a:cubicBezTo>
                <a:cubicBezTo>
                  <a:pt x="421" y="430"/>
                  <a:pt x="420" y="430"/>
                  <a:pt x="420" y="429"/>
                </a:cubicBezTo>
                <a:cubicBezTo>
                  <a:pt x="420" y="429"/>
                  <a:pt x="420" y="428"/>
                  <a:pt x="420" y="428"/>
                </a:cubicBezTo>
                <a:cubicBezTo>
                  <a:pt x="420" y="427"/>
                  <a:pt x="420" y="427"/>
                  <a:pt x="420" y="426"/>
                </a:cubicBezTo>
                <a:cubicBezTo>
                  <a:pt x="420" y="427"/>
                  <a:pt x="420" y="427"/>
                  <a:pt x="419" y="428"/>
                </a:cubicBezTo>
                <a:close/>
                <a:moveTo>
                  <a:pt x="422" y="421"/>
                </a:moveTo>
                <a:cubicBezTo>
                  <a:pt x="422" y="421"/>
                  <a:pt x="421" y="421"/>
                  <a:pt x="421" y="422"/>
                </a:cubicBezTo>
                <a:cubicBezTo>
                  <a:pt x="421" y="422"/>
                  <a:pt x="421" y="423"/>
                  <a:pt x="420" y="423"/>
                </a:cubicBezTo>
                <a:cubicBezTo>
                  <a:pt x="420" y="423"/>
                  <a:pt x="421" y="423"/>
                  <a:pt x="421" y="423"/>
                </a:cubicBezTo>
                <a:cubicBezTo>
                  <a:pt x="421" y="423"/>
                  <a:pt x="421" y="422"/>
                  <a:pt x="421" y="422"/>
                </a:cubicBezTo>
                <a:cubicBezTo>
                  <a:pt x="422" y="421"/>
                  <a:pt x="422" y="421"/>
                  <a:pt x="422" y="421"/>
                </a:cubicBezTo>
                <a:close/>
                <a:moveTo>
                  <a:pt x="549" y="328"/>
                </a:moveTo>
                <a:cubicBezTo>
                  <a:pt x="549" y="328"/>
                  <a:pt x="549" y="328"/>
                  <a:pt x="549" y="328"/>
                </a:cubicBezTo>
                <a:cubicBezTo>
                  <a:pt x="549" y="328"/>
                  <a:pt x="549" y="328"/>
                  <a:pt x="550" y="327"/>
                </a:cubicBezTo>
                <a:cubicBezTo>
                  <a:pt x="550" y="327"/>
                  <a:pt x="549" y="327"/>
                  <a:pt x="549" y="327"/>
                </a:cubicBezTo>
                <a:cubicBezTo>
                  <a:pt x="549" y="327"/>
                  <a:pt x="549" y="327"/>
                  <a:pt x="548" y="327"/>
                </a:cubicBezTo>
                <a:cubicBezTo>
                  <a:pt x="548" y="328"/>
                  <a:pt x="548" y="328"/>
                  <a:pt x="548" y="328"/>
                </a:cubicBezTo>
                <a:cubicBezTo>
                  <a:pt x="548" y="328"/>
                  <a:pt x="548" y="328"/>
                  <a:pt x="548" y="328"/>
                </a:cubicBezTo>
                <a:cubicBezTo>
                  <a:pt x="548" y="328"/>
                  <a:pt x="548" y="328"/>
                  <a:pt x="548" y="328"/>
                </a:cubicBezTo>
                <a:cubicBezTo>
                  <a:pt x="548" y="328"/>
                  <a:pt x="548" y="328"/>
                  <a:pt x="549" y="328"/>
                </a:cubicBezTo>
                <a:close/>
                <a:moveTo>
                  <a:pt x="286" y="355"/>
                </a:moveTo>
                <a:cubicBezTo>
                  <a:pt x="285" y="356"/>
                  <a:pt x="285" y="356"/>
                  <a:pt x="285" y="356"/>
                </a:cubicBezTo>
                <a:cubicBezTo>
                  <a:pt x="285" y="357"/>
                  <a:pt x="285" y="357"/>
                  <a:pt x="285" y="357"/>
                </a:cubicBezTo>
                <a:cubicBezTo>
                  <a:pt x="286" y="357"/>
                  <a:pt x="286" y="358"/>
                  <a:pt x="286" y="358"/>
                </a:cubicBezTo>
                <a:cubicBezTo>
                  <a:pt x="286" y="358"/>
                  <a:pt x="287" y="358"/>
                  <a:pt x="287" y="358"/>
                </a:cubicBezTo>
                <a:cubicBezTo>
                  <a:pt x="286" y="357"/>
                  <a:pt x="286" y="357"/>
                  <a:pt x="286" y="357"/>
                </a:cubicBezTo>
                <a:cubicBezTo>
                  <a:pt x="286" y="356"/>
                  <a:pt x="286" y="356"/>
                  <a:pt x="286" y="356"/>
                </a:cubicBezTo>
                <a:cubicBezTo>
                  <a:pt x="286" y="356"/>
                  <a:pt x="286" y="356"/>
                  <a:pt x="286" y="356"/>
                </a:cubicBezTo>
                <a:cubicBezTo>
                  <a:pt x="286" y="355"/>
                  <a:pt x="286" y="355"/>
                  <a:pt x="286" y="355"/>
                </a:cubicBezTo>
                <a:close/>
                <a:moveTo>
                  <a:pt x="687" y="695"/>
                </a:moveTo>
                <a:cubicBezTo>
                  <a:pt x="687" y="695"/>
                  <a:pt x="687" y="695"/>
                  <a:pt x="686" y="695"/>
                </a:cubicBezTo>
                <a:cubicBezTo>
                  <a:pt x="686" y="695"/>
                  <a:pt x="686" y="695"/>
                  <a:pt x="686" y="695"/>
                </a:cubicBezTo>
                <a:cubicBezTo>
                  <a:pt x="686" y="695"/>
                  <a:pt x="686" y="695"/>
                  <a:pt x="687" y="696"/>
                </a:cubicBezTo>
                <a:cubicBezTo>
                  <a:pt x="687" y="695"/>
                  <a:pt x="687" y="695"/>
                  <a:pt x="688" y="695"/>
                </a:cubicBezTo>
                <a:cubicBezTo>
                  <a:pt x="687" y="695"/>
                  <a:pt x="687" y="695"/>
                  <a:pt x="687" y="695"/>
                </a:cubicBezTo>
                <a:close/>
                <a:moveTo>
                  <a:pt x="691" y="691"/>
                </a:moveTo>
                <a:cubicBezTo>
                  <a:pt x="690" y="691"/>
                  <a:pt x="690" y="691"/>
                  <a:pt x="690" y="691"/>
                </a:cubicBezTo>
                <a:cubicBezTo>
                  <a:pt x="690" y="691"/>
                  <a:pt x="691" y="691"/>
                  <a:pt x="691" y="691"/>
                </a:cubicBezTo>
                <a:cubicBezTo>
                  <a:pt x="691" y="691"/>
                  <a:pt x="691" y="691"/>
                  <a:pt x="691" y="691"/>
                </a:cubicBezTo>
                <a:close/>
                <a:moveTo>
                  <a:pt x="692" y="693"/>
                </a:moveTo>
                <a:cubicBezTo>
                  <a:pt x="693" y="692"/>
                  <a:pt x="693" y="692"/>
                  <a:pt x="693" y="692"/>
                </a:cubicBezTo>
                <a:cubicBezTo>
                  <a:pt x="693" y="692"/>
                  <a:pt x="692" y="691"/>
                  <a:pt x="692" y="691"/>
                </a:cubicBezTo>
                <a:cubicBezTo>
                  <a:pt x="692" y="691"/>
                  <a:pt x="692" y="691"/>
                  <a:pt x="692" y="692"/>
                </a:cubicBezTo>
                <a:cubicBezTo>
                  <a:pt x="692" y="692"/>
                  <a:pt x="692" y="692"/>
                  <a:pt x="692" y="692"/>
                </a:cubicBezTo>
                <a:cubicBezTo>
                  <a:pt x="691" y="692"/>
                  <a:pt x="691" y="692"/>
                  <a:pt x="691" y="692"/>
                </a:cubicBezTo>
                <a:cubicBezTo>
                  <a:pt x="691" y="692"/>
                  <a:pt x="691" y="692"/>
                  <a:pt x="690" y="692"/>
                </a:cubicBezTo>
                <a:cubicBezTo>
                  <a:pt x="690" y="692"/>
                  <a:pt x="690" y="692"/>
                  <a:pt x="690" y="692"/>
                </a:cubicBezTo>
                <a:cubicBezTo>
                  <a:pt x="690" y="692"/>
                  <a:pt x="690" y="692"/>
                  <a:pt x="690" y="693"/>
                </a:cubicBezTo>
                <a:cubicBezTo>
                  <a:pt x="689" y="693"/>
                  <a:pt x="689" y="693"/>
                  <a:pt x="689" y="693"/>
                </a:cubicBezTo>
                <a:cubicBezTo>
                  <a:pt x="688" y="693"/>
                  <a:pt x="688" y="692"/>
                  <a:pt x="688" y="692"/>
                </a:cubicBezTo>
                <a:cubicBezTo>
                  <a:pt x="688" y="692"/>
                  <a:pt x="688" y="693"/>
                  <a:pt x="688" y="693"/>
                </a:cubicBezTo>
                <a:cubicBezTo>
                  <a:pt x="688" y="693"/>
                  <a:pt x="688" y="693"/>
                  <a:pt x="689" y="694"/>
                </a:cubicBezTo>
                <a:cubicBezTo>
                  <a:pt x="689" y="694"/>
                  <a:pt x="689" y="694"/>
                  <a:pt x="690" y="694"/>
                </a:cubicBezTo>
                <a:cubicBezTo>
                  <a:pt x="690" y="694"/>
                  <a:pt x="690" y="694"/>
                  <a:pt x="690" y="694"/>
                </a:cubicBezTo>
                <a:cubicBezTo>
                  <a:pt x="689" y="694"/>
                  <a:pt x="689" y="694"/>
                  <a:pt x="689" y="694"/>
                </a:cubicBezTo>
                <a:cubicBezTo>
                  <a:pt x="689" y="694"/>
                  <a:pt x="689" y="694"/>
                  <a:pt x="688" y="695"/>
                </a:cubicBezTo>
                <a:cubicBezTo>
                  <a:pt x="688" y="695"/>
                  <a:pt x="689" y="695"/>
                  <a:pt x="689" y="695"/>
                </a:cubicBezTo>
                <a:cubicBezTo>
                  <a:pt x="688" y="695"/>
                  <a:pt x="688" y="696"/>
                  <a:pt x="688" y="696"/>
                </a:cubicBezTo>
                <a:cubicBezTo>
                  <a:pt x="688" y="696"/>
                  <a:pt x="688" y="696"/>
                  <a:pt x="687" y="696"/>
                </a:cubicBezTo>
                <a:cubicBezTo>
                  <a:pt x="687" y="696"/>
                  <a:pt x="687" y="696"/>
                  <a:pt x="687" y="696"/>
                </a:cubicBezTo>
                <a:cubicBezTo>
                  <a:pt x="688" y="696"/>
                  <a:pt x="688" y="696"/>
                  <a:pt x="688" y="697"/>
                </a:cubicBezTo>
                <a:cubicBezTo>
                  <a:pt x="689" y="696"/>
                  <a:pt x="689" y="696"/>
                  <a:pt x="689" y="696"/>
                </a:cubicBezTo>
                <a:cubicBezTo>
                  <a:pt x="689" y="696"/>
                  <a:pt x="689" y="696"/>
                  <a:pt x="690" y="696"/>
                </a:cubicBezTo>
                <a:cubicBezTo>
                  <a:pt x="690" y="696"/>
                  <a:pt x="690" y="696"/>
                  <a:pt x="690" y="696"/>
                </a:cubicBezTo>
                <a:cubicBezTo>
                  <a:pt x="690" y="696"/>
                  <a:pt x="689" y="696"/>
                  <a:pt x="689" y="695"/>
                </a:cubicBezTo>
                <a:cubicBezTo>
                  <a:pt x="689" y="695"/>
                  <a:pt x="689" y="695"/>
                  <a:pt x="690" y="695"/>
                </a:cubicBezTo>
                <a:cubicBezTo>
                  <a:pt x="690" y="695"/>
                  <a:pt x="691" y="695"/>
                  <a:pt x="691" y="695"/>
                </a:cubicBezTo>
                <a:cubicBezTo>
                  <a:pt x="691" y="695"/>
                  <a:pt x="691" y="694"/>
                  <a:pt x="692" y="694"/>
                </a:cubicBezTo>
                <a:cubicBezTo>
                  <a:pt x="692" y="694"/>
                  <a:pt x="692" y="694"/>
                  <a:pt x="692" y="693"/>
                </a:cubicBezTo>
                <a:cubicBezTo>
                  <a:pt x="692" y="693"/>
                  <a:pt x="692" y="693"/>
                  <a:pt x="692" y="693"/>
                </a:cubicBezTo>
                <a:close/>
                <a:moveTo>
                  <a:pt x="689" y="692"/>
                </a:moveTo>
                <a:cubicBezTo>
                  <a:pt x="689" y="692"/>
                  <a:pt x="689" y="692"/>
                  <a:pt x="688" y="691"/>
                </a:cubicBezTo>
                <a:cubicBezTo>
                  <a:pt x="689" y="692"/>
                  <a:pt x="689" y="692"/>
                  <a:pt x="689" y="692"/>
                </a:cubicBezTo>
                <a:cubicBezTo>
                  <a:pt x="689" y="692"/>
                  <a:pt x="689" y="692"/>
                  <a:pt x="689" y="692"/>
                </a:cubicBezTo>
                <a:close/>
                <a:moveTo>
                  <a:pt x="781" y="692"/>
                </a:moveTo>
                <a:cubicBezTo>
                  <a:pt x="781" y="691"/>
                  <a:pt x="781" y="691"/>
                  <a:pt x="781" y="691"/>
                </a:cubicBezTo>
                <a:cubicBezTo>
                  <a:pt x="781" y="691"/>
                  <a:pt x="780" y="691"/>
                  <a:pt x="780" y="691"/>
                </a:cubicBezTo>
                <a:cubicBezTo>
                  <a:pt x="780" y="691"/>
                  <a:pt x="780" y="690"/>
                  <a:pt x="780" y="690"/>
                </a:cubicBezTo>
                <a:cubicBezTo>
                  <a:pt x="779" y="690"/>
                  <a:pt x="779" y="690"/>
                  <a:pt x="779" y="690"/>
                </a:cubicBezTo>
                <a:cubicBezTo>
                  <a:pt x="779" y="690"/>
                  <a:pt x="779" y="690"/>
                  <a:pt x="779" y="690"/>
                </a:cubicBezTo>
                <a:cubicBezTo>
                  <a:pt x="779" y="690"/>
                  <a:pt x="778" y="690"/>
                  <a:pt x="778" y="690"/>
                </a:cubicBezTo>
                <a:cubicBezTo>
                  <a:pt x="778" y="690"/>
                  <a:pt x="777" y="690"/>
                  <a:pt x="777" y="690"/>
                </a:cubicBezTo>
                <a:cubicBezTo>
                  <a:pt x="777" y="690"/>
                  <a:pt x="777" y="690"/>
                  <a:pt x="777" y="690"/>
                </a:cubicBezTo>
                <a:cubicBezTo>
                  <a:pt x="777" y="690"/>
                  <a:pt x="778" y="690"/>
                  <a:pt x="778" y="690"/>
                </a:cubicBezTo>
                <a:cubicBezTo>
                  <a:pt x="778" y="690"/>
                  <a:pt x="778" y="690"/>
                  <a:pt x="778" y="691"/>
                </a:cubicBezTo>
                <a:cubicBezTo>
                  <a:pt x="779" y="691"/>
                  <a:pt x="779" y="691"/>
                  <a:pt x="779" y="691"/>
                </a:cubicBezTo>
                <a:cubicBezTo>
                  <a:pt x="779" y="691"/>
                  <a:pt x="779" y="691"/>
                  <a:pt x="779" y="691"/>
                </a:cubicBezTo>
                <a:cubicBezTo>
                  <a:pt x="779" y="691"/>
                  <a:pt x="780" y="692"/>
                  <a:pt x="780" y="692"/>
                </a:cubicBezTo>
                <a:cubicBezTo>
                  <a:pt x="780" y="692"/>
                  <a:pt x="780" y="692"/>
                  <a:pt x="780" y="693"/>
                </a:cubicBezTo>
                <a:cubicBezTo>
                  <a:pt x="780" y="693"/>
                  <a:pt x="780" y="693"/>
                  <a:pt x="781" y="693"/>
                </a:cubicBezTo>
                <a:cubicBezTo>
                  <a:pt x="781" y="693"/>
                  <a:pt x="781" y="693"/>
                  <a:pt x="781" y="693"/>
                </a:cubicBezTo>
                <a:cubicBezTo>
                  <a:pt x="781" y="692"/>
                  <a:pt x="781" y="692"/>
                  <a:pt x="781" y="692"/>
                </a:cubicBezTo>
                <a:cubicBezTo>
                  <a:pt x="781" y="692"/>
                  <a:pt x="782" y="692"/>
                  <a:pt x="782" y="692"/>
                </a:cubicBezTo>
                <a:cubicBezTo>
                  <a:pt x="782" y="692"/>
                  <a:pt x="782" y="692"/>
                  <a:pt x="782" y="692"/>
                </a:cubicBezTo>
                <a:cubicBezTo>
                  <a:pt x="782" y="692"/>
                  <a:pt x="782" y="692"/>
                  <a:pt x="782" y="692"/>
                </a:cubicBezTo>
                <a:cubicBezTo>
                  <a:pt x="781" y="692"/>
                  <a:pt x="781" y="692"/>
                  <a:pt x="781" y="692"/>
                </a:cubicBezTo>
                <a:close/>
                <a:moveTo>
                  <a:pt x="698" y="691"/>
                </a:moveTo>
                <a:cubicBezTo>
                  <a:pt x="698" y="691"/>
                  <a:pt x="698" y="691"/>
                  <a:pt x="698" y="691"/>
                </a:cubicBezTo>
                <a:cubicBezTo>
                  <a:pt x="697" y="691"/>
                  <a:pt x="697" y="691"/>
                  <a:pt x="697" y="690"/>
                </a:cubicBezTo>
                <a:cubicBezTo>
                  <a:pt x="696" y="691"/>
                  <a:pt x="696" y="691"/>
                  <a:pt x="696" y="691"/>
                </a:cubicBezTo>
                <a:cubicBezTo>
                  <a:pt x="696" y="691"/>
                  <a:pt x="696" y="691"/>
                  <a:pt x="696" y="691"/>
                </a:cubicBezTo>
                <a:cubicBezTo>
                  <a:pt x="696" y="691"/>
                  <a:pt x="696" y="691"/>
                  <a:pt x="696" y="691"/>
                </a:cubicBezTo>
                <a:cubicBezTo>
                  <a:pt x="696" y="691"/>
                  <a:pt x="695" y="691"/>
                  <a:pt x="695" y="691"/>
                </a:cubicBezTo>
                <a:cubicBezTo>
                  <a:pt x="695" y="691"/>
                  <a:pt x="695" y="691"/>
                  <a:pt x="695" y="690"/>
                </a:cubicBezTo>
                <a:cubicBezTo>
                  <a:pt x="695" y="690"/>
                  <a:pt x="694" y="690"/>
                  <a:pt x="694" y="690"/>
                </a:cubicBezTo>
                <a:cubicBezTo>
                  <a:pt x="694" y="691"/>
                  <a:pt x="694" y="691"/>
                  <a:pt x="694" y="691"/>
                </a:cubicBezTo>
                <a:cubicBezTo>
                  <a:pt x="694" y="691"/>
                  <a:pt x="694" y="691"/>
                  <a:pt x="693" y="691"/>
                </a:cubicBezTo>
                <a:cubicBezTo>
                  <a:pt x="693" y="691"/>
                  <a:pt x="694" y="692"/>
                  <a:pt x="694" y="692"/>
                </a:cubicBezTo>
                <a:cubicBezTo>
                  <a:pt x="694" y="692"/>
                  <a:pt x="694" y="692"/>
                  <a:pt x="693" y="692"/>
                </a:cubicBezTo>
                <a:cubicBezTo>
                  <a:pt x="694" y="692"/>
                  <a:pt x="694" y="693"/>
                  <a:pt x="694" y="693"/>
                </a:cubicBezTo>
                <a:cubicBezTo>
                  <a:pt x="694" y="693"/>
                  <a:pt x="694" y="693"/>
                  <a:pt x="694" y="693"/>
                </a:cubicBezTo>
                <a:cubicBezTo>
                  <a:pt x="694" y="693"/>
                  <a:pt x="694" y="693"/>
                  <a:pt x="694" y="693"/>
                </a:cubicBezTo>
                <a:cubicBezTo>
                  <a:pt x="694" y="693"/>
                  <a:pt x="693" y="693"/>
                  <a:pt x="693" y="693"/>
                </a:cubicBezTo>
                <a:cubicBezTo>
                  <a:pt x="693" y="694"/>
                  <a:pt x="693" y="695"/>
                  <a:pt x="692" y="695"/>
                </a:cubicBezTo>
                <a:cubicBezTo>
                  <a:pt x="692" y="695"/>
                  <a:pt x="693" y="695"/>
                  <a:pt x="693" y="695"/>
                </a:cubicBezTo>
                <a:cubicBezTo>
                  <a:pt x="693" y="695"/>
                  <a:pt x="693" y="696"/>
                  <a:pt x="694" y="696"/>
                </a:cubicBezTo>
                <a:cubicBezTo>
                  <a:pt x="694" y="696"/>
                  <a:pt x="694" y="696"/>
                  <a:pt x="694" y="696"/>
                </a:cubicBezTo>
                <a:cubicBezTo>
                  <a:pt x="694" y="696"/>
                  <a:pt x="694" y="696"/>
                  <a:pt x="694" y="696"/>
                </a:cubicBezTo>
                <a:cubicBezTo>
                  <a:pt x="694" y="696"/>
                  <a:pt x="694" y="695"/>
                  <a:pt x="693" y="695"/>
                </a:cubicBezTo>
                <a:cubicBezTo>
                  <a:pt x="694" y="695"/>
                  <a:pt x="694" y="695"/>
                  <a:pt x="694" y="695"/>
                </a:cubicBezTo>
                <a:cubicBezTo>
                  <a:pt x="694" y="695"/>
                  <a:pt x="694" y="695"/>
                  <a:pt x="694" y="695"/>
                </a:cubicBezTo>
                <a:cubicBezTo>
                  <a:pt x="695" y="695"/>
                  <a:pt x="695" y="695"/>
                  <a:pt x="695" y="695"/>
                </a:cubicBezTo>
                <a:cubicBezTo>
                  <a:pt x="695" y="695"/>
                  <a:pt x="694" y="695"/>
                  <a:pt x="694" y="695"/>
                </a:cubicBezTo>
                <a:cubicBezTo>
                  <a:pt x="694" y="694"/>
                  <a:pt x="694" y="694"/>
                  <a:pt x="694" y="694"/>
                </a:cubicBezTo>
                <a:cubicBezTo>
                  <a:pt x="694" y="694"/>
                  <a:pt x="695" y="694"/>
                  <a:pt x="695" y="694"/>
                </a:cubicBezTo>
                <a:cubicBezTo>
                  <a:pt x="695" y="694"/>
                  <a:pt x="696" y="694"/>
                  <a:pt x="696" y="694"/>
                </a:cubicBezTo>
                <a:cubicBezTo>
                  <a:pt x="696" y="694"/>
                  <a:pt x="696" y="694"/>
                  <a:pt x="696" y="694"/>
                </a:cubicBezTo>
                <a:cubicBezTo>
                  <a:pt x="696" y="694"/>
                  <a:pt x="695" y="694"/>
                  <a:pt x="695" y="694"/>
                </a:cubicBezTo>
                <a:cubicBezTo>
                  <a:pt x="695" y="694"/>
                  <a:pt x="695" y="694"/>
                  <a:pt x="695" y="693"/>
                </a:cubicBezTo>
                <a:cubicBezTo>
                  <a:pt x="695" y="693"/>
                  <a:pt x="695" y="693"/>
                  <a:pt x="695" y="693"/>
                </a:cubicBezTo>
                <a:cubicBezTo>
                  <a:pt x="695" y="693"/>
                  <a:pt x="695" y="693"/>
                  <a:pt x="696" y="693"/>
                </a:cubicBezTo>
                <a:cubicBezTo>
                  <a:pt x="696" y="693"/>
                  <a:pt x="696" y="693"/>
                  <a:pt x="697" y="693"/>
                </a:cubicBezTo>
                <a:cubicBezTo>
                  <a:pt x="697" y="693"/>
                  <a:pt x="697" y="692"/>
                  <a:pt x="697" y="692"/>
                </a:cubicBezTo>
                <a:cubicBezTo>
                  <a:pt x="697" y="692"/>
                  <a:pt x="698" y="692"/>
                  <a:pt x="698" y="692"/>
                </a:cubicBezTo>
                <a:cubicBezTo>
                  <a:pt x="698" y="692"/>
                  <a:pt x="698" y="692"/>
                  <a:pt x="698" y="692"/>
                </a:cubicBezTo>
                <a:cubicBezTo>
                  <a:pt x="698" y="692"/>
                  <a:pt x="697" y="691"/>
                  <a:pt x="697" y="691"/>
                </a:cubicBezTo>
                <a:cubicBezTo>
                  <a:pt x="697" y="691"/>
                  <a:pt x="697" y="691"/>
                  <a:pt x="697" y="691"/>
                </a:cubicBezTo>
                <a:cubicBezTo>
                  <a:pt x="697" y="691"/>
                  <a:pt x="697" y="691"/>
                  <a:pt x="697" y="691"/>
                </a:cubicBezTo>
                <a:cubicBezTo>
                  <a:pt x="698" y="691"/>
                  <a:pt x="698" y="691"/>
                  <a:pt x="698" y="691"/>
                </a:cubicBezTo>
                <a:close/>
                <a:moveTo>
                  <a:pt x="355" y="457"/>
                </a:moveTo>
                <a:cubicBezTo>
                  <a:pt x="355" y="457"/>
                  <a:pt x="355" y="457"/>
                  <a:pt x="355" y="457"/>
                </a:cubicBezTo>
                <a:cubicBezTo>
                  <a:pt x="355" y="457"/>
                  <a:pt x="356" y="457"/>
                  <a:pt x="356" y="457"/>
                </a:cubicBezTo>
                <a:cubicBezTo>
                  <a:pt x="356" y="457"/>
                  <a:pt x="356" y="457"/>
                  <a:pt x="356" y="457"/>
                </a:cubicBezTo>
                <a:cubicBezTo>
                  <a:pt x="356" y="457"/>
                  <a:pt x="356" y="457"/>
                  <a:pt x="356" y="457"/>
                </a:cubicBezTo>
                <a:cubicBezTo>
                  <a:pt x="356" y="456"/>
                  <a:pt x="355" y="456"/>
                  <a:pt x="355" y="456"/>
                </a:cubicBezTo>
                <a:cubicBezTo>
                  <a:pt x="355" y="456"/>
                  <a:pt x="355" y="457"/>
                  <a:pt x="355" y="457"/>
                </a:cubicBezTo>
                <a:close/>
                <a:moveTo>
                  <a:pt x="420" y="436"/>
                </a:moveTo>
                <a:cubicBezTo>
                  <a:pt x="420" y="436"/>
                  <a:pt x="420" y="436"/>
                  <a:pt x="420" y="436"/>
                </a:cubicBezTo>
                <a:cubicBezTo>
                  <a:pt x="420" y="436"/>
                  <a:pt x="420" y="436"/>
                  <a:pt x="420" y="436"/>
                </a:cubicBezTo>
                <a:cubicBezTo>
                  <a:pt x="420" y="436"/>
                  <a:pt x="420" y="436"/>
                  <a:pt x="420" y="436"/>
                </a:cubicBezTo>
                <a:cubicBezTo>
                  <a:pt x="420" y="436"/>
                  <a:pt x="420" y="436"/>
                  <a:pt x="420" y="436"/>
                </a:cubicBezTo>
                <a:close/>
                <a:moveTo>
                  <a:pt x="420" y="439"/>
                </a:moveTo>
                <a:cubicBezTo>
                  <a:pt x="420" y="439"/>
                  <a:pt x="420" y="439"/>
                  <a:pt x="420" y="438"/>
                </a:cubicBezTo>
                <a:cubicBezTo>
                  <a:pt x="420" y="438"/>
                  <a:pt x="420" y="438"/>
                  <a:pt x="420" y="438"/>
                </a:cubicBezTo>
                <a:cubicBezTo>
                  <a:pt x="420" y="438"/>
                  <a:pt x="420" y="439"/>
                  <a:pt x="420" y="439"/>
                </a:cubicBezTo>
                <a:close/>
                <a:moveTo>
                  <a:pt x="420" y="437"/>
                </a:moveTo>
                <a:cubicBezTo>
                  <a:pt x="420" y="437"/>
                  <a:pt x="420" y="437"/>
                  <a:pt x="420" y="437"/>
                </a:cubicBezTo>
                <a:cubicBezTo>
                  <a:pt x="420" y="437"/>
                  <a:pt x="420" y="437"/>
                  <a:pt x="420" y="437"/>
                </a:cubicBezTo>
                <a:cubicBezTo>
                  <a:pt x="420" y="437"/>
                  <a:pt x="420" y="437"/>
                  <a:pt x="420" y="437"/>
                </a:cubicBezTo>
                <a:cubicBezTo>
                  <a:pt x="420" y="437"/>
                  <a:pt x="420" y="437"/>
                  <a:pt x="420" y="437"/>
                </a:cubicBezTo>
                <a:close/>
                <a:moveTo>
                  <a:pt x="357" y="459"/>
                </a:moveTo>
                <a:cubicBezTo>
                  <a:pt x="358" y="459"/>
                  <a:pt x="358" y="459"/>
                  <a:pt x="358" y="459"/>
                </a:cubicBezTo>
                <a:cubicBezTo>
                  <a:pt x="358" y="459"/>
                  <a:pt x="358" y="459"/>
                  <a:pt x="358" y="459"/>
                </a:cubicBezTo>
                <a:cubicBezTo>
                  <a:pt x="358" y="459"/>
                  <a:pt x="357" y="459"/>
                  <a:pt x="357" y="459"/>
                </a:cubicBezTo>
                <a:cubicBezTo>
                  <a:pt x="357" y="459"/>
                  <a:pt x="357" y="459"/>
                  <a:pt x="357" y="459"/>
                </a:cubicBezTo>
                <a:close/>
                <a:moveTo>
                  <a:pt x="667" y="468"/>
                </a:moveTo>
                <a:cubicBezTo>
                  <a:pt x="667" y="468"/>
                  <a:pt x="667" y="468"/>
                  <a:pt x="667" y="468"/>
                </a:cubicBezTo>
                <a:cubicBezTo>
                  <a:pt x="667" y="469"/>
                  <a:pt x="668" y="469"/>
                  <a:pt x="668" y="469"/>
                </a:cubicBezTo>
                <a:cubicBezTo>
                  <a:pt x="668" y="469"/>
                  <a:pt x="668" y="469"/>
                  <a:pt x="668" y="469"/>
                </a:cubicBezTo>
                <a:cubicBezTo>
                  <a:pt x="668" y="469"/>
                  <a:pt x="668" y="469"/>
                  <a:pt x="668" y="468"/>
                </a:cubicBezTo>
                <a:cubicBezTo>
                  <a:pt x="668" y="468"/>
                  <a:pt x="668" y="468"/>
                  <a:pt x="667" y="468"/>
                </a:cubicBezTo>
                <a:cubicBezTo>
                  <a:pt x="667" y="467"/>
                  <a:pt x="667" y="467"/>
                  <a:pt x="667" y="467"/>
                </a:cubicBezTo>
                <a:cubicBezTo>
                  <a:pt x="667" y="467"/>
                  <a:pt x="667" y="467"/>
                  <a:pt x="667" y="468"/>
                </a:cubicBezTo>
                <a:close/>
                <a:moveTo>
                  <a:pt x="668" y="477"/>
                </a:moveTo>
                <a:cubicBezTo>
                  <a:pt x="667" y="477"/>
                  <a:pt x="667" y="477"/>
                  <a:pt x="667" y="477"/>
                </a:cubicBezTo>
                <a:cubicBezTo>
                  <a:pt x="667" y="477"/>
                  <a:pt x="667" y="477"/>
                  <a:pt x="667" y="477"/>
                </a:cubicBezTo>
                <a:cubicBezTo>
                  <a:pt x="667" y="477"/>
                  <a:pt x="667" y="477"/>
                  <a:pt x="666" y="477"/>
                </a:cubicBezTo>
                <a:cubicBezTo>
                  <a:pt x="666" y="477"/>
                  <a:pt x="666" y="478"/>
                  <a:pt x="666" y="478"/>
                </a:cubicBezTo>
                <a:cubicBezTo>
                  <a:pt x="666" y="478"/>
                  <a:pt x="665" y="479"/>
                  <a:pt x="665" y="479"/>
                </a:cubicBezTo>
                <a:cubicBezTo>
                  <a:pt x="665" y="479"/>
                  <a:pt x="666" y="479"/>
                  <a:pt x="666" y="479"/>
                </a:cubicBezTo>
                <a:cubicBezTo>
                  <a:pt x="666" y="479"/>
                  <a:pt x="666" y="479"/>
                  <a:pt x="666" y="479"/>
                </a:cubicBezTo>
                <a:cubicBezTo>
                  <a:pt x="666" y="478"/>
                  <a:pt x="666" y="478"/>
                  <a:pt x="667" y="478"/>
                </a:cubicBezTo>
                <a:cubicBezTo>
                  <a:pt x="667" y="478"/>
                  <a:pt x="667" y="478"/>
                  <a:pt x="667" y="478"/>
                </a:cubicBezTo>
                <a:cubicBezTo>
                  <a:pt x="667" y="477"/>
                  <a:pt x="668" y="477"/>
                  <a:pt x="668" y="477"/>
                </a:cubicBezTo>
                <a:cubicBezTo>
                  <a:pt x="668" y="477"/>
                  <a:pt x="668" y="477"/>
                  <a:pt x="668" y="477"/>
                </a:cubicBezTo>
                <a:close/>
                <a:moveTo>
                  <a:pt x="673" y="476"/>
                </a:moveTo>
                <a:cubicBezTo>
                  <a:pt x="673" y="476"/>
                  <a:pt x="672" y="476"/>
                  <a:pt x="672" y="476"/>
                </a:cubicBezTo>
                <a:cubicBezTo>
                  <a:pt x="672" y="476"/>
                  <a:pt x="673" y="476"/>
                  <a:pt x="673" y="476"/>
                </a:cubicBezTo>
                <a:cubicBezTo>
                  <a:pt x="673" y="476"/>
                  <a:pt x="674" y="476"/>
                  <a:pt x="674" y="476"/>
                </a:cubicBezTo>
                <a:cubicBezTo>
                  <a:pt x="674" y="476"/>
                  <a:pt x="674" y="475"/>
                  <a:pt x="674" y="475"/>
                </a:cubicBezTo>
                <a:cubicBezTo>
                  <a:pt x="674" y="475"/>
                  <a:pt x="674" y="475"/>
                  <a:pt x="674" y="475"/>
                </a:cubicBezTo>
                <a:cubicBezTo>
                  <a:pt x="673" y="475"/>
                  <a:pt x="673" y="475"/>
                  <a:pt x="673" y="475"/>
                </a:cubicBezTo>
                <a:cubicBezTo>
                  <a:pt x="673" y="475"/>
                  <a:pt x="673" y="475"/>
                  <a:pt x="673" y="476"/>
                </a:cubicBezTo>
                <a:close/>
                <a:moveTo>
                  <a:pt x="666" y="479"/>
                </a:moveTo>
                <a:cubicBezTo>
                  <a:pt x="666" y="479"/>
                  <a:pt x="666" y="479"/>
                  <a:pt x="666" y="479"/>
                </a:cubicBezTo>
                <a:cubicBezTo>
                  <a:pt x="666" y="479"/>
                  <a:pt x="666" y="479"/>
                  <a:pt x="666" y="479"/>
                </a:cubicBezTo>
                <a:cubicBezTo>
                  <a:pt x="667" y="479"/>
                  <a:pt x="667" y="479"/>
                  <a:pt x="667" y="479"/>
                </a:cubicBezTo>
                <a:cubicBezTo>
                  <a:pt x="667" y="479"/>
                  <a:pt x="667" y="478"/>
                  <a:pt x="667" y="478"/>
                </a:cubicBezTo>
                <a:cubicBezTo>
                  <a:pt x="667" y="478"/>
                  <a:pt x="667" y="478"/>
                  <a:pt x="667" y="478"/>
                </a:cubicBezTo>
                <a:cubicBezTo>
                  <a:pt x="667" y="478"/>
                  <a:pt x="667" y="478"/>
                  <a:pt x="666" y="479"/>
                </a:cubicBezTo>
                <a:close/>
                <a:moveTo>
                  <a:pt x="669" y="475"/>
                </a:moveTo>
                <a:cubicBezTo>
                  <a:pt x="669" y="475"/>
                  <a:pt x="669" y="475"/>
                  <a:pt x="669" y="476"/>
                </a:cubicBezTo>
                <a:cubicBezTo>
                  <a:pt x="669" y="476"/>
                  <a:pt x="670" y="476"/>
                  <a:pt x="670" y="476"/>
                </a:cubicBezTo>
                <a:cubicBezTo>
                  <a:pt x="670" y="476"/>
                  <a:pt x="671" y="476"/>
                  <a:pt x="671" y="475"/>
                </a:cubicBezTo>
                <a:cubicBezTo>
                  <a:pt x="671" y="476"/>
                  <a:pt x="671" y="476"/>
                  <a:pt x="671" y="476"/>
                </a:cubicBezTo>
                <a:cubicBezTo>
                  <a:pt x="671" y="475"/>
                  <a:pt x="672" y="475"/>
                  <a:pt x="672" y="475"/>
                </a:cubicBezTo>
                <a:cubicBezTo>
                  <a:pt x="672" y="475"/>
                  <a:pt x="672" y="475"/>
                  <a:pt x="672" y="475"/>
                </a:cubicBezTo>
                <a:cubicBezTo>
                  <a:pt x="672" y="475"/>
                  <a:pt x="672" y="475"/>
                  <a:pt x="671" y="475"/>
                </a:cubicBezTo>
                <a:cubicBezTo>
                  <a:pt x="671" y="475"/>
                  <a:pt x="671" y="475"/>
                  <a:pt x="670" y="475"/>
                </a:cubicBezTo>
                <a:cubicBezTo>
                  <a:pt x="670" y="475"/>
                  <a:pt x="670" y="475"/>
                  <a:pt x="669" y="475"/>
                </a:cubicBezTo>
                <a:close/>
                <a:moveTo>
                  <a:pt x="669" y="474"/>
                </a:moveTo>
                <a:cubicBezTo>
                  <a:pt x="669" y="474"/>
                  <a:pt x="669" y="474"/>
                  <a:pt x="669" y="474"/>
                </a:cubicBezTo>
                <a:cubicBezTo>
                  <a:pt x="669" y="474"/>
                  <a:pt x="669" y="474"/>
                  <a:pt x="669" y="475"/>
                </a:cubicBezTo>
                <a:cubicBezTo>
                  <a:pt x="669" y="475"/>
                  <a:pt x="669" y="475"/>
                  <a:pt x="669" y="475"/>
                </a:cubicBezTo>
                <a:cubicBezTo>
                  <a:pt x="669" y="475"/>
                  <a:pt x="669" y="475"/>
                  <a:pt x="669" y="475"/>
                </a:cubicBezTo>
                <a:cubicBezTo>
                  <a:pt x="669" y="474"/>
                  <a:pt x="670" y="474"/>
                  <a:pt x="670" y="474"/>
                </a:cubicBezTo>
                <a:cubicBezTo>
                  <a:pt x="670" y="474"/>
                  <a:pt x="670" y="474"/>
                  <a:pt x="670" y="474"/>
                </a:cubicBezTo>
                <a:cubicBezTo>
                  <a:pt x="670" y="474"/>
                  <a:pt x="670" y="473"/>
                  <a:pt x="670" y="473"/>
                </a:cubicBezTo>
                <a:cubicBezTo>
                  <a:pt x="670" y="473"/>
                  <a:pt x="670" y="473"/>
                  <a:pt x="670" y="473"/>
                </a:cubicBezTo>
                <a:cubicBezTo>
                  <a:pt x="670" y="473"/>
                  <a:pt x="670" y="474"/>
                  <a:pt x="669" y="474"/>
                </a:cubicBezTo>
                <a:close/>
                <a:moveTo>
                  <a:pt x="747" y="494"/>
                </a:moveTo>
                <a:cubicBezTo>
                  <a:pt x="747" y="494"/>
                  <a:pt x="747" y="494"/>
                  <a:pt x="747" y="493"/>
                </a:cubicBezTo>
                <a:cubicBezTo>
                  <a:pt x="747" y="493"/>
                  <a:pt x="747" y="493"/>
                  <a:pt x="747" y="493"/>
                </a:cubicBezTo>
                <a:cubicBezTo>
                  <a:pt x="747" y="492"/>
                  <a:pt x="747" y="492"/>
                  <a:pt x="747" y="491"/>
                </a:cubicBezTo>
                <a:cubicBezTo>
                  <a:pt x="747" y="491"/>
                  <a:pt x="747" y="491"/>
                  <a:pt x="746" y="491"/>
                </a:cubicBezTo>
                <a:cubicBezTo>
                  <a:pt x="746" y="491"/>
                  <a:pt x="746" y="490"/>
                  <a:pt x="746" y="490"/>
                </a:cubicBezTo>
                <a:cubicBezTo>
                  <a:pt x="745" y="489"/>
                  <a:pt x="745" y="488"/>
                  <a:pt x="744" y="487"/>
                </a:cubicBezTo>
                <a:cubicBezTo>
                  <a:pt x="744" y="487"/>
                  <a:pt x="744" y="487"/>
                  <a:pt x="744" y="486"/>
                </a:cubicBezTo>
                <a:cubicBezTo>
                  <a:pt x="744" y="486"/>
                  <a:pt x="744" y="486"/>
                  <a:pt x="744" y="485"/>
                </a:cubicBezTo>
                <a:cubicBezTo>
                  <a:pt x="742" y="485"/>
                  <a:pt x="741" y="485"/>
                  <a:pt x="740" y="485"/>
                </a:cubicBezTo>
                <a:cubicBezTo>
                  <a:pt x="740" y="485"/>
                  <a:pt x="739" y="485"/>
                  <a:pt x="739" y="485"/>
                </a:cubicBezTo>
                <a:cubicBezTo>
                  <a:pt x="738" y="485"/>
                  <a:pt x="738" y="485"/>
                  <a:pt x="737" y="486"/>
                </a:cubicBezTo>
                <a:cubicBezTo>
                  <a:pt x="737" y="485"/>
                  <a:pt x="737" y="485"/>
                  <a:pt x="736" y="485"/>
                </a:cubicBezTo>
                <a:cubicBezTo>
                  <a:pt x="736" y="485"/>
                  <a:pt x="736" y="485"/>
                  <a:pt x="735" y="485"/>
                </a:cubicBezTo>
                <a:cubicBezTo>
                  <a:pt x="735" y="484"/>
                  <a:pt x="734" y="484"/>
                  <a:pt x="734" y="484"/>
                </a:cubicBezTo>
                <a:cubicBezTo>
                  <a:pt x="734" y="484"/>
                  <a:pt x="733" y="484"/>
                  <a:pt x="733" y="484"/>
                </a:cubicBezTo>
                <a:cubicBezTo>
                  <a:pt x="732" y="484"/>
                  <a:pt x="732" y="484"/>
                  <a:pt x="732" y="484"/>
                </a:cubicBezTo>
                <a:cubicBezTo>
                  <a:pt x="731" y="483"/>
                  <a:pt x="730" y="483"/>
                  <a:pt x="729" y="482"/>
                </a:cubicBezTo>
                <a:cubicBezTo>
                  <a:pt x="729" y="482"/>
                  <a:pt x="728" y="481"/>
                  <a:pt x="727" y="481"/>
                </a:cubicBezTo>
                <a:cubicBezTo>
                  <a:pt x="727" y="480"/>
                  <a:pt x="727" y="480"/>
                  <a:pt x="726" y="480"/>
                </a:cubicBezTo>
                <a:cubicBezTo>
                  <a:pt x="726" y="480"/>
                  <a:pt x="726" y="480"/>
                  <a:pt x="725" y="480"/>
                </a:cubicBezTo>
                <a:cubicBezTo>
                  <a:pt x="725" y="480"/>
                  <a:pt x="724" y="480"/>
                  <a:pt x="724" y="480"/>
                </a:cubicBezTo>
                <a:cubicBezTo>
                  <a:pt x="723" y="480"/>
                  <a:pt x="722" y="479"/>
                  <a:pt x="721" y="479"/>
                </a:cubicBezTo>
                <a:cubicBezTo>
                  <a:pt x="721" y="479"/>
                  <a:pt x="720" y="479"/>
                  <a:pt x="720" y="479"/>
                </a:cubicBezTo>
                <a:cubicBezTo>
                  <a:pt x="719" y="479"/>
                  <a:pt x="719" y="479"/>
                  <a:pt x="718" y="479"/>
                </a:cubicBezTo>
                <a:cubicBezTo>
                  <a:pt x="718" y="479"/>
                  <a:pt x="718" y="479"/>
                  <a:pt x="717" y="479"/>
                </a:cubicBezTo>
                <a:cubicBezTo>
                  <a:pt x="717" y="479"/>
                  <a:pt x="716" y="479"/>
                  <a:pt x="716" y="479"/>
                </a:cubicBezTo>
                <a:cubicBezTo>
                  <a:pt x="716" y="479"/>
                  <a:pt x="715" y="479"/>
                  <a:pt x="715" y="479"/>
                </a:cubicBezTo>
                <a:cubicBezTo>
                  <a:pt x="715" y="479"/>
                  <a:pt x="715" y="479"/>
                  <a:pt x="714" y="480"/>
                </a:cubicBezTo>
                <a:cubicBezTo>
                  <a:pt x="714" y="480"/>
                  <a:pt x="714" y="480"/>
                  <a:pt x="714" y="480"/>
                </a:cubicBezTo>
                <a:cubicBezTo>
                  <a:pt x="714" y="480"/>
                  <a:pt x="713" y="480"/>
                  <a:pt x="713" y="480"/>
                </a:cubicBezTo>
                <a:cubicBezTo>
                  <a:pt x="713" y="480"/>
                  <a:pt x="712" y="479"/>
                  <a:pt x="712" y="479"/>
                </a:cubicBezTo>
                <a:cubicBezTo>
                  <a:pt x="712" y="479"/>
                  <a:pt x="712" y="479"/>
                  <a:pt x="712" y="480"/>
                </a:cubicBezTo>
                <a:cubicBezTo>
                  <a:pt x="712" y="480"/>
                  <a:pt x="711" y="479"/>
                  <a:pt x="711" y="479"/>
                </a:cubicBezTo>
                <a:cubicBezTo>
                  <a:pt x="711" y="479"/>
                  <a:pt x="711" y="480"/>
                  <a:pt x="711" y="480"/>
                </a:cubicBezTo>
                <a:cubicBezTo>
                  <a:pt x="711" y="480"/>
                  <a:pt x="711" y="480"/>
                  <a:pt x="711" y="480"/>
                </a:cubicBezTo>
                <a:cubicBezTo>
                  <a:pt x="711" y="480"/>
                  <a:pt x="710" y="480"/>
                  <a:pt x="710" y="480"/>
                </a:cubicBezTo>
                <a:cubicBezTo>
                  <a:pt x="710" y="480"/>
                  <a:pt x="710" y="480"/>
                  <a:pt x="710" y="479"/>
                </a:cubicBezTo>
                <a:cubicBezTo>
                  <a:pt x="710" y="479"/>
                  <a:pt x="710" y="479"/>
                  <a:pt x="709" y="479"/>
                </a:cubicBezTo>
                <a:cubicBezTo>
                  <a:pt x="709" y="480"/>
                  <a:pt x="710" y="480"/>
                  <a:pt x="710" y="480"/>
                </a:cubicBezTo>
                <a:cubicBezTo>
                  <a:pt x="710" y="480"/>
                  <a:pt x="709" y="480"/>
                  <a:pt x="709" y="480"/>
                </a:cubicBezTo>
                <a:cubicBezTo>
                  <a:pt x="709" y="480"/>
                  <a:pt x="708" y="480"/>
                  <a:pt x="708" y="480"/>
                </a:cubicBezTo>
                <a:cubicBezTo>
                  <a:pt x="708" y="480"/>
                  <a:pt x="708" y="480"/>
                  <a:pt x="707" y="480"/>
                </a:cubicBezTo>
                <a:cubicBezTo>
                  <a:pt x="707" y="480"/>
                  <a:pt x="707" y="480"/>
                  <a:pt x="706" y="480"/>
                </a:cubicBezTo>
                <a:cubicBezTo>
                  <a:pt x="705" y="480"/>
                  <a:pt x="704" y="480"/>
                  <a:pt x="703" y="479"/>
                </a:cubicBezTo>
                <a:cubicBezTo>
                  <a:pt x="703" y="479"/>
                  <a:pt x="703" y="479"/>
                  <a:pt x="702" y="480"/>
                </a:cubicBezTo>
                <a:cubicBezTo>
                  <a:pt x="702" y="480"/>
                  <a:pt x="702" y="480"/>
                  <a:pt x="702" y="480"/>
                </a:cubicBezTo>
                <a:cubicBezTo>
                  <a:pt x="703" y="480"/>
                  <a:pt x="703" y="480"/>
                  <a:pt x="703" y="480"/>
                </a:cubicBezTo>
                <a:cubicBezTo>
                  <a:pt x="703" y="480"/>
                  <a:pt x="703" y="480"/>
                  <a:pt x="703" y="480"/>
                </a:cubicBezTo>
                <a:cubicBezTo>
                  <a:pt x="702" y="480"/>
                  <a:pt x="702" y="480"/>
                  <a:pt x="702" y="480"/>
                </a:cubicBezTo>
                <a:cubicBezTo>
                  <a:pt x="702" y="480"/>
                  <a:pt x="702" y="480"/>
                  <a:pt x="702" y="480"/>
                </a:cubicBezTo>
                <a:cubicBezTo>
                  <a:pt x="702" y="480"/>
                  <a:pt x="702" y="481"/>
                  <a:pt x="702" y="481"/>
                </a:cubicBezTo>
                <a:cubicBezTo>
                  <a:pt x="701" y="481"/>
                  <a:pt x="701" y="481"/>
                  <a:pt x="701" y="481"/>
                </a:cubicBezTo>
                <a:cubicBezTo>
                  <a:pt x="701" y="481"/>
                  <a:pt x="701" y="481"/>
                  <a:pt x="701" y="482"/>
                </a:cubicBezTo>
                <a:cubicBezTo>
                  <a:pt x="701" y="482"/>
                  <a:pt x="701" y="482"/>
                  <a:pt x="701" y="482"/>
                </a:cubicBezTo>
                <a:cubicBezTo>
                  <a:pt x="700" y="482"/>
                  <a:pt x="700" y="482"/>
                  <a:pt x="700" y="482"/>
                </a:cubicBezTo>
                <a:cubicBezTo>
                  <a:pt x="700" y="482"/>
                  <a:pt x="700" y="482"/>
                  <a:pt x="700" y="481"/>
                </a:cubicBezTo>
                <a:cubicBezTo>
                  <a:pt x="699" y="481"/>
                  <a:pt x="699" y="482"/>
                  <a:pt x="699" y="482"/>
                </a:cubicBezTo>
                <a:cubicBezTo>
                  <a:pt x="699" y="482"/>
                  <a:pt x="699" y="482"/>
                  <a:pt x="699" y="482"/>
                </a:cubicBezTo>
                <a:cubicBezTo>
                  <a:pt x="699" y="483"/>
                  <a:pt x="699" y="483"/>
                  <a:pt x="699" y="484"/>
                </a:cubicBezTo>
                <a:cubicBezTo>
                  <a:pt x="699" y="484"/>
                  <a:pt x="699" y="484"/>
                  <a:pt x="699" y="485"/>
                </a:cubicBezTo>
                <a:cubicBezTo>
                  <a:pt x="699" y="484"/>
                  <a:pt x="699" y="484"/>
                  <a:pt x="698" y="484"/>
                </a:cubicBezTo>
                <a:cubicBezTo>
                  <a:pt x="698" y="483"/>
                  <a:pt x="699" y="483"/>
                  <a:pt x="699" y="483"/>
                </a:cubicBezTo>
                <a:cubicBezTo>
                  <a:pt x="698" y="482"/>
                  <a:pt x="698" y="482"/>
                  <a:pt x="698" y="482"/>
                </a:cubicBezTo>
                <a:cubicBezTo>
                  <a:pt x="698" y="481"/>
                  <a:pt x="698" y="481"/>
                  <a:pt x="699" y="481"/>
                </a:cubicBezTo>
                <a:cubicBezTo>
                  <a:pt x="699" y="481"/>
                  <a:pt x="699" y="480"/>
                  <a:pt x="699" y="480"/>
                </a:cubicBezTo>
                <a:cubicBezTo>
                  <a:pt x="699" y="480"/>
                  <a:pt x="699" y="480"/>
                  <a:pt x="699" y="480"/>
                </a:cubicBezTo>
                <a:cubicBezTo>
                  <a:pt x="698" y="480"/>
                  <a:pt x="698" y="480"/>
                  <a:pt x="698" y="480"/>
                </a:cubicBezTo>
                <a:cubicBezTo>
                  <a:pt x="698" y="480"/>
                  <a:pt x="698" y="480"/>
                  <a:pt x="699" y="479"/>
                </a:cubicBezTo>
                <a:cubicBezTo>
                  <a:pt x="698" y="479"/>
                  <a:pt x="698" y="479"/>
                  <a:pt x="697" y="478"/>
                </a:cubicBezTo>
                <a:cubicBezTo>
                  <a:pt x="697" y="478"/>
                  <a:pt x="697" y="478"/>
                  <a:pt x="696" y="478"/>
                </a:cubicBezTo>
                <a:cubicBezTo>
                  <a:pt x="696" y="478"/>
                  <a:pt x="696" y="478"/>
                  <a:pt x="696" y="478"/>
                </a:cubicBezTo>
                <a:cubicBezTo>
                  <a:pt x="695" y="478"/>
                  <a:pt x="695" y="478"/>
                  <a:pt x="694" y="478"/>
                </a:cubicBezTo>
                <a:cubicBezTo>
                  <a:pt x="694" y="478"/>
                  <a:pt x="694" y="478"/>
                  <a:pt x="694" y="478"/>
                </a:cubicBezTo>
                <a:cubicBezTo>
                  <a:pt x="694" y="479"/>
                  <a:pt x="694" y="479"/>
                  <a:pt x="693" y="479"/>
                </a:cubicBezTo>
                <a:cubicBezTo>
                  <a:pt x="693" y="479"/>
                  <a:pt x="693" y="478"/>
                  <a:pt x="693" y="478"/>
                </a:cubicBezTo>
                <a:cubicBezTo>
                  <a:pt x="693" y="478"/>
                  <a:pt x="693" y="478"/>
                  <a:pt x="692" y="478"/>
                </a:cubicBezTo>
                <a:cubicBezTo>
                  <a:pt x="692" y="478"/>
                  <a:pt x="692" y="478"/>
                  <a:pt x="692" y="478"/>
                </a:cubicBezTo>
                <a:cubicBezTo>
                  <a:pt x="692" y="478"/>
                  <a:pt x="692" y="477"/>
                  <a:pt x="692" y="477"/>
                </a:cubicBezTo>
                <a:cubicBezTo>
                  <a:pt x="691" y="477"/>
                  <a:pt x="691" y="477"/>
                  <a:pt x="691" y="478"/>
                </a:cubicBezTo>
                <a:cubicBezTo>
                  <a:pt x="691" y="477"/>
                  <a:pt x="691" y="477"/>
                  <a:pt x="690" y="477"/>
                </a:cubicBezTo>
                <a:cubicBezTo>
                  <a:pt x="690" y="477"/>
                  <a:pt x="690" y="477"/>
                  <a:pt x="690" y="477"/>
                </a:cubicBezTo>
                <a:cubicBezTo>
                  <a:pt x="690" y="477"/>
                  <a:pt x="689" y="477"/>
                  <a:pt x="689" y="478"/>
                </a:cubicBezTo>
                <a:cubicBezTo>
                  <a:pt x="689" y="477"/>
                  <a:pt x="689" y="477"/>
                  <a:pt x="689" y="477"/>
                </a:cubicBezTo>
                <a:cubicBezTo>
                  <a:pt x="689" y="477"/>
                  <a:pt x="689" y="477"/>
                  <a:pt x="689" y="477"/>
                </a:cubicBezTo>
                <a:cubicBezTo>
                  <a:pt x="689" y="477"/>
                  <a:pt x="688" y="477"/>
                  <a:pt x="688" y="477"/>
                </a:cubicBezTo>
                <a:cubicBezTo>
                  <a:pt x="688" y="477"/>
                  <a:pt x="688" y="477"/>
                  <a:pt x="688" y="477"/>
                </a:cubicBezTo>
                <a:cubicBezTo>
                  <a:pt x="687" y="477"/>
                  <a:pt x="687" y="477"/>
                  <a:pt x="687" y="477"/>
                </a:cubicBezTo>
                <a:cubicBezTo>
                  <a:pt x="686" y="477"/>
                  <a:pt x="686" y="477"/>
                  <a:pt x="685" y="476"/>
                </a:cubicBezTo>
                <a:cubicBezTo>
                  <a:pt x="685" y="476"/>
                  <a:pt x="685" y="476"/>
                  <a:pt x="685" y="476"/>
                </a:cubicBezTo>
                <a:cubicBezTo>
                  <a:pt x="685" y="477"/>
                  <a:pt x="685" y="477"/>
                  <a:pt x="685" y="477"/>
                </a:cubicBezTo>
                <a:cubicBezTo>
                  <a:pt x="684" y="477"/>
                  <a:pt x="684" y="477"/>
                  <a:pt x="684" y="476"/>
                </a:cubicBezTo>
                <a:cubicBezTo>
                  <a:pt x="683" y="477"/>
                  <a:pt x="683" y="477"/>
                  <a:pt x="683" y="477"/>
                </a:cubicBezTo>
                <a:cubicBezTo>
                  <a:pt x="683" y="477"/>
                  <a:pt x="683" y="477"/>
                  <a:pt x="683" y="477"/>
                </a:cubicBezTo>
                <a:cubicBezTo>
                  <a:pt x="683" y="477"/>
                  <a:pt x="683" y="477"/>
                  <a:pt x="683" y="477"/>
                </a:cubicBezTo>
                <a:cubicBezTo>
                  <a:pt x="682" y="477"/>
                  <a:pt x="682" y="477"/>
                  <a:pt x="682" y="477"/>
                </a:cubicBezTo>
                <a:cubicBezTo>
                  <a:pt x="682" y="477"/>
                  <a:pt x="681" y="477"/>
                  <a:pt x="681" y="477"/>
                </a:cubicBezTo>
                <a:cubicBezTo>
                  <a:pt x="681" y="477"/>
                  <a:pt x="681" y="477"/>
                  <a:pt x="680" y="477"/>
                </a:cubicBezTo>
                <a:cubicBezTo>
                  <a:pt x="680" y="478"/>
                  <a:pt x="680" y="478"/>
                  <a:pt x="680" y="478"/>
                </a:cubicBezTo>
                <a:cubicBezTo>
                  <a:pt x="680" y="478"/>
                  <a:pt x="680" y="478"/>
                  <a:pt x="680" y="479"/>
                </a:cubicBezTo>
                <a:cubicBezTo>
                  <a:pt x="680" y="479"/>
                  <a:pt x="679" y="479"/>
                  <a:pt x="679" y="480"/>
                </a:cubicBezTo>
                <a:cubicBezTo>
                  <a:pt x="679" y="480"/>
                  <a:pt x="678" y="480"/>
                  <a:pt x="678" y="480"/>
                </a:cubicBezTo>
                <a:cubicBezTo>
                  <a:pt x="677" y="481"/>
                  <a:pt x="677" y="481"/>
                  <a:pt x="676" y="481"/>
                </a:cubicBezTo>
                <a:cubicBezTo>
                  <a:pt x="676" y="482"/>
                  <a:pt x="676" y="482"/>
                  <a:pt x="676" y="482"/>
                </a:cubicBezTo>
                <a:cubicBezTo>
                  <a:pt x="675" y="483"/>
                  <a:pt x="675" y="483"/>
                  <a:pt x="675" y="483"/>
                </a:cubicBezTo>
                <a:cubicBezTo>
                  <a:pt x="675" y="484"/>
                  <a:pt x="675" y="484"/>
                  <a:pt x="675" y="485"/>
                </a:cubicBezTo>
                <a:cubicBezTo>
                  <a:pt x="675" y="485"/>
                  <a:pt x="675" y="485"/>
                  <a:pt x="675" y="485"/>
                </a:cubicBezTo>
                <a:cubicBezTo>
                  <a:pt x="675" y="485"/>
                  <a:pt x="674" y="486"/>
                  <a:pt x="674" y="486"/>
                </a:cubicBezTo>
                <a:cubicBezTo>
                  <a:pt x="674" y="486"/>
                  <a:pt x="674" y="486"/>
                  <a:pt x="674" y="486"/>
                </a:cubicBezTo>
                <a:cubicBezTo>
                  <a:pt x="674" y="487"/>
                  <a:pt x="675" y="487"/>
                  <a:pt x="675" y="487"/>
                </a:cubicBezTo>
                <a:cubicBezTo>
                  <a:pt x="675" y="488"/>
                  <a:pt x="675" y="488"/>
                  <a:pt x="675" y="488"/>
                </a:cubicBezTo>
                <a:cubicBezTo>
                  <a:pt x="675" y="488"/>
                  <a:pt x="674" y="488"/>
                  <a:pt x="674" y="488"/>
                </a:cubicBezTo>
                <a:cubicBezTo>
                  <a:pt x="674" y="487"/>
                  <a:pt x="674" y="487"/>
                  <a:pt x="673" y="487"/>
                </a:cubicBezTo>
                <a:cubicBezTo>
                  <a:pt x="673" y="487"/>
                  <a:pt x="673" y="487"/>
                  <a:pt x="673" y="486"/>
                </a:cubicBezTo>
                <a:cubicBezTo>
                  <a:pt x="674" y="486"/>
                  <a:pt x="674" y="486"/>
                  <a:pt x="674" y="486"/>
                </a:cubicBezTo>
                <a:cubicBezTo>
                  <a:pt x="674" y="485"/>
                  <a:pt x="674" y="485"/>
                  <a:pt x="675" y="485"/>
                </a:cubicBezTo>
                <a:cubicBezTo>
                  <a:pt x="675" y="485"/>
                  <a:pt x="674" y="484"/>
                  <a:pt x="674" y="484"/>
                </a:cubicBezTo>
                <a:cubicBezTo>
                  <a:pt x="674" y="484"/>
                  <a:pt x="674" y="483"/>
                  <a:pt x="675" y="483"/>
                </a:cubicBezTo>
                <a:cubicBezTo>
                  <a:pt x="675" y="483"/>
                  <a:pt x="674" y="483"/>
                  <a:pt x="674" y="483"/>
                </a:cubicBezTo>
                <a:cubicBezTo>
                  <a:pt x="674" y="483"/>
                  <a:pt x="674" y="483"/>
                  <a:pt x="674" y="483"/>
                </a:cubicBezTo>
                <a:cubicBezTo>
                  <a:pt x="673" y="483"/>
                  <a:pt x="673" y="483"/>
                  <a:pt x="673" y="483"/>
                </a:cubicBezTo>
                <a:cubicBezTo>
                  <a:pt x="672" y="483"/>
                  <a:pt x="672" y="483"/>
                  <a:pt x="671" y="483"/>
                </a:cubicBezTo>
                <a:cubicBezTo>
                  <a:pt x="671" y="483"/>
                  <a:pt x="671" y="483"/>
                  <a:pt x="670" y="483"/>
                </a:cubicBezTo>
                <a:cubicBezTo>
                  <a:pt x="670" y="483"/>
                  <a:pt x="670" y="484"/>
                  <a:pt x="670" y="484"/>
                </a:cubicBezTo>
                <a:cubicBezTo>
                  <a:pt x="669" y="484"/>
                  <a:pt x="669" y="484"/>
                  <a:pt x="669" y="483"/>
                </a:cubicBezTo>
                <a:cubicBezTo>
                  <a:pt x="669" y="483"/>
                  <a:pt x="669" y="483"/>
                  <a:pt x="670" y="483"/>
                </a:cubicBezTo>
                <a:cubicBezTo>
                  <a:pt x="670" y="483"/>
                  <a:pt x="670" y="483"/>
                  <a:pt x="670" y="483"/>
                </a:cubicBezTo>
                <a:cubicBezTo>
                  <a:pt x="671" y="483"/>
                  <a:pt x="671" y="483"/>
                  <a:pt x="671" y="482"/>
                </a:cubicBezTo>
                <a:cubicBezTo>
                  <a:pt x="672" y="482"/>
                  <a:pt x="672" y="482"/>
                  <a:pt x="673" y="482"/>
                </a:cubicBezTo>
                <a:cubicBezTo>
                  <a:pt x="673" y="482"/>
                  <a:pt x="673" y="482"/>
                  <a:pt x="673" y="482"/>
                </a:cubicBezTo>
                <a:cubicBezTo>
                  <a:pt x="674" y="482"/>
                  <a:pt x="674" y="482"/>
                  <a:pt x="674" y="481"/>
                </a:cubicBezTo>
                <a:cubicBezTo>
                  <a:pt x="674" y="481"/>
                  <a:pt x="674" y="481"/>
                  <a:pt x="674" y="481"/>
                </a:cubicBezTo>
                <a:cubicBezTo>
                  <a:pt x="675" y="481"/>
                  <a:pt x="675" y="481"/>
                  <a:pt x="675" y="481"/>
                </a:cubicBezTo>
                <a:cubicBezTo>
                  <a:pt x="675" y="481"/>
                  <a:pt x="675" y="481"/>
                  <a:pt x="675" y="481"/>
                </a:cubicBezTo>
                <a:cubicBezTo>
                  <a:pt x="676" y="481"/>
                  <a:pt x="676" y="481"/>
                  <a:pt x="676" y="481"/>
                </a:cubicBezTo>
                <a:cubicBezTo>
                  <a:pt x="677" y="481"/>
                  <a:pt x="677" y="480"/>
                  <a:pt x="677" y="480"/>
                </a:cubicBezTo>
                <a:cubicBezTo>
                  <a:pt x="677" y="480"/>
                  <a:pt x="677" y="480"/>
                  <a:pt x="677" y="479"/>
                </a:cubicBezTo>
                <a:cubicBezTo>
                  <a:pt x="678" y="479"/>
                  <a:pt x="678" y="478"/>
                  <a:pt x="678" y="478"/>
                </a:cubicBezTo>
                <a:cubicBezTo>
                  <a:pt x="678" y="478"/>
                  <a:pt x="678" y="477"/>
                  <a:pt x="678" y="477"/>
                </a:cubicBezTo>
                <a:cubicBezTo>
                  <a:pt x="678" y="477"/>
                  <a:pt x="678" y="477"/>
                  <a:pt x="679" y="477"/>
                </a:cubicBezTo>
                <a:cubicBezTo>
                  <a:pt x="679" y="476"/>
                  <a:pt x="679" y="476"/>
                  <a:pt x="679" y="476"/>
                </a:cubicBezTo>
                <a:cubicBezTo>
                  <a:pt x="678" y="476"/>
                  <a:pt x="678" y="476"/>
                  <a:pt x="677" y="476"/>
                </a:cubicBezTo>
                <a:cubicBezTo>
                  <a:pt x="677" y="476"/>
                  <a:pt x="676" y="476"/>
                  <a:pt x="676" y="475"/>
                </a:cubicBezTo>
                <a:cubicBezTo>
                  <a:pt x="676" y="476"/>
                  <a:pt x="675" y="476"/>
                  <a:pt x="675" y="476"/>
                </a:cubicBezTo>
                <a:cubicBezTo>
                  <a:pt x="675" y="476"/>
                  <a:pt x="674" y="476"/>
                  <a:pt x="674" y="476"/>
                </a:cubicBezTo>
                <a:cubicBezTo>
                  <a:pt x="673" y="477"/>
                  <a:pt x="673" y="477"/>
                  <a:pt x="673" y="477"/>
                </a:cubicBezTo>
                <a:cubicBezTo>
                  <a:pt x="672" y="477"/>
                  <a:pt x="671" y="477"/>
                  <a:pt x="671" y="476"/>
                </a:cubicBezTo>
                <a:cubicBezTo>
                  <a:pt x="670" y="477"/>
                  <a:pt x="670" y="477"/>
                  <a:pt x="669" y="477"/>
                </a:cubicBezTo>
                <a:cubicBezTo>
                  <a:pt x="669" y="477"/>
                  <a:pt x="668" y="478"/>
                  <a:pt x="668" y="478"/>
                </a:cubicBezTo>
                <a:cubicBezTo>
                  <a:pt x="668" y="478"/>
                  <a:pt x="668" y="478"/>
                  <a:pt x="668" y="478"/>
                </a:cubicBezTo>
                <a:cubicBezTo>
                  <a:pt x="668" y="478"/>
                  <a:pt x="668" y="478"/>
                  <a:pt x="669" y="479"/>
                </a:cubicBezTo>
                <a:cubicBezTo>
                  <a:pt x="669" y="479"/>
                  <a:pt x="669" y="479"/>
                  <a:pt x="669" y="479"/>
                </a:cubicBezTo>
                <a:cubicBezTo>
                  <a:pt x="669" y="479"/>
                  <a:pt x="669" y="479"/>
                  <a:pt x="668" y="479"/>
                </a:cubicBezTo>
                <a:cubicBezTo>
                  <a:pt x="668" y="479"/>
                  <a:pt x="668" y="479"/>
                  <a:pt x="668" y="479"/>
                </a:cubicBezTo>
                <a:cubicBezTo>
                  <a:pt x="668" y="479"/>
                  <a:pt x="668" y="480"/>
                  <a:pt x="668" y="480"/>
                </a:cubicBezTo>
                <a:cubicBezTo>
                  <a:pt x="668" y="480"/>
                  <a:pt x="667" y="480"/>
                  <a:pt x="667" y="479"/>
                </a:cubicBezTo>
                <a:cubicBezTo>
                  <a:pt x="667" y="479"/>
                  <a:pt x="667" y="479"/>
                  <a:pt x="667" y="479"/>
                </a:cubicBezTo>
                <a:cubicBezTo>
                  <a:pt x="667" y="480"/>
                  <a:pt x="666" y="480"/>
                  <a:pt x="666" y="480"/>
                </a:cubicBezTo>
                <a:cubicBezTo>
                  <a:pt x="666" y="480"/>
                  <a:pt x="665" y="481"/>
                  <a:pt x="665" y="481"/>
                </a:cubicBezTo>
                <a:cubicBezTo>
                  <a:pt x="665" y="482"/>
                  <a:pt x="664" y="482"/>
                  <a:pt x="664" y="483"/>
                </a:cubicBezTo>
                <a:cubicBezTo>
                  <a:pt x="664" y="482"/>
                  <a:pt x="664" y="482"/>
                  <a:pt x="665" y="481"/>
                </a:cubicBezTo>
                <a:cubicBezTo>
                  <a:pt x="665" y="481"/>
                  <a:pt x="665" y="481"/>
                  <a:pt x="665" y="481"/>
                </a:cubicBezTo>
                <a:cubicBezTo>
                  <a:pt x="665" y="480"/>
                  <a:pt x="665" y="480"/>
                  <a:pt x="665" y="480"/>
                </a:cubicBezTo>
                <a:cubicBezTo>
                  <a:pt x="665" y="480"/>
                  <a:pt x="665" y="480"/>
                  <a:pt x="665" y="480"/>
                </a:cubicBezTo>
                <a:cubicBezTo>
                  <a:pt x="665" y="480"/>
                  <a:pt x="664" y="480"/>
                  <a:pt x="664" y="480"/>
                </a:cubicBezTo>
                <a:cubicBezTo>
                  <a:pt x="664" y="480"/>
                  <a:pt x="664" y="480"/>
                  <a:pt x="663" y="480"/>
                </a:cubicBezTo>
                <a:cubicBezTo>
                  <a:pt x="663" y="481"/>
                  <a:pt x="663" y="481"/>
                  <a:pt x="663" y="481"/>
                </a:cubicBezTo>
                <a:cubicBezTo>
                  <a:pt x="663" y="482"/>
                  <a:pt x="663" y="482"/>
                  <a:pt x="663" y="482"/>
                </a:cubicBezTo>
                <a:cubicBezTo>
                  <a:pt x="663" y="483"/>
                  <a:pt x="662" y="483"/>
                  <a:pt x="662" y="483"/>
                </a:cubicBezTo>
                <a:cubicBezTo>
                  <a:pt x="662" y="483"/>
                  <a:pt x="662" y="482"/>
                  <a:pt x="663" y="482"/>
                </a:cubicBezTo>
                <a:cubicBezTo>
                  <a:pt x="663" y="481"/>
                  <a:pt x="663" y="481"/>
                  <a:pt x="663" y="481"/>
                </a:cubicBezTo>
                <a:cubicBezTo>
                  <a:pt x="663" y="480"/>
                  <a:pt x="663" y="480"/>
                  <a:pt x="664" y="479"/>
                </a:cubicBezTo>
                <a:cubicBezTo>
                  <a:pt x="664" y="479"/>
                  <a:pt x="664" y="478"/>
                  <a:pt x="664" y="478"/>
                </a:cubicBezTo>
                <a:cubicBezTo>
                  <a:pt x="664" y="478"/>
                  <a:pt x="664" y="477"/>
                  <a:pt x="665" y="477"/>
                </a:cubicBezTo>
                <a:cubicBezTo>
                  <a:pt x="665" y="477"/>
                  <a:pt x="665" y="477"/>
                  <a:pt x="665" y="477"/>
                </a:cubicBezTo>
                <a:cubicBezTo>
                  <a:pt x="666" y="476"/>
                  <a:pt x="666" y="476"/>
                  <a:pt x="666" y="476"/>
                </a:cubicBezTo>
                <a:cubicBezTo>
                  <a:pt x="667" y="476"/>
                  <a:pt x="667" y="476"/>
                  <a:pt x="667" y="475"/>
                </a:cubicBezTo>
                <a:cubicBezTo>
                  <a:pt x="667" y="475"/>
                  <a:pt x="668" y="475"/>
                  <a:pt x="668" y="474"/>
                </a:cubicBezTo>
                <a:cubicBezTo>
                  <a:pt x="668" y="474"/>
                  <a:pt x="669" y="473"/>
                  <a:pt x="670" y="472"/>
                </a:cubicBezTo>
                <a:cubicBezTo>
                  <a:pt x="670" y="472"/>
                  <a:pt x="670" y="472"/>
                  <a:pt x="670" y="472"/>
                </a:cubicBezTo>
                <a:cubicBezTo>
                  <a:pt x="670" y="472"/>
                  <a:pt x="670" y="471"/>
                  <a:pt x="670" y="471"/>
                </a:cubicBezTo>
                <a:cubicBezTo>
                  <a:pt x="670" y="471"/>
                  <a:pt x="670" y="471"/>
                  <a:pt x="670" y="471"/>
                </a:cubicBezTo>
                <a:cubicBezTo>
                  <a:pt x="670" y="471"/>
                  <a:pt x="670" y="471"/>
                  <a:pt x="670" y="470"/>
                </a:cubicBezTo>
                <a:cubicBezTo>
                  <a:pt x="670" y="470"/>
                  <a:pt x="670" y="470"/>
                  <a:pt x="670" y="470"/>
                </a:cubicBezTo>
                <a:cubicBezTo>
                  <a:pt x="670" y="470"/>
                  <a:pt x="670" y="470"/>
                  <a:pt x="670" y="469"/>
                </a:cubicBezTo>
                <a:cubicBezTo>
                  <a:pt x="670" y="469"/>
                  <a:pt x="669" y="469"/>
                  <a:pt x="669" y="469"/>
                </a:cubicBezTo>
                <a:cubicBezTo>
                  <a:pt x="669" y="469"/>
                  <a:pt x="668" y="469"/>
                  <a:pt x="668" y="469"/>
                </a:cubicBezTo>
                <a:cubicBezTo>
                  <a:pt x="668" y="469"/>
                  <a:pt x="668" y="470"/>
                  <a:pt x="668" y="470"/>
                </a:cubicBezTo>
                <a:cubicBezTo>
                  <a:pt x="667" y="469"/>
                  <a:pt x="667" y="469"/>
                  <a:pt x="667" y="469"/>
                </a:cubicBezTo>
                <a:cubicBezTo>
                  <a:pt x="667" y="469"/>
                  <a:pt x="666" y="468"/>
                  <a:pt x="666" y="468"/>
                </a:cubicBezTo>
                <a:cubicBezTo>
                  <a:pt x="666" y="467"/>
                  <a:pt x="665" y="467"/>
                  <a:pt x="665" y="466"/>
                </a:cubicBezTo>
                <a:cubicBezTo>
                  <a:pt x="664" y="466"/>
                  <a:pt x="664" y="465"/>
                  <a:pt x="664" y="465"/>
                </a:cubicBezTo>
                <a:cubicBezTo>
                  <a:pt x="663" y="465"/>
                  <a:pt x="663" y="464"/>
                  <a:pt x="663" y="464"/>
                </a:cubicBezTo>
                <a:cubicBezTo>
                  <a:pt x="663" y="464"/>
                  <a:pt x="663" y="463"/>
                  <a:pt x="663" y="463"/>
                </a:cubicBezTo>
                <a:cubicBezTo>
                  <a:pt x="662" y="463"/>
                  <a:pt x="662" y="463"/>
                  <a:pt x="662" y="462"/>
                </a:cubicBezTo>
                <a:cubicBezTo>
                  <a:pt x="662" y="462"/>
                  <a:pt x="662" y="462"/>
                  <a:pt x="662" y="462"/>
                </a:cubicBezTo>
                <a:cubicBezTo>
                  <a:pt x="662" y="462"/>
                  <a:pt x="661" y="462"/>
                  <a:pt x="661" y="462"/>
                </a:cubicBezTo>
                <a:cubicBezTo>
                  <a:pt x="661" y="461"/>
                  <a:pt x="661" y="461"/>
                  <a:pt x="661" y="461"/>
                </a:cubicBezTo>
                <a:cubicBezTo>
                  <a:pt x="661" y="461"/>
                  <a:pt x="660" y="461"/>
                  <a:pt x="660" y="461"/>
                </a:cubicBezTo>
                <a:cubicBezTo>
                  <a:pt x="660" y="461"/>
                  <a:pt x="661" y="461"/>
                  <a:pt x="661" y="461"/>
                </a:cubicBezTo>
                <a:cubicBezTo>
                  <a:pt x="660" y="462"/>
                  <a:pt x="660" y="462"/>
                  <a:pt x="660" y="462"/>
                </a:cubicBezTo>
                <a:cubicBezTo>
                  <a:pt x="660" y="462"/>
                  <a:pt x="660" y="462"/>
                  <a:pt x="659" y="463"/>
                </a:cubicBezTo>
                <a:cubicBezTo>
                  <a:pt x="659" y="462"/>
                  <a:pt x="660" y="462"/>
                  <a:pt x="660" y="462"/>
                </a:cubicBezTo>
                <a:cubicBezTo>
                  <a:pt x="660" y="461"/>
                  <a:pt x="660" y="461"/>
                  <a:pt x="660" y="461"/>
                </a:cubicBezTo>
                <a:cubicBezTo>
                  <a:pt x="659" y="461"/>
                  <a:pt x="659" y="460"/>
                  <a:pt x="659" y="460"/>
                </a:cubicBezTo>
                <a:cubicBezTo>
                  <a:pt x="659" y="460"/>
                  <a:pt x="658" y="461"/>
                  <a:pt x="658" y="461"/>
                </a:cubicBezTo>
                <a:cubicBezTo>
                  <a:pt x="658" y="461"/>
                  <a:pt x="658" y="460"/>
                  <a:pt x="658" y="460"/>
                </a:cubicBezTo>
                <a:cubicBezTo>
                  <a:pt x="658" y="460"/>
                  <a:pt x="658" y="460"/>
                  <a:pt x="657" y="460"/>
                </a:cubicBezTo>
                <a:cubicBezTo>
                  <a:pt x="657" y="459"/>
                  <a:pt x="656" y="459"/>
                  <a:pt x="656" y="459"/>
                </a:cubicBezTo>
                <a:cubicBezTo>
                  <a:pt x="655" y="459"/>
                  <a:pt x="655" y="459"/>
                  <a:pt x="655" y="459"/>
                </a:cubicBezTo>
                <a:cubicBezTo>
                  <a:pt x="655" y="459"/>
                  <a:pt x="654" y="458"/>
                  <a:pt x="654" y="458"/>
                </a:cubicBezTo>
                <a:cubicBezTo>
                  <a:pt x="653" y="458"/>
                  <a:pt x="652" y="458"/>
                  <a:pt x="651" y="458"/>
                </a:cubicBezTo>
                <a:cubicBezTo>
                  <a:pt x="650" y="458"/>
                  <a:pt x="650" y="458"/>
                  <a:pt x="650" y="458"/>
                </a:cubicBezTo>
                <a:cubicBezTo>
                  <a:pt x="649" y="458"/>
                  <a:pt x="649" y="458"/>
                  <a:pt x="648" y="458"/>
                </a:cubicBezTo>
                <a:cubicBezTo>
                  <a:pt x="648" y="458"/>
                  <a:pt x="648" y="458"/>
                  <a:pt x="647" y="459"/>
                </a:cubicBezTo>
                <a:cubicBezTo>
                  <a:pt x="647" y="459"/>
                  <a:pt x="647" y="459"/>
                  <a:pt x="647" y="459"/>
                </a:cubicBezTo>
                <a:cubicBezTo>
                  <a:pt x="647" y="459"/>
                  <a:pt x="647" y="459"/>
                  <a:pt x="647" y="459"/>
                </a:cubicBezTo>
                <a:cubicBezTo>
                  <a:pt x="647" y="459"/>
                  <a:pt x="647" y="458"/>
                  <a:pt x="647" y="458"/>
                </a:cubicBezTo>
                <a:cubicBezTo>
                  <a:pt x="647" y="458"/>
                  <a:pt x="647" y="458"/>
                  <a:pt x="647" y="458"/>
                </a:cubicBezTo>
                <a:cubicBezTo>
                  <a:pt x="647" y="457"/>
                  <a:pt x="646" y="457"/>
                  <a:pt x="646" y="457"/>
                </a:cubicBezTo>
                <a:cubicBezTo>
                  <a:pt x="646" y="457"/>
                  <a:pt x="645" y="457"/>
                  <a:pt x="644" y="457"/>
                </a:cubicBezTo>
                <a:cubicBezTo>
                  <a:pt x="644" y="457"/>
                  <a:pt x="643" y="457"/>
                  <a:pt x="642" y="457"/>
                </a:cubicBezTo>
                <a:cubicBezTo>
                  <a:pt x="642" y="457"/>
                  <a:pt x="642" y="457"/>
                  <a:pt x="642" y="457"/>
                </a:cubicBezTo>
                <a:cubicBezTo>
                  <a:pt x="641" y="458"/>
                  <a:pt x="641" y="458"/>
                  <a:pt x="641" y="458"/>
                </a:cubicBezTo>
                <a:cubicBezTo>
                  <a:pt x="640" y="458"/>
                  <a:pt x="640" y="458"/>
                  <a:pt x="639" y="458"/>
                </a:cubicBezTo>
                <a:cubicBezTo>
                  <a:pt x="639" y="458"/>
                  <a:pt x="638" y="458"/>
                  <a:pt x="638" y="459"/>
                </a:cubicBezTo>
                <a:cubicBezTo>
                  <a:pt x="637" y="459"/>
                  <a:pt x="636" y="459"/>
                  <a:pt x="636" y="459"/>
                </a:cubicBezTo>
                <a:cubicBezTo>
                  <a:pt x="635" y="459"/>
                  <a:pt x="635" y="459"/>
                  <a:pt x="634" y="459"/>
                </a:cubicBezTo>
                <a:cubicBezTo>
                  <a:pt x="633" y="459"/>
                  <a:pt x="633" y="459"/>
                  <a:pt x="633" y="460"/>
                </a:cubicBezTo>
                <a:cubicBezTo>
                  <a:pt x="633" y="460"/>
                  <a:pt x="633" y="460"/>
                  <a:pt x="633" y="461"/>
                </a:cubicBezTo>
                <a:cubicBezTo>
                  <a:pt x="633" y="461"/>
                  <a:pt x="633" y="461"/>
                  <a:pt x="633" y="461"/>
                </a:cubicBezTo>
                <a:cubicBezTo>
                  <a:pt x="632" y="460"/>
                  <a:pt x="632" y="460"/>
                  <a:pt x="632" y="460"/>
                </a:cubicBezTo>
                <a:cubicBezTo>
                  <a:pt x="632" y="460"/>
                  <a:pt x="632" y="459"/>
                  <a:pt x="632" y="459"/>
                </a:cubicBezTo>
                <a:cubicBezTo>
                  <a:pt x="632" y="459"/>
                  <a:pt x="632" y="459"/>
                  <a:pt x="632" y="458"/>
                </a:cubicBezTo>
                <a:cubicBezTo>
                  <a:pt x="631" y="458"/>
                  <a:pt x="630" y="458"/>
                  <a:pt x="630" y="458"/>
                </a:cubicBezTo>
                <a:cubicBezTo>
                  <a:pt x="629" y="458"/>
                  <a:pt x="628" y="458"/>
                  <a:pt x="628" y="458"/>
                </a:cubicBezTo>
                <a:cubicBezTo>
                  <a:pt x="628" y="457"/>
                  <a:pt x="627" y="457"/>
                  <a:pt x="627" y="457"/>
                </a:cubicBezTo>
                <a:cubicBezTo>
                  <a:pt x="627" y="457"/>
                  <a:pt x="627" y="457"/>
                  <a:pt x="626" y="458"/>
                </a:cubicBezTo>
                <a:cubicBezTo>
                  <a:pt x="626" y="458"/>
                  <a:pt x="626" y="458"/>
                  <a:pt x="625" y="458"/>
                </a:cubicBezTo>
                <a:cubicBezTo>
                  <a:pt x="625" y="458"/>
                  <a:pt x="625" y="458"/>
                  <a:pt x="625" y="459"/>
                </a:cubicBezTo>
                <a:cubicBezTo>
                  <a:pt x="625" y="459"/>
                  <a:pt x="625" y="459"/>
                  <a:pt x="625" y="459"/>
                </a:cubicBezTo>
                <a:cubicBezTo>
                  <a:pt x="625" y="459"/>
                  <a:pt x="625" y="459"/>
                  <a:pt x="624" y="459"/>
                </a:cubicBezTo>
                <a:cubicBezTo>
                  <a:pt x="624" y="458"/>
                  <a:pt x="624" y="458"/>
                  <a:pt x="624" y="457"/>
                </a:cubicBezTo>
                <a:cubicBezTo>
                  <a:pt x="624" y="457"/>
                  <a:pt x="625" y="457"/>
                  <a:pt x="625" y="457"/>
                </a:cubicBezTo>
                <a:cubicBezTo>
                  <a:pt x="624" y="456"/>
                  <a:pt x="624" y="456"/>
                  <a:pt x="624" y="456"/>
                </a:cubicBezTo>
                <a:cubicBezTo>
                  <a:pt x="624" y="455"/>
                  <a:pt x="623" y="455"/>
                  <a:pt x="623" y="455"/>
                </a:cubicBezTo>
                <a:cubicBezTo>
                  <a:pt x="622" y="455"/>
                  <a:pt x="622" y="455"/>
                  <a:pt x="621" y="455"/>
                </a:cubicBezTo>
                <a:cubicBezTo>
                  <a:pt x="620" y="455"/>
                  <a:pt x="620" y="454"/>
                  <a:pt x="619" y="454"/>
                </a:cubicBezTo>
                <a:cubicBezTo>
                  <a:pt x="619" y="454"/>
                  <a:pt x="619" y="454"/>
                  <a:pt x="619" y="453"/>
                </a:cubicBezTo>
                <a:cubicBezTo>
                  <a:pt x="619" y="453"/>
                  <a:pt x="618" y="453"/>
                  <a:pt x="618" y="453"/>
                </a:cubicBezTo>
                <a:cubicBezTo>
                  <a:pt x="618" y="453"/>
                  <a:pt x="617" y="453"/>
                  <a:pt x="617" y="453"/>
                </a:cubicBezTo>
                <a:cubicBezTo>
                  <a:pt x="617" y="453"/>
                  <a:pt x="617" y="453"/>
                  <a:pt x="617" y="453"/>
                </a:cubicBezTo>
                <a:cubicBezTo>
                  <a:pt x="617" y="453"/>
                  <a:pt x="617" y="453"/>
                  <a:pt x="617" y="453"/>
                </a:cubicBezTo>
                <a:cubicBezTo>
                  <a:pt x="616" y="453"/>
                  <a:pt x="615" y="453"/>
                  <a:pt x="615" y="453"/>
                </a:cubicBezTo>
                <a:cubicBezTo>
                  <a:pt x="614" y="453"/>
                  <a:pt x="614" y="453"/>
                  <a:pt x="614" y="453"/>
                </a:cubicBezTo>
                <a:cubicBezTo>
                  <a:pt x="614" y="453"/>
                  <a:pt x="614" y="453"/>
                  <a:pt x="613" y="453"/>
                </a:cubicBezTo>
                <a:cubicBezTo>
                  <a:pt x="613" y="453"/>
                  <a:pt x="613" y="453"/>
                  <a:pt x="612" y="453"/>
                </a:cubicBezTo>
                <a:cubicBezTo>
                  <a:pt x="612" y="453"/>
                  <a:pt x="612" y="453"/>
                  <a:pt x="612" y="453"/>
                </a:cubicBezTo>
                <a:cubicBezTo>
                  <a:pt x="612" y="453"/>
                  <a:pt x="611" y="453"/>
                  <a:pt x="611" y="454"/>
                </a:cubicBezTo>
                <a:cubicBezTo>
                  <a:pt x="611" y="454"/>
                  <a:pt x="610" y="454"/>
                  <a:pt x="610" y="454"/>
                </a:cubicBezTo>
                <a:cubicBezTo>
                  <a:pt x="609" y="454"/>
                  <a:pt x="609" y="454"/>
                  <a:pt x="608" y="454"/>
                </a:cubicBezTo>
                <a:cubicBezTo>
                  <a:pt x="608" y="454"/>
                  <a:pt x="608" y="454"/>
                  <a:pt x="608" y="454"/>
                </a:cubicBezTo>
                <a:cubicBezTo>
                  <a:pt x="608" y="454"/>
                  <a:pt x="608" y="454"/>
                  <a:pt x="609" y="454"/>
                </a:cubicBezTo>
                <a:cubicBezTo>
                  <a:pt x="609" y="454"/>
                  <a:pt x="609" y="454"/>
                  <a:pt x="609" y="454"/>
                </a:cubicBezTo>
                <a:cubicBezTo>
                  <a:pt x="610" y="454"/>
                  <a:pt x="610" y="454"/>
                  <a:pt x="610" y="453"/>
                </a:cubicBezTo>
                <a:cubicBezTo>
                  <a:pt x="610" y="453"/>
                  <a:pt x="610" y="453"/>
                  <a:pt x="610" y="453"/>
                </a:cubicBezTo>
                <a:cubicBezTo>
                  <a:pt x="611" y="453"/>
                  <a:pt x="611" y="452"/>
                  <a:pt x="611" y="452"/>
                </a:cubicBezTo>
                <a:cubicBezTo>
                  <a:pt x="611" y="452"/>
                  <a:pt x="611" y="452"/>
                  <a:pt x="611" y="452"/>
                </a:cubicBezTo>
                <a:cubicBezTo>
                  <a:pt x="611" y="452"/>
                  <a:pt x="611" y="451"/>
                  <a:pt x="611" y="451"/>
                </a:cubicBezTo>
                <a:cubicBezTo>
                  <a:pt x="611" y="451"/>
                  <a:pt x="611" y="451"/>
                  <a:pt x="611" y="451"/>
                </a:cubicBezTo>
                <a:cubicBezTo>
                  <a:pt x="610" y="451"/>
                  <a:pt x="610" y="451"/>
                  <a:pt x="610" y="451"/>
                </a:cubicBezTo>
                <a:cubicBezTo>
                  <a:pt x="610" y="451"/>
                  <a:pt x="609" y="450"/>
                  <a:pt x="609" y="450"/>
                </a:cubicBezTo>
                <a:cubicBezTo>
                  <a:pt x="608" y="450"/>
                  <a:pt x="608" y="450"/>
                  <a:pt x="607" y="450"/>
                </a:cubicBezTo>
                <a:cubicBezTo>
                  <a:pt x="607" y="450"/>
                  <a:pt x="607" y="450"/>
                  <a:pt x="606" y="450"/>
                </a:cubicBezTo>
                <a:cubicBezTo>
                  <a:pt x="606" y="450"/>
                  <a:pt x="606" y="450"/>
                  <a:pt x="606" y="450"/>
                </a:cubicBezTo>
                <a:cubicBezTo>
                  <a:pt x="605" y="450"/>
                  <a:pt x="605" y="450"/>
                  <a:pt x="605" y="450"/>
                </a:cubicBezTo>
                <a:cubicBezTo>
                  <a:pt x="605" y="450"/>
                  <a:pt x="605" y="450"/>
                  <a:pt x="604" y="450"/>
                </a:cubicBezTo>
                <a:cubicBezTo>
                  <a:pt x="604" y="450"/>
                  <a:pt x="604" y="450"/>
                  <a:pt x="603" y="450"/>
                </a:cubicBezTo>
                <a:cubicBezTo>
                  <a:pt x="603" y="450"/>
                  <a:pt x="603" y="450"/>
                  <a:pt x="603" y="450"/>
                </a:cubicBezTo>
                <a:cubicBezTo>
                  <a:pt x="603" y="450"/>
                  <a:pt x="603" y="450"/>
                  <a:pt x="603" y="450"/>
                </a:cubicBezTo>
                <a:cubicBezTo>
                  <a:pt x="603" y="450"/>
                  <a:pt x="602" y="450"/>
                  <a:pt x="602" y="450"/>
                </a:cubicBezTo>
                <a:cubicBezTo>
                  <a:pt x="602" y="450"/>
                  <a:pt x="602" y="450"/>
                  <a:pt x="602" y="449"/>
                </a:cubicBezTo>
                <a:cubicBezTo>
                  <a:pt x="601" y="449"/>
                  <a:pt x="601" y="449"/>
                  <a:pt x="601" y="449"/>
                </a:cubicBezTo>
                <a:cubicBezTo>
                  <a:pt x="601" y="449"/>
                  <a:pt x="600" y="449"/>
                  <a:pt x="600" y="449"/>
                </a:cubicBezTo>
                <a:cubicBezTo>
                  <a:pt x="600" y="449"/>
                  <a:pt x="601" y="449"/>
                  <a:pt x="601" y="448"/>
                </a:cubicBezTo>
                <a:cubicBezTo>
                  <a:pt x="601" y="448"/>
                  <a:pt x="602" y="448"/>
                  <a:pt x="603" y="448"/>
                </a:cubicBezTo>
                <a:cubicBezTo>
                  <a:pt x="603" y="448"/>
                  <a:pt x="603" y="448"/>
                  <a:pt x="604" y="447"/>
                </a:cubicBezTo>
                <a:cubicBezTo>
                  <a:pt x="604" y="447"/>
                  <a:pt x="605" y="447"/>
                  <a:pt x="605" y="447"/>
                </a:cubicBezTo>
                <a:cubicBezTo>
                  <a:pt x="605" y="447"/>
                  <a:pt x="605" y="447"/>
                  <a:pt x="605" y="446"/>
                </a:cubicBezTo>
                <a:cubicBezTo>
                  <a:pt x="605" y="447"/>
                  <a:pt x="604" y="447"/>
                  <a:pt x="604" y="447"/>
                </a:cubicBezTo>
                <a:cubicBezTo>
                  <a:pt x="603" y="447"/>
                  <a:pt x="602" y="447"/>
                  <a:pt x="602" y="447"/>
                </a:cubicBezTo>
                <a:cubicBezTo>
                  <a:pt x="601" y="447"/>
                  <a:pt x="600" y="447"/>
                  <a:pt x="600" y="448"/>
                </a:cubicBezTo>
                <a:cubicBezTo>
                  <a:pt x="600" y="448"/>
                  <a:pt x="599" y="448"/>
                  <a:pt x="599" y="448"/>
                </a:cubicBezTo>
                <a:cubicBezTo>
                  <a:pt x="598" y="448"/>
                  <a:pt x="598" y="448"/>
                  <a:pt x="597" y="449"/>
                </a:cubicBezTo>
                <a:cubicBezTo>
                  <a:pt x="597" y="449"/>
                  <a:pt x="596" y="449"/>
                  <a:pt x="596" y="449"/>
                </a:cubicBezTo>
                <a:cubicBezTo>
                  <a:pt x="596" y="449"/>
                  <a:pt x="596" y="449"/>
                  <a:pt x="595" y="449"/>
                </a:cubicBezTo>
                <a:cubicBezTo>
                  <a:pt x="595" y="449"/>
                  <a:pt x="594" y="450"/>
                  <a:pt x="594" y="450"/>
                </a:cubicBezTo>
                <a:cubicBezTo>
                  <a:pt x="593" y="450"/>
                  <a:pt x="593" y="450"/>
                  <a:pt x="593" y="451"/>
                </a:cubicBezTo>
                <a:cubicBezTo>
                  <a:pt x="592" y="451"/>
                  <a:pt x="592" y="451"/>
                  <a:pt x="592" y="451"/>
                </a:cubicBezTo>
                <a:cubicBezTo>
                  <a:pt x="592" y="451"/>
                  <a:pt x="592" y="452"/>
                  <a:pt x="591" y="452"/>
                </a:cubicBezTo>
                <a:cubicBezTo>
                  <a:pt x="591" y="452"/>
                  <a:pt x="591" y="452"/>
                  <a:pt x="590" y="452"/>
                </a:cubicBezTo>
                <a:cubicBezTo>
                  <a:pt x="590" y="452"/>
                  <a:pt x="590" y="452"/>
                  <a:pt x="590" y="452"/>
                </a:cubicBezTo>
                <a:cubicBezTo>
                  <a:pt x="589" y="452"/>
                  <a:pt x="589" y="452"/>
                  <a:pt x="589" y="452"/>
                </a:cubicBezTo>
                <a:cubicBezTo>
                  <a:pt x="588" y="452"/>
                  <a:pt x="587" y="452"/>
                  <a:pt x="586" y="452"/>
                </a:cubicBezTo>
                <a:cubicBezTo>
                  <a:pt x="586" y="452"/>
                  <a:pt x="586" y="451"/>
                  <a:pt x="586" y="451"/>
                </a:cubicBezTo>
                <a:cubicBezTo>
                  <a:pt x="586" y="451"/>
                  <a:pt x="585" y="451"/>
                  <a:pt x="585" y="451"/>
                </a:cubicBezTo>
                <a:cubicBezTo>
                  <a:pt x="584" y="452"/>
                  <a:pt x="584" y="452"/>
                  <a:pt x="583" y="452"/>
                </a:cubicBezTo>
                <a:cubicBezTo>
                  <a:pt x="581" y="452"/>
                  <a:pt x="580" y="453"/>
                  <a:pt x="578" y="454"/>
                </a:cubicBezTo>
                <a:cubicBezTo>
                  <a:pt x="578" y="454"/>
                  <a:pt x="577" y="454"/>
                  <a:pt x="576" y="454"/>
                </a:cubicBezTo>
                <a:cubicBezTo>
                  <a:pt x="576" y="454"/>
                  <a:pt x="576" y="454"/>
                  <a:pt x="575" y="454"/>
                </a:cubicBezTo>
                <a:cubicBezTo>
                  <a:pt x="575" y="454"/>
                  <a:pt x="575" y="454"/>
                  <a:pt x="575" y="453"/>
                </a:cubicBezTo>
                <a:cubicBezTo>
                  <a:pt x="575" y="453"/>
                  <a:pt x="575" y="453"/>
                  <a:pt x="575" y="453"/>
                </a:cubicBezTo>
                <a:cubicBezTo>
                  <a:pt x="575" y="453"/>
                  <a:pt x="575" y="453"/>
                  <a:pt x="575" y="453"/>
                </a:cubicBezTo>
                <a:cubicBezTo>
                  <a:pt x="575" y="452"/>
                  <a:pt x="575" y="452"/>
                  <a:pt x="575" y="452"/>
                </a:cubicBezTo>
                <a:cubicBezTo>
                  <a:pt x="574" y="452"/>
                  <a:pt x="574" y="451"/>
                  <a:pt x="574" y="451"/>
                </a:cubicBezTo>
                <a:cubicBezTo>
                  <a:pt x="573" y="451"/>
                  <a:pt x="573" y="451"/>
                  <a:pt x="573" y="451"/>
                </a:cubicBezTo>
                <a:cubicBezTo>
                  <a:pt x="572" y="451"/>
                  <a:pt x="571" y="452"/>
                  <a:pt x="570" y="452"/>
                </a:cubicBezTo>
                <a:cubicBezTo>
                  <a:pt x="570" y="452"/>
                  <a:pt x="570" y="452"/>
                  <a:pt x="569" y="452"/>
                </a:cubicBezTo>
                <a:cubicBezTo>
                  <a:pt x="569" y="452"/>
                  <a:pt x="569" y="452"/>
                  <a:pt x="568" y="452"/>
                </a:cubicBezTo>
                <a:cubicBezTo>
                  <a:pt x="568" y="452"/>
                  <a:pt x="568" y="452"/>
                  <a:pt x="568" y="452"/>
                </a:cubicBezTo>
                <a:cubicBezTo>
                  <a:pt x="568" y="452"/>
                  <a:pt x="567" y="452"/>
                  <a:pt x="567" y="451"/>
                </a:cubicBezTo>
                <a:cubicBezTo>
                  <a:pt x="567" y="451"/>
                  <a:pt x="567" y="451"/>
                  <a:pt x="567" y="450"/>
                </a:cubicBezTo>
                <a:cubicBezTo>
                  <a:pt x="566" y="450"/>
                  <a:pt x="566" y="450"/>
                  <a:pt x="566" y="449"/>
                </a:cubicBezTo>
                <a:cubicBezTo>
                  <a:pt x="566" y="449"/>
                  <a:pt x="566" y="449"/>
                  <a:pt x="565" y="449"/>
                </a:cubicBezTo>
                <a:cubicBezTo>
                  <a:pt x="565" y="450"/>
                  <a:pt x="565" y="450"/>
                  <a:pt x="564" y="450"/>
                </a:cubicBezTo>
                <a:cubicBezTo>
                  <a:pt x="564" y="451"/>
                  <a:pt x="563" y="451"/>
                  <a:pt x="563" y="452"/>
                </a:cubicBezTo>
                <a:cubicBezTo>
                  <a:pt x="563" y="452"/>
                  <a:pt x="563" y="452"/>
                  <a:pt x="564" y="452"/>
                </a:cubicBezTo>
                <a:cubicBezTo>
                  <a:pt x="564" y="452"/>
                  <a:pt x="564" y="452"/>
                  <a:pt x="564" y="452"/>
                </a:cubicBezTo>
                <a:cubicBezTo>
                  <a:pt x="564" y="452"/>
                  <a:pt x="565" y="452"/>
                  <a:pt x="565" y="452"/>
                </a:cubicBezTo>
                <a:cubicBezTo>
                  <a:pt x="565" y="452"/>
                  <a:pt x="566" y="452"/>
                  <a:pt x="566" y="452"/>
                </a:cubicBezTo>
                <a:cubicBezTo>
                  <a:pt x="566" y="452"/>
                  <a:pt x="567" y="452"/>
                  <a:pt x="567" y="452"/>
                </a:cubicBezTo>
                <a:cubicBezTo>
                  <a:pt x="567" y="452"/>
                  <a:pt x="567" y="452"/>
                  <a:pt x="567" y="453"/>
                </a:cubicBezTo>
                <a:cubicBezTo>
                  <a:pt x="567" y="453"/>
                  <a:pt x="566" y="453"/>
                  <a:pt x="566" y="453"/>
                </a:cubicBezTo>
                <a:cubicBezTo>
                  <a:pt x="566" y="453"/>
                  <a:pt x="565" y="453"/>
                  <a:pt x="565" y="453"/>
                </a:cubicBezTo>
                <a:cubicBezTo>
                  <a:pt x="565" y="453"/>
                  <a:pt x="565" y="453"/>
                  <a:pt x="564" y="453"/>
                </a:cubicBezTo>
                <a:cubicBezTo>
                  <a:pt x="564" y="453"/>
                  <a:pt x="564" y="453"/>
                  <a:pt x="564" y="453"/>
                </a:cubicBezTo>
                <a:cubicBezTo>
                  <a:pt x="564" y="453"/>
                  <a:pt x="564" y="453"/>
                  <a:pt x="564" y="453"/>
                </a:cubicBezTo>
                <a:cubicBezTo>
                  <a:pt x="564" y="454"/>
                  <a:pt x="564" y="454"/>
                  <a:pt x="563" y="454"/>
                </a:cubicBezTo>
                <a:cubicBezTo>
                  <a:pt x="563" y="454"/>
                  <a:pt x="562" y="455"/>
                  <a:pt x="561" y="455"/>
                </a:cubicBezTo>
                <a:cubicBezTo>
                  <a:pt x="561" y="455"/>
                  <a:pt x="560" y="456"/>
                  <a:pt x="559" y="456"/>
                </a:cubicBezTo>
                <a:cubicBezTo>
                  <a:pt x="559" y="456"/>
                  <a:pt x="559" y="456"/>
                  <a:pt x="559" y="457"/>
                </a:cubicBezTo>
                <a:cubicBezTo>
                  <a:pt x="559" y="457"/>
                  <a:pt x="559" y="457"/>
                  <a:pt x="559" y="457"/>
                </a:cubicBezTo>
                <a:cubicBezTo>
                  <a:pt x="559" y="458"/>
                  <a:pt x="559" y="458"/>
                  <a:pt x="560" y="458"/>
                </a:cubicBezTo>
                <a:cubicBezTo>
                  <a:pt x="560" y="458"/>
                  <a:pt x="560" y="459"/>
                  <a:pt x="560" y="459"/>
                </a:cubicBezTo>
                <a:cubicBezTo>
                  <a:pt x="560" y="460"/>
                  <a:pt x="560" y="460"/>
                  <a:pt x="560" y="460"/>
                </a:cubicBezTo>
                <a:cubicBezTo>
                  <a:pt x="561" y="461"/>
                  <a:pt x="561" y="461"/>
                  <a:pt x="561" y="461"/>
                </a:cubicBezTo>
                <a:cubicBezTo>
                  <a:pt x="561" y="461"/>
                  <a:pt x="561" y="462"/>
                  <a:pt x="561" y="462"/>
                </a:cubicBezTo>
                <a:cubicBezTo>
                  <a:pt x="560" y="463"/>
                  <a:pt x="560" y="463"/>
                  <a:pt x="559" y="463"/>
                </a:cubicBezTo>
                <a:cubicBezTo>
                  <a:pt x="559" y="463"/>
                  <a:pt x="559" y="464"/>
                  <a:pt x="558" y="464"/>
                </a:cubicBezTo>
                <a:cubicBezTo>
                  <a:pt x="558" y="463"/>
                  <a:pt x="558" y="463"/>
                  <a:pt x="558" y="463"/>
                </a:cubicBezTo>
                <a:cubicBezTo>
                  <a:pt x="558" y="462"/>
                  <a:pt x="557" y="462"/>
                  <a:pt x="557" y="462"/>
                </a:cubicBezTo>
                <a:cubicBezTo>
                  <a:pt x="557" y="462"/>
                  <a:pt x="557" y="461"/>
                  <a:pt x="556" y="461"/>
                </a:cubicBezTo>
                <a:cubicBezTo>
                  <a:pt x="557" y="461"/>
                  <a:pt x="557" y="461"/>
                  <a:pt x="557" y="460"/>
                </a:cubicBezTo>
                <a:cubicBezTo>
                  <a:pt x="557" y="460"/>
                  <a:pt x="557" y="460"/>
                  <a:pt x="557" y="460"/>
                </a:cubicBezTo>
                <a:cubicBezTo>
                  <a:pt x="558" y="459"/>
                  <a:pt x="558" y="459"/>
                  <a:pt x="559" y="458"/>
                </a:cubicBezTo>
                <a:cubicBezTo>
                  <a:pt x="559" y="458"/>
                  <a:pt x="558" y="457"/>
                  <a:pt x="558" y="457"/>
                </a:cubicBezTo>
                <a:cubicBezTo>
                  <a:pt x="558" y="457"/>
                  <a:pt x="558" y="457"/>
                  <a:pt x="558" y="457"/>
                </a:cubicBezTo>
                <a:cubicBezTo>
                  <a:pt x="558" y="456"/>
                  <a:pt x="558" y="456"/>
                  <a:pt x="558" y="456"/>
                </a:cubicBezTo>
                <a:cubicBezTo>
                  <a:pt x="557" y="456"/>
                  <a:pt x="557" y="456"/>
                  <a:pt x="557" y="456"/>
                </a:cubicBezTo>
                <a:cubicBezTo>
                  <a:pt x="557" y="456"/>
                  <a:pt x="557" y="456"/>
                  <a:pt x="557" y="455"/>
                </a:cubicBezTo>
                <a:cubicBezTo>
                  <a:pt x="556" y="455"/>
                  <a:pt x="556" y="455"/>
                  <a:pt x="556" y="455"/>
                </a:cubicBezTo>
                <a:cubicBezTo>
                  <a:pt x="556" y="455"/>
                  <a:pt x="556" y="455"/>
                  <a:pt x="556" y="454"/>
                </a:cubicBezTo>
                <a:cubicBezTo>
                  <a:pt x="556" y="454"/>
                  <a:pt x="557" y="454"/>
                  <a:pt x="557" y="454"/>
                </a:cubicBezTo>
                <a:cubicBezTo>
                  <a:pt x="557" y="454"/>
                  <a:pt x="558" y="453"/>
                  <a:pt x="558" y="453"/>
                </a:cubicBezTo>
                <a:cubicBezTo>
                  <a:pt x="558" y="453"/>
                  <a:pt x="559" y="453"/>
                  <a:pt x="559" y="452"/>
                </a:cubicBezTo>
                <a:cubicBezTo>
                  <a:pt x="559" y="452"/>
                  <a:pt x="559" y="452"/>
                  <a:pt x="559" y="452"/>
                </a:cubicBezTo>
                <a:cubicBezTo>
                  <a:pt x="559" y="452"/>
                  <a:pt x="559" y="452"/>
                  <a:pt x="560" y="452"/>
                </a:cubicBezTo>
                <a:cubicBezTo>
                  <a:pt x="560" y="451"/>
                  <a:pt x="560" y="451"/>
                  <a:pt x="560" y="451"/>
                </a:cubicBezTo>
                <a:cubicBezTo>
                  <a:pt x="559" y="451"/>
                  <a:pt x="559" y="451"/>
                  <a:pt x="559" y="451"/>
                </a:cubicBezTo>
                <a:cubicBezTo>
                  <a:pt x="558" y="451"/>
                  <a:pt x="558" y="451"/>
                  <a:pt x="557" y="450"/>
                </a:cubicBezTo>
                <a:cubicBezTo>
                  <a:pt x="557" y="451"/>
                  <a:pt x="557" y="451"/>
                  <a:pt x="556" y="451"/>
                </a:cubicBezTo>
                <a:cubicBezTo>
                  <a:pt x="556" y="451"/>
                  <a:pt x="556" y="451"/>
                  <a:pt x="556" y="451"/>
                </a:cubicBezTo>
                <a:cubicBezTo>
                  <a:pt x="556" y="451"/>
                  <a:pt x="556" y="451"/>
                  <a:pt x="556" y="451"/>
                </a:cubicBezTo>
                <a:cubicBezTo>
                  <a:pt x="556" y="451"/>
                  <a:pt x="556" y="451"/>
                  <a:pt x="556" y="452"/>
                </a:cubicBezTo>
                <a:cubicBezTo>
                  <a:pt x="555" y="452"/>
                  <a:pt x="555" y="452"/>
                  <a:pt x="555" y="452"/>
                </a:cubicBezTo>
                <a:cubicBezTo>
                  <a:pt x="555" y="452"/>
                  <a:pt x="555" y="452"/>
                  <a:pt x="554" y="452"/>
                </a:cubicBezTo>
                <a:cubicBezTo>
                  <a:pt x="554" y="452"/>
                  <a:pt x="554" y="452"/>
                  <a:pt x="554" y="452"/>
                </a:cubicBezTo>
                <a:cubicBezTo>
                  <a:pt x="554" y="453"/>
                  <a:pt x="554" y="453"/>
                  <a:pt x="553" y="453"/>
                </a:cubicBezTo>
                <a:cubicBezTo>
                  <a:pt x="554" y="453"/>
                  <a:pt x="554" y="453"/>
                  <a:pt x="554" y="453"/>
                </a:cubicBezTo>
                <a:cubicBezTo>
                  <a:pt x="554" y="453"/>
                  <a:pt x="554" y="453"/>
                  <a:pt x="554" y="453"/>
                </a:cubicBezTo>
                <a:cubicBezTo>
                  <a:pt x="553" y="454"/>
                  <a:pt x="553" y="454"/>
                  <a:pt x="553" y="454"/>
                </a:cubicBezTo>
                <a:cubicBezTo>
                  <a:pt x="552" y="455"/>
                  <a:pt x="552" y="455"/>
                  <a:pt x="551" y="455"/>
                </a:cubicBezTo>
                <a:cubicBezTo>
                  <a:pt x="551" y="456"/>
                  <a:pt x="550" y="456"/>
                  <a:pt x="550" y="456"/>
                </a:cubicBezTo>
                <a:cubicBezTo>
                  <a:pt x="550" y="456"/>
                  <a:pt x="549" y="457"/>
                  <a:pt x="549" y="457"/>
                </a:cubicBezTo>
                <a:cubicBezTo>
                  <a:pt x="548" y="457"/>
                  <a:pt x="548" y="457"/>
                  <a:pt x="547" y="457"/>
                </a:cubicBezTo>
                <a:cubicBezTo>
                  <a:pt x="547" y="457"/>
                  <a:pt x="546" y="457"/>
                  <a:pt x="546" y="457"/>
                </a:cubicBezTo>
                <a:cubicBezTo>
                  <a:pt x="546" y="458"/>
                  <a:pt x="545" y="458"/>
                  <a:pt x="545" y="458"/>
                </a:cubicBezTo>
                <a:cubicBezTo>
                  <a:pt x="545" y="458"/>
                  <a:pt x="545" y="458"/>
                  <a:pt x="545" y="459"/>
                </a:cubicBezTo>
                <a:cubicBezTo>
                  <a:pt x="545" y="459"/>
                  <a:pt x="545" y="459"/>
                  <a:pt x="546" y="459"/>
                </a:cubicBezTo>
                <a:cubicBezTo>
                  <a:pt x="546" y="459"/>
                  <a:pt x="546" y="459"/>
                  <a:pt x="546" y="460"/>
                </a:cubicBezTo>
                <a:cubicBezTo>
                  <a:pt x="545" y="460"/>
                  <a:pt x="545" y="460"/>
                  <a:pt x="545" y="460"/>
                </a:cubicBezTo>
                <a:cubicBezTo>
                  <a:pt x="545" y="460"/>
                  <a:pt x="545" y="460"/>
                  <a:pt x="545" y="460"/>
                </a:cubicBezTo>
                <a:cubicBezTo>
                  <a:pt x="545" y="460"/>
                  <a:pt x="545" y="460"/>
                  <a:pt x="545" y="460"/>
                </a:cubicBezTo>
                <a:cubicBezTo>
                  <a:pt x="544" y="460"/>
                  <a:pt x="544" y="460"/>
                  <a:pt x="544" y="459"/>
                </a:cubicBezTo>
                <a:cubicBezTo>
                  <a:pt x="545" y="459"/>
                  <a:pt x="545" y="459"/>
                  <a:pt x="545" y="459"/>
                </a:cubicBezTo>
                <a:cubicBezTo>
                  <a:pt x="545" y="459"/>
                  <a:pt x="544" y="459"/>
                  <a:pt x="544" y="459"/>
                </a:cubicBezTo>
                <a:cubicBezTo>
                  <a:pt x="544" y="459"/>
                  <a:pt x="543" y="459"/>
                  <a:pt x="543" y="459"/>
                </a:cubicBezTo>
                <a:cubicBezTo>
                  <a:pt x="542" y="459"/>
                  <a:pt x="542" y="459"/>
                  <a:pt x="542" y="459"/>
                </a:cubicBezTo>
                <a:cubicBezTo>
                  <a:pt x="542" y="460"/>
                  <a:pt x="541" y="460"/>
                  <a:pt x="541" y="461"/>
                </a:cubicBezTo>
                <a:cubicBezTo>
                  <a:pt x="541" y="461"/>
                  <a:pt x="540" y="461"/>
                  <a:pt x="540" y="461"/>
                </a:cubicBezTo>
                <a:cubicBezTo>
                  <a:pt x="540" y="461"/>
                  <a:pt x="540" y="462"/>
                  <a:pt x="540" y="462"/>
                </a:cubicBezTo>
                <a:cubicBezTo>
                  <a:pt x="539" y="463"/>
                  <a:pt x="539" y="464"/>
                  <a:pt x="539" y="464"/>
                </a:cubicBezTo>
                <a:cubicBezTo>
                  <a:pt x="539" y="465"/>
                  <a:pt x="539" y="465"/>
                  <a:pt x="539" y="465"/>
                </a:cubicBezTo>
                <a:cubicBezTo>
                  <a:pt x="539" y="465"/>
                  <a:pt x="539" y="465"/>
                  <a:pt x="539" y="465"/>
                </a:cubicBezTo>
                <a:cubicBezTo>
                  <a:pt x="539" y="465"/>
                  <a:pt x="539" y="465"/>
                  <a:pt x="539" y="465"/>
                </a:cubicBezTo>
                <a:cubicBezTo>
                  <a:pt x="540" y="465"/>
                  <a:pt x="540" y="465"/>
                  <a:pt x="540" y="466"/>
                </a:cubicBezTo>
                <a:cubicBezTo>
                  <a:pt x="540" y="466"/>
                  <a:pt x="540" y="466"/>
                  <a:pt x="540" y="466"/>
                </a:cubicBezTo>
                <a:cubicBezTo>
                  <a:pt x="539" y="466"/>
                  <a:pt x="539" y="467"/>
                  <a:pt x="539" y="467"/>
                </a:cubicBezTo>
                <a:cubicBezTo>
                  <a:pt x="539" y="467"/>
                  <a:pt x="538" y="467"/>
                  <a:pt x="538" y="467"/>
                </a:cubicBezTo>
                <a:cubicBezTo>
                  <a:pt x="538" y="467"/>
                  <a:pt x="538" y="467"/>
                  <a:pt x="538" y="467"/>
                </a:cubicBezTo>
                <a:cubicBezTo>
                  <a:pt x="537" y="468"/>
                  <a:pt x="537" y="468"/>
                  <a:pt x="537" y="469"/>
                </a:cubicBezTo>
                <a:cubicBezTo>
                  <a:pt x="536" y="469"/>
                  <a:pt x="536" y="469"/>
                  <a:pt x="536" y="469"/>
                </a:cubicBezTo>
                <a:cubicBezTo>
                  <a:pt x="536" y="469"/>
                  <a:pt x="536" y="470"/>
                  <a:pt x="535" y="470"/>
                </a:cubicBezTo>
                <a:cubicBezTo>
                  <a:pt x="535" y="470"/>
                  <a:pt x="535" y="470"/>
                  <a:pt x="535" y="470"/>
                </a:cubicBezTo>
                <a:cubicBezTo>
                  <a:pt x="535" y="470"/>
                  <a:pt x="534" y="471"/>
                  <a:pt x="534" y="471"/>
                </a:cubicBezTo>
                <a:cubicBezTo>
                  <a:pt x="534" y="471"/>
                  <a:pt x="534" y="471"/>
                  <a:pt x="535" y="471"/>
                </a:cubicBezTo>
                <a:cubicBezTo>
                  <a:pt x="535" y="471"/>
                  <a:pt x="535" y="472"/>
                  <a:pt x="536" y="472"/>
                </a:cubicBezTo>
                <a:cubicBezTo>
                  <a:pt x="536" y="472"/>
                  <a:pt x="536" y="472"/>
                  <a:pt x="536" y="473"/>
                </a:cubicBezTo>
                <a:cubicBezTo>
                  <a:pt x="536" y="473"/>
                  <a:pt x="536" y="473"/>
                  <a:pt x="536" y="473"/>
                </a:cubicBezTo>
                <a:cubicBezTo>
                  <a:pt x="535" y="474"/>
                  <a:pt x="535" y="474"/>
                  <a:pt x="535" y="474"/>
                </a:cubicBezTo>
                <a:cubicBezTo>
                  <a:pt x="535" y="473"/>
                  <a:pt x="534" y="473"/>
                  <a:pt x="534" y="473"/>
                </a:cubicBezTo>
                <a:cubicBezTo>
                  <a:pt x="534" y="473"/>
                  <a:pt x="534" y="473"/>
                  <a:pt x="534" y="473"/>
                </a:cubicBezTo>
                <a:cubicBezTo>
                  <a:pt x="534" y="473"/>
                  <a:pt x="534" y="473"/>
                  <a:pt x="534" y="473"/>
                </a:cubicBezTo>
                <a:cubicBezTo>
                  <a:pt x="534" y="472"/>
                  <a:pt x="534" y="472"/>
                  <a:pt x="533" y="472"/>
                </a:cubicBezTo>
                <a:cubicBezTo>
                  <a:pt x="533" y="472"/>
                  <a:pt x="533" y="472"/>
                  <a:pt x="533" y="472"/>
                </a:cubicBezTo>
                <a:cubicBezTo>
                  <a:pt x="533" y="472"/>
                  <a:pt x="532" y="472"/>
                  <a:pt x="532" y="471"/>
                </a:cubicBezTo>
                <a:cubicBezTo>
                  <a:pt x="532" y="471"/>
                  <a:pt x="531" y="471"/>
                  <a:pt x="531" y="471"/>
                </a:cubicBezTo>
                <a:cubicBezTo>
                  <a:pt x="531" y="471"/>
                  <a:pt x="531" y="471"/>
                  <a:pt x="530" y="471"/>
                </a:cubicBezTo>
                <a:cubicBezTo>
                  <a:pt x="530" y="471"/>
                  <a:pt x="530" y="471"/>
                  <a:pt x="530" y="471"/>
                </a:cubicBezTo>
                <a:cubicBezTo>
                  <a:pt x="530" y="471"/>
                  <a:pt x="529" y="470"/>
                  <a:pt x="529" y="470"/>
                </a:cubicBezTo>
                <a:cubicBezTo>
                  <a:pt x="528" y="470"/>
                  <a:pt x="528" y="470"/>
                  <a:pt x="527" y="470"/>
                </a:cubicBezTo>
                <a:cubicBezTo>
                  <a:pt x="526" y="470"/>
                  <a:pt x="526" y="470"/>
                  <a:pt x="526" y="470"/>
                </a:cubicBezTo>
                <a:cubicBezTo>
                  <a:pt x="525" y="470"/>
                  <a:pt x="524" y="470"/>
                  <a:pt x="523" y="471"/>
                </a:cubicBezTo>
                <a:cubicBezTo>
                  <a:pt x="523" y="471"/>
                  <a:pt x="523" y="471"/>
                  <a:pt x="523" y="471"/>
                </a:cubicBezTo>
                <a:cubicBezTo>
                  <a:pt x="523" y="471"/>
                  <a:pt x="523" y="470"/>
                  <a:pt x="522" y="470"/>
                </a:cubicBezTo>
                <a:cubicBezTo>
                  <a:pt x="522" y="470"/>
                  <a:pt x="522" y="470"/>
                  <a:pt x="522" y="470"/>
                </a:cubicBezTo>
                <a:cubicBezTo>
                  <a:pt x="521" y="470"/>
                  <a:pt x="521" y="470"/>
                  <a:pt x="521" y="471"/>
                </a:cubicBezTo>
                <a:cubicBezTo>
                  <a:pt x="521" y="471"/>
                  <a:pt x="520" y="471"/>
                  <a:pt x="520" y="472"/>
                </a:cubicBezTo>
                <a:cubicBezTo>
                  <a:pt x="520" y="472"/>
                  <a:pt x="519" y="472"/>
                  <a:pt x="519" y="472"/>
                </a:cubicBezTo>
                <a:cubicBezTo>
                  <a:pt x="518" y="473"/>
                  <a:pt x="517" y="473"/>
                  <a:pt x="516" y="474"/>
                </a:cubicBezTo>
                <a:cubicBezTo>
                  <a:pt x="516" y="474"/>
                  <a:pt x="516" y="475"/>
                  <a:pt x="515" y="475"/>
                </a:cubicBezTo>
                <a:cubicBezTo>
                  <a:pt x="515" y="475"/>
                  <a:pt x="515" y="475"/>
                  <a:pt x="514" y="475"/>
                </a:cubicBezTo>
                <a:cubicBezTo>
                  <a:pt x="514" y="475"/>
                  <a:pt x="513" y="476"/>
                  <a:pt x="513" y="476"/>
                </a:cubicBezTo>
                <a:cubicBezTo>
                  <a:pt x="512" y="475"/>
                  <a:pt x="512" y="475"/>
                  <a:pt x="511" y="475"/>
                </a:cubicBezTo>
                <a:cubicBezTo>
                  <a:pt x="511" y="475"/>
                  <a:pt x="510" y="475"/>
                  <a:pt x="510" y="475"/>
                </a:cubicBezTo>
                <a:cubicBezTo>
                  <a:pt x="510" y="475"/>
                  <a:pt x="510" y="475"/>
                  <a:pt x="510" y="475"/>
                </a:cubicBezTo>
                <a:cubicBezTo>
                  <a:pt x="510" y="475"/>
                  <a:pt x="510" y="475"/>
                  <a:pt x="510" y="476"/>
                </a:cubicBezTo>
                <a:cubicBezTo>
                  <a:pt x="510" y="476"/>
                  <a:pt x="510" y="476"/>
                  <a:pt x="510" y="476"/>
                </a:cubicBezTo>
                <a:cubicBezTo>
                  <a:pt x="510" y="476"/>
                  <a:pt x="510" y="476"/>
                  <a:pt x="510" y="476"/>
                </a:cubicBezTo>
                <a:cubicBezTo>
                  <a:pt x="509" y="476"/>
                  <a:pt x="509" y="476"/>
                  <a:pt x="509" y="476"/>
                </a:cubicBezTo>
                <a:cubicBezTo>
                  <a:pt x="509" y="476"/>
                  <a:pt x="508" y="476"/>
                  <a:pt x="508" y="476"/>
                </a:cubicBezTo>
                <a:cubicBezTo>
                  <a:pt x="508" y="476"/>
                  <a:pt x="508" y="476"/>
                  <a:pt x="508" y="476"/>
                </a:cubicBezTo>
                <a:cubicBezTo>
                  <a:pt x="509" y="476"/>
                  <a:pt x="509" y="476"/>
                  <a:pt x="509" y="476"/>
                </a:cubicBezTo>
                <a:cubicBezTo>
                  <a:pt x="509" y="475"/>
                  <a:pt x="509" y="475"/>
                  <a:pt x="508" y="475"/>
                </a:cubicBezTo>
                <a:cubicBezTo>
                  <a:pt x="508" y="475"/>
                  <a:pt x="508" y="475"/>
                  <a:pt x="508" y="475"/>
                </a:cubicBezTo>
                <a:cubicBezTo>
                  <a:pt x="508" y="475"/>
                  <a:pt x="508" y="475"/>
                  <a:pt x="507" y="475"/>
                </a:cubicBezTo>
                <a:cubicBezTo>
                  <a:pt x="507" y="475"/>
                  <a:pt x="507" y="475"/>
                  <a:pt x="507" y="475"/>
                </a:cubicBezTo>
                <a:cubicBezTo>
                  <a:pt x="507" y="475"/>
                  <a:pt x="507" y="475"/>
                  <a:pt x="507" y="475"/>
                </a:cubicBezTo>
                <a:cubicBezTo>
                  <a:pt x="506" y="475"/>
                  <a:pt x="506" y="475"/>
                  <a:pt x="506" y="475"/>
                </a:cubicBezTo>
                <a:cubicBezTo>
                  <a:pt x="506" y="475"/>
                  <a:pt x="506" y="475"/>
                  <a:pt x="506" y="475"/>
                </a:cubicBezTo>
                <a:cubicBezTo>
                  <a:pt x="505" y="475"/>
                  <a:pt x="505" y="475"/>
                  <a:pt x="505" y="475"/>
                </a:cubicBezTo>
                <a:cubicBezTo>
                  <a:pt x="505" y="474"/>
                  <a:pt x="504" y="474"/>
                  <a:pt x="504" y="474"/>
                </a:cubicBezTo>
                <a:cubicBezTo>
                  <a:pt x="504" y="474"/>
                  <a:pt x="504" y="474"/>
                  <a:pt x="504" y="474"/>
                </a:cubicBezTo>
                <a:cubicBezTo>
                  <a:pt x="503" y="474"/>
                  <a:pt x="503" y="473"/>
                  <a:pt x="502" y="473"/>
                </a:cubicBezTo>
                <a:cubicBezTo>
                  <a:pt x="502" y="473"/>
                  <a:pt x="502" y="473"/>
                  <a:pt x="502" y="473"/>
                </a:cubicBezTo>
                <a:cubicBezTo>
                  <a:pt x="502" y="473"/>
                  <a:pt x="501" y="472"/>
                  <a:pt x="501" y="472"/>
                </a:cubicBezTo>
                <a:cubicBezTo>
                  <a:pt x="501" y="472"/>
                  <a:pt x="501" y="472"/>
                  <a:pt x="501" y="471"/>
                </a:cubicBezTo>
                <a:cubicBezTo>
                  <a:pt x="501" y="472"/>
                  <a:pt x="500" y="472"/>
                  <a:pt x="500" y="472"/>
                </a:cubicBezTo>
                <a:cubicBezTo>
                  <a:pt x="500" y="472"/>
                  <a:pt x="500" y="472"/>
                  <a:pt x="500" y="472"/>
                </a:cubicBezTo>
                <a:cubicBezTo>
                  <a:pt x="500" y="472"/>
                  <a:pt x="500" y="472"/>
                  <a:pt x="499" y="472"/>
                </a:cubicBezTo>
                <a:cubicBezTo>
                  <a:pt x="499" y="472"/>
                  <a:pt x="499" y="472"/>
                  <a:pt x="499" y="472"/>
                </a:cubicBezTo>
                <a:cubicBezTo>
                  <a:pt x="499" y="472"/>
                  <a:pt x="499" y="472"/>
                  <a:pt x="499" y="472"/>
                </a:cubicBezTo>
                <a:cubicBezTo>
                  <a:pt x="500" y="472"/>
                  <a:pt x="500" y="472"/>
                  <a:pt x="500" y="472"/>
                </a:cubicBezTo>
                <a:cubicBezTo>
                  <a:pt x="500" y="471"/>
                  <a:pt x="500" y="471"/>
                  <a:pt x="500" y="471"/>
                </a:cubicBezTo>
                <a:cubicBezTo>
                  <a:pt x="499" y="471"/>
                  <a:pt x="499" y="471"/>
                  <a:pt x="499" y="471"/>
                </a:cubicBezTo>
                <a:cubicBezTo>
                  <a:pt x="499" y="471"/>
                  <a:pt x="499" y="470"/>
                  <a:pt x="498" y="470"/>
                </a:cubicBezTo>
                <a:cubicBezTo>
                  <a:pt x="499" y="470"/>
                  <a:pt x="499" y="469"/>
                  <a:pt x="499" y="469"/>
                </a:cubicBezTo>
                <a:cubicBezTo>
                  <a:pt x="499" y="469"/>
                  <a:pt x="499" y="469"/>
                  <a:pt x="499" y="468"/>
                </a:cubicBezTo>
                <a:cubicBezTo>
                  <a:pt x="499" y="468"/>
                  <a:pt x="499" y="468"/>
                  <a:pt x="499" y="468"/>
                </a:cubicBezTo>
                <a:cubicBezTo>
                  <a:pt x="499" y="468"/>
                  <a:pt x="499" y="468"/>
                  <a:pt x="499" y="468"/>
                </a:cubicBezTo>
                <a:cubicBezTo>
                  <a:pt x="499" y="468"/>
                  <a:pt x="499" y="468"/>
                  <a:pt x="499" y="469"/>
                </a:cubicBezTo>
                <a:cubicBezTo>
                  <a:pt x="498" y="469"/>
                  <a:pt x="498" y="469"/>
                  <a:pt x="498" y="469"/>
                </a:cubicBezTo>
                <a:cubicBezTo>
                  <a:pt x="498" y="469"/>
                  <a:pt x="498" y="469"/>
                  <a:pt x="498" y="468"/>
                </a:cubicBezTo>
                <a:cubicBezTo>
                  <a:pt x="498" y="468"/>
                  <a:pt x="498" y="468"/>
                  <a:pt x="498" y="468"/>
                </a:cubicBezTo>
                <a:cubicBezTo>
                  <a:pt x="498" y="467"/>
                  <a:pt x="498" y="467"/>
                  <a:pt x="498" y="467"/>
                </a:cubicBezTo>
                <a:cubicBezTo>
                  <a:pt x="498" y="467"/>
                  <a:pt x="498" y="467"/>
                  <a:pt x="498" y="466"/>
                </a:cubicBezTo>
                <a:cubicBezTo>
                  <a:pt x="498" y="466"/>
                  <a:pt x="498" y="466"/>
                  <a:pt x="498" y="466"/>
                </a:cubicBezTo>
                <a:cubicBezTo>
                  <a:pt x="498" y="466"/>
                  <a:pt x="498" y="465"/>
                  <a:pt x="498" y="465"/>
                </a:cubicBezTo>
                <a:cubicBezTo>
                  <a:pt x="498" y="465"/>
                  <a:pt x="498" y="465"/>
                  <a:pt x="499" y="465"/>
                </a:cubicBezTo>
                <a:cubicBezTo>
                  <a:pt x="499" y="465"/>
                  <a:pt x="499" y="465"/>
                  <a:pt x="498" y="465"/>
                </a:cubicBezTo>
                <a:cubicBezTo>
                  <a:pt x="498" y="465"/>
                  <a:pt x="499" y="465"/>
                  <a:pt x="499" y="466"/>
                </a:cubicBezTo>
                <a:cubicBezTo>
                  <a:pt x="499" y="466"/>
                  <a:pt x="499" y="466"/>
                  <a:pt x="499" y="466"/>
                </a:cubicBezTo>
                <a:cubicBezTo>
                  <a:pt x="499" y="466"/>
                  <a:pt x="499" y="466"/>
                  <a:pt x="499" y="466"/>
                </a:cubicBezTo>
                <a:cubicBezTo>
                  <a:pt x="499" y="466"/>
                  <a:pt x="499" y="466"/>
                  <a:pt x="499" y="466"/>
                </a:cubicBezTo>
                <a:cubicBezTo>
                  <a:pt x="499" y="465"/>
                  <a:pt x="499" y="465"/>
                  <a:pt x="499" y="464"/>
                </a:cubicBezTo>
                <a:cubicBezTo>
                  <a:pt x="499" y="464"/>
                  <a:pt x="499" y="463"/>
                  <a:pt x="499" y="463"/>
                </a:cubicBezTo>
                <a:cubicBezTo>
                  <a:pt x="499" y="463"/>
                  <a:pt x="499" y="462"/>
                  <a:pt x="499" y="462"/>
                </a:cubicBezTo>
                <a:cubicBezTo>
                  <a:pt x="499" y="462"/>
                  <a:pt x="498" y="462"/>
                  <a:pt x="498" y="462"/>
                </a:cubicBezTo>
                <a:cubicBezTo>
                  <a:pt x="498" y="462"/>
                  <a:pt x="498" y="462"/>
                  <a:pt x="498" y="462"/>
                </a:cubicBezTo>
                <a:cubicBezTo>
                  <a:pt x="498" y="462"/>
                  <a:pt x="498" y="462"/>
                  <a:pt x="498" y="462"/>
                </a:cubicBezTo>
                <a:cubicBezTo>
                  <a:pt x="498" y="461"/>
                  <a:pt x="498" y="461"/>
                  <a:pt x="498" y="461"/>
                </a:cubicBezTo>
                <a:cubicBezTo>
                  <a:pt x="498" y="461"/>
                  <a:pt x="498" y="461"/>
                  <a:pt x="498" y="461"/>
                </a:cubicBezTo>
                <a:cubicBezTo>
                  <a:pt x="498" y="461"/>
                  <a:pt x="499" y="461"/>
                  <a:pt x="499" y="461"/>
                </a:cubicBezTo>
                <a:cubicBezTo>
                  <a:pt x="499" y="461"/>
                  <a:pt x="499" y="461"/>
                  <a:pt x="499" y="460"/>
                </a:cubicBezTo>
                <a:cubicBezTo>
                  <a:pt x="499" y="460"/>
                  <a:pt x="499" y="460"/>
                  <a:pt x="499" y="459"/>
                </a:cubicBezTo>
                <a:cubicBezTo>
                  <a:pt x="499" y="459"/>
                  <a:pt x="499" y="459"/>
                  <a:pt x="499" y="459"/>
                </a:cubicBezTo>
                <a:cubicBezTo>
                  <a:pt x="499" y="459"/>
                  <a:pt x="499" y="459"/>
                  <a:pt x="499" y="458"/>
                </a:cubicBezTo>
                <a:cubicBezTo>
                  <a:pt x="499" y="458"/>
                  <a:pt x="499" y="458"/>
                  <a:pt x="499" y="458"/>
                </a:cubicBezTo>
                <a:cubicBezTo>
                  <a:pt x="499" y="458"/>
                  <a:pt x="499" y="458"/>
                  <a:pt x="499" y="458"/>
                </a:cubicBezTo>
                <a:cubicBezTo>
                  <a:pt x="499" y="458"/>
                  <a:pt x="499" y="458"/>
                  <a:pt x="499" y="457"/>
                </a:cubicBezTo>
                <a:cubicBezTo>
                  <a:pt x="499" y="457"/>
                  <a:pt x="499" y="457"/>
                  <a:pt x="499" y="457"/>
                </a:cubicBezTo>
                <a:cubicBezTo>
                  <a:pt x="499" y="457"/>
                  <a:pt x="498" y="456"/>
                  <a:pt x="498" y="456"/>
                </a:cubicBezTo>
                <a:cubicBezTo>
                  <a:pt x="498" y="456"/>
                  <a:pt x="498" y="456"/>
                  <a:pt x="499" y="456"/>
                </a:cubicBezTo>
                <a:cubicBezTo>
                  <a:pt x="499" y="455"/>
                  <a:pt x="499" y="455"/>
                  <a:pt x="499" y="455"/>
                </a:cubicBezTo>
                <a:cubicBezTo>
                  <a:pt x="499" y="455"/>
                  <a:pt x="499" y="455"/>
                  <a:pt x="499" y="455"/>
                </a:cubicBezTo>
                <a:cubicBezTo>
                  <a:pt x="499" y="455"/>
                  <a:pt x="499" y="455"/>
                  <a:pt x="499" y="455"/>
                </a:cubicBezTo>
                <a:cubicBezTo>
                  <a:pt x="498" y="454"/>
                  <a:pt x="498" y="454"/>
                  <a:pt x="497" y="454"/>
                </a:cubicBezTo>
                <a:cubicBezTo>
                  <a:pt x="497" y="454"/>
                  <a:pt x="497" y="454"/>
                  <a:pt x="496" y="454"/>
                </a:cubicBezTo>
                <a:cubicBezTo>
                  <a:pt x="496" y="454"/>
                  <a:pt x="496" y="454"/>
                  <a:pt x="496" y="454"/>
                </a:cubicBezTo>
                <a:cubicBezTo>
                  <a:pt x="496" y="455"/>
                  <a:pt x="497" y="455"/>
                  <a:pt x="497" y="455"/>
                </a:cubicBezTo>
                <a:cubicBezTo>
                  <a:pt x="496" y="455"/>
                  <a:pt x="496" y="455"/>
                  <a:pt x="496" y="455"/>
                </a:cubicBezTo>
                <a:cubicBezTo>
                  <a:pt x="495" y="455"/>
                  <a:pt x="495" y="455"/>
                  <a:pt x="494" y="455"/>
                </a:cubicBezTo>
                <a:cubicBezTo>
                  <a:pt x="494" y="455"/>
                  <a:pt x="494" y="455"/>
                  <a:pt x="494" y="455"/>
                </a:cubicBezTo>
                <a:cubicBezTo>
                  <a:pt x="493" y="455"/>
                  <a:pt x="493" y="455"/>
                  <a:pt x="493" y="455"/>
                </a:cubicBezTo>
                <a:cubicBezTo>
                  <a:pt x="493" y="455"/>
                  <a:pt x="492" y="455"/>
                  <a:pt x="492" y="456"/>
                </a:cubicBezTo>
                <a:cubicBezTo>
                  <a:pt x="492" y="455"/>
                  <a:pt x="492" y="455"/>
                  <a:pt x="492" y="455"/>
                </a:cubicBezTo>
                <a:cubicBezTo>
                  <a:pt x="492" y="455"/>
                  <a:pt x="493" y="455"/>
                  <a:pt x="493" y="455"/>
                </a:cubicBezTo>
                <a:cubicBezTo>
                  <a:pt x="493" y="455"/>
                  <a:pt x="493" y="455"/>
                  <a:pt x="493" y="455"/>
                </a:cubicBezTo>
                <a:cubicBezTo>
                  <a:pt x="493" y="455"/>
                  <a:pt x="493" y="454"/>
                  <a:pt x="493" y="454"/>
                </a:cubicBezTo>
                <a:cubicBezTo>
                  <a:pt x="493" y="454"/>
                  <a:pt x="494" y="454"/>
                  <a:pt x="494" y="454"/>
                </a:cubicBezTo>
                <a:cubicBezTo>
                  <a:pt x="494" y="454"/>
                  <a:pt x="495" y="454"/>
                  <a:pt x="495" y="454"/>
                </a:cubicBezTo>
                <a:cubicBezTo>
                  <a:pt x="495" y="454"/>
                  <a:pt x="495" y="454"/>
                  <a:pt x="495" y="454"/>
                </a:cubicBezTo>
                <a:cubicBezTo>
                  <a:pt x="495" y="454"/>
                  <a:pt x="495" y="454"/>
                  <a:pt x="494" y="454"/>
                </a:cubicBezTo>
                <a:cubicBezTo>
                  <a:pt x="494" y="454"/>
                  <a:pt x="493" y="454"/>
                  <a:pt x="493" y="454"/>
                </a:cubicBezTo>
                <a:cubicBezTo>
                  <a:pt x="493" y="454"/>
                  <a:pt x="492" y="454"/>
                  <a:pt x="492" y="454"/>
                </a:cubicBezTo>
                <a:cubicBezTo>
                  <a:pt x="492" y="454"/>
                  <a:pt x="492" y="454"/>
                  <a:pt x="491" y="454"/>
                </a:cubicBezTo>
                <a:cubicBezTo>
                  <a:pt x="491" y="454"/>
                  <a:pt x="491" y="454"/>
                  <a:pt x="491" y="454"/>
                </a:cubicBezTo>
                <a:cubicBezTo>
                  <a:pt x="491" y="454"/>
                  <a:pt x="491" y="455"/>
                  <a:pt x="491" y="455"/>
                </a:cubicBezTo>
                <a:cubicBezTo>
                  <a:pt x="490" y="455"/>
                  <a:pt x="490" y="455"/>
                  <a:pt x="490" y="455"/>
                </a:cubicBezTo>
                <a:cubicBezTo>
                  <a:pt x="489" y="455"/>
                  <a:pt x="488" y="455"/>
                  <a:pt x="488" y="455"/>
                </a:cubicBezTo>
                <a:cubicBezTo>
                  <a:pt x="487" y="455"/>
                  <a:pt x="486" y="455"/>
                  <a:pt x="486" y="455"/>
                </a:cubicBezTo>
                <a:cubicBezTo>
                  <a:pt x="485" y="455"/>
                  <a:pt x="485" y="455"/>
                  <a:pt x="484" y="455"/>
                </a:cubicBezTo>
                <a:cubicBezTo>
                  <a:pt x="484" y="455"/>
                  <a:pt x="484" y="455"/>
                  <a:pt x="483" y="455"/>
                </a:cubicBezTo>
                <a:cubicBezTo>
                  <a:pt x="483" y="455"/>
                  <a:pt x="483" y="455"/>
                  <a:pt x="483" y="456"/>
                </a:cubicBezTo>
                <a:cubicBezTo>
                  <a:pt x="483" y="456"/>
                  <a:pt x="483" y="456"/>
                  <a:pt x="484" y="456"/>
                </a:cubicBezTo>
                <a:cubicBezTo>
                  <a:pt x="483" y="456"/>
                  <a:pt x="483" y="456"/>
                  <a:pt x="483" y="456"/>
                </a:cubicBezTo>
                <a:cubicBezTo>
                  <a:pt x="483" y="456"/>
                  <a:pt x="483" y="456"/>
                  <a:pt x="482" y="456"/>
                </a:cubicBezTo>
                <a:cubicBezTo>
                  <a:pt x="482" y="456"/>
                  <a:pt x="482" y="456"/>
                  <a:pt x="482" y="456"/>
                </a:cubicBezTo>
                <a:cubicBezTo>
                  <a:pt x="481" y="457"/>
                  <a:pt x="481" y="457"/>
                  <a:pt x="480" y="457"/>
                </a:cubicBezTo>
                <a:cubicBezTo>
                  <a:pt x="479" y="457"/>
                  <a:pt x="479" y="458"/>
                  <a:pt x="478" y="458"/>
                </a:cubicBezTo>
                <a:cubicBezTo>
                  <a:pt x="477" y="458"/>
                  <a:pt x="476" y="458"/>
                  <a:pt x="475" y="459"/>
                </a:cubicBezTo>
                <a:cubicBezTo>
                  <a:pt x="475" y="459"/>
                  <a:pt x="474" y="459"/>
                  <a:pt x="474" y="459"/>
                </a:cubicBezTo>
                <a:cubicBezTo>
                  <a:pt x="474" y="459"/>
                  <a:pt x="474" y="459"/>
                  <a:pt x="473" y="459"/>
                </a:cubicBezTo>
                <a:cubicBezTo>
                  <a:pt x="473" y="459"/>
                  <a:pt x="473" y="459"/>
                  <a:pt x="473" y="459"/>
                </a:cubicBezTo>
                <a:cubicBezTo>
                  <a:pt x="473" y="459"/>
                  <a:pt x="472" y="459"/>
                  <a:pt x="472" y="459"/>
                </a:cubicBezTo>
                <a:cubicBezTo>
                  <a:pt x="472" y="459"/>
                  <a:pt x="472" y="460"/>
                  <a:pt x="472" y="460"/>
                </a:cubicBezTo>
                <a:cubicBezTo>
                  <a:pt x="472" y="460"/>
                  <a:pt x="471" y="460"/>
                  <a:pt x="471" y="460"/>
                </a:cubicBezTo>
                <a:cubicBezTo>
                  <a:pt x="471" y="460"/>
                  <a:pt x="470" y="460"/>
                  <a:pt x="470" y="460"/>
                </a:cubicBezTo>
                <a:cubicBezTo>
                  <a:pt x="470" y="460"/>
                  <a:pt x="470" y="460"/>
                  <a:pt x="470" y="460"/>
                </a:cubicBezTo>
                <a:cubicBezTo>
                  <a:pt x="470" y="460"/>
                  <a:pt x="470" y="460"/>
                  <a:pt x="470" y="460"/>
                </a:cubicBezTo>
                <a:cubicBezTo>
                  <a:pt x="470" y="459"/>
                  <a:pt x="470" y="459"/>
                  <a:pt x="470" y="459"/>
                </a:cubicBezTo>
                <a:cubicBezTo>
                  <a:pt x="470" y="459"/>
                  <a:pt x="470" y="458"/>
                  <a:pt x="471" y="458"/>
                </a:cubicBezTo>
                <a:cubicBezTo>
                  <a:pt x="471" y="458"/>
                  <a:pt x="471" y="458"/>
                  <a:pt x="471" y="458"/>
                </a:cubicBezTo>
                <a:cubicBezTo>
                  <a:pt x="472" y="457"/>
                  <a:pt x="472" y="457"/>
                  <a:pt x="472" y="456"/>
                </a:cubicBezTo>
                <a:cubicBezTo>
                  <a:pt x="472" y="456"/>
                  <a:pt x="472" y="456"/>
                  <a:pt x="472" y="455"/>
                </a:cubicBezTo>
                <a:cubicBezTo>
                  <a:pt x="472" y="455"/>
                  <a:pt x="472" y="454"/>
                  <a:pt x="472" y="454"/>
                </a:cubicBezTo>
                <a:cubicBezTo>
                  <a:pt x="472" y="454"/>
                  <a:pt x="472" y="454"/>
                  <a:pt x="471" y="454"/>
                </a:cubicBezTo>
                <a:cubicBezTo>
                  <a:pt x="471" y="453"/>
                  <a:pt x="471" y="453"/>
                  <a:pt x="471" y="453"/>
                </a:cubicBezTo>
                <a:cubicBezTo>
                  <a:pt x="471" y="452"/>
                  <a:pt x="472" y="452"/>
                  <a:pt x="472" y="452"/>
                </a:cubicBezTo>
                <a:cubicBezTo>
                  <a:pt x="472" y="451"/>
                  <a:pt x="471" y="451"/>
                  <a:pt x="471" y="450"/>
                </a:cubicBezTo>
                <a:cubicBezTo>
                  <a:pt x="471" y="450"/>
                  <a:pt x="471" y="450"/>
                  <a:pt x="471" y="450"/>
                </a:cubicBezTo>
                <a:cubicBezTo>
                  <a:pt x="471" y="450"/>
                  <a:pt x="471" y="449"/>
                  <a:pt x="471" y="449"/>
                </a:cubicBezTo>
                <a:cubicBezTo>
                  <a:pt x="471" y="449"/>
                  <a:pt x="471" y="449"/>
                  <a:pt x="470" y="450"/>
                </a:cubicBezTo>
                <a:cubicBezTo>
                  <a:pt x="470" y="450"/>
                  <a:pt x="470" y="450"/>
                  <a:pt x="470" y="450"/>
                </a:cubicBezTo>
                <a:cubicBezTo>
                  <a:pt x="470" y="450"/>
                  <a:pt x="470" y="450"/>
                  <a:pt x="470" y="450"/>
                </a:cubicBezTo>
                <a:cubicBezTo>
                  <a:pt x="470" y="450"/>
                  <a:pt x="470" y="450"/>
                  <a:pt x="470" y="450"/>
                </a:cubicBezTo>
                <a:cubicBezTo>
                  <a:pt x="470" y="449"/>
                  <a:pt x="470" y="449"/>
                  <a:pt x="470" y="449"/>
                </a:cubicBezTo>
                <a:cubicBezTo>
                  <a:pt x="471" y="449"/>
                  <a:pt x="471" y="448"/>
                  <a:pt x="471" y="448"/>
                </a:cubicBezTo>
                <a:cubicBezTo>
                  <a:pt x="471" y="448"/>
                  <a:pt x="472" y="448"/>
                  <a:pt x="472" y="447"/>
                </a:cubicBezTo>
                <a:cubicBezTo>
                  <a:pt x="472" y="448"/>
                  <a:pt x="472" y="448"/>
                  <a:pt x="472" y="448"/>
                </a:cubicBezTo>
                <a:cubicBezTo>
                  <a:pt x="472" y="448"/>
                  <a:pt x="472" y="449"/>
                  <a:pt x="471" y="449"/>
                </a:cubicBezTo>
                <a:cubicBezTo>
                  <a:pt x="471" y="449"/>
                  <a:pt x="472" y="449"/>
                  <a:pt x="472" y="449"/>
                </a:cubicBezTo>
                <a:cubicBezTo>
                  <a:pt x="472" y="449"/>
                  <a:pt x="472" y="449"/>
                  <a:pt x="473" y="449"/>
                </a:cubicBezTo>
                <a:cubicBezTo>
                  <a:pt x="473" y="449"/>
                  <a:pt x="473" y="449"/>
                  <a:pt x="473" y="450"/>
                </a:cubicBezTo>
                <a:cubicBezTo>
                  <a:pt x="473" y="450"/>
                  <a:pt x="473" y="449"/>
                  <a:pt x="474" y="449"/>
                </a:cubicBezTo>
                <a:cubicBezTo>
                  <a:pt x="474" y="449"/>
                  <a:pt x="474" y="448"/>
                  <a:pt x="474" y="448"/>
                </a:cubicBezTo>
                <a:cubicBezTo>
                  <a:pt x="474" y="447"/>
                  <a:pt x="474" y="446"/>
                  <a:pt x="474" y="446"/>
                </a:cubicBezTo>
                <a:cubicBezTo>
                  <a:pt x="474" y="445"/>
                  <a:pt x="474" y="445"/>
                  <a:pt x="475" y="445"/>
                </a:cubicBezTo>
                <a:cubicBezTo>
                  <a:pt x="474" y="445"/>
                  <a:pt x="474" y="445"/>
                  <a:pt x="474" y="445"/>
                </a:cubicBezTo>
                <a:cubicBezTo>
                  <a:pt x="474" y="445"/>
                  <a:pt x="474" y="445"/>
                  <a:pt x="474" y="445"/>
                </a:cubicBezTo>
                <a:cubicBezTo>
                  <a:pt x="474" y="445"/>
                  <a:pt x="473" y="445"/>
                  <a:pt x="473" y="445"/>
                </a:cubicBezTo>
                <a:cubicBezTo>
                  <a:pt x="473" y="445"/>
                  <a:pt x="473" y="445"/>
                  <a:pt x="473" y="445"/>
                </a:cubicBezTo>
                <a:cubicBezTo>
                  <a:pt x="473" y="445"/>
                  <a:pt x="474" y="444"/>
                  <a:pt x="474" y="444"/>
                </a:cubicBezTo>
                <a:cubicBezTo>
                  <a:pt x="474" y="444"/>
                  <a:pt x="474" y="444"/>
                  <a:pt x="474" y="443"/>
                </a:cubicBezTo>
                <a:cubicBezTo>
                  <a:pt x="474" y="444"/>
                  <a:pt x="473" y="444"/>
                  <a:pt x="473" y="444"/>
                </a:cubicBezTo>
                <a:cubicBezTo>
                  <a:pt x="473" y="444"/>
                  <a:pt x="473" y="444"/>
                  <a:pt x="472" y="443"/>
                </a:cubicBezTo>
                <a:cubicBezTo>
                  <a:pt x="472" y="443"/>
                  <a:pt x="473" y="443"/>
                  <a:pt x="473" y="443"/>
                </a:cubicBezTo>
                <a:cubicBezTo>
                  <a:pt x="473" y="443"/>
                  <a:pt x="473" y="443"/>
                  <a:pt x="473" y="442"/>
                </a:cubicBezTo>
                <a:cubicBezTo>
                  <a:pt x="473" y="442"/>
                  <a:pt x="473" y="442"/>
                  <a:pt x="473" y="441"/>
                </a:cubicBezTo>
                <a:cubicBezTo>
                  <a:pt x="473" y="441"/>
                  <a:pt x="473" y="441"/>
                  <a:pt x="474" y="441"/>
                </a:cubicBezTo>
                <a:cubicBezTo>
                  <a:pt x="474" y="440"/>
                  <a:pt x="475" y="439"/>
                  <a:pt x="475" y="439"/>
                </a:cubicBezTo>
                <a:cubicBezTo>
                  <a:pt x="476" y="438"/>
                  <a:pt x="476" y="438"/>
                  <a:pt x="476" y="437"/>
                </a:cubicBezTo>
                <a:cubicBezTo>
                  <a:pt x="476" y="437"/>
                  <a:pt x="476" y="436"/>
                  <a:pt x="477" y="436"/>
                </a:cubicBezTo>
                <a:cubicBezTo>
                  <a:pt x="476" y="436"/>
                  <a:pt x="476" y="436"/>
                  <a:pt x="476" y="435"/>
                </a:cubicBezTo>
                <a:cubicBezTo>
                  <a:pt x="476" y="435"/>
                  <a:pt x="475" y="435"/>
                  <a:pt x="474" y="434"/>
                </a:cubicBezTo>
                <a:cubicBezTo>
                  <a:pt x="474" y="434"/>
                  <a:pt x="474" y="435"/>
                  <a:pt x="473" y="435"/>
                </a:cubicBezTo>
                <a:cubicBezTo>
                  <a:pt x="474" y="435"/>
                  <a:pt x="474" y="435"/>
                  <a:pt x="474" y="435"/>
                </a:cubicBezTo>
                <a:cubicBezTo>
                  <a:pt x="474" y="435"/>
                  <a:pt x="473" y="435"/>
                  <a:pt x="473" y="435"/>
                </a:cubicBezTo>
                <a:cubicBezTo>
                  <a:pt x="472" y="435"/>
                  <a:pt x="472" y="436"/>
                  <a:pt x="471" y="436"/>
                </a:cubicBezTo>
                <a:cubicBezTo>
                  <a:pt x="470" y="436"/>
                  <a:pt x="470" y="436"/>
                  <a:pt x="469" y="436"/>
                </a:cubicBezTo>
                <a:cubicBezTo>
                  <a:pt x="469" y="436"/>
                  <a:pt x="469" y="436"/>
                  <a:pt x="469" y="437"/>
                </a:cubicBezTo>
                <a:cubicBezTo>
                  <a:pt x="469" y="437"/>
                  <a:pt x="468" y="437"/>
                  <a:pt x="468" y="437"/>
                </a:cubicBezTo>
                <a:cubicBezTo>
                  <a:pt x="468" y="437"/>
                  <a:pt x="468" y="437"/>
                  <a:pt x="468" y="437"/>
                </a:cubicBezTo>
                <a:cubicBezTo>
                  <a:pt x="467" y="437"/>
                  <a:pt x="467" y="437"/>
                  <a:pt x="466" y="438"/>
                </a:cubicBezTo>
                <a:cubicBezTo>
                  <a:pt x="466" y="438"/>
                  <a:pt x="466" y="438"/>
                  <a:pt x="466" y="438"/>
                </a:cubicBezTo>
                <a:cubicBezTo>
                  <a:pt x="464" y="439"/>
                  <a:pt x="463" y="439"/>
                  <a:pt x="462" y="440"/>
                </a:cubicBezTo>
                <a:cubicBezTo>
                  <a:pt x="461" y="440"/>
                  <a:pt x="460" y="441"/>
                  <a:pt x="459" y="441"/>
                </a:cubicBezTo>
                <a:cubicBezTo>
                  <a:pt x="459" y="441"/>
                  <a:pt x="459" y="441"/>
                  <a:pt x="459" y="442"/>
                </a:cubicBezTo>
                <a:cubicBezTo>
                  <a:pt x="459" y="442"/>
                  <a:pt x="459" y="442"/>
                  <a:pt x="460" y="441"/>
                </a:cubicBezTo>
                <a:cubicBezTo>
                  <a:pt x="459" y="442"/>
                  <a:pt x="459" y="443"/>
                  <a:pt x="458" y="444"/>
                </a:cubicBezTo>
                <a:cubicBezTo>
                  <a:pt x="458" y="444"/>
                  <a:pt x="459" y="445"/>
                  <a:pt x="459" y="446"/>
                </a:cubicBezTo>
                <a:cubicBezTo>
                  <a:pt x="459" y="446"/>
                  <a:pt x="459" y="446"/>
                  <a:pt x="459" y="446"/>
                </a:cubicBezTo>
                <a:cubicBezTo>
                  <a:pt x="459" y="447"/>
                  <a:pt x="458" y="447"/>
                  <a:pt x="458" y="448"/>
                </a:cubicBezTo>
                <a:cubicBezTo>
                  <a:pt x="458" y="448"/>
                  <a:pt x="458" y="449"/>
                  <a:pt x="458" y="449"/>
                </a:cubicBezTo>
                <a:cubicBezTo>
                  <a:pt x="458" y="449"/>
                  <a:pt x="458" y="450"/>
                  <a:pt x="457" y="450"/>
                </a:cubicBezTo>
                <a:cubicBezTo>
                  <a:pt x="457" y="450"/>
                  <a:pt x="457" y="450"/>
                  <a:pt x="457" y="451"/>
                </a:cubicBezTo>
                <a:cubicBezTo>
                  <a:pt x="456" y="451"/>
                  <a:pt x="455" y="452"/>
                  <a:pt x="455" y="452"/>
                </a:cubicBezTo>
                <a:cubicBezTo>
                  <a:pt x="455" y="452"/>
                  <a:pt x="455" y="452"/>
                  <a:pt x="455" y="452"/>
                </a:cubicBezTo>
                <a:cubicBezTo>
                  <a:pt x="455" y="452"/>
                  <a:pt x="455" y="452"/>
                  <a:pt x="456" y="451"/>
                </a:cubicBezTo>
                <a:cubicBezTo>
                  <a:pt x="456" y="452"/>
                  <a:pt x="456" y="452"/>
                  <a:pt x="456" y="452"/>
                </a:cubicBezTo>
                <a:cubicBezTo>
                  <a:pt x="456" y="452"/>
                  <a:pt x="456" y="453"/>
                  <a:pt x="456" y="453"/>
                </a:cubicBezTo>
                <a:cubicBezTo>
                  <a:pt x="456" y="453"/>
                  <a:pt x="456" y="454"/>
                  <a:pt x="455" y="454"/>
                </a:cubicBezTo>
                <a:cubicBezTo>
                  <a:pt x="455" y="454"/>
                  <a:pt x="455" y="454"/>
                  <a:pt x="455" y="454"/>
                </a:cubicBezTo>
                <a:cubicBezTo>
                  <a:pt x="455" y="454"/>
                  <a:pt x="455" y="455"/>
                  <a:pt x="455" y="455"/>
                </a:cubicBezTo>
                <a:cubicBezTo>
                  <a:pt x="454" y="455"/>
                  <a:pt x="454" y="455"/>
                  <a:pt x="454" y="455"/>
                </a:cubicBezTo>
                <a:cubicBezTo>
                  <a:pt x="454" y="455"/>
                  <a:pt x="453" y="455"/>
                  <a:pt x="453" y="455"/>
                </a:cubicBezTo>
                <a:cubicBezTo>
                  <a:pt x="453" y="454"/>
                  <a:pt x="453" y="454"/>
                  <a:pt x="453" y="454"/>
                </a:cubicBezTo>
                <a:cubicBezTo>
                  <a:pt x="453" y="454"/>
                  <a:pt x="453" y="454"/>
                  <a:pt x="454" y="453"/>
                </a:cubicBezTo>
                <a:cubicBezTo>
                  <a:pt x="453" y="453"/>
                  <a:pt x="453" y="453"/>
                  <a:pt x="452" y="454"/>
                </a:cubicBezTo>
                <a:cubicBezTo>
                  <a:pt x="452" y="454"/>
                  <a:pt x="452" y="454"/>
                  <a:pt x="452" y="454"/>
                </a:cubicBezTo>
                <a:cubicBezTo>
                  <a:pt x="452" y="454"/>
                  <a:pt x="451" y="454"/>
                  <a:pt x="451" y="454"/>
                </a:cubicBezTo>
                <a:cubicBezTo>
                  <a:pt x="450" y="454"/>
                  <a:pt x="450" y="454"/>
                  <a:pt x="449" y="455"/>
                </a:cubicBezTo>
                <a:cubicBezTo>
                  <a:pt x="449" y="455"/>
                  <a:pt x="449" y="455"/>
                  <a:pt x="449" y="455"/>
                </a:cubicBezTo>
                <a:cubicBezTo>
                  <a:pt x="448" y="455"/>
                  <a:pt x="448" y="456"/>
                  <a:pt x="448" y="456"/>
                </a:cubicBezTo>
                <a:cubicBezTo>
                  <a:pt x="447" y="456"/>
                  <a:pt x="447" y="456"/>
                  <a:pt x="446" y="456"/>
                </a:cubicBezTo>
                <a:cubicBezTo>
                  <a:pt x="446" y="456"/>
                  <a:pt x="446" y="457"/>
                  <a:pt x="446" y="457"/>
                </a:cubicBezTo>
                <a:cubicBezTo>
                  <a:pt x="445" y="457"/>
                  <a:pt x="445" y="458"/>
                  <a:pt x="444" y="458"/>
                </a:cubicBezTo>
                <a:cubicBezTo>
                  <a:pt x="444" y="458"/>
                  <a:pt x="444" y="458"/>
                  <a:pt x="443" y="458"/>
                </a:cubicBezTo>
                <a:cubicBezTo>
                  <a:pt x="443" y="458"/>
                  <a:pt x="443" y="458"/>
                  <a:pt x="443" y="458"/>
                </a:cubicBezTo>
                <a:cubicBezTo>
                  <a:pt x="442" y="458"/>
                  <a:pt x="442" y="459"/>
                  <a:pt x="441" y="459"/>
                </a:cubicBezTo>
                <a:cubicBezTo>
                  <a:pt x="441" y="459"/>
                  <a:pt x="441" y="459"/>
                  <a:pt x="440" y="460"/>
                </a:cubicBezTo>
                <a:cubicBezTo>
                  <a:pt x="440" y="459"/>
                  <a:pt x="440" y="459"/>
                  <a:pt x="440" y="459"/>
                </a:cubicBezTo>
                <a:cubicBezTo>
                  <a:pt x="439" y="459"/>
                  <a:pt x="439" y="458"/>
                  <a:pt x="438" y="458"/>
                </a:cubicBezTo>
                <a:cubicBezTo>
                  <a:pt x="438" y="458"/>
                  <a:pt x="437" y="458"/>
                  <a:pt x="437" y="458"/>
                </a:cubicBezTo>
                <a:cubicBezTo>
                  <a:pt x="436" y="458"/>
                  <a:pt x="436" y="458"/>
                  <a:pt x="436" y="458"/>
                </a:cubicBezTo>
                <a:cubicBezTo>
                  <a:pt x="436" y="458"/>
                  <a:pt x="435" y="458"/>
                  <a:pt x="435" y="458"/>
                </a:cubicBezTo>
                <a:cubicBezTo>
                  <a:pt x="435" y="458"/>
                  <a:pt x="435" y="459"/>
                  <a:pt x="434" y="459"/>
                </a:cubicBezTo>
                <a:cubicBezTo>
                  <a:pt x="434" y="458"/>
                  <a:pt x="434" y="458"/>
                  <a:pt x="434" y="458"/>
                </a:cubicBezTo>
                <a:cubicBezTo>
                  <a:pt x="433" y="458"/>
                  <a:pt x="432" y="458"/>
                  <a:pt x="431" y="457"/>
                </a:cubicBezTo>
                <a:cubicBezTo>
                  <a:pt x="431" y="457"/>
                  <a:pt x="431" y="457"/>
                  <a:pt x="431" y="457"/>
                </a:cubicBezTo>
                <a:cubicBezTo>
                  <a:pt x="431" y="457"/>
                  <a:pt x="430" y="456"/>
                  <a:pt x="430" y="456"/>
                </a:cubicBezTo>
                <a:cubicBezTo>
                  <a:pt x="430" y="456"/>
                  <a:pt x="430" y="456"/>
                  <a:pt x="429" y="455"/>
                </a:cubicBezTo>
                <a:cubicBezTo>
                  <a:pt x="429" y="455"/>
                  <a:pt x="429" y="455"/>
                  <a:pt x="429" y="455"/>
                </a:cubicBezTo>
                <a:cubicBezTo>
                  <a:pt x="427" y="454"/>
                  <a:pt x="426" y="454"/>
                  <a:pt x="425" y="454"/>
                </a:cubicBezTo>
                <a:cubicBezTo>
                  <a:pt x="425" y="453"/>
                  <a:pt x="425" y="453"/>
                  <a:pt x="425" y="453"/>
                </a:cubicBezTo>
                <a:cubicBezTo>
                  <a:pt x="424" y="453"/>
                  <a:pt x="424" y="453"/>
                  <a:pt x="424" y="453"/>
                </a:cubicBezTo>
                <a:cubicBezTo>
                  <a:pt x="424" y="452"/>
                  <a:pt x="424" y="452"/>
                  <a:pt x="424" y="452"/>
                </a:cubicBezTo>
                <a:cubicBezTo>
                  <a:pt x="424" y="452"/>
                  <a:pt x="424" y="452"/>
                  <a:pt x="424" y="452"/>
                </a:cubicBezTo>
                <a:cubicBezTo>
                  <a:pt x="423" y="451"/>
                  <a:pt x="423" y="451"/>
                  <a:pt x="423" y="450"/>
                </a:cubicBezTo>
                <a:cubicBezTo>
                  <a:pt x="422" y="450"/>
                  <a:pt x="422" y="450"/>
                  <a:pt x="422" y="450"/>
                </a:cubicBezTo>
                <a:cubicBezTo>
                  <a:pt x="422" y="450"/>
                  <a:pt x="422" y="450"/>
                  <a:pt x="422" y="449"/>
                </a:cubicBezTo>
                <a:cubicBezTo>
                  <a:pt x="422" y="449"/>
                  <a:pt x="423" y="450"/>
                  <a:pt x="423" y="450"/>
                </a:cubicBezTo>
                <a:cubicBezTo>
                  <a:pt x="423" y="450"/>
                  <a:pt x="423" y="451"/>
                  <a:pt x="424" y="451"/>
                </a:cubicBezTo>
                <a:cubicBezTo>
                  <a:pt x="424" y="451"/>
                  <a:pt x="424" y="451"/>
                  <a:pt x="424" y="451"/>
                </a:cubicBezTo>
                <a:cubicBezTo>
                  <a:pt x="424" y="450"/>
                  <a:pt x="424" y="450"/>
                  <a:pt x="423" y="450"/>
                </a:cubicBezTo>
                <a:cubicBezTo>
                  <a:pt x="423" y="449"/>
                  <a:pt x="422" y="449"/>
                  <a:pt x="422" y="449"/>
                </a:cubicBezTo>
                <a:cubicBezTo>
                  <a:pt x="422" y="448"/>
                  <a:pt x="422" y="448"/>
                  <a:pt x="422" y="448"/>
                </a:cubicBezTo>
                <a:cubicBezTo>
                  <a:pt x="421" y="448"/>
                  <a:pt x="421" y="447"/>
                  <a:pt x="421" y="447"/>
                </a:cubicBezTo>
                <a:cubicBezTo>
                  <a:pt x="421" y="447"/>
                  <a:pt x="421" y="446"/>
                  <a:pt x="420" y="446"/>
                </a:cubicBezTo>
                <a:cubicBezTo>
                  <a:pt x="421" y="446"/>
                  <a:pt x="421" y="446"/>
                  <a:pt x="421" y="445"/>
                </a:cubicBezTo>
                <a:cubicBezTo>
                  <a:pt x="421" y="445"/>
                  <a:pt x="421" y="444"/>
                  <a:pt x="421" y="443"/>
                </a:cubicBezTo>
                <a:cubicBezTo>
                  <a:pt x="420" y="443"/>
                  <a:pt x="420" y="443"/>
                  <a:pt x="420" y="442"/>
                </a:cubicBezTo>
                <a:cubicBezTo>
                  <a:pt x="420" y="442"/>
                  <a:pt x="420" y="441"/>
                  <a:pt x="420" y="441"/>
                </a:cubicBezTo>
                <a:cubicBezTo>
                  <a:pt x="420" y="440"/>
                  <a:pt x="420" y="440"/>
                  <a:pt x="420" y="440"/>
                </a:cubicBezTo>
                <a:cubicBezTo>
                  <a:pt x="420" y="440"/>
                  <a:pt x="420" y="440"/>
                  <a:pt x="420" y="439"/>
                </a:cubicBezTo>
                <a:cubicBezTo>
                  <a:pt x="420" y="439"/>
                  <a:pt x="420" y="439"/>
                  <a:pt x="419" y="439"/>
                </a:cubicBezTo>
                <a:cubicBezTo>
                  <a:pt x="419" y="439"/>
                  <a:pt x="419" y="439"/>
                  <a:pt x="419" y="438"/>
                </a:cubicBezTo>
                <a:cubicBezTo>
                  <a:pt x="419" y="438"/>
                  <a:pt x="419" y="438"/>
                  <a:pt x="420" y="438"/>
                </a:cubicBezTo>
                <a:cubicBezTo>
                  <a:pt x="420" y="438"/>
                  <a:pt x="419" y="437"/>
                  <a:pt x="419" y="437"/>
                </a:cubicBezTo>
                <a:cubicBezTo>
                  <a:pt x="420" y="437"/>
                  <a:pt x="420" y="437"/>
                  <a:pt x="420" y="436"/>
                </a:cubicBezTo>
                <a:cubicBezTo>
                  <a:pt x="419" y="436"/>
                  <a:pt x="419" y="436"/>
                  <a:pt x="419" y="436"/>
                </a:cubicBezTo>
                <a:cubicBezTo>
                  <a:pt x="419" y="436"/>
                  <a:pt x="419" y="436"/>
                  <a:pt x="419" y="436"/>
                </a:cubicBezTo>
                <a:cubicBezTo>
                  <a:pt x="419" y="435"/>
                  <a:pt x="419" y="435"/>
                  <a:pt x="419" y="435"/>
                </a:cubicBezTo>
                <a:cubicBezTo>
                  <a:pt x="419" y="435"/>
                  <a:pt x="420" y="434"/>
                  <a:pt x="420" y="434"/>
                </a:cubicBezTo>
                <a:cubicBezTo>
                  <a:pt x="420" y="435"/>
                  <a:pt x="420" y="435"/>
                  <a:pt x="420" y="435"/>
                </a:cubicBezTo>
                <a:cubicBezTo>
                  <a:pt x="420" y="435"/>
                  <a:pt x="420" y="435"/>
                  <a:pt x="420" y="435"/>
                </a:cubicBezTo>
                <a:cubicBezTo>
                  <a:pt x="420" y="435"/>
                  <a:pt x="420" y="435"/>
                  <a:pt x="420" y="435"/>
                </a:cubicBezTo>
                <a:cubicBezTo>
                  <a:pt x="420" y="435"/>
                  <a:pt x="420" y="435"/>
                  <a:pt x="420" y="435"/>
                </a:cubicBezTo>
                <a:cubicBezTo>
                  <a:pt x="420" y="434"/>
                  <a:pt x="421" y="434"/>
                  <a:pt x="421" y="434"/>
                </a:cubicBezTo>
                <a:cubicBezTo>
                  <a:pt x="421" y="433"/>
                  <a:pt x="421" y="433"/>
                  <a:pt x="421" y="433"/>
                </a:cubicBezTo>
                <a:cubicBezTo>
                  <a:pt x="421" y="433"/>
                  <a:pt x="421" y="432"/>
                  <a:pt x="421" y="432"/>
                </a:cubicBezTo>
                <a:cubicBezTo>
                  <a:pt x="421" y="432"/>
                  <a:pt x="421" y="432"/>
                  <a:pt x="421" y="431"/>
                </a:cubicBezTo>
                <a:cubicBezTo>
                  <a:pt x="421" y="431"/>
                  <a:pt x="421" y="431"/>
                  <a:pt x="421" y="431"/>
                </a:cubicBezTo>
                <a:cubicBezTo>
                  <a:pt x="421" y="431"/>
                  <a:pt x="421" y="431"/>
                  <a:pt x="420" y="432"/>
                </a:cubicBezTo>
                <a:cubicBezTo>
                  <a:pt x="420" y="432"/>
                  <a:pt x="420" y="432"/>
                  <a:pt x="420" y="433"/>
                </a:cubicBezTo>
                <a:cubicBezTo>
                  <a:pt x="420" y="433"/>
                  <a:pt x="420" y="433"/>
                  <a:pt x="420" y="433"/>
                </a:cubicBezTo>
                <a:cubicBezTo>
                  <a:pt x="420" y="433"/>
                  <a:pt x="420" y="433"/>
                  <a:pt x="420" y="433"/>
                </a:cubicBezTo>
                <a:cubicBezTo>
                  <a:pt x="420" y="432"/>
                  <a:pt x="420" y="432"/>
                  <a:pt x="420" y="432"/>
                </a:cubicBezTo>
                <a:cubicBezTo>
                  <a:pt x="420" y="431"/>
                  <a:pt x="420" y="431"/>
                  <a:pt x="420" y="431"/>
                </a:cubicBezTo>
                <a:cubicBezTo>
                  <a:pt x="420" y="431"/>
                  <a:pt x="420" y="430"/>
                  <a:pt x="420" y="430"/>
                </a:cubicBezTo>
                <a:cubicBezTo>
                  <a:pt x="419" y="430"/>
                  <a:pt x="419" y="429"/>
                  <a:pt x="419" y="429"/>
                </a:cubicBezTo>
                <a:cubicBezTo>
                  <a:pt x="419" y="429"/>
                  <a:pt x="419" y="428"/>
                  <a:pt x="419" y="428"/>
                </a:cubicBezTo>
                <a:cubicBezTo>
                  <a:pt x="419" y="428"/>
                  <a:pt x="419" y="428"/>
                  <a:pt x="419" y="427"/>
                </a:cubicBezTo>
                <a:cubicBezTo>
                  <a:pt x="419" y="427"/>
                  <a:pt x="419" y="427"/>
                  <a:pt x="419" y="426"/>
                </a:cubicBezTo>
                <a:cubicBezTo>
                  <a:pt x="419" y="426"/>
                  <a:pt x="419" y="426"/>
                  <a:pt x="419" y="425"/>
                </a:cubicBezTo>
                <a:cubicBezTo>
                  <a:pt x="419" y="425"/>
                  <a:pt x="419" y="424"/>
                  <a:pt x="419" y="424"/>
                </a:cubicBezTo>
                <a:cubicBezTo>
                  <a:pt x="419" y="424"/>
                  <a:pt x="419" y="424"/>
                  <a:pt x="419" y="424"/>
                </a:cubicBezTo>
                <a:cubicBezTo>
                  <a:pt x="420" y="423"/>
                  <a:pt x="420" y="423"/>
                  <a:pt x="420" y="423"/>
                </a:cubicBezTo>
                <a:cubicBezTo>
                  <a:pt x="420" y="423"/>
                  <a:pt x="420" y="422"/>
                  <a:pt x="419" y="422"/>
                </a:cubicBezTo>
                <a:cubicBezTo>
                  <a:pt x="420" y="422"/>
                  <a:pt x="420" y="422"/>
                  <a:pt x="420" y="421"/>
                </a:cubicBezTo>
                <a:cubicBezTo>
                  <a:pt x="420" y="421"/>
                  <a:pt x="420" y="421"/>
                  <a:pt x="421" y="421"/>
                </a:cubicBezTo>
                <a:cubicBezTo>
                  <a:pt x="421" y="421"/>
                  <a:pt x="421" y="421"/>
                  <a:pt x="421" y="421"/>
                </a:cubicBezTo>
                <a:cubicBezTo>
                  <a:pt x="421" y="421"/>
                  <a:pt x="421" y="420"/>
                  <a:pt x="421" y="420"/>
                </a:cubicBezTo>
                <a:cubicBezTo>
                  <a:pt x="421" y="420"/>
                  <a:pt x="421" y="420"/>
                  <a:pt x="422" y="420"/>
                </a:cubicBezTo>
                <a:cubicBezTo>
                  <a:pt x="422" y="420"/>
                  <a:pt x="422" y="420"/>
                  <a:pt x="423" y="419"/>
                </a:cubicBezTo>
                <a:cubicBezTo>
                  <a:pt x="422" y="419"/>
                  <a:pt x="422" y="419"/>
                  <a:pt x="422" y="419"/>
                </a:cubicBezTo>
                <a:cubicBezTo>
                  <a:pt x="422" y="419"/>
                  <a:pt x="422" y="419"/>
                  <a:pt x="423" y="419"/>
                </a:cubicBezTo>
                <a:cubicBezTo>
                  <a:pt x="423" y="419"/>
                  <a:pt x="423" y="419"/>
                  <a:pt x="423" y="419"/>
                </a:cubicBezTo>
                <a:cubicBezTo>
                  <a:pt x="423" y="419"/>
                  <a:pt x="423" y="418"/>
                  <a:pt x="424" y="418"/>
                </a:cubicBezTo>
                <a:cubicBezTo>
                  <a:pt x="424" y="418"/>
                  <a:pt x="424" y="418"/>
                  <a:pt x="424" y="418"/>
                </a:cubicBezTo>
                <a:cubicBezTo>
                  <a:pt x="424" y="419"/>
                  <a:pt x="424" y="419"/>
                  <a:pt x="424" y="419"/>
                </a:cubicBezTo>
                <a:cubicBezTo>
                  <a:pt x="424" y="419"/>
                  <a:pt x="424" y="419"/>
                  <a:pt x="424" y="419"/>
                </a:cubicBezTo>
                <a:cubicBezTo>
                  <a:pt x="425" y="419"/>
                  <a:pt x="425" y="418"/>
                  <a:pt x="425" y="418"/>
                </a:cubicBezTo>
                <a:cubicBezTo>
                  <a:pt x="425" y="418"/>
                  <a:pt x="426" y="418"/>
                  <a:pt x="426" y="418"/>
                </a:cubicBezTo>
                <a:cubicBezTo>
                  <a:pt x="426" y="418"/>
                  <a:pt x="427" y="417"/>
                  <a:pt x="428" y="417"/>
                </a:cubicBezTo>
                <a:cubicBezTo>
                  <a:pt x="428" y="416"/>
                  <a:pt x="429" y="416"/>
                  <a:pt x="429" y="415"/>
                </a:cubicBezTo>
                <a:cubicBezTo>
                  <a:pt x="429" y="415"/>
                  <a:pt x="429" y="415"/>
                  <a:pt x="430" y="415"/>
                </a:cubicBezTo>
                <a:cubicBezTo>
                  <a:pt x="430" y="415"/>
                  <a:pt x="430" y="415"/>
                  <a:pt x="430" y="414"/>
                </a:cubicBezTo>
                <a:cubicBezTo>
                  <a:pt x="430" y="414"/>
                  <a:pt x="430" y="414"/>
                  <a:pt x="430" y="414"/>
                </a:cubicBezTo>
                <a:cubicBezTo>
                  <a:pt x="430" y="413"/>
                  <a:pt x="430" y="413"/>
                  <a:pt x="430" y="413"/>
                </a:cubicBezTo>
                <a:cubicBezTo>
                  <a:pt x="429" y="413"/>
                  <a:pt x="429" y="412"/>
                  <a:pt x="429" y="412"/>
                </a:cubicBezTo>
                <a:cubicBezTo>
                  <a:pt x="429" y="412"/>
                  <a:pt x="429" y="412"/>
                  <a:pt x="429" y="412"/>
                </a:cubicBezTo>
                <a:cubicBezTo>
                  <a:pt x="429" y="412"/>
                  <a:pt x="430" y="412"/>
                  <a:pt x="430" y="412"/>
                </a:cubicBezTo>
                <a:cubicBezTo>
                  <a:pt x="430" y="412"/>
                  <a:pt x="430" y="412"/>
                  <a:pt x="431" y="411"/>
                </a:cubicBezTo>
                <a:cubicBezTo>
                  <a:pt x="431" y="411"/>
                  <a:pt x="431" y="411"/>
                  <a:pt x="431" y="411"/>
                </a:cubicBezTo>
                <a:cubicBezTo>
                  <a:pt x="431" y="411"/>
                  <a:pt x="431" y="411"/>
                  <a:pt x="431" y="412"/>
                </a:cubicBezTo>
                <a:cubicBezTo>
                  <a:pt x="431" y="412"/>
                  <a:pt x="431" y="412"/>
                  <a:pt x="431" y="412"/>
                </a:cubicBezTo>
                <a:cubicBezTo>
                  <a:pt x="431" y="412"/>
                  <a:pt x="431" y="413"/>
                  <a:pt x="431" y="413"/>
                </a:cubicBezTo>
                <a:cubicBezTo>
                  <a:pt x="431" y="413"/>
                  <a:pt x="431" y="413"/>
                  <a:pt x="431" y="413"/>
                </a:cubicBezTo>
                <a:cubicBezTo>
                  <a:pt x="432" y="413"/>
                  <a:pt x="432" y="413"/>
                  <a:pt x="432" y="413"/>
                </a:cubicBezTo>
                <a:cubicBezTo>
                  <a:pt x="432" y="413"/>
                  <a:pt x="433" y="412"/>
                  <a:pt x="433" y="412"/>
                </a:cubicBezTo>
                <a:cubicBezTo>
                  <a:pt x="433" y="412"/>
                  <a:pt x="433" y="412"/>
                  <a:pt x="434" y="412"/>
                </a:cubicBezTo>
                <a:cubicBezTo>
                  <a:pt x="434" y="411"/>
                  <a:pt x="434" y="411"/>
                  <a:pt x="434" y="411"/>
                </a:cubicBezTo>
                <a:cubicBezTo>
                  <a:pt x="435" y="411"/>
                  <a:pt x="435" y="411"/>
                  <a:pt x="436" y="410"/>
                </a:cubicBezTo>
                <a:cubicBezTo>
                  <a:pt x="436" y="410"/>
                  <a:pt x="437" y="410"/>
                  <a:pt x="437" y="410"/>
                </a:cubicBezTo>
                <a:cubicBezTo>
                  <a:pt x="438" y="410"/>
                  <a:pt x="439" y="410"/>
                  <a:pt x="440" y="410"/>
                </a:cubicBezTo>
                <a:cubicBezTo>
                  <a:pt x="440" y="410"/>
                  <a:pt x="440" y="410"/>
                  <a:pt x="440" y="410"/>
                </a:cubicBezTo>
                <a:cubicBezTo>
                  <a:pt x="441" y="410"/>
                  <a:pt x="442" y="409"/>
                  <a:pt x="443" y="409"/>
                </a:cubicBezTo>
                <a:cubicBezTo>
                  <a:pt x="443" y="409"/>
                  <a:pt x="444" y="409"/>
                  <a:pt x="444" y="409"/>
                </a:cubicBezTo>
                <a:cubicBezTo>
                  <a:pt x="444" y="409"/>
                  <a:pt x="444" y="409"/>
                  <a:pt x="444" y="408"/>
                </a:cubicBezTo>
                <a:cubicBezTo>
                  <a:pt x="444" y="408"/>
                  <a:pt x="444" y="408"/>
                  <a:pt x="444" y="408"/>
                </a:cubicBezTo>
                <a:cubicBezTo>
                  <a:pt x="444" y="408"/>
                  <a:pt x="444" y="408"/>
                  <a:pt x="444" y="408"/>
                </a:cubicBezTo>
                <a:cubicBezTo>
                  <a:pt x="445" y="408"/>
                  <a:pt x="445" y="408"/>
                  <a:pt x="445" y="408"/>
                </a:cubicBezTo>
                <a:cubicBezTo>
                  <a:pt x="445" y="408"/>
                  <a:pt x="445" y="408"/>
                  <a:pt x="445" y="408"/>
                </a:cubicBezTo>
                <a:cubicBezTo>
                  <a:pt x="445" y="408"/>
                  <a:pt x="445" y="408"/>
                  <a:pt x="445" y="408"/>
                </a:cubicBezTo>
                <a:cubicBezTo>
                  <a:pt x="446" y="408"/>
                  <a:pt x="446" y="408"/>
                  <a:pt x="446" y="408"/>
                </a:cubicBezTo>
                <a:cubicBezTo>
                  <a:pt x="446" y="408"/>
                  <a:pt x="446" y="408"/>
                  <a:pt x="446" y="408"/>
                </a:cubicBezTo>
                <a:cubicBezTo>
                  <a:pt x="446" y="408"/>
                  <a:pt x="447" y="408"/>
                  <a:pt x="447" y="408"/>
                </a:cubicBezTo>
                <a:cubicBezTo>
                  <a:pt x="447" y="408"/>
                  <a:pt x="447" y="408"/>
                  <a:pt x="447" y="408"/>
                </a:cubicBezTo>
                <a:cubicBezTo>
                  <a:pt x="447" y="408"/>
                  <a:pt x="448" y="408"/>
                  <a:pt x="448" y="408"/>
                </a:cubicBezTo>
                <a:cubicBezTo>
                  <a:pt x="448" y="408"/>
                  <a:pt x="448" y="408"/>
                  <a:pt x="448" y="408"/>
                </a:cubicBezTo>
                <a:cubicBezTo>
                  <a:pt x="448" y="409"/>
                  <a:pt x="448" y="409"/>
                  <a:pt x="448" y="409"/>
                </a:cubicBezTo>
                <a:cubicBezTo>
                  <a:pt x="448" y="409"/>
                  <a:pt x="448" y="409"/>
                  <a:pt x="448" y="409"/>
                </a:cubicBezTo>
                <a:cubicBezTo>
                  <a:pt x="448" y="409"/>
                  <a:pt x="448" y="409"/>
                  <a:pt x="448" y="409"/>
                </a:cubicBezTo>
                <a:cubicBezTo>
                  <a:pt x="448" y="409"/>
                  <a:pt x="449" y="409"/>
                  <a:pt x="449" y="409"/>
                </a:cubicBezTo>
                <a:cubicBezTo>
                  <a:pt x="449" y="409"/>
                  <a:pt x="450" y="409"/>
                  <a:pt x="450" y="409"/>
                </a:cubicBezTo>
                <a:cubicBezTo>
                  <a:pt x="450" y="409"/>
                  <a:pt x="451" y="409"/>
                  <a:pt x="451" y="409"/>
                </a:cubicBezTo>
                <a:cubicBezTo>
                  <a:pt x="451" y="409"/>
                  <a:pt x="451" y="409"/>
                  <a:pt x="451" y="409"/>
                </a:cubicBezTo>
                <a:cubicBezTo>
                  <a:pt x="452" y="408"/>
                  <a:pt x="452" y="408"/>
                  <a:pt x="452" y="408"/>
                </a:cubicBezTo>
                <a:cubicBezTo>
                  <a:pt x="452" y="408"/>
                  <a:pt x="453" y="408"/>
                  <a:pt x="453" y="408"/>
                </a:cubicBezTo>
                <a:cubicBezTo>
                  <a:pt x="453" y="408"/>
                  <a:pt x="453" y="408"/>
                  <a:pt x="454" y="408"/>
                </a:cubicBezTo>
                <a:cubicBezTo>
                  <a:pt x="454" y="408"/>
                  <a:pt x="454" y="408"/>
                  <a:pt x="454" y="408"/>
                </a:cubicBezTo>
                <a:cubicBezTo>
                  <a:pt x="454" y="408"/>
                  <a:pt x="454" y="407"/>
                  <a:pt x="454" y="407"/>
                </a:cubicBezTo>
                <a:cubicBezTo>
                  <a:pt x="454" y="407"/>
                  <a:pt x="454" y="407"/>
                  <a:pt x="453" y="407"/>
                </a:cubicBezTo>
                <a:cubicBezTo>
                  <a:pt x="454" y="406"/>
                  <a:pt x="454" y="406"/>
                  <a:pt x="454" y="406"/>
                </a:cubicBezTo>
                <a:cubicBezTo>
                  <a:pt x="455" y="406"/>
                  <a:pt x="455" y="407"/>
                  <a:pt x="455" y="407"/>
                </a:cubicBezTo>
                <a:cubicBezTo>
                  <a:pt x="456" y="407"/>
                  <a:pt x="456" y="407"/>
                  <a:pt x="456" y="407"/>
                </a:cubicBezTo>
                <a:cubicBezTo>
                  <a:pt x="456" y="407"/>
                  <a:pt x="457" y="407"/>
                  <a:pt x="457" y="407"/>
                </a:cubicBezTo>
                <a:cubicBezTo>
                  <a:pt x="457" y="407"/>
                  <a:pt x="457" y="407"/>
                  <a:pt x="457" y="407"/>
                </a:cubicBezTo>
                <a:cubicBezTo>
                  <a:pt x="457" y="407"/>
                  <a:pt x="458" y="407"/>
                  <a:pt x="458" y="407"/>
                </a:cubicBezTo>
                <a:cubicBezTo>
                  <a:pt x="458" y="407"/>
                  <a:pt x="458" y="407"/>
                  <a:pt x="458" y="408"/>
                </a:cubicBezTo>
                <a:cubicBezTo>
                  <a:pt x="458" y="408"/>
                  <a:pt x="458" y="407"/>
                  <a:pt x="458" y="407"/>
                </a:cubicBezTo>
                <a:cubicBezTo>
                  <a:pt x="459" y="407"/>
                  <a:pt x="459" y="407"/>
                  <a:pt x="459" y="407"/>
                </a:cubicBezTo>
                <a:cubicBezTo>
                  <a:pt x="459" y="407"/>
                  <a:pt x="459" y="407"/>
                  <a:pt x="459" y="407"/>
                </a:cubicBezTo>
                <a:cubicBezTo>
                  <a:pt x="459" y="406"/>
                  <a:pt x="458" y="406"/>
                  <a:pt x="458" y="406"/>
                </a:cubicBezTo>
                <a:cubicBezTo>
                  <a:pt x="457" y="406"/>
                  <a:pt x="456" y="406"/>
                  <a:pt x="456" y="406"/>
                </a:cubicBezTo>
                <a:cubicBezTo>
                  <a:pt x="456" y="406"/>
                  <a:pt x="456" y="406"/>
                  <a:pt x="455" y="406"/>
                </a:cubicBezTo>
                <a:cubicBezTo>
                  <a:pt x="455" y="406"/>
                  <a:pt x="455" y="405"/>
                  <a:pt x="455" y="405"/>
                </a:cubicBezTo>
                <a:cubicBezTo>
                  <a:pt x="456" y="405"/>
                  <a:pt x="456" y="405"/>
                  <a:pt x="457" y="404"/>
                </a:cubicBezTo>
                <a:cubicBezTo>
                  <a:pt x="457" y="404"/>
                  <a:pt x="457" y="404"/>
                  <a:pt x="457" y="404"/>
                </a:cubicBezTo>
                <a:cubicBezTo>
                  <a:pt x="457" y="404"/>
                  <a:pt x="456" y="404"/>
                  <a:pt x="456" y="404"/>
                </a:cubicBezTo>
                <a:cubicBezTo>
                  <a:pt x="456" y="404"/>
                  <a:pt x="456" y="404"/>
                  <a:pt x="456" y="404"/>
                </a:cubicBezTo>
                <a:cubicBezTo>
                  <a:pt x="455" y="404"/>
                  <a:pt x="455" y="404"/>
                  <a:pt x="455" y="404"/>
                </a:cubicBezTo>
                <a:cubicBezTo>
                  <a:pt x="455" y="404"/>
                  <a:pt x="455" y="404"/>
                  <a:pt x="455" y="404"/>
                </a:cubicBezTo>
                <a:cubicBezTo>
                  <a:pt x="455" y="405"/>
                  <a:pt x="454" y="405"/>
                  <a:pt x="454" y="405"/>
                </a:cubicBezTo>
                <a:cubicBezTo>
                  <a:pt x="454" y="405"/>
                  <a:pt x="454" y="404"/>
                  <a:pt x="454" y="404"/>
                </a:cubicBezTo>
                <a:cubicBezTo>
                  <a:pt x="454" y="404"/>
                  <a:pt x="454" y="404"/>
                  <a:pt x="455" y="403"/>
                </a:cubicBezTo>
                <a:cubicBezTo>
                  <a:pt x="455" y="403"/>
                  <a:pt x="456" y="403"/>
                  <a:pt x="456" y="402"/>
                </a:cubicBezTo>
                <a:cubicBezTo>
                  <a:pt x="456" y="402"/>
                  <a:pt x="457" y="402"/>
                  <a:pt x="457" y="402"/>
                </a:cubicBezTo>
                <a:cubicBezTo>
                  <a:pt x="458" y="401"/>
                  <a:pt x="459" y="401"/>
                  <a:pt x="460" y="400"/>
                </a:cubicBezTo>
                <a:cubicBezTo>
                  <a:pt x="460" y="400"/>
                  <a:pt x="461" y="400"/>
                  <a:pt x="461" y="400"/>
                </a:cubicBezTo>
                <a:cubicBezTo>
                  <a:pt x="461" y="400"/>
                  <a:pt x="461" y="400"/>
                  <a:pt x="461" y="400"/>
                </a:cubicBezTo>
                <a:cubicBezTo>
                  <a:pt x="462" y="400"/>
                  <a:pt x="462" y="400"/>
                  <a:pt x="462" y="400"/>
                </a:cubicBezTo>
                <a:cubicBezTo>
                  <a:pt x="462" y="400"/>
                  <a:pt x="462" y="399"/>
                  <a:pt x="463" y="399"/>
                </a:cubicBezTo>
                <a:cubicBezTo>
                  <a:pt x="463" y="399"/>
                  <a:pt x="463" y="399"/>
                  <a:pt x="463" y="398"/>
                </a:cubicBezTo>
                <a:cubicBezTo>
                  <a:pt x="463" y="398"/>
                  <a:pt x="463" y="398"/>
                  <a:pt x="463" y="398"/>
                </a:cubicBezTo>
                <a:cubicBezTo>
                  <a:pt x="463" y="398"/>
                  <a:pt x="463" y="399"/>
                  <a:pt x="463" y="399"/>
                </a:cubicBezTo>
                <a:cubicBezTo>
                  <a:pt x="463" y="399"/>
                  <a:pt x="464" y="399"/>
                  <a:pt x="464" y="399"/>
                </a:cubicBezTo>
                <a:cubicBezTo>
                  <a:pt x="464" y="399"/>
                  <a:pt x="464" y="399"/>
                  <a:pt x="465" y="399"/>
                </a:cubicBezTo>
                <a:cubicBezTo>
                  <a:pt x="465" y="399"/>
                  <a:pt x="465" y="399"/>
                  <a:pt x="465" y="399"/>
                </a:cubicBezTo>
                <a:cubicBezTo>
                  <a:pt x="466" y="399"/>
                  <a:pt x="466" y="399"/>
                  <a:pt x="467" y="399"/>
                </a:cubicBezTo>
                <a:cubicBezTo>
                  <a:pt x="467" y="399"/>
                  <a:pt x="467" y="398"/>
                  <a:pt x="468" y="398"/>
                </a:cubicBezTo>
                <a:cubicBezTo>
                  <a:pt x="468" y="398"/>
                  <a:pt x="468" y="398"/>
                  <a:pt x="468" y="398"/>
                </a:cubicBezTo>
                <a:cubicBezTo>
                  <a:pt x="469" y="398"/>
                  <a:pt x="469" y="398"/>
                  <a:pt x="470" y="398"/>
                </a:cubicBezTo>
                <a:cubicBezTo>
                  <a:pt x="470" y="398"/>
                  <a:pt x="470" y="398"/>
                  <a:pt x="470" y="398"/>
                </a:cubicBezTo>
                <a:cubicBezTo>
                  <a:pt x="471" y="398"/>
                  <a:pt x="471" y="397"/>
                  <a:pt x="471" y="397"/>
                </a:cubicBezTo>
                <a:cubicBezTo>
                  <a:pt x="472" y="397"/>
                  <a:pt x="472" y="397"/>
                  <a:pt x="472" y="397"/>
                </a:cubicBezTo>
                <a:cubicBezTo>
                  <a:pt x="472" y="397"/>
                  <a:pt x="473" y="397"/>
                  <a:pt x="473" y="397"/>
                </a:cubicBezTo>
                <a:cubicBezTo>
                  <a:pt x="472" y="397"/>
                  <a:pt x="472" y="397"/>
                  <a:pt x="472" y="397"/>
                </a:cubicBezTo>
                <a:cubicBezTo>
                  <a:pt x="472" y="397"/>
                  <a:pt x="471" y="397"/>
                  <a:pt x="471" y="397"/>
                </a:cubicBezTo>
                <a:cubicBezTo>
                  <a:pt x="471" y="398"/>
                  <a:pt x="471" y="398"/>
                  <a:pt x="471" y="398"/>
                </a:cubicBezTo>
                <a:cubicBezTo>
                  <a:pt x="471" y="398"/>
                  <a:pt x="472" y="398"/>
                  <a:pt x="472" y="397"/>
                </a:cubicBezTo>
                <a:cubicBezTo>
                  <a:pt x="473" y="397"/>
                  <a:pt x="473" y="397"/>
                  <a:pt x="473" y="397"/>
                </a:cubicBezTo>
                <a:cubicBezTo>
                  <a:pt x="474" y="397"/>
                  <a:pt x="474" y="397"/>
                  <a:pt x="474" y="397"/>
                </a:cubicBezTo>
                <a:cubicBezTo>
                  <a:pt x="475" y="397"/>
                  <a:pt x="475" y="397"/>
                  <a:pt x="475" y="397"/>
                </a:cubicBezTo>
                <a:cubicBezTo>
                  <a:pt x="475" y="397"/>
                  <a:pt x="475" y="397"/>
                  <a:pt x="475" y="397"/>
                </a:cubicBezTo>
                <a:cubicBezTo>
                  <a:pt x="475" y="397"/>
                  <a:pt x="475" y="397"/>
                  <a:pt x="475" y="397"/>
                </a:cubicBezTo>
                <a:cubicBezTo>
                  <a:pt x="475" y="397"/>
                  <a:pt x="475" y="397"/>
                  <a:pt x="475" y="397"/>
                </a:cubicBezTo>
                <a:cubicBezTo>
                  <a:pt x="475" y="397"/>
                  <a:pt x="475" y="397"/>
                  <a:pt x="475" y="397"/>
                </a:cubicBezTo>
                <a:cubicBezTo>
                  <a:pt x="476" y="397"/>
                  <a:pt x="476" y="397"/>
                  <a:pt x="476" y="397"/>
                </a:cubicBezTo>
                <a:cubicBezTo>
                  <a:pt x="476" y="397"/>
                  <a:pt x="476" y="397"/>
                  <a:pt x="476" y="398"/>
                </a:cubicBezTo>
                <a:cubicBezTo>
                  <a:pt x="476" y="397"/>
                  <a:pt x="476" y="397"/>
                  <a:pt x="476" y="397"/>
                </a:cubicBezTo>
                <a:cubicBezTo>
                  <a:pt x="476" y="397"/>
                  <a:pt x="475" y="398"/>
                  <a:pt x="475" y="398"/>
                </a:cubicBezTo>
                <a:cubicBezTo>
                  <a:pt x="476" y="398"/>
                  <a:pt x="476" y="398"/>
                  <a:pt x="477" y="398"/>
                </a:cubicBezTo>
                <a:cubicBezTo>
                  <a:pt x="477" y="398"/>
                  <a:pt x="477" y="398"/>
                  <a:pt x="477" y="398"/>
                </a:cubicBezTo>
                <a:cubicBezTo>
                  <a:pt x="478" y="398"/>
                  <a:pt x="478" y="398"/>
                  <a:pt x="478" y="398"/>
                </a:cubicBezTo>
                <a:cubicBezTo>
                  <a:pt x="478" y="398"/>
                  <a:pt x="478" y="399"/>
                  <a:pt x="478" y="399"/>
                </a:cubicBezTo>
                <a:cubicBezTo>
                  <a:pt x="478" y="399"/>
                  <a:pt x="477" y="398"/>
                  <a:pt x="477" y="398"/>
                </a:cubicBezTo>
                <a:cubicBezTo>
                  <a:pt x="477" y="398"/>
                  <a:pt x="477" y="399"/>
                  <a:pt x="477" y="399"/>
                </a:cubicBezTo>
                <a:cubicBezTo>
                  <a:pt x="477" y="399"/>
                  <a:pt x="478" y="399"/>
                  <a:pt x="478" y="399"/>
                </a:cubicBezTo>
                <a:cubicBezTo>
                  <a:pt x="478" y="399"/>
                  <a:pt x="479" y="399"/>
                  <a:pt x="479" y="398"/>
                </a:cubicBezTo>
                <a:cubicBezTo>
                  <a:pt x="479" y="398"/>
                  <a:pt x="480" y="398"/>
                  <a:pt x="480" y="398"/>
                </a:cubicBezTo>
                <a:cubicBezTo>
                  <a:pt x="480" y="398"/>
                  <a:pt x="481" y="397"/>
                  <a:pt x="481" y="397"/>
                </a:cubicBezTo>
                <a:cubicBezTo>
                  <a:pt x="481" y="397"/>
                  <a:pt x="481" y="397"/>
                  <a:pt x="481" y="397"/>
                </a:cubicBezTo>
                <a:cubicBezTo>
                  <a:pt x="482" y="397"/>
                  <a:pt x="482" y="397"/>
                  <a:pt x="482" y="397"/>
                </a:cubicBezTo>
                <a:cubicBezTo>
                  <a:pt x="482" y="397"/>
                  <a:pt x="482" y="396"/>
                  <a:pt x="482" y="396"/>
                </a:cubicBezTo>
                <a:cubicBezTo>
                  <a:pt x="482" y="396"/>
                  <a:pt x="482" y="396"/>
                  <a:pt x="482" y="396"/>
                </a:cubicBezTo>
                <a:cubicBezTo>
                  <a:pt x="482" y="396"/>
                  <a:pt x="483" y="396"/>
                  <a:pt x="483" y="395"/>
                </a:cubicBezTo>
                <a:cubicBezTo>
                  <a:pt x="483" y="395"/>
                  <a:pt x="484" y="396"/>
                  <a:pt x="484" y="396"/>
                </a:cubicBezTo>
                <a:cubicBezTo>
                  <a:pt x="484" y="396"/>
                  <a:pt x="485" y="396"/>
                  <a:pt x="485" y="396"/>
                </a:cubicBezTo>
                <a:cubicBezTo>
                  <a:pt x="485" y="396"/>
                  <a:pt x="486" y="396"/>
                  <a:pt x="486" y="397"/>
                </a:cubicBezTo>
                <a:cubicBezTo>
                  <a:pt x="486" y="397"/>
                  <a:pt x="486" y="397"/>
                  <a:pt x="487" y="397"/>
                </a:cubicBezTo>
                <a:cubicBezTo>
                  <a:pt x="487" y="397"/>
                  <a:pt x="487" y="397"/>
                  <a:pt x="487" y="397"/>
                </a:cubicBezTo>
                <a:cubicBezTo>
                  <a:pt x="487" y="397"/>
                  <a:pt x="487" y="397"/>
                  <a:pt x="487" y="398"/>
                </a:cubicBezTo>
                <a:cubicBezTo>
                  <a:pt x="488" y="398"/>
                  <a:pt x="488" y="398"/>
                  <a:pt x="488" y="398"/>
                </a:cubicBezTo>
                <a:cubicBezTo>
                  <a:pt x="488" y="398"/>
                  <a:pt x="488" y="398"/>
                  <a:pt x="489" y="398"/>
                </a:cubicBezTo>
                <a:cubicBezTo>
                  <a:pt x="489" y="398"/>
                  <a:pt x="489" y="398"/>
                  <a:pt x="489" y="398"/>
                </a:cubicBezTo>
                <a:cubicBezTo>
                  <a:pt x="489" y="398"/>
                  <a:pt x="489" y="398"/>
                  <a:pt x="489" y="398"/>
                </a:cubicBezTo>
                <a:cubicBezTo>
                  <a:pt x="489" y="398"/>
                  <a:pt x="490" y="398"/>
                  <a:pt x="490" y="398"/>
                </a:cubicBezTo>
                <a:cubicBezTo>
                  <a:pt x="490" y="398"/>
                  <a:pt x="491" y="399"/>
                  <a:pt x="491" y="399"/>
                </a:cubicBezTo>
                <a:cubicBezTo>
                  <a:pt x="491" y="399"/>
                  <a:pt x="491" y="399"/>
                  <a:pt x="491" y="400"/>
                </a:cubicBezTo>
                <a:cubicBezTo>
                  <a:pt x="491" y="400"/>
                  <a:pt x="491" y="401"/>
                  <a:pt x="491" y="402"/>
                </a:cubicBezTo>
                <a:cubicBezTo>
                  <a:pt x="491" y="402"/>
                  <a:pt x="490" y="403"/>
                  <a:pt x="490" y="403"/>
                </a:cubicBezTo>
                <a:cubicBezTo>
                  <a:pt x="490" y="403"/>
                  <a:pt x="490" y="403"/>
                  <a:pt x="490" y="404"/>
                </a:cubicBezTo>
                <a:cubicBezTo>
                  <a:pt x="491" y="404"/>
                  <a:pt x="491" y="404"/>
                  <a:pt x="491" y="404"/>
                </a:cubicBezTo>
                <a:cubicBezTo>
                  <a:pt x="491" y="404"/>
                  <a:pt x="491" y="404"/>
                  <a:pt x="491" y="404"/>
                </a:cubicBezTo>
                <a:cubicBezTo>
                  <a:pt x="492" y="404"/>
                  <a:pt x="492" y="403"/>
                  <a:pt x="492" y="403"/>
                </a:cubicBezTo>
                <a:cubicBezTo>
                  <a:pt x="492" y="403"/>
                  <a:pt x="492" y="403"/>
                  <a:pt x="492" y="403"/>
                </a:cubicBezTo>
                <a:cubicBezTo>
                  <a:pt x="492" y="403"/>
                  <a:pt x="492" y="403"/>
                  <a:pt x="492" y="403"/>
                </a:cubicBezTo>
                <a:cubicBezTo>
                  <a:pt x="492" y="403"/>
                  <a:pt x="492" y="403"/>
                  <a:pt x="493" y="403"/>
                </a:cubicBezTo>
                <a:cubicBezTo>
                  <a:pt x="493" y="403"/>
                  <a:pt x="493" y="403"/>
                  <a:pt x="493" y="403"/>
                </a:cubicBezTo>
                <a:cubicBezTo>
                  <a:pt x="493" y="404"/>
                  <a:pt x="492" y="404"/>
                  <a:pt x="492" y="405"/>
                </a:cubicBezTo>
                <a:cubicBezTo>
                  <a:pt x="492" y="405"/>
                  <a:pt x="492" y="405"/>
                  <a:pt x="492" y="405"/>
                </a:cubicBezTo>
                <a:cubicBezTo>
                  <a:pt x="492" y="405"/>
                  <a:pt x="493" y="406"/>
                  <a:pt x="493" y="406"/>
                </a:cubicBezTo>
                <a:cubicBezTo>
                  <a:pt x="493" y="406"/>
                  <a:pt x="493" y="406"/>
                  <a:pt x="493" y="406"/>
                </a:cubicBezTo>
                <a:cubicBezTo>
                  <a:pt x="494" y="406"/>
                  <a:pt x="494" y="406"/>
                  <a:pt x="494" y="407"/>
                </a:cubicBezTo>
                <a:cubicBezTo>
                  <a:pt x="494" y="407"/>
                  <a:pt x="494" y="406"/>
                  <a:pt x="494" y="406"/>
                </a:cubicBezTo>
                <a:cubicBezTo>
                  <a:pt x="494" y="407"/>
                  <a:pt x="494" y="407"/>
                  <a:pt x="495" y="407"/>
                </a:cubicBezTo>
                <a:cubicBezTo>
                  <a:pt x="495" y="407"/>
                  <a:pt x="495" y="407"/>
                  <a:pt x="495" y="407"/>
                </a:cubicBezTo>
                <a:cubicBezTo>
                  <a:pt x="495" y="406"/>
                  <a:pt x="495" y="406"/>
                  <a:pt x="495" y="406"/>
                </a:cubicBezTo>
                <a:cubicBezTo>
                  <a:pt x="495" y="406"/>
                  <a:pt x="495" y="406"/>
                  <a:pt x="495" y="406"/>
                </a:cubicBezTo>
                <a:cubicBezTo>
                  <a:pt x="495" y="406"/>
                  <a:pt x="496" y="406"/>
                  <a:pt x="496" y="406"/>
                </a:cubicBezTo>
                <a:cubicBezTo>
                  <a:pt x="496" y="406"/>
                  <a:pt x="496" y="406"/>
                  <a:pt x="495" y="407"/>
                </a:cubicBezTo>
                <a:cubicBezTo>
                  <a:pt x="495" y="407"/>
                  <a:pt x="495" y="407"/>
                  <a:pt x="495" y="407"/>
                </a:cubicBezTo>
                <a:cubicBezTo>
                  <a:pt x="495" y="407"/>
                  <a:pt x="495" y="408"/>
                  <a:pt x="495" y="408"/>
                </a:cubicBezTo>
                <a:cubicBezTo>
                  <a:pt x="495" y="408"/>
                  <a:pt x="495" y="408"/>
                  <a:pt x="495" y="408"/>
                </a:cubicBezTo>
                <a:cubicBezTo>
                  <a:pt x="496" y="408"/>
                  <a:pt x="496" y="408"/>
                  <a:pt x="497" y="408"/>
                </a:cubicBezTo>
                <a:cubicBezTo>
                  <a:pt x="497" y="409"/>
                  <a:pt x="497" y="409"/>
                  <a:pt x="497" y="409"/>
                </a:cubicBezTo>
                <a:cubicBezTo>
                  <a:pt x="497" y="409"/>
                  <a:pt x="497" y="410"/>
                  <a:pt x="497" y="410"/>
                </a:cubicBezTo>
                <a:cubicBezTo>
                  <a:pt x="497" y="410"/>
                  <a:pt x="498" y="410"/>
                  <a:pt x="498" y="410"/>
                </a:cubicBezTo>
                <a:cubicBezTo>
                  <a:pt x="498" y="410"/>
                  <a:pt x="498" y="410"/>
                  <a:pt x="499" y="410"/>
                </a:cubicBezTo>
                <a:cubicBezTo>
                  <a:pt x="499" y="410"/>
                  <a:pt x="499" y="410"/>
                  <a:pt x="499" y="410"/>
                </a:cubicBezTo>
                <a:cubicBezTo>
                  <a:pt x="499" y="411"/>
                  <a:pt x="499" y="411"/>
                  <a:pt x="499" y="411"/>
                </a:cubicBezTo>
                <a:cubicBezTo>
                  <a:pt x="500" y="411"/>
                  <a:pt x="500" y="411"/>
                  <a:pt x="501" y="411"/>
                </a:cubicBezTo>
                <a:cubicBezTo>
                  <a:pt x="500" y="412"/>
                  <a:pt x="500" y="412"/>
                  <a:pt x="500" y="412"/>
                </a:cubicBezTo>
                <a:cubicBezTo>
                  <a:pt x="500" y="412"/>
                  <a:pt x="501" y="412"/>
                  <a:pt x="501" y="412"/>
                </a:cubicBezTo>
                <a:cubicBezTo>
                  <a:pt x="501" y="412"/>
                  <a:pt x="502" y="412"/>
                  <a:pt x="502" y="412"/>
                </a:cubicBezTo>
                <a:cubicBezTo>
                  <a:pt x="502" y="412"/>
                  <a:pt x="502" y="412"/>
                  <a:pt x="503" y="412"/>
                </a:cubicBezTo>
                <a:cubicBezTo>
                  <a:pt x="503" y="412"/>
                  <a:pt x="503" y="412"/>
                  <a:pt x="504" y="411"/>
                </a:cubicBezTo>
                <a:cubicBezTo>
                  <a:pt x="504" y="411"/>
                  <a:pt x="504" y="411"/>
                  <a:pt x="504" y="411"/>
                </a:cubicBezTo>
                <a:cubicBezTo>
                  <a:pt x="504" y="411"/>
                  <a:pt x="504" y="410"/>
                  <a:pt x="504" y="410"/>
                </a:cubicBezTo>
                <a:cubicBezTo>
                  <a:pt x="504" y="410"/>
                  <a:pt x="505" y="410"/>
                  <a:pt x="505" y="409"/>
                </a:cubicBezTo>
                <a:cubicBezTo>
                  <a:pt x="505" y="409"/>
                  <a:pt x="505" y="409"/>
                  <a:pt x="505" y="408"/>
                </a:cubicBezTo>
                <a:cubicBezTo>
                  <a:pt x="505" y="408"/>
                  <a:pt x="505" y="407"/>
                  <a:pt x="505" y="407"/>
                </a:cubicBezTo>
                <a:cubicBezTo>
                  <a:pt x="505" y="407"/>
                  <a:pt x="505" y="406"/>
                  <a:pt x="505" y="406"/>
                </a:cubicBezTo>
                <a:cubicBezTo>
                  <a:pt x="505" y="406"/>
                  <a:pt x="505" y="406"/>
                  <a:pt x="505" y="406"/>
                </a:cubicBezTo>
                <a:cubicBezTo>
                  <a:pt x="505" y="405"/>
                  <a:pt x="505" y="405"/>
                  <a:pt x="505" y="405"/>
                </a:cubicBezTo>
                <a:cubicBezTo>
                  <a:pt x="505" y="405"/>
                  <a:pt x="505" y="404"/>
                  <a:pt x="505" y="404"/>
                </a:cubicBezTo>
                <a:cubicBezTo>
                  <a:pt x="505" y="404"/>
                  <a:pt x="505" y="404"/>
                  <a:pt x="505" y="404"/>
                </a:cubicBezTo>
                <a:cubicBezTo>
                  <a:pt x="505" y="403"/>
                  <a:pt x="505" y="403"/>
                  <a:pt x="505" y="403"/>
                </a:cubicBezTo>
                <a:cubicBezTo>
                  <a:pt x="504" y="403"/>
                  <a:pt x="504" y="403"/>
                  <a:pt x="504" y="403"/>
                </a:cubicBezTo>
                <a:cubicBezTo>
                  <a:pt x="503" y="402"/>
                  <a:pt x="503" y="401"/>
                  <a:pt x="502" y="401"/>
                </a:cubicBezTo>
                <a:cubicBezTo>
                  <a:pt x="502" y="400"/>
                  <a:pt x="502" y="400"/>
                  <a:pt x="502" y="400"/>
                </a:cubicBezTo>
                <a:cubicBezTo>
                  <a:pt x="502" y="400"/>
                  <a:pt x="502" y="399"/>
                  <a:pt x="502" y="399"/>
                </a:cubicBezTo>
                <a:cubicBezTo>
                  <a:pt x="502" y="399"/>
                  <a:pt x="502" y="398"/>
                  <a:pt x="502" y="398"/>
                </a:cubicBezTo>
                <a:cubicBezTo>
                  <a:pt x="502" y="398"/>
                  <a:pt x="502" y="398"/>
                  <a:pt x="501" y="398"/>
                </a:cubicBezTo>
                <a:cubicBezTo>
                  <a:pt x="501" y="397"/>
                  <a:pt x="501" y="397"/>
                  <a:pt x="501" y="397"/>
                </a:cubicBezTo>
                <a:cubicBezTo>
                  <a:pt x="500" y="397"/>
                  <a:pt x="500" y="396"/>
                  <a:pt x="500" y="396"/>
                </a:cubicBezTo>
                <a:cubicBezTo>
                  <a:pt x="499" y="395"/>
                  <a:pt x="499" y="395"/>
                  <a:pt x="499" y="395"/>
                </a:cubicBezTo>
                <a:cubicBezTo>
                  <a:pt x="499" y="395"/>
                  <a:pt x="499" y="394"/>
                  <a:pt x="498" y="394"/>
                </a:cubicBezTo>
                <a:cubicBezTo>
                  <a:pt x="498" y="393"/>
                  <a:pt x="498" y="393"/>
                  <a:pt x="497" y="393"/>
                </a:cubicBezTo>
                <a:cubicBezTo>
                  <a:pt x="497" y="392"/>
                  <a:pt x="497" y="392"/>
                  <a:pt x="497" y="391"/>
                </a:cubicBezTo>
                <a:cubicBezTo>
                  <a:pt x="497" y="391"/>
                  <a:pt x="497" y="390"/>
                  <a:pt x="497" y="390"/>
                </a:cubicBezTo>
                <a:cubicBezTo>
                  <a:pt x="497" y="389"/>
                  <a:pt x="497" y="389"/>
                  <a:pt x="497" y="388"/>
                </a:cubicBezTo>
                <a:cubicBezTo>
                  <a:pt x="496" y="387"/>
                  <a:pt x="496" y="387"/>
                  <a:pt x="496" y="387"/>
                </a:cubicBezTo>
                <a:cubicBezTo>
                  <a:pt x="496" y="386"/>
                  <a:pt x="497" y="386"/>
                  <a:pt x="497" y="385"/>
                </a:cubicBezTo>
                <a:cubicBezTo>
                  <a:pt x="497" y="385"/>
                  <a:pt x="497" y="385"/>
                  <a:pt x="497" y="384"/>
                </a:cubicBezTo>
                <a:cubicBezTo>
                  <a:pt x="498" y="384"/>
                  <a:pt x="498" y="384"/>
                  <a:pt x="498" y="384"/>
                </a:cubicBezTo>
                <a:cubicBezTo>
                  <a:pt x="498" y="384"/>
                  <a:pt x="498" y="383"/>
                  <a:pt x="498" y="383"/>
                </a:cubicBezTo>
                <a:cubicBezTo>
                  <a:pt x="499" y="383"/>
                  <a:pt x="499" y="383"/>
                  <a:pt x="499" y="383"/>
                </a:cubicBezTo>
                <a:cubicBezTo>
                  <a:pt x="499" y="383"/>
                  <a:pt x="499" y="383"/>
                  <a:pt x="499" y="382"/>
                </a:cubicBezTo>
                <a:cubicBezTo>
                  <a:pt x="499" y="382"/>
                  <a:pt x="499" y="382"/>
                  <a:pt x="499" y="382"/>
                </a:cubicBezTo>
                <a:cubicBezTo>
                  <a:pt x="499" y="382"/>
                  <a:pt x="499" y="382"/>
                  <a:pt x="499" y="382"/>
                </a:cubicBezTo>
                <a:cubicBezTo>
                  <a:pt x="499" y="381"/>
                  <a:pt x="499" y="381"/>
                  <a:pt x="499" y="381"/>
                </a:cubicBezTo>
                <a:cubicBezTo>
                  <a:pt x="499" y="381"/>
                  <a:pt x="500" y="381"/>
                  <a:pt x="500" y="381"/>
                </a:cubicBezTo>
                <a:cubicBezTo>
                  <a:pt x="500" y="381"/>
                  <a:pt x="500" y="381"/>
                  <a:pt x="500" y="380"/>
                </a:cubicBezTo>
                <a:cubicBezTo>
                  <a:pt x="501" y="380"/>
                  <a:pt x="501" y="380"/>
                  <a:pt x="501" y="380"/>
                </a:cubicBezTo>
                <a:cubicBezTo>
                  <a:pt x="501" y="380"/>
                  <a:pt x="501" y="380"/>
                  <a:pt x="502" y="380"/>
                </a:cubicBezTo>
                <a:cubicBezTo>
                  <a:pt x="502" y="380"/>
                  <a:pt x="503" y="379"/>
                  <a:pt x="503" y="379"/>
                </a:cubicBezTo>
                <a:cubicBezTo>
                  <a:pt x="503" y="379"/>
                  <a:pt x="503" y="379"/>
                  <a:pt x="503" y="379"/>
                </a:cubicBezTo>
                <a:cubicBezTo>
                  <a:pt x="504" y="379"/>
                  <a:pt x="504" y="379"/>
                  <a:pt x="505" y="378"/>
                </a:cubicBezTo>
                <a:cubicBezTo>
                  <a:pt x="505" y="378"/>
                  <a:pt x="505" y="378"/>
                  <a:pt x="505" y="378"/>
                </a:cubicBezTo>
                <a:cubicBezTo>
                  <a:pt x="505" y="378"/>
                  <a:pt x="505" y="378"/>
                  <a:pt x="505" y="378"/>
                </a:cubicBezTo>
                <a:cubicBezTo>
                  <a:pt x="505" y="378"/>
                  <a:pt x="506" y="378"/>
                  <a:pt x="506" y="378"/>
                </a:cubicBezTo>
                <a:cubicBezTo>
                  <a:pt x="506" y="378"/>
                  <a:pt x="506" y="377"/>
                  <a:pt x="507" y="377"/>
                </a:cubicBezTo>
                <a:cubicBezTo>
                  <a:pt x="507" y="377"/>
                  <a:pt x="507" y="377"/>
                  <a:pt x="506" y="376"/>
                </a:cubicBezTo>
                <a:cubicBezTo>
                  <a:pt x="507" y="376"/>
                  <a:pt x="507" y="376"/>
                  <a:pt x="507" y="376"/>
                </a:cubicBezTo>
                <a:cubicBezTo>
                  <a:pt x="507" y="376"/>
                  <a:pt x="507" y="376"/>
                  <a:pt x="508" y="376"/>
                </a:cubicBezTo>
                <a:cubicBezTo>
                  <a:pt x="508" y="375"/>
                  <a:pt x="508" y="375"/>
                  <a:pt x="508" y="375"/>
                </a:cubicBezTo>
                <a:cubicBezTo>
                  <a:pt x="508" y="374"/>
                  <a:pt x="509" y="374"/>
                  <a:pt x="509" y="373"/>
                </a:cubicBezTo>
                <a:cubicBezTo>
                  <a:pt x="509" y="373"/>
                  <a:pt x="510" y="372"/>
                  <a:pt x="510" y="372"/>
                </a:cubicBezTo>
                <a:cubicBezTo>
                  <a:pt x="510" y="372"/>
                  <a:pt x="511" y="372"/>
                  <a:pt x="511" y="372"/>
                </a:cubicBezTo>
                <a:cubicBezTo>
                  <a:pt x="511" y="372"/>
                  <a:pt x="512" y="372"/>
                  <a:pt x="512" y="372"/>
                </a:cubicBezTo>
                <a:cubicBezTo>
                  <a:pt x="512" y="372"/>
                  <a:pt x="512" y="372"/>
                  <a:pt x="512" y="372"/>
                </a:cubicBezTo>
                <a:cubicBezTo>
                  <a:pt x="512" y="371"/>
                  <a:pt x="513" y="371"/>
                  <a:pt x="513" y="370"/>
                </a:cubicBezTo>
                <a:cubicBezTo>
                  <a:pt x="514" y="369"/>
                  <a:pt x="514" y="369"/>
                  <a:pt x="515" y="368"/>
                </a:cubicBezTo>
                <a:cubicBezTo>
                  <a:pt x="516" y="368"/>
                  <a:pt x="516" y="367"/>
                  <a:pt x="517" y="366"/>
                </a:cubicBezTo>
                <a:cubicBezTo>
                  <a:pt x="518" y="366"/>
                  <a:pt x="518" y="366"/>
                  <a:pt x="518" y="366"/>
                </a:cubicBezTo>
                <a:cubicBezTo>
                  <a:pt x="519" y="366"/>
                  <a:pt x="519" y="366"/>
                  <a:pt x="519" y="366"/>
                </a:cubicBezTo>
                <a:cubicBezTo>
                  <a:pt x="519" y="366"/>
                  <a:pt x="519" y="366"/>
                  <a:pt x="519" y="366"/>
                </a:cubicBezTo>
                <a:cubicBezTo>
                  <a:pt x="519" y="366"/>
                  <a:pt x="519" y="366"/>
                  <a:pt x="520" y="366"/>
                </a:cubicBezTo>
                <a:cubicBezTo>
                  <a:pt x="520" y="366"/>
                  <a:pt x="520" y="366"/>
                  <a:pt x="520" y="366"/>
                </a:cubicBezTo>
                <a:cubicBezTo>
                  <a:pt x="521" y="365"/>
                  <a:pt x="521" y="365"/>
                  <a:pt x="521" y="365"/>
                </a:cubicBezTo>
                <a:cubicBezTo>
                  <a:pt x="521" y="365"/>
                  <a:pt x="521" y="365"/>
                  <a:pt x="521" y="365"/>
                </a:cubicBezTo>
                <a:cubicBezTo>
                  <a:pt x="521" y="364"/>
                  <a:pt x="521" y="364"/>
                  <a:pt x="520" y="364"/>
                </a:cubicBezTo>
                <a:cubicBezTo>
                  <a:pt x="520" y="365"/>
                  <a:pt x="520" y="365"/>
                  <a:pt x="520" y="365"/>
                </a:cubicBezTo>
                <a:cubicBezTo>
                  <a:pt x="519" y="365"/>
                  <a:pt x="519" y="365"/>
                  <a:pt x="518" y="365"/>
                </a:cubicBezTo>
                <a:cubicBezTo>
                  <a:pt x="518" y="365"/>
                  <a:pt x="518" y="365"/>
                  <a:pt x="517" y="365"/>
                </a:cubicBezTo>
                <a:cubicBezTo>
                  <a:pt x="518" y="365"/>
                  <a:pt x="518" y="365"/>
                  <a:pt x="518" y="365"/>
                </a:cubicBezTo>
                <a:cubicBezTo>
                  <a:pt x="519" y="365"/>
                  <a:pt x="519" y="365"/>
                  <a:pt x="520" y="364"/>
                </a:cubicBezTo>
                <a:cubicBezTo>
                  <a:pt x="520" y="364"/>
                  <a:pt x="520" y="364"/>
                  <a:pt x="519" y="364"/>
                </a:cubicBezTo>
                <a:cubicBezTo>
                  <a:pt x="520" y="364"/>
                  <a:pt x="520" y="364"/>
                  <a:pt x="520" y="364"/>
                </a:cubicBezTo>
                <a:cubicBezTo>
                  <a:pt x="520" y="364"/>
                  <a:pt x="520" y="364"/>
                  <a:pt x="519" y="363"/>
                </a:cubicBezTo>
                <a:cubicBezTo>
                  <a:pt x="519" y="364"/>
                  <a:pt x="519" y="364"/>
                  <a:pt x="518" y="364"/>
                </a:cubicBezTo>
                <a:cubicBezTo>
                  <a:pt x="518" y="363"/>
                  <a:pt x="518" y="363"/>
                  <a:pt x="517" y="363"/>
                </a:cubicBezTo>
                <a:cubicBezTo>
                  <a:pt x="518" y="363"/>
                  <a:pt x="518" y="363"/>
                  <a:pt x="518" y="363"/>
                </a:cubicBezTo>
                <a:cubicBezTo>
                  <a:pt x="518" y="363"/>
                  <a:pt x="519" y="363"/>
                  <a:pt x="519" y="363"/>
                </a:cubicBezTo>
                <a:cubicBezTo>
                  <a:pt x="519" y="363"/>
                  <a:pt x="519" y="363"/>
                  <a:pt x="520" y="363"/>
                </a:cubicBezTo>
                <a:cubicBezTo>
                  <a:pt x="520" y="363"/>
                  <a:pt x="520" y="362"/>
                  <a:pt x="520" y="362"/>
                </a:cubicBezTo>
                <a:cubicBezTo>
                  <a:pt x="520" y="363"/>
                  <a:pt x="520" y="363"/>
                  <a:pt x="520" y="363"/>
                </a:cubicBezTo>
                <a:cubicBezTo>
                  <a:pt x="520" y="363"/>
                  <a:pt x="521" y="363"/>
                  <a:pt x="521" y="363"/>
                </a:cubicBezTo>
                <a:cubicBezTo>
                  <a:pt x="521" y="363"/>
                  <a:pt x="521" y="363"/>
                  <a:pt x="522" y="363"/>
                </a:cubicBezTo>
                <a:cubicBezTo>
                  <a:pt x="522" y="363"/>
                  <a:pt x="522" y="363"/>
                  <a:pt x="522" y="362"/>
                </a:cubicBezTo>
                <a:cubicBezTo>
                  <a:pt x="522" y="362"/>
                  <a:pt x="522" y="362"/>
                  <a:pt x="522" y="362"/>
                </a:cubicBezTo>
                <a:cubicBezTo>
                  <a:pt x="523" y="362"/>
                  <a:pt x="523" y="361"/>
                  <a:pt x="523" y="361"/>
                </a:cubicBezTo>
                <a:cubicBezTo>
                  <a:pt x="523" y="361"/>
                  <a:pt x="523" y="361"/>
                  <a:pt x="524" y="361"/>
                </a:cubicBezTo>
                <a:cubicBezTo>
                  <a:pt x="524" y="361"/>
                  <a:pt x="524" y="360"/>
                  <a:pt x="524" y="360"/>
                </a:cubicBezTo>
                <a:cubicBezTo>
                  <a:pt x="523" y="360"/>
                  <a:pt x="523" y="360"/>
                  <a:pt x="523" y="360"/>
                </a:cubicBezTo>
                <a:cubicBezTo>
                  <a:pt x="523" y="360"/>
                  <a:pt x="523" y="360"/>
                  <a:pt x="523" y="360"/>
                </a:cubicBezTo>
                <a:cubicBezTo>
                  <a:pt x="523" y="360"/>
                  <a:pt x="523" y="360"/>
                  <a:pt x="522" y="361"/>
                </a:cubicBezTo>
                <a:cubicBezTo>
                  <a:pt x="522" y="361"/>
                  <a:pt x="522" y="361"/>
                  <a:pt x="522" y="361"/>
                </a:cubicBezTo>
                <a:cubicBezTo>
                  <a:pt x="522" y="361"/>
                  <a:pt x="522" y="361"/>
                  <a:pt x="522" y="361"/>
                </a:cubicBezTo>
                <a:cubicBezTo>
                  <a:pt x="522" y="361"/>
                  <a:pt x="522" y="360"/>
                  <a:pt x="522" y="360"/>
                </a:cubicBezTo>
                <a:cubicBezTo>
                  <a:pt x="521" y="360"/>
                  <a:pt x="521" y="360"/>
                  <a:pt x="521" y="360"/>
                </a:cubicBezTo>
                <a:cubicBezTo>
                  <a:pt x="520" y="360"/>
                  <a:pt x="520" y="360"/>
                  <a:pt x="519" y="361"/>
                </a:cubicBezTo>
                <a:cubicBezTo>
                  <a:pt x="519" y="361"/>
                  <a:pt x="518" y="361"/>
                  <a:pt x="518" y="361"/>
                </a:cubicBezTo>
                <a:cubicBezTo>
                  <a:pt x="518" y="361"/>
                  <a:pt x="518" y="361"/>
                  <a:pt x="518" y="361"/>
                </a:cubicBezTo>
                <a:cubicBezTo>
                  <a:pt x="518" y="360"/>
                  <a:pt x="518" y="360"/>
                  <a:pt x="518" y="360"/>
                </a:cubicBezTo>
                <a:cubicBezTo>
                  <a:pt x="518" y="359"/>
                  <a:pt x="518" y="359"/>
                  <a:pt x="518" y="359"/>
                </a:cubicBezTo>
                <a:cubicBezTo>
                  <a:pt x="518" y="360"/>
                  <a:pt x="519" y="360"/>
                  <a:pt x="519" y="360"/>
                </a:cubicBezTo>
                <a:cubicBezTo>
                  <a:pt x="519" y="360"/>
                  <a:pt x="519" y="360"/>
                  <a:pt x="520" y="360"/>
                </a:cubicBezTo>
                <a:cubicBezTo>
                  <a:pt x="520" y="360"/>
                  <a:pt x="520" y="360"/>
                  <a:pt x="520" y="359"/>
                </a:cubicBezTo>
                <a:cubicBezTo>
                  <a:pt x="520" y="359"/>
                  <a:pt x="521" y="359"/>
                  <a:pt x="521" y="359"/>
                </a:cubicBezTo>
                <a:cubicBezTo>
                  <a:pt x="521" y="359"/>
                  <a:pt x="521" y="359"/>
                  <a:pt x="522" y="359"/>
                </a:cubicBezTo>
                <a:cubicBezTo>
                  <a:pt x="522" y="359"/>
                  <a:pt x="522" y="358"/>
                  <a:pt x="522" y="358"/>
                </a:cubicBezTo>
                <a:cubicBezTo>
                  <a:pt x="522" y="358"/>
                  <a:pt x="522" y="358"/>
                  <a:pt x="522" y="358"/>
                </a:cubicBezTo>
                <a:cubicBezTo>
                  <a:pt x="522" y="358"/>
                  <a:pt x="522" y="357"/>
                  <a:pt x="522" y="357"/>
                </a:cubicBezTo>
                <a:cubicBezTo>
                  <a:pt x="522" y="357"/>
                  <a:pt x="522" y="357"/>
                  <a:pt x="522" y="357"/>
                </a:cubicBezTo>
                <a:cubicBezTo>
                  <a:pt x="522" y="357"/>
                  <a:pt x="522" y="357"/>
                  <a:pt x="521" y="357"/>
                </a:cubicBezTo>
                <a:cubicBezTo>
                  <a:pt x="522" y="357"/>
                  <a:pt x="522" y="357"/>
                  <a:pt x="522" y="357"/>
                </a:cubicBezTo>
                <a:cubicBezTo>
                  <a:pt x="522" y="356"/>
                  <a:pt x="522" y="356"/>
                  <a:pt x="522" y="356"/>
                </a:cubicBezTo>
                <a:cubicBezTo>
                  <a:pt x="522" y="356"/>
                  <a:pt x="522" y="356"/>
                  <a:pt x="522" y="355"/>
                </a:cubicBezTo>
                <a:cubicBezTo>
                  <a:pt x="522" y="355"/>
                  <a:pt x="521" y="355"/>
                  <a:pt x="521" y="355"/>
                </a:cubicBezTo>
                <a:cubicBezTo>
                  <a:pt x="521" y="355"/>
                  <a:pt x="521" y="355"/>
                  <a:pt x="521" y="355"/>
                </a:cubicBezTo>
                <a:cubicBezTo>
                  <a:pt x="520" y="356"/>
                  <a:pt x="520" y="356"/>
                  <a:pt x="520" y="356"/>
                </a:cubicBezTo>
                <a:cubicBezTo>
                  <a:pt x="519" y="355"/>
                  <a:pt x="519" y="355"/>
                  <a:pt x="519" y="355"/>
                </a:cubicBezTo>
                <a:cubicBezTo>
                  <a:pt x="519" y="355"/>
                  <a:pt x="519" y="355"/>
                  <a:pt x="518" y="355"/>
                </a:cubicBezTo>
                <a:cubicBezTo>
                  <a:pt x="518" y="355"/>
                  <a:pt x="518" y="355"/>
                  <a:pt x="518" y="355"/>
                </a:cubicBezTo>
                <a:cubicBezTo>
                  <a:pt x="517" y="355"/>
                  <a:pt x="517" y="355"/>
                  <a:pt x="517" y="355"/>
                </a:cubicBezTo>
                <a:cubicBezTo>
                  <a:pt x="517" y="355"/>
                  <a:pt x="517" y="355"/>
                  <a:pt x="518" y="355"/>
                </a:cubicBezTo>
                <a:cubicBezTo>
                  <a:pt x="518" y="354"/>
                  <a:pt x="518" y="354"/>
                  <a:pt x="519" y="354"/>
                </a:cubicBezTo>
                <a:cubicBezTo>
                  <a:pt x="519" y="354"/>
                  <a:pt x="519" y="355"/>
                  <a:pt x="520" y="355"/>
                </a:cubicBezTo>
                <a:cubicBezTo>
                  <a:pt x="520" y="355"/>
                  <a:pt x="520" y="355"/>
                  <a:pt x="520" y="355"/>
                </a:cubicBezTo>
                <a:cubicBezTo>
                  <a:pt x="520" y="355"/>
                  <a:pt x="520" y="354"/>
                  <a:pt x="521" y="354"/>
                </a:cubicBezTo>
                <a:cubicBezTo>
                  <a:pt x="520" y="354"/>
                  <a:pt x="520" y="354"/>
                  <a:pt x="519" y="354"/>
                </a:cubicBezTo>
                <a:cubicBezTo>
                  <a:pt x="519" y="354"/>
                  <a:pt x="520" y="354"/>
                  <a:pt x="520" y="354"/>
                </a:cubicBezTo>
                <a:cubicBezTo>
                  <a:pt x="520" y="354"/>
                  <a:pt x="520" y="353"/>
                  <a:pt x="520" y="353"/>
                </a:cubicBezTo>
                <a:cubicBezTo>
                  <a:pt x="520" y="353"/>
                  <a:pt x="520" y="353"/>
                  <a:pt x="520" y="353"/>
                </a:cubicBezTo>
                <a:cubicBezTo>
                  <a:pt x="520" y="353"/>
                  <a:pt x="520" y="353"/>
                  <a:pt x="520" y="353"/>
                </a:cubicBezTo>
                <a:cubicBezTo>
                  <a:pt x="520" y="353"/>
                  <a:pt x="519" y="353"/>
                  <a:pt x="519" y="352"/>
                </a:cubicBezTo>
                <a:cubicBezTo>
                  <a:pt x="519" y="352"/>
                  <a:pt x="518" y="352"/>
                  <a:pt x="518" y="352"/>
                </a:cubicBezTo>
                <a:cubicBezTo>
                  <a:pt x="518" y="352"/>
                  <a:pt x="518" y="352"/>
                  <a:pt x="519" y="352"/>
                </a:cubicBezTo>
                <a:cubicBezTo>
                  <a:pt x="519" y="352"/>
                  <a:pt x="519" y="352"/>
                  <a:pt x="519" y="352"/>
                </a:cubicBezTo>
                <a:cubicBezTo>
                  <a:pt x="519" y="352"/>
                  <a:pt x="520" y="352"/>
                  <a:pt x="520" y="352"/>
                </a:cubicBezTo>
                <a:cubicBezTo>
                  <a:pt x="520" y="352"/>
                  <a:pt x="520" y="352"/>
                  <a:pt x="520" y="351"/>
                </a:cubicBezTo>
                <a:cubicBezTo>
                  <a:pt x="520" y="351"/>
                  <a:pt x="520" y="351"/>
                  <a:pt x="520" y="351"/>
                </a:cubicBezTo>
                <a:cubicBezTo>
                  <a:pt x="519" y="351"/>
                  <a:pt x="519" y="351"/>
                  <a:pt x="519" y="351"/>
                </a:cubicBezTo>
                <a:cubicBezTo>
                  <a:pt x="518" y="350"/>
                  <a:pt x="518" y="350"/>
                  <a:pt x="517" y="350"/>
                </a:cubicBezTo>
                <a:cubicBezTo>
                  <a:pt x="517" y="350"/>
                  <a:pt x="517" y="350"/>
                  <a:pt x="516" y="350"/>
                </a:cubicBezTo>
                <a:cubicBezTo>
                  <a:pt x="516" y="350"/>
                  <a:pt x="516" y="349"/>
                  <a:pt x="515" y="349"/>
                </a:cubicBezTo>
                <a:cubicBezTo>
                  <a:pt x="515" y="349"/>
                  <a:pt x="515" y="349"/>
                  <a:pt x="515" y="349"/>
                </a:cubicBezTo>
                <a:cubicBezTo>
                  <a:pt x="515" y="349"/>
                  <a:pt x="514" y="349"/>
                  <a:pt x="514" y="349"/>
                </a:cubicBezTo>
                <a:cubicBezTo>
                  <a:pt x="515" y="348"/>
                  <a:pt x="515" y="348"/>
                  <a:pt x="515" y="348"/>
                </a:cubicBezTo>
                <a:cubicBezTo>
                  <a:pt x="515" y="348"/>
                  <a:pt x="515" y="348"/>
                  <a:pt x="515" y="349"/>
                </a:cubicBezTo>
                <a:cubicBezTo>
                  <a:pt x="515" y="349"/>
                  <a:pt x="515" y="349"/>
                  <a:pt x="515" y="349"/>
                </a:cubicBezTo>
                <a:cubicBezTo>
                  <a:pt x="515" y="349"/>
                  <a:pt x="515" y="349"/>
                  <a:pt x="516" y="349"/>
                </a:cubicBezTo>
                <a:cubicBezTo>
                  <a:pt x="516" y="349"/>
                  <a:pt x="516" y="349"/>
                  <a:pt x="516" y="349"/>
                </a:cubicBezTo>
                <a:cubicBezTo>
                  <a:pt x="517" y="349"/>
                  <a:pt x="517" y="349"/>
                  <a:pt x="517" y="349"/>
                </a:cubicBezTo>
                <a:cubicBezTo>
                  <a:pt x="518" y="350"/>
                  <a:pt x="518" y="350"/>
                  <a:pt x="519" y="350"/>
                </a:cubicBezTo>
                <a:cubicBezTo>
                  <a:pt x="519" y="350"/>
                  <a:pt x="519" y="350"/>
                  <a:pt x="519" y="350"/>
                </a:cubicBezTo>
                <a:cubicBezTo>
                  <a:pt x="519" y="349"/>
                  <a:pt x="519" y="349"/>
                  <a:pt x="519" y="349"/>
                </a:cubicBezTo>
                <a:cubicBezTo>
                  <a:pt x="519" y="348"/>
                  <a:pt x="519" y="348"/>
                  <a:pt x="519" y="348"/>
                </a:cubicBezTo>
                <a:cubicBezTo>
                  <a:pt x="519" y="348"/>
                  <a:pt x="519" y="347"/>
                  <a:pt x="519" y="347"/>
                </a:cubicBezTo>
                <a:cubicBezTo>
                  <a:pt x="519" y="347"/>
                  <a:pt x="518" y="347"/>
                  <a:pt x="518" y="347"/>
                </a:cubicBezTo>
                <a:cubicBezTo>
                  <a:pt x="518" y="347"/>
                  <a:pt x="518" y="346"/>
                  <a:pt x="518" y="346"/>
                </a:cubicBezTo>
                <a:cubicBezTo>
                  <a:pt x="518" y="346"/>
                  <a:pt x="518" y="346"/>
                  <a:pt x="518" y="345"/>
                </a:cubicBezTo>
                <a:cubicBezTo>
                  <a:pt x="518" y="345"/>
                  <a:pt x="518" y="345"/>
                  <a:pt x="518" y="345"/>
                </a:cubicBezTo>
                <a:cubicBezTo>
                  <a:pt x="518" y="345"/>
                  <a:pt x="518" y="345"/>
                  <a:pt x="518" y="345"/>
                </a:cubicBezTo>
                <a:cubicBezTo>
                  <a:pt x="518" y="345"/>
                  <a:pt x="519" y="345"/>
                  <a:pt x="519" y="344"/>
                </a:cubicBezTo>
                <a:cubicBezTo>
                  <a:pt x="519" y="344"/>
                  <a:pt x="519" y="344"/>
                  <a:pt x="520" y="344"/>
                </a:cubicBezTo>
                <a:cubicBezTo>
                  <a:pt x="520" y="343"/>
                  <a:pt x="520" y="343"/>
                  <a:pt x="520" y="343"/>
                </a:cubicBezTo>
                <a:cubicBezTo>
                  <a:pt x="520" y="343"/>
                  <a:pt x="520" y="343"/>
                  <a:pt x="520" y="343"/>
                </a:cubicBezTo>
                <a:cubicBezTo>
                  <a:pt x="520" y="343"/>
                  <a:pt x="520" y="343"/>
                  <a:pt x="520" y="343"/>
                </a:cubicBezTo>
                <a:cubicBezTo>
                  <a:pt x="520" y="343"/>
                  <a:pt x="520" y="343"/>
                  <a:pt x="520" y="344"/>
                </a:cubicBezTo>
                <a:cubicBezTo>
                  <a:pt x="520" y="344"/>
                  <a:pt x="520" y="344"/>
                  <a:pt x="520" y="344"/>
                </a:cubicBezTo>
                <a:cubicBezTo>
                  <a:pt x="520" y="344"/>
                  <a:pt x="520" y="344"/>
                  <a:pt x="519" y="344"/>
                </a:cubicBezTo>
                <a:cubicBezTo>
                  <a:pt x="519" y="345"/>
                  <a:pt x="519" y="345"/>
                  <a:pt x="519" y="345"/>
                </a:cubicBezTo>
                <a:cubicBezTo>
                  <a:pt x="519" y="346"/>
                  <a:pt x="520" y="346"/>
                  <a:pt x="520" y="346"/>
                </a:cubicBezTo>
                <a:cubicBezTo>
                  <a:pt x="520" y="346"/>
                  <a:pt x="520" y="347"/>
                  <a:pt x="520" y="347"/>
                </a:cubicBezTo>
                <a:cubicBezTo>
                  <a:pt x="520" y="347"/>
                  <a:pt x="520" y="348"/>
                  <a:pt x="520" y="348"/>
                </a:cubicBezTo>
                <a:cubicBezTo>
                  <a:pt x="520" y="348"/>
                  <a:pt x="520" y="348"/>
                  <a:pt x="520" y="349"/>
                </a:cubicBezTo>
                <a:cubicBezTo>
                  <a:pt x="520" y="349"/>
                  <a:pt x="521" y="349"/>
                  <a:pt x="521" y="349"/>
                </a:cubicBezTo>
                <a:cubicBezTo>
                  <a:pt x="521" y="349"/>
                  <a:pt x="521" y="349"/>
                  <a:pt x="521" y="349"/>
                </a:cubicBezTo>
                <a:cubicBezTo>
                  <a:pt x="521" y="349"/>
                  <a:pt x="521" y="349"/>
                  <a:pt x="521" y="349"/>
                </a:cubicBezTo>
                <a:cubicBezTo>
                  <a:pt x="522" y="349"/>
                  <a:pt x="522" y="349"/>
                  <a:pt x="522" y="349"/>
                </a:cubicBezTo>
                <a:cubicBezTo>
                  <a:pt x="522" y="349"/>
                  <a:pt x="522" y="349"/>
                  <a:pt x="522" y="349"/>
                </a:cubicBezTo>
                <a:cubicBezTo>
                  <a:pt x="522" y="349"/>
                  <a:pt x="522" y="349"/>
                  <a:pt x="522" y="350"/>
                </a:cubicBezTo>
                <a:cubicBezTo>
                  <a:pt x="522" y="350"/>
                  <a:pt x="522" y="350"/>
                  <a:pt x="522" y="350"/>
                </a:cubicBezTo>
                <a:cubicBezTo>
                  <a:pt x="523" y="350"/>
                  <a:pt x="523" y="350"/>
                  <a:pt x="523" y="350"/>
                </a:cubicBezTo>
                <a:cubicBezTo>
                  <a:pt x="523" y="350"/>
                  <a:pt x="523" y="350"/>
                  <a:pt x="523" y="350"/>
                </a:cubicBezTo>
                <a:cubicBezTo>
                  <a:pt x="523" y="350"/>
                  <a:pt x="523" y="350"/>
                  <a:pt x="523" y="350"/>
                </a:cubicBezTo>
                <a:cubicBezTo>
                  <a:pt x="523" y="351"/>
                  <a:pt x="522" y="351"/>
                  <a:pt x="522" y="351"/>
                </a:cubicBezTo>
                <a:cubicBezTo>
                  <a:pt x="522" y="351"/>
                  <a:pt x="522" y="351"/>
                  <a:pt x="523" y="351"/>
                </a:cubicBezTo>
                <a:cubicBezTo>
                  <a:pt x="522" y="352"/>
                  <a:pt x="522" y="352"/>
                  <a:pt x="522" y="352"/>
                </a:cubicBezTo>
                <a:cubicBezTo>
                  <a:pt x="522" y="353"/>
                  <a:pt x="522" y="353"/>
                  <a:pt x="522" y="353"/>
                </a:cubicBezTo>
                <a:cubicBezTo>
                  <a:pt x="522" y="353"/>
                  <a:pt x="522" y="354"/>
                  <a:pt x="522" y="354"/>
                </a:cubicBezTo>
                <a:cubicBezTo>
                  <a:pt x="522" y="354"/>
                  <a:pt x="523" y="354"/>
                  <a:pt x="523" y="353"/>
                </a:cubicBezTo>
                <a:cubicBezTo>
                  <a:pt x="523" y="353"/>
                  <a:pt x="523" y="353"/>
                  <a:pt x="523" y="353"/>
                </a:cubicBezTo>
                <a:cubicBezTo>
                  <a:pt x="523" y="353"/>
                  <a:pt x="523" y="352"/>
                  <a:pt x="523" y="352"/>
                </a:cubicBezTo>
                <a:cubicBezTo>
                  <a:pt x="523" y="352"/>
                  <a:pt x="523" y="352"/>
                  <a:pt x="523" y="352"/>
                </a:cubicBezTo>
                <a:cubicBezTo>
                  <a:pt x="524" y="352"/>
                  <a:pt x="524" y="352"/>
                  <a:pt x="524" y="352"/>
                </a:cubicBezTo>
                <a:cubicBezTo>
                  <a:pt x="524" y="352"/>
                  <a:pt x="524" y="352"/>
                  <a:pt x="524" y="352"/>
                </a:cubicBezTo>
                <a:cubicBezTo>
                  <a:pt x="524" y="352"/>
                  <a:pt x="524" y="351"/>
                  <a:pt x="524" y="351"/>
                </a:cubicBezTo>
                <a:cubicBezTo>
                  <a:pt x="524" y="351"/>
                  <a:pt x="524" y="351"/>
                  <a:pt x="524" y="350"/>
                </a:cubicBezTo>
                <a:cubicBezTo>
                  <a:pt x="524" y="350"/>
                  <a:pt x="524" y="349"/>
                  <a:pt x="525" y="349"/>
                </a:cubicBezTo>
                <a:cubicBezTo>
                  <a:pt x="525" y="349"/>
                  <a:pt x="525" y="348"/>
                  <a:pt x="526" y="348"/>
                </a:cubicBezTo>
                <a:cubicBezTo>
                  <a:pt x="526" y="348"/>
                  <a:pt x="526" y="347"/>
                  <a:pt x="526" y="346"/>
                </a:cubicBezTo>
                <a:cubicBezTo>
                  <a:pt x="526" y="346"/>
                  <a:pt x="526" y="346"/>
                  <a:pt x="526" y="346"/>
                </a:cubicBezTo>
                <a:cubicBezTo>
                  <a:pt x="526" y="345"/>
                  <a:pt x="525" y="345"/>
                  <a:pt x="525" y="345"/>
                </a:cubicBezTo>
                <a:cubicBezTo>
                  <a:pt x="525" y="344"/>
                  <a:pt x="525" y="344"/>
                  <a:pt x="524" y="344"/>
                </a:cubicBezTo>
                <a:cubicBezTo>
                  <a:pt x="524" y="344"/>
                  <a:pt x="524" y="344"/>
                  <a:pt x="524" y="343"/>
                </a:cubicBezTo>
                <a:cubicBezTo>
                  <a:pt x="524" y="343"/>
                  <a:pt x="524" y="343"/>
                  <a:pt x="523" y="343"/>
                </a:cubicBezTo>
                <a:cubicBezTo>
                  <a:pt x="523" y="343"/>
                  <a:pt x="523" y="343"/>
                  <a:pt x="523" y="342"/>
                </a:cubicBezTo>
                <a:cubicBezTo>
                  <a:pt x="523" y="342"/>
                  <a:pt x="523" y="342"/>
                  <a:pt x="523" y="342"/>
                </a:cubicBezTo>
                <a:cubicBezTo>
                  <a:pt x="524" y="341"/>
                  <a:pt x="524" y="341"/>
                  <a:pt x="524" y="341"/>
                </a:cubicBezTo>
                <a:cubicBezTo>
                  <a:pt x="525" y="341"/>
                  <a:pt x="525" y="340"/>
                  <a:pt x="525" y="340"/>
                </a:cubicBezTo>
                <a:cubicBezTo>
                  <a:pt x="525" y="341"/>
                  <a:pt x="524" y="341"/>
                  <a:pt x="524" y="342"/>
                </a:cubicBezTo>
                <a:cubicBezTo>
                  <a:pt x="524" y="342"/>
                  <a:pt x="524" y="342"/>
                  <a:pt x="524" y="342"/>
                </a:cubicBezTo>
                <a:cubicBezTo>
                  <a:pt x="524" y="343"/>
                  <a:pt x="524" y="343"/>
                  <a:pt x="524" y="343"/>
                </a:cubicBezTo>
                <a:cubicBezTo>
                  <a:pt x="525" y="343"/>
                  <a:pt x="525" y="343"/>
                  <a:pt x="526" y="343"/>
                </a:cubicBezTo>
                <a:cubicBezTo>
                  <a:pt x="526" y="343"/>
                  <a:pt x="526" y="343"/>
                  <a:pt x="526" y="343"/>
                </a:cubicBezTo>
                <a:cubicBezTo>
                  <a:pt x="527" y="343"/>
                  <a:pt x="527" y="343"/>
                  <a:pt x="527" y="343"/>
                </a:cubicBezTo>
                <a:cubicBezTo>
                  <a:pt x="527" y="344"/>
                  <a:pt x="527" y="344"/>
                  <a:pt x="527" y="344"/>
                </a:cubicBezTo>
                <a:cubicBezTo>
                  <a:pt x="527" y="344"/>
                  <a:pt x="527" y="344"/>
                  <a:pt x="527" y="344"/>
                </a:cubicBezTo>
                <a:cubicBezTo>
                  <a:pt x="527" y="344"/>
                  <a:pt x="527" y="344"/>
                  <a:pt x="527" y="344"/>
                </a:cubicBezTo>
                <a:cubicBezTo>
                  <a:pt x="528" y="344"/>
                  <a:pt x="528" y="343"/>
                  <a:pt x="528" y="343"/>
                </a:cubicBezTo>
                <a:cubicBezTo>
                  <a:pt x="528" y="343"/>
                  <a:pt x="528" y="343"/>
                  <a:pt x="528" y="343"/>
                </a:cubicBezTo>
                <a:cubicBezTo>
                  <a:pt x="528" y="343"/>
                  <a:pt x="528" y="343"/>
                  <a:pt x="529" y="342"/>
                </a:cubicBezTo>
                <a:cubicBezTo>
                  <a:pt x="529" y="342"/>
                  <a:pt x="529" y="342"/>
                  <a:pt x="529" y="342"/>
                </a:cubicBezTo>
                <a:cubicBezTo>
                  <a:pt x="529" y="342"/>
                  <a:pt x="529" y="342"/>
                  <a:pt x="530" y="342"/>
                </a:cubicBezTo>
                <a:cubicBezTo>
                  <a:pt x="530" y="341"/>
                  <a:pt x="530" y="341"/>
                  <a:pt x="530" y="340"/>
                </a:cubicBezTo>
                <a:cubicBezTo>
                  <a:pt x="530" y="340"/>
                  <a:pt x="530" y="340"/>
                  <a:pt x="530" y="340"/>
                </a:cubicBezTo>
                <a:cubicBezTo>
                  <a:pt x="530" y="340"/>
                  <a:pt x="530" y="340"/>
                  <a:pt x="531" y="340"/>
                </a:cubicBezTo>
                <a:cubicBezTo>
                  <a:pt x="531" y="340"/>
                  <a:pt x="531" y="339"/>
                  <a:pt x="531" y="339"/>
                </a:cubicBezTo>
                <a:cubicBezTo>
                  <a:pt x="531" y="339"/>
                  <a:pt x="531" y="339"/>
                  <a:pt x="531" y="338"/>
                </a:cubicBezTo>
                <a:cubicBezTo>
                  <a:pt x="531" y="338"/>
                  <a:pt x="531" y="338"/>
                  <a:pt x="531" y="338"/>
                </a:cubicBezTo>
                <a:cubicBezTo>
                  <a:pt x="531" y="338"/>
                  <a:pt x="531" y="338"/>
                  <a:pt x="531" y="337"/>
                </a:cubicBezTo>
                <a:cubicBezTo>
                  <a:pt x="531" y="337"/>
                  <a:pt x="531" y="337"/>
                  <a:pt x="531" y="337"/>
                </a:cubicBezTo>
                <a:cubicBezTo>
                  <a:pt x="531" y="337"/>
                  <a:pt x="531" y="337"/>
                  <a:pt x="531" y="336"/>
                </a:cubicBezTo>
                <a:cubicBezTo>
                  <a:pt x="531" y="336"/>
                  <a:pt x="531" y="336"/>
                  <a:pt x="531" y="336"/>
                </a:cubicBezTo>
                <a:cubicBezTo>
                  <a:pt x="531" y="336"/>
                  <a:pt x="531" y="336"/>
                  <a:pt x="530" y="336"/>
                </a:cubicBezTo>
                <a:cubicBezTo>
                  <a:pt x="530" y="336"/>
                  <a:pt x="530" y="336"/>
                  <a:pt x="530" y="335"/>
                </a:cubicBezTo>
                <a:cubicBezTo>
                  <a:pt x="530" y="335"/>
                  <a:pt x="531" y="335"/>
                  <a:pt x="531" y="335"/>
                </a:cubicBezTo>
                <a:cubicBezTo>
                  <a:pt x="531" y="334"/>
                  <a:pt x="531" y="334"/>
                  <a:pt x="531" y="334"/>
                </a:cubicBezTo>
                <a:cubicBezTo>
                  <a:pt x="531" y="334"/>
                  <a:pt x="532" y="334"/>
                  <a:pt x="532" y="333"/>
                </a:cubicBezTo>
                <a:cubicBezTo>
                  <a:pt x="532" y="333"/>
                  <a:pt x="532" y="333"/>
                  <a:pt x="533" y="333"/>
                </a:cubicBezTo>
                <a:cubicBezTo>
                  <a:pt x="533" y="333"/>
                  <a:pt x="534" y="332"/>
                  <a:pt x="534" y="332"/>
                </a:cubicBezTo>
                <a:cubicBezTo>
                  <a:pt x="535" y="332"/>
                  <a:pt x="535" y="332"/>
                  <a:pt x="535" y="332"/>
                </a:cubicBezTo>
                <a:cubicBezTo>
                  <a:pt x="536" y="331"/>
                  <a:pt x="536" y="331"/>
                  <a:pt x="537" y="331"/>
                </a:cubicBezTo>
                <a:cubicBezTo>
                  <a:pt x="537" y="330"/>
                  <a:pt x="537" y="330"/>
                  <a:pt x="537" y="330"/>
                </a:cubicBezTo>
                <a:cubicBezTo>
                  <a:pt x="538" y="330"/>
                  <a:pt x="538" y="330"/>
                  <a:pt x="538" y="331"/>
                </a:cubicBezTo>
                <a:cubicBezTo>
                  <a:pt x="539" y="330"/>
                  <a:pt x="539" y="330"/>
                  <a:pt x="540" y="330"/>
                </a:cubicBezTo>
                <a:cubicBezTo>
                  <a:pt x="540" y="330"/>
                  <a:pt x="541" y="330"/>
                  <a:pt x="541" y="330"/>
                </a:cubicBezTo>
                <a:cubicBezTo>
                  <a:pt x="541" y="330"/>
                  <a:pt x="542" y="330"/>
                  <a:pt x="542" y="329"/>
                </a:cubicBezTo>
                <a:cubicBezTo>
                  <a:pt x="543" y="329"/>
                  <a:pt x="544" y="329"/>
                  <a:pt x="544" y="329"/>
                </a:cubicBezTo>
                <a:cubicBezTo>
                  <a:pt x="545" y="329"/>
                  <a:pt x="545" y="329"/>
                  <a:pt x="545" y="328"/>
                </a:cubicBezTo>
                <a:cubicBezTo>
                  <a:pt x="545" y="328"/>
                  <a:pt x="545" y="328"/>
                  <a:pt x="544" y="328"/>
                </a:cubicBezTo>
                <a:cubicBezTo>
                  <a:pt x="544" y="328"/>
                  <a:pt x="544" y="328"/>
                  <a:pt x="544" y="327"/>
                </a:cubicBezTo>
                <a:cubicBezTo>
                  <a:pt x="544" y="327"/>
                  <a:pt x="544" y="327"/>
                  <a:pt x="544" y="326"/>
                </a:cubicBezTo>
                <a:cubicBezTo>
                  <a:pt x="545" y="327"/>
                  <a:pt x="545" y="327"/>
                  <a:pt x="545" y="327"/>
                </a:cubicBezTo>
                <a:cubicBezTo>
                  <a:pt x="545" y="327"/>
                  <a:pt x="545" y="327"/>
                  <a:pt x="546" y="328"/>
                </a:cubicBezTo>
                <a:cubicBezTo>
                  <a:pt x="546" y="328"/>
                  <a:pt x="546" y="328"/>
                  <a:pt x="546" y="328"/>
                </a:cubicBezTo>
                <a:cubicBezTo>
                  <a:pt x="546" y="328"/>
                  <a:pt x="546" y="328"/>
                  <a:pt x="546" y="328"/>
                </a:cubicBezTo>
                <a:cubicBezTo>
                  <a:pt x="547" y="328"/>
                  <a:pt x="547" y="328"/>
                  <a:pt x="547" y="327"/>
                </a:cubicBezTo>
                <a:cubicBezTo>
                  <a:pt x="547" y="327"/>
                  <a:pt x="548" y="326"/>
                  <a:pt x="548" y="326"/>
                </a:cubicBezTo>
                <a:cubicBezTo>
                  <a:pt x="548" y="326"/>
                  <a:pt x="548" y="326"/>
                  <a:pt x="548" y="326"/>
                </a:cubicBezTo>
                <a:cubicBezTo>
                  <a:pt x="548" y="326"/>
                  <a:pt x="548" y="327"/>
                  <a:pt x="548" y="327"/>
                </a:cubicBezTo>
                <a:cubicBezTo>
                  <a:pt x="549" y="327"/>
                  <a:pt x="549" y="327"/>
                  <a:pt x="549" y="327"/>
                </a:cubicBezTo>
                <a:cubicBezTo>
                  <a:pt x="550" y="326"/>
                  <a:pt x="551" y="326"/>
                  <a:pt x="551" y="325"/>
                </a:cubicBezTo>
                <a:cubicBezTo>
                  <a:pt x="552" y="325"/>
                  <a:pt x="552" y="325"/>
                  <a:pt x="552" y="325"/>
                </a:cubicBezTo>
                <a:cubicBezTo>
                  <a:pt x="552" y="324"/>
                  <a:pt x="551" y="324"/>
                  <a:pt x="551" y="323"/>
                </a:cubicBezTo>
                <a:cubicBezTo>
                  <a:pt x="551" y="324"/>
                  <a:pt x="551" y="324"/>
                  <a:pt x="551" y="324"/>
                </a:cubicBezTo>
                <a:cubicBezTo>
                  <a:pt x="551" y="324"/>
                  <a:pt x="551" y="324"/>
                  <a:pt x="551" y="324"/>
                </a:cubicBezTo>
                <a:cubicBezTo>
                  <a:pt x="551" y="325"/>
                  <a:pt x="551" y="325"/>
                  <a:pt x="551" y="325"/>
                </a:cubicBezTo>
                <a:cubicBezTo>
                  <a:pt x="550" y="325"/>
                  <a:pt x="550" y="325"/>
                  <a:pt x="549" y="326"/>
                </a:cubicBezTo>
                <a:cubicBezTo>
                  <a:pt x="549" y="325"/>
                  <a:pt x="549" y="325"/>
                  <a:pt x="549" y="325"/>
                </a:cubicBezTo>
                <a:cubicBezTo>
                  <a:pt x="549" y="325"/>
                  <a:pt x="548" y="324"/>
                  <a:pt x="548" y="324"/>
                </a:cubicBezTo>
                <a:cubicBezTo>
                  <a:pt x="548" y="324"/>
                  <a:pt x="547" y="324"/>
                  <a:pt x="547" y="324"/>
                </a:cubicBezTo>
                <a:cubicBezTo>
                  <a:pt x="547" y="324"/>
                  <a:pt x="547" y="323"/>
                  <a:pt x="546" y="323"/>
                </a:cubicBezTo>
                <a:cubicBezTo>
                  <a:pt x="547" y="323"/>
                  <a:pt x="548" y="322"/>
                  <a:pt x="548" y="322"/>
                </a:cubicBezTo>
                <a:cubicBezTo>
                  <a:pt x="548" y="322"/>
                  <a:pt x="548" y="321"/>
                  <a:pt x="548" y="321"/>
                </a:cubicBezTo>
                <a:cubicBezTo>
                  <a:pt x="548" y="321"/>
                  <a:pt x="547" y="321"/>
                  <a:pt x="547" y="321"/>
                </a:cubicBezTo>
                <a:cubicBezTo>
                  <a:pt x="547" y="321"/>
                  <a:pt x="547" y="321"/>
                  <a:pt x="547" y="321"/>
                </a:cubicBezTo>
                <a:cubicBezTo>
                  <a:pt x="547" y="321"/>
                  <a:pt x="547" y="321"/>
                  <a:pt x="548" y="321"/>
                </a:cubicBezTo>
                <a:cubicBezTo>
                  <a:pt x="548" y="320"/>
                  <a:pt x="548" y="320"/>
                  <a:pt x="548" y="320"/>
                </a:cubicBezTo>
                <a:cubicBezTo>
                  <a:pt x="548" y="320"/>
                  <a:pt x="548" y="320"/>
                  <a:pt x="548" y="319"/>
                </a:cubicBezTo>
                <a:cubicBezTo>
                  <a:pt x="548" y="319"/>
                  <a:pt x="549" y="318"/>
                  <a:pt x="549" y="318"/>
                </a:cubicBezTo>
                <a:cubicBezTo>
                  <a:pt x="549" y="317"/>
                  <a:pt x="550" y="317"/>
                  <a:pt x="550" y="316"/>
                </a:cubicBezTo>
                <a:cubicBezTo>
                  <a:pt x="550" y="316"/>
                  <a:pt x="551" y="316"/>
                  <a:pt x="551" y="315"/>
                </a:cubicBezTo>
                <a:cubicBezTo>
                  <a:pt x="551" y="315"/>
                  <a:pt x="551" y="315"/>
                  <a:pt x="551" y="315"/>
                </a:cubicBezTo>
                <a:cubicBezTo>
                  <a:pt x="551" y="315"/>
                  <a:pt x="552" y="315"/>
                  <a:pt x="552" y="314"/>
                </a:cubicBezTo>
                <a:cubicBezTo>
                  <a:pt x="552" y="315"/>
                  <a:pt x="552" y="315"/>
                  <a:pt x="552" y="315"/>
                </a:cubicBezTo>
                <a:cubicBezTo>
                  <a:pt x="552" y="315"/>
                  <a:pt x="552" y="315"/>
                  <a:pt x="553" y="315"/>
                </a:cubicBezTo>
                <a:cubicBezTo>
                  <a:pt x="553" y="315"/>
                  <a:pt x="553" y="314"/>
                  <a:pt x="553" y="314"/>
                </a:cubicBezTo>
                <a:cubicBezTo>
                  <a:pt x="553" y="314"/>
                  <a:pt x="553" y="314"/>
                  <a:pt x="554" y="313"/>
                </a:cubicBezTo>
                <a:cubicBezTo>
                  <a:pt x="554" y="314"/>
                  <a:pt x="554" y="314"/>
                  <a:pt x="554" y="314"/>
                </a:cubicBezTo>
                <a:cubicBezTo>
                  <a:pt x="554" y="314"/>
                  <a:pt x="554" y="314"/>
                  <a:pt x="554" y="314"/>
                </a:cubicBezTo>
                <a:cubicBezTo>
                  <a:pt x="555" y="314"/>
                  <a:pt x="555" y="313"/>
                  <a:pt x="555" y="313"/>
                </a:cubicBezTo>
                <a:cubicBezTo>
                  <a:pt x="555" y="313"/>
                  <a:pt x="555" y="313"/>
                  <a:pt x="555" y="313"/>
                </a:cubicBezTo>
                <a:cubicBezTo>
                  <a:pt x="555" y="313"/>
                  <a:pt x="556" y="313"/>
                  <a:pt x="556" y="313"/>
                </a:cubicBezTo>
                <a:cubicBezTo>
                  <a:pt x="556" y="312"/>
                  <a:pt x="556" y="312"/>
                  <a:pt x="557" y="312"/>
                </a:cubicBezTo>
                <a:cubicBezTo>
                  <a:pt x="557" y="311"/>
                  <a:pt x="557" y="311"/>
                  <a:pt x="558" y="310"/>
                </a:cubicBezTo>
                <a:cubicBezTo>
                  <a:pt x="558" y="310"/>
                  <a:pt x="558" y="311"/>
                  <a:pt x="558" y="311"/>
                </a:cubicBezTo>
                <a:cubicBezTo>
                  <a:pt x="558" y="311"/>
                  <a:pt x="558" y="311"/>
                  <a:pt x="558" y="311"/>
                </a:cubicBezTo>
                <a:cubicBezTo>
                  <a:pt x="558" y="311"/>
                  <a:pt x="559" y="311"/>
                  <a:pt x="559" y="311"/>
                </a:cubicBezTo>
                <a:cubicBezTo>
                  <a:pt x="559" y="311"/>
                  <a:pt x="559" y="310"/>
                  <a:pt x="560" y="310"/>
                </a:cubicBezTo>
                <a:cubicBezTo>
                  <a:pt x="560" y="310"/>
                  <a:pt x="560" y="310"/>
                  <a:pt x="561" y="310"/>
                </a:cubicBezTo>
                <a:cubicBezTo>
                  <a:pt x="561" y="310"/>
                  <a:pt x="561" y="310"/>
                  <a:pt x="561" y="311"/>
                </a:cubicBezTo>
                <a:cubicBezTo>
                  <a:pt x="562" y="311"/>
                  <a:pt x="562" y="311"/>
                  <a:pt x="562" y="311"/>
                </a:cubicBezTo>
                <a:cubicBezTo>
                  <a:pt x="562" y="310"/>
                  <a:pt x="563" y="310"/>
                  <a:pt x="563" y="310"/>
                </a:cubicBezTo>
                <a:cubicBezTo>
                  <a:pt x="563" y="310"/>
                  <a:pt x="563" y="310"/>
                  <a:pt x="564" y="310"/>
                </a:cubicBezTo>
                <a:cubicBezTo>
                  <a:pt x="564" y="309"/>
                  <a:pt x="564" y="309"/>
                  <a:pt x="564" y="309"/>
                </a:cubicBezTo>
                <a:cubicBezTo>
                  <a:pt x="564" y="309"/>
                  <a:pt x="565" y="309"/>
                  <a:pt x="565" y="309"/>
                </a:cubicBezTo>
                <a:cubicBezTo>
                  <a:pt x="565" y="309"/>
                  <a:pt x="566" y="309"/>
                  <a:pt x="566" y="309"/>
                </a:cubicBezTo>
                <a:cubicBezTo>
                  <a:pt x="566" y="308"/>
                  <a:pt x="567" y="308"/>
                  <a:pt x="567" y="308"/>
                </a:cubicBezTo>
                <a:cubicBezTo>
                  <a:pt x="567" y="308"/>
                  <a:pt x="567" y="308"/>
                  <a:pt x="567" y="308"/>
                </a:cubicBezTo>
                <a:cubicBezTo>
                  <a:pt x="568" y="308"/>
                  <a:pt x="568" y="308"/>
                  <a:pt x="568" y="308"/>
                </a:cubicBezTo>
                <a:cubicBezTo>
                  <a:pt x="569" y="308"/>
                  <a:pt x="569" y="307"/>
                  <a:pt x="569" y="307"/>
                </a:cubicBezTo>
                <a:cubicBezTo>
                  <a:pt x="569" y="307"/>
                  <a:pt x="568" y="307"/>
                  <a:pt x="568" y="307"/>
                </a:cubicBezTo>
                <a:cubicBezTo>
                  <a:pt x="568" y="307"/>
                  <a:pt x="568" y="307"/>
                  <a:pt x="568" y="307"/>
                </a:cubicBezTo>
                <a:cubicBezTo>
                  <a:pt x="567" y="307"/>
                  <a:pt x="567" y="307"/>
                  <a:pt x="567" y="307"/>
                </a:cubicBezTo>
                <a:cubicBezTo>
                  <a:pt x="567" y="307"/>
                  <a:pt x="567" y="306"/>
                  <a:pt x="567" y="306"/>
                </a:cubicBezTo>
                <a:cubicBezTo>
                  <a:pt x="566" y="306"/>
                  <a:pt x="565" y="306"/>
                  <a:pt x="565" y="306"/>
                </a:cubicBezTo>
                <a:cubicBezTo>
                  <a:pt x="565" y="306"/>
                  <a:pt x="565" y="306"/>
                  <a:pt x="565" y="306"/>
                </a:cubicBezTo>
                <a:cubicBezTo>
                  <a:pt x="565" y="306"/>
                  <a:pt x="566" y="306"/>
                  <a:pt x="566" y="306"/>
                </a:cubicBezTo>
                <a:cubicBezTo>
                  <a:pt x="567" y="306"/>
                  <a:pt x="567" y="305"/>
                  <a:pt x="567" y="305"/>
                </a:cubicBezTo>
                <a:cubicBezTo>
                  <a:pt x="568" y="306"/>
                  <a:pt x="568" y="306"/>
                  <a:pt x="568" y="306"/>
                </a:cubicBezTo>
                <a:cubicBezTo>
                  <a:pt x="568" y="306"/>
                  <a:pt x="568" y="306"/>
                  <a:pt x="568" y="306"/>
                </a:cubicBezTo>
                <a:cubicBezTo>
                  <a:pt x="569" y="306"/>
                  <a:pt x="569" y="305"/>
                  <a:pt x="569" y="305"/>
                </a:cubicBezTo>
                <a:cubicBezTo>
                  <a:pt x="569" y="305"/>
                  <a:pt x="569" y="305"/>
                  <a:pt x="570" y="305"/>
                </a:cubicBezTo>
                <a:cubicBezTo>
                  <a:pt x="570" y="305"/>
                  <a:pt x="571" y="305"/>
                  <a:pt x="571" y="305"/>
                </a:cubicBezTo>
                <a:cubicBezTo>
                  <a:pt x="571" y="305"/>
                  <a:pt x="571" y="304"/>
                  <a:pt x="571" y="304"/>
                </a:cubicBezTo>
                <a:cubicBezTo>
                  <a:pt x="572" y="304"/>
                  <a:pt x="572" y="303"/>
                  <a:pt x="572" y="303"/>
                </a:cubicBezTo>
                <a:cubicBezTo>
                  <a:pt x="572" y="303"/>
                  <a:pt x="572" y="304"/>
                  <a:pt x="572" y="304"/>
                </a:cubicBezTo>
                <a:cubicBezTo>
                  <a:pt x="572" y="304"/>
                  <a:pt x="572" y="304"/>
                  <a:pt x="572" y="304"/>
                </a:cubicBezTo>
                <a:cubicBezTo>
                  <a:pt x="572" y="304"/>
                  <a:pt x="572" y="304"/>
                  <a:pt x="572" y="304"/>
                </a:cubicBezTo>
                <a:cubicBezTo>
                  <a:pt x="572" y="304"/>
                  <a:pt x="572" y="304"/>
                  <a:pt x="572" y="305"/>
                </a:cubicBezTo>
                <a:cubicBezTo>
                  <a:pt x="573" y="304"/>
                  <a:pt x="574" y="304"/>
                  <a:pt x="575" y="304"/>
                </a:cubicBezTo>
                <a:cubicBezTo>
                  <a:pt x="575" y="303"/>
                  <a:pt x="575" y="303"/>
                  <a:pt x="575" y="303"/>
                </a:cubicBezTo>
                <a:cubicBezTo>
                  <a:pt x="575" y="303"/>
                  <a:pt x="576" y="303"/>
                  <a:pt x="576" y="303"/>
                </a:cubicBezTo>
                <a:cubicBezTo>
                  <a:pt x="577" y="302"/>
                  <a:pt x="577" y="302"/>
                  <a:pt x="577" y="302"/>
                </a:cubicBezTo>
                <a:cubicBezTo>
                  <a:pt x="577" y="302"/>
                  <a:pt x="578" y="301"/>
                  <a:pt x="578" y="301"/>
                </a:cubicBezTo>
                <a:cubicBezTo>
                  <a:pt x="578" y="301"/>
                  <a:pt x="579" y="300"/>
                  <a:pt x="579" y="300"/>
                </a:cubicBezTo>
                <a:cubicBezTo>
                  <a:pt x="579" y="300"/>
                  <a:pt x="579" y="300"/>
                  <a:pt x="579" y="300"/>
                </a:cubicBezTo>
                <a:cubicBezTo>
                  <a:pt x="579" y="300"/>
                  <a:pt x="580" y="300"/>
                  <a:pt x="580" y="300"/>
                </a:cubicBezTo>
                <a:cubicBezTo>
                  <a:pt x="580" y="300"/>
                  <a:pt x="580" y="300"/>
                  <a:pt x="580" y="300"/>
                </a:cubicBezTo>
                <a:cubicBezTo>
                  <a:pt x="579" y="301"/>
                  <a:pt x="579" y="301"/>
                  <a:pt x="579" y="301"/>
                </a:cubicBezTo>
                <a:cubicBezTo>
                  <a:pt x="579" y="302"/>
                  <a:pt x="578" y="302"/>
                  <a:pt x="578" y="302"/>
                </a:cubicBezTo>
                <a:cubicBezTo>
                  <a:pt x="578" y="302"/>
                  <a:pt x="577" y="303"/>
                  <a:pt x="577" y="303"/>
                </a:cubicBezTo>
                <a:cubicBezTo>
                  <a:pt x="577" y="303"/>
                  <a:pt x="578" y="303"/>
                  <a:pt x="578" y="303"/>
                </a:cubicBezTo>
                <a:cubicBezTo>
                  <a:pt x="578" y="303"/>
                  <a:pt x="579" y="302"/>
                  <a:pt x="579" y="302"/>
                </a:cubicBezTo>
                <a:cubicBezTo>
                  <a:pt x="579" y="302"/>
                  <a:pt x="579" y="302"/>
                  <a:pt x="580" y="302"/>
                </a:cubicBezTo>
                <a:cubicBezTo>
                  <a:pt x="580" y="302"/>
                  <a:pt x="580" y="302"/>
                  <a:pt x="581" y="302"/>
                </a:cubicBezTo>
                <a:cubicBezTo>
                  <a:pt x="581" y="302"/>
                  <a:pt x="582" y="302"/>
                  <a:pt x="583" y="302"/>
                </a:cubicBezTo>
                <a:cubicBezTo>
                  <a:pt x="583" y="302"/>
                  <a:pt x="584" y="302"/>
                  <a:pt x="585" y="301"/>
                </a:cubicBezTo>
                <a:cubicBezTo>
                  <a:pt x="584" y="302"/>
                  <a:pt x="584" y="302"/>
                  <a:pt x="583" y="302"/>
                </a:cubicBezTo>
                <a:cubicBezTo>
                  <a:pt x="583" y="302"/>
                  <a:pt x="582" y="302"/>
                  <a:pt x="582" y="303"/>
                </a:cubicBezTo>
                <a:cubicBezTo>
                  <a:pt x="582" y="303"/>
                  <a:pt x="581" y="303"/>
                  <a:pt x="581" y="303"/>
                </a:cubicBezTo>
                <a:cubicBezTo>
                  <a:pt x="581" y="303"/>
                  <a:pt x="581" y="303"/>
                  <a:pt x="581" y="303"/>
                </a:cubicBezTo>
                <a:cubicBezTo>
                  <a:pt x="581" y="303"/>
                  <a:pt x="581" y="304"/>
                  <a:pt x="581" y="304"/>
                </a:cubicBezTo>
                <a:cubicBezTo>
                  <a:pt x="581" y="304"/>
                  <a:pt x="581" y="303"/>
                  <a:pt x="580" y="303"/>
                </a:cubicBezTo>
                <a:cubicBezTo>
                  <a:pt x="580" y="303"/>
                  <a:pt x="580" y="303"/>
                  <a:pt x="580" y="303"/>
                </a:cubicBezTo>
                <a:cubicBezTo>
                  <a:pt x="580" y="303"/>
                  <a:pt x="580" y="303"/>
                  <a:pt x="579" y="303"/>
                </a:cubicBezTo>
                <a:cubicBezTo>
                  <a:pt x="579" y="303"/>
                  <a:pt x="578" y="303"/>
                  <a:pt x="578" y="303"/>
                </a:cubicBezTo>
                <a:cubicBezTo>
                  <a:pt x="577" y="304"/>
                  <a:pt x="577" y="304"/>
                  <a:pt x="576" y="305"/>
                </a:cubicBezTo>
                <a:cubicBezTo>
                  <a:pt x="575" y="305"/>
                  <a:pt x="575" y="305"/>
                  <a:pt x="574" y="305"/>
                </a:cubicBezTo>
                <a:cubicBezTo>
                  <a:pt x="573" y="306"/>
                  <a:pt x="573" y="306"/>
                  <a:pt x="572" y="307"/>
                </a:cubicBezTo>
                <a:cubicBezTo>
                  <a:pt x="572" y="307"/>
                  <a:pt x="572" y="307"/>
                  <a:pt x="572" y="307"/>
                </a:cubicBezTo>
                <a:cubicBezTo>
                  <a:pt x="572" y="308"/>
                  <a:pt x="571" y="308"/>
                  <a:pt x="571" y="308"/>
                </a:cubicBezTo>
                <a:cubicBezTo>
                  <a:pt x="571" y="309"/>
                  <a:pt x="571" y="309"/>
                  <a:pt x="570" y="309"/>
                </a:cubicBezTo>
                <a:cubicBezTo>
                  <a:pt x="570" y="310"/>
                  <a:pt x="570" y="310"/>
                  <a:pt x="571" y="310"/>
                </a:cubicBezTo>
                <a:cubicBezTo>
                  <a:pt x="571" y="311"/>
                  <a:pt x="571" y="311"/>
                  <a:pt x="571" y="311"/>
                </a:cubicBezTo>
                <a:cubicBezTo>
                  <a:pt x="571" y="311"/>
                  <a:pt x="571" y="311"/>
                  <a:pt x="571" y="312"/>
                </a:cubicBezTo>
                <a:cubicBezTo>
                  <a:pt x="571" y="312"/>
                  <a:pt x="572" y="311"/>
                  <a:pt x="572" y="311"/>
                </a:cubicBezTo>
                <a:cubicBezTo>
                  <a:pt x="572" y="311"/>
                  <a:pt x="572" y="311"/>
                  <a:pt x="572" y="311"/>
                </a:cubicBezTo>
                <a:cubicBezTo>
                  <a:pt x="572" y="312"/>
                  <a:pt x="573" y="312"/>
                  <a:pt x="573" y="312"/>
                </a:cubicBezTo>
                <a:cubicBezTo>
                  <a:pt x="573" y="312"/>
                  <a:pt x="573" y="312"/>
                  <a:pt x="574" y="312"/>
                </a:cubicBezTo>
                <a:cubicBezTo>
                  <a:pt x="574" y="312"/>
                  <a:pt x="574" y="312"/>
                  <a:pt x="574" y="312"/>
                </a:cubicBezTo>
                <a:cubicBezTo>
                  <a:pt x="574" y="312"/>
                  <a:pt x="575" y="312"/>
                  <a:pt x="575" y="312"/>
                </a:cubicBezTo>
                <a:cubicBezTo>
                  <a:pt x="575" y="312"/>
                  <a:pt x="575" y="312"/>
                  <a:pt x="575" y="312"/>
                </a:cubicBezTo>
                <a:cubicBezTo>
                  <a:pt x="575" y="312"/>
                  <a:pt x="575" y="311"/>
                  <a:pt x="575" y="311"/>
                </a:cubicBezTo>
                <a:cubicBezTo>
                  <a:pt x="575" y="311"/>
                  <a:pt x="575" y="311"/>
                  <a:pt x="576" y="311"/>
                </a:cubicBezTo>
                <a:cubicBezTo>
                  <a:pt x="576" y="311"/>
                  <a:pt x="576" y="311"/>
                  <a:pt x="576" y="311"/>
                </a:cubicBezTo>
                <a:cubicBezTo>
                  <a:pt x="576" y="311"/>
                  <a:pt x="577" y="310"/>
                  <a:pt x="577" y="310"/>
                </a:cubicBezTo>
                <a:cubicBezTo>
                  <a:pt x="578" y="310"/>
                  <a:pt x="578" y="310"/>
                  <a:pt x="578" y="310"/>
                </a:cubicBezTo>
                <a:cubicBezTo>
                  <a:pt x="579" y="309"/>
                  <a:pt x="579" y="309"/>
                  <a:pt x="579" y="308"/>
                </a:cubicBezTo>
                <a:cubicBezTo>
                  <a:pt x="580" y="308"/>
                  <a:pt x="580" y="307"/>
                  <a:pt x="581" y="307"/>
                </a:cubicBezTo>
                <a:cubicBezTo>
                  <a:pt x="581" y="307"/>
                  <a:pt x="580" y="307"/>
                  <a:pt x="580" y="307"/>
                </a:cubicBezTo>
                <a:cubicBezTo>
                  <a:pt x="580" y="306"/>
                  <a:pt x="581" y="306"/>
                  <a:pt x="581" y="306"/>
                </a:cubicBezTo>
                <a:cubicBezTo>
                  <a:pt x="581" y="306"/>
                  <a:pt x="581" y="306"/>
                  <a:pt x="582" y="306"/>
                </a:cubicBezTo>
                <a:cubicBezTo>
                  <a:pt x="582" y="305"/>
                  <a:pt x="582" y="305"/>
                  <a:pt x="582" y="305"/>
                </a:cubicBezTo>
                <a:cubicBezTo>
                  <a:pt x="582" y="305"/>
                  <a:pt x="582" y="305"/>
                  <a:pt x="582" y="305"/>
                </a:cubicBezTo>
                <a:cubicBezTo>
                  <a:pt x="583" y="305"/>
                  <a:pt x="583" y="305"/>
                  <a:pt x="583" y="306"/>
                </a:cubicBezTo>
                <a:cubicBezTo>
                  <a:pt x="583" y="306"/>
                  <a:pt x="584" y="306"/>
                  <a:pt x="584" y="305"/>
                </a:cubicBezTo>
                <a:cubicBezTo>
                  <a:pt x="584" y="305"/>
                  <a:pt x="584" y="305"/>
                  <a:pt x="584" y="305"/>
                </a:cubicBezTo>
                <a:cubicBezTo>
                  <a:pt x="584" y="305"/>
                  <a:pt x="585" y="305"/>
                  <a:pt x="585" y="305"/>
                </a:cubicBezTo>
                <a:cubicBezTo>
                  <a:pt x="586" y="305"/>
                  <a:pt x="586" y="304"/>
                  <a:pt x="587" y="304"/>
                </a:cubicBezTo>
                <a:cubicBezTo>
                  <a:pt x="587" y="304"/>
                  <a:pt x="588" y="304"/>
                  <a:pt x="588" y="303"/>
                </a:cubicBezTo>
                <a:cubicBezTo>
                  <a:pt x="589" y="303"/>
                  <a:pt x="589" y="303"/>
                  <a:pt x="590" y="303"/>
                </a:cubicBezTo>
                <a:cubicBezTo>
                  <a:pt x="590" y="303"/>
                  <a:pt x="591" y="303"/>
                  <a:pt x="591" y="303"/>
                </a:cubicBezTo>
                <a:cubicBezTo>
                  <a:pt x="592" y="302"/>
                  <a:pt x="592" y="302"/>
                  <a:pt x="593" y="301"/>
                </a:cubicBezTo>
                <a:cubicBezTo>
                  <a:pt x="594" y="301"/>
                  <a:pt x="594" y="301"/>
                  <a:pt x="595" y="301"/>
                </a:cubicBezTo>
                <a:cubicBezTo>
                  <a:pt x="595" y="300"/>
                  <a:pt x="595" y="300"/>
                  <a:pt x="596" y="300"/>
                </a:cubicBezTo>
                <a:cubicBezTo>
                  <a:pt x="596" y="300"/>
                  <a:pt x="596" y="300"/>
                  <a:pt x="596" y="300"/>
                </a:cubicBezTo>
                <a:cubicBezTo>
                  <a:pt x="597" y="300"/>
                  <a:pt x="597" y="300"/>
                  <a:pt x="597" y="300"/>
                </a:cubicBezTo>
                <a:cubicBezTo>
                  <a:pt x="597" y="300"/>
                  <a:pt x="597" y="300"/>
                  <a:pt x="597" y="300"/>
                </a:cubicBezTo>
                <a:cubicBezTo>
                  <a:pt x="596" y="300"/>
                  <a:pt x="596" y="300"/>
                  <a:pt x="595" y="300"/>
                </a:cubicBezTo>
                <a:cubicBezTo>
                  <a:pt x="595" y="300"/>
                  <a:pt x="595" y="300"/>
                  <a:pt x="594" y="300"/>
                </a:cubicBezTo>
                <a:cubicBezTo>
                  <a:pt x="595" y="300"/>
                  <a:pt x="595" y="300"/>
                  <a:pt x="595" y="299"/>
                </a:cubicBezTo>
                <a:cubicBezTo>
                  <a:pt x="595" y="299"/>
                  <a:pt x="595" y="299"/>
                  <a:pt x="596" y="299"/>
                </a:cubicBezTo>
                <a:cubicBezTo>
                  <a:pt x="595" y="299"/>
                  <a:pt x="595" y="299"/>
                  <a:pt x="595" y="299"/>
                </a:cubicBezTo>
                <a:cubicBezTo>
                  <a:pt x="595" y="299"/>
                  <a:pt x="594" y="299"/>
                  <a:pt x="593" y="299"/>
                </a:cubicBezTo>
                <a:cubicBezTo>
                  <a:pt x="593" y="299"/>
                  <a:pt x="593" y="299"/>
                  <a:pt x="592" y="299"/>
                </a:cubicBezTo>
                <a:cubicBezTo>
                  <a:pt x="592" y="299"/>
                  <a:pt x="592" y="298"/>
                  <a:pt x="592" y="298"/>
                </a:cubicBezTo>
                <a:cubicBezTo>
                  <a:pt x="592" y="298"/>
                  <a:pt x="592" y="298"/>
                  <a:pt x="592" y="298"/>
                </a:cubicBezTo>
                <a:cubicBezTo>
                  <a:pt x="592" y="298"/>
                  <a:pt x="591" y="298"/>
                  <a:pt x="591" y="299"/>
                </a:cubicBezTo>
                <a:cubicBezTo>
                  <a:pt x="591" y="299"/>
                  <a:pt x="590" y="299"/>
                  <a:pt x="590" y="299"/>
                </a:cubicBezTo>
                <a:cubicBezTo>
                  <a:pt x="590" y="299"/>
                  <a:pt x="589" y="299"/>
                  <a:pt x="589" y="299"/>
                </a:cubicBezTo>
                <a:cubicBezTo>
                  <a:pt x="588" y="299"/>
                  <a:pt x="588" y="299"/>
                  <a:pt x="588" y="299"/>
                </a:cubicBezTo>
                <a:cubicBezTo>
                  <a:pt x="588" y="299"/>
                  <a:pt x="587" y="299"/>
                  <a:pt x="587" y="299"/>
                </a:cubicBezTo>
                <a:cubicBezTo>
                  <a:pt x="587" y="299"/>
                  <a:pt x="586" y="299"/>
                  <a:pt x="586" y="299"/>
                </a:cubicBezTo>
                <a:cubicBezTo>
                  <a:pt x="586" y="299"/>
                  <a:pt x="586" y="299"/>
                  <a:pt x="585" y="299"/>
                </a:cubicBezTo>
                <a:cubicBezTo>
                  <a:pt x="585" y="299"/>
                  <a:pt x="584" y="299"/>
                  <a:pt x="584" y="299"/>
                </a:cubicBezTo>
                <a:cubicBezTo>
                  <a:pt x="583" y="299"/>
                  <a:pt x="582" y="299"/>
                  <a:pt x="582" y="299"/>
                </a:cubicBezTo>
                <a:cubicBezTo>
                  <a:pt x="582" y="299"/>
                  <a:pt x="583" y="299"/>
                  <a:pt x="583" y="299"/>
                </a:cubicBezTo>
                <a:cubicBezTo>
                  <a:pt x="583" y="298"/>
                  <a:pt x="583" y="298"/>
                  <a:pt x="583" y="298"/>
                </a:cubicBezTo>
                <a:cubicBezTo>
                  <a:pt x="583" y="298"/>
                  <a:pt x="582" y="298"/>
                  <a:pt x="582" y="298"/>
                </a:cubicBezTo>
                <a:cubicBezTo>
                  <a:pt x="581" y="298"/>
                  <a:pt x="581" y="298"/>
                  <a:pt x="581" y="298"/>
                </a:cubicBezTo>
                <a:cubicBezTo>
                  <a:pt x="581" y="298"/>
                  <a:pt x="580" y="298"/>
                  <a:pt x="580" y="298"/>
                </a:cubicBezTo>
                <a:cubicBezTo>
                  <a:pt x="580" y="298"/>
                  <a:pt x="580" y="298"/>
                  <a:pt x="579" y="298"/>
                </a:cubicBezTo>
                <a:cubicBezTo>
                  <a:pt x="579" y="297"/>
                  <a:pt x="579" y="297"/>
                  <a:pt x="579" y="297"/>
                </a:cubicBezTo>
                <a:cubicBezTo>
                  <a:pt x="579" y="297"/>
                  <a:pt x="578" y="297"/>
                  <a:pt x="578" y="296"/>
                </a:cubicBezTo>
                <a:cubicBezTo>
                  <a:pt x="578" y="296"/>
                  <a:pt x="578" y="296"/>
                  <a:pt x="578" y="296"/>
                </a:cubicBezTo>
                <a:cubicBezTo>
                  <a:pt x="578" y="296"/>
                  <a:pt x="578" y="295"/>
                  <a:pt x="578" y="295"/>
                </a:cubicBezTo>
                <a:cubicBezTo>
                  <a:pt x="578" y="295"/>
                  <a:pt x="578" y="295"/>
                  <a:pt x="578" y="295"/>
                </a:cubicBezTo>
                <a:cubicBezTo>
                  <a:pt x="578" y="294"/>
                  <a:pt x="578" y="294"/>
                  <a:pt x="578" y="294"/>
                </a:cubicBezTo>
                <a:cubicBezTo>
                  <a:pt x="577" y="294"/>
                  <a:pt x="577" y="294"/>
                  <a:pt x="576" y="295"/>
                </a:cubicBezTo>
                <a:cubicBezTo>
                  <a:pt x="576" y="294"/>
                  <a:pt x="576" y="294"/>
                  <a:pt x="577" y="294"/>
                </a:cubicBezTo>
                <a:cubicBezTo>
                  <a:pt x="577" y="294"/>
                  <a:pt x="577" y="294"/>
                  <a:pt x="577" y="294"/>
                </a:cubicBezTo>
                <a:cubicBezTo>
                  <a:pt x="577" y="293"/>
                  <a:pt x="578" y="292"/>
                  <a:pt x="578" y="292"/>
                </a:cubicBezTo>
                <a:cubicBezTo>
                  <a:pt x="578" y="291"/>
                  <a:pt x="579" y="291"/>
                  <a:pt x="579" y="291"/>
                </a:cubicBezTo>
                <a:cubicBezTo>
                  <a:pt x="579" y="291"/>
                  <a:pt x="579" y="291"/>
                  <a:pt x="579" y="290"/>
                </a:cubicBezTo>
                <a:cubicBezTo>
                  <a:pt x="578" y="291"/>
                  <a:pt x="578" y="291"/>
                  <a:pt x="578" y="291"/>
                </a:cubicBezTo>
                <a:cubicBezTo>
                  <a:pt x="578" y="291"/>
                  <a:pt x="578" y="291"/>
                  <a:pt x="578" y="290"/>
                </a:cubicBezTo>
                <a:cubicBezTo>
                  <a:pt x="577" y="291"/>
                  <a:pt x="577" y="291"/>
                  <a:pt x="576" y="291"/>
                </a:cubicBezTo>
                <a:cubicBezTo>
                  <a:pt x="576" y="291"/>
                  <a:pt x="576" y="291"/>
                  <a:pt x="576" y="291"/>
                </a:cubicBezTo>
                <a:cubicBezTo>
                  <a:pt x="575" y="292"/>
                  <a:pt x="575" y="292"/>
                  <a:pt x="574" y="292"/>
                </a:cubicBezTo>
                <a:cubicBezTo>
                  <a:pt x="574" y="292"/>
                  <a:pt x="574" y="292"/>
                  <a:pt x="574" y="292"/>
                </a:cubicBezTo>
                <a:cubicBezTo>
                  <a:pt x="574" y="291"/>
                  <a:pt x="574" y="291"/>
                  <a:pt x="573" y="291"/>
                </a:cubicBezTo>
                <a:cubicBezTo>
                  <a:pt x="573" y="291"/>
                  <a:pt x="572" y="291"/>
                  <a:pt x="571" y="291"/>
                </a:cubicBezTo>
                <a:cubicBezTo>
                  <a:pt x="571" y="291"/>
                  <a:pt x="570" y="291"/>
                  <a:pt x="570" y="291"/>
                </a:cubicBezTo>
                <a:cubicBezTo>
                  <a:pt x="569" y="291"/>
                  <a:pt x="569" y="292"/>
                  <a:pt x="568" y="292"/>
                </a:cubicBezTo>
                <a:cubicBezTo>
                  <a:pt x="569" y="291"/>
                  <a:pt x="569" y="291"/>
                  <a:pt x="570" y="291"/>
                </a:cubicBezTo>
                <a:cubicBezTo>
                  <a:pt x="570" y="291"/>
                  <a:pt x="570" y="291"/>
                  <a:pt x="571" y="291"/>
                </a:cubicBezTo>
                <a:cubicBezTo>
                  <a:pt x="571" y="291"/>
                  <a:pt x="572" y="291"/>
                  <a:pt x="572" y="290"/>
                </a:cubicBezTo>
                <a:cubicBezTo>
                  <a:pt x="572" y="290"/>
                  <a:pt x="572" y="290"/>
                  <a:pt x="573" y="290"/>
                </a:cubicBezTo>
                <a:cubicBezTo>
                  <a:pt x="573" y="290"/>
                  <a:pt x="573" y="290"/>
                  <a:pt x="574" y="290"/>
                </a:cubicBezTo>
                <a:cubicBezTo>
                  <a:pt x="574" y="290"/>
                  <a:pt x="575" y="290"/>
                  <a:pt x="575" y="290"/>
                </a:cubicBezTo>
                <a:cubicBezTo>
                  <a:pt x="575" y="290"/>
                  <a:pt x="576" y="290"/>
                  <a:pt x="576" y="290"/>
                </a:cubicBezTo>
                <a:cubicBezTo>
                  <a:pt x="576" y="290"/>
                  <a:pt x="577" y="289"/>
                  <a:pt x="577" y="289"/>
                </a:cubicBezTo>
                <a:cubicBezTo>
                  <a:pt x="578" y="289"/>
                  <a:pt x="578" y="289"/>
                  <a:pt x="578" y="289"/>
                </a:cubicBezTo>
                <a:cubicBezTo>
                  <a:pt x="578" y="289"/>
                  <a:pt x="579" y="288"/>
                  <a:pt x="579" y="288"/>
                </a:cubicBezTo>
                <a:cubicBezTo>
                  <a:pt x="580" y="288"/>
                  <a:pt x="580" y="288"/>
                  <a:pt x="580" y="288"/>
                </a:cubicBezTo>
                <a:cubicBezTo>
                  <a:pt x="580" y="287"/>
                  <a:pt x="581" y="287"/>
                  <a:pt x="581" y="286"/>
                </a:cubicBezTo>
                <a:cubicBezTo>
                  <a:pt x="581" y="286"/>
                  <a:pt x="580" y="286"/>
                  <a:pt x="580" y="286"/>
                </a:cubicBezTo>
                <a:cubicBezTo>
                  <a:pt x="580" y="286"/>
                  <a:pt x="581" y="286"/>
                  <a:pt x="581" y="286"/>
                </a:cubicBezTo>
                <a:cubicBezTo>
                  <a:pt x="581" y="286"/>
                  <a:pt x="581" y="285"/>
                  <a:pt x="580" y="285"/>
                </a:cubicBezTo>
                <a:cubicBezTo>
                  <a:pt x="580" y="285"/>
                  <a:pt x="580" y="285"/>
                  <a:pt x="579" y="285"/>
                </a:cubicBezTo>
                <a:cubicBezTo>
                  <a:pt x="579" y="285"/>
                  <a:pt x="579" y="285"/>
                  <a:pt x="578" y="286"/>
                </a:cubicBezTo>
                <a:cubicBezTo>
                  <a:pt x="578" y="285"/>
                  <a:pt x="578" y="285"/>
                  <a:pt x="578" y="285"/>
                </a:cubicBezTo>
                <a:cubicBezTo>
                  <a:pt x="578" y="285"/>
                  <a:pt x="578" y="285"/>
                  <a:pt x="578" y="285"/>
                </a:cubicBezTo>
                <a:cubicBezTo>
                  <a:pt x="579" y="285"/>
                  <a:pt x="579" y="285"/>
                  <a:pt x="580" y="285"/>
                </a:cubicBezTo>
                <a:cubicBezTo>
                  <a:pt x="580" y="285"/>
                  <a:pt x="580" y="285"/>
                  <a:pt x="580" y="285"/>
                </a:cubicBezTo>
                <a:cubicBezTo>
                  <a:pt x="579" y="285"/>
                  <a:pt x="578" y="284"/>
                  <a:pt x="578" y="284"/>
                </a:cubicBezTo>
                <a:cubicBezTo>
                  <a:pt x="577" y="284"/>
                  <a:pt x="576" y="284"/>
                  <a:pt x="575" y="284"/>
                </a:cubicBezTo>
                <a:cubicBezTo>
                  <a:pt x="574" y="284"/>
                  <a:pt x="573" y="285"/>
                  <a:pt x="572" y="285"/>
                </a:cubicBezTo>
                <a:cubicBezTo>
                  <a:pt x="571" y="285"/>
                  <a:pt x="571" y="285"/>
                  <a:pt x="571" y="285"/>
                </a:cubicBezTo>
                <a:cubicBezTo>
                  <a:pt x="570" y="286"/>
                  <a:pt x="570" y="286"/>
                  <a:pt x="570" y="286"/>
                </a:cubicBezTo>
                <a:cubicBezTo>
                  <a:pt x="569" y="286"/>
                  <a:pt x="568" y="287"/>
                  <a:pt x="566" y="287"/>
                </a:cubicBezTo>
                <a:cubicBezTo>
                  <a:pt x="566" y="287"/>
                  <a:pt x="565" y="288"/>
                  <a:pt x="564" y="288"/>
                </a:cubicBezTo>
                <a:cubicBezTo>
                  <a:pt x="563" y="288"/>
                  <a:pt x="563" y="289"/>
                  <a:pt x="563" y="289"/>
                </a:cubicBezTo>
                <a:cubicBezTo>
                  <a:pt x="562" y="289"/>
                  <a:pt x="562" y="289"/>
                  <a:pt x="561" y="289"/>
                </a:cubicBezTo>
                <a:cubicBezTo>
                  <a:pt x="560" y="290"/>
                  <a:pt x="560" y="290"/>
                  <a:pt x="559" y="291"/>
                </a:cubicBezTo>
                <a:cubicBezTo>
                  <a:pt x="558" y="292"/>
                  <a:pt x="557" y="293"/>
                  <a:pt x="556" y="293"/>
                </a:cubicBezTo>
                <a:cubicBezTo>
                  <a:pt x="555" y="294"/>
                  <a:pt x="554" y="295"/>
                  <a:pt x="553" y="296"/>
                </a:cubicBezTo>
                <a:cubicBezTo>
                  <a:pt x="553" y="296"/>
                  <a:pt x="553" y="296"/>
                  <a:pt x="552" y="296"/>
                </a:cubicBezTo>
                <a:cubicBezTo>
                  <a:pt x="552" y="296"/>
                  <a:pt x="552" y="297"/>
                  <a:pt x="551" y="297"/>
                </a:cubicBezTo>
                <a:cubicBezTo>
                  <a:pt x="551" y="298"/>
                  <a:pt x="551" y="298"/>
                  <a:pt x="550" y="299"/>
                </a:cubicBezTo>
                <a:cubicBezTo>
                  <a:pt x="550" y="299"/>
                  <a:pt x="549" y="300"/>
                  <a:pt x="549" y="300"/>
                </a:cubicBezTo>
                <a:cubicBezTo>
                  <a:pt x="548" y="300"/>
                  <a:pt x="547" y="301"/>
                  <a:pt x="547" y="301"/>
                </a:cubicBezTo>
                <a:cubicBezTo>
                  <a:pt x="546" y="302"/>
                  <a:pt x="545" y="302"/>
                  <a:pt x="544" y="303"/>
                </a:cubicBezTo>
                <a:cubicBezTo>
                  <a:pt x="544" y="303"/>
                  <a:pt x="543" y="303"/>
                  <a:pt x="543" y="303"/>
                </a:cubicBezTo>
                <a:cubicBezTo>
                  <a:pt x="543" y="303"/>
                  <a:pt x="544" y="302"/>
                  <a:pt x="544" y="302"/>
                </a:cubicBezTo>
                <a:cubicBezTo>
                  <a:pt x="545" y="302"/>
                  <a:pt x="546" y="301"/>
                  <a:pt x="547" y="301"/>
                </a:cubicBezTo>
                <a:cubicBezTo>
                  <a:pt x="547" y="301"/>
                  <a:pt x="547" y="300"/>
                  <a:pt x="547" y="300"/>
                </a:cubicBezTo>
                <a:cubicBezTo>
                  <a:pt x="548" y="300"/>
                  <a:pt x="548" y="299"/>
                  <a:pt x="549" y="299"/>
                </a:cubicBezTo>
                <a:cubicBezTo>
                  <a:pt x="549" y="298"/>
                  <a:pt x="549" y="298"/>
                  <a:pt x="550" y="298"/>
                </a:cubicBezTo>
                <a:cubicBezTo>
                  <a:pt x="550" y="297"/>
                  <a:pt x="550" y="297"/>
                  <a:pt x="550" y="297"/>
                </a:cubicBezTo>
                <a:cubicBezTo>
                  <a:pt x="550" y="297"/>
                  <a:pt x="550" y="297"/>
                  <a:pt x="551" y="296"/>
                </a:cubicBezTo>
                <a:cubicBezTo>
                  <a:pt x="551" y="296"/>
                  <a:pt x="552" y="296"/>
                  <a:pt x="552" y="295"/>
                </a:cubicBezTo>
                <a:cubicBezTo>
                  <a:pt x="552" y="295"/>
                  <a:pt x="553" y="295"/>
                  <a:pt x="553" y="294"/>
                </a:cubicBezTo>
                <a:cubicBezTo>
                  <a:pt x="553" y="294"/>
                  <a:pt x="553" y="294"/>
                  <a:pt x="553" y="293"/>
                </a:cubicBezTo>
                <a:cubicBezTo>
                  <a:pt x="554" y="293"/>
                  <a:pt x="555" y="292"/>
                  <a:pt x="555" y="292"/>
                </a:cubicBezTo>
                <a:cubicBezTo>
                  <a:pt x="556" y="291"/>
                  <a:pt x="556" y="291"/>
                  <a:pt x="556" y="290"/>
                </a:cubicBezTo>
                <a:cubicBezTo>
                  <a:pt x="557" y="290"/>
                  <a:pt x="557" y="290"/>
                  <a:pt x="557" y="290"/>
                </a:cubicBezTo>
                <a:cubicBezTo>
                  <a:pt x="557" y="290"/>
                  <a:pt x="557" y="290"/>
                  <a:pt x="557" y="290"/>
                </a:cubicBezTo>
                <a:cubicBezTo>
                  <a:pt x="557" y="289"/>
                  <a:pt x="558" y="289"/>
                  <a:pt x="558" y="289"/>
                </a:cubicBezTo>
                <a:cubicBezTo>
                  <a:pt x="558" y="289"/>
                  <a:pt x="559" y="289"/>
                  <a:pt x="559" y="288"/>
                </a:cubicBezTo>
                <a:cubicBezTo>
                  <a:pt x="559" y="288"/>
                  <a:pt x="559" y="288"/>
                  <a:pt x="559" y="288"/>
                </a:cubicBezTo>
                <a:cubicBezTo>
                  <a:pt x="560" y="287"/>
                  <a:pt x="560" y="287"/>
                  <a:pt x="560" y="287"/>
                </a:cubicBezTo>
                <a:cubicBezTo>
                  <a:pt x="560" y="287"/>
                  <a:pt x="561" y="287"/>
                  <a:pt x="561" y="287"/>
                </a:cubicBezTo>
                <a:cubicBezTo>
                  <a:pt x="561" y="287"/>
                  <a:pt x="561" y="287"/>
                  <a:pt x="561" y="287"/>
                </a:cubicBezTo>
                <a:cubicBezTo>
                  <a:pt x="561" y="287"/>
                  <a:pt x="562" y="286"/>
                  <a:pt x="562" y="286"/>
                </a:cubicBezTo>
                <a:cubicBezTo>
                  <a:pt x="563" y="286"/>
                  <a:pt x="563" y="286"/>
                  <a:pt x="564" y="286"/>
                </a:cubicBezTo>
                <a:cubicBezTo>
                  <a:pt x="564" y="285"/>
                  <a:pt x="564" y="285"/>
                  <a:pt x="565" y="285"/>
                </a:cubicBezTo>
                <a:cubicBezTo>
                  <a:pt x="565" y="285"/>
                  <a:pt x="566" y="285"/>
                  <a:pt x="566" y="285"/>
                </a:cubicBezTo>
                <a:cubicBezTo>
                  <a:pt x="566" y="285"/>
                  <a:pt x="567" y="284"/>
                  <a:pt x="567" y="284"/>
                </a:cubicBezTo>
                <a:cubicBezTo>
                  <a:pt x="567" y="284"/>
                  <a:pt x="567" y="283"/>
                  <a:pt x="567" y="283"/>
                </a:cubicBezTo>
                <a:cubicBezTo>
                  <a:pt x="567" y="283"/>
                  <a:pt x="567" y="283"/>
                  <a:pt x="567" y="283"/>
                </a:cubicBezTo>
                <a:cubicBezTo>
                  <a:pt x="567" y="282"/>
                  <a:pt x="567" y="282"/>
                  <a:pt x="567" y="282"/>
                </a:cubicBezTo>
                <a:cubicBezTo>
                  <a:pt x="567" y="282"/>
                  <a:pt x="568" y="282"/>
                  <a:pt x="568" y="281"/>
                </a:cubicBezTo>
                <a:cubicBezTo>
                  <a:pt x="569" y="281"/>
                  <a:pt x="569" y="280"/>
                  <a:pt x="570" y="280"/>
                </a:cubicBezTo>
                <a:cubicBezTo>
                  <a:pt x="570" y="280"/>
                  <a:pt x="571" y="280"/>
                  <a:pt x="571" y="280"/>
                </a:cubicBezTo>
                <a:cubicBezTo>
                  <a:pt x="571" y="279"/>
                  <a:pt x="571" y="279"/>
                  <a:pt x="571" y="279"/>
                </a:cubicBezTo>
                <a:cubicBezTo>
                  <a:pt x="571" y="279"/>
                  <a:pt x="571" y="279"/>
                  <a:pt x="571" y="279"/>
                </a:cubicBezTo>
                <a:cubicBezTo>
                  <a:pt x="571" y="279"/>
                  <a:pt x="571" y="279"/>
                  <a:pt x="571" y="278"/>
                </a:cubicBezTo>
                <a:cubicBezTo>
                  <a:pt x="571" y="278"/>
                  <a:pt x="572" y="278"/>
                  <a:pt x="572" y="278"/>
                </a:cubicBezTo>
                <a:cubicBezTo>
                  <a:pt x="572" y="278"/>
                  <a:pt x="573" y="278"/>
                  <a:pt x="573" y="278"/>
                </a:cubicBezTo>
                <a:cubicBezTo>
                  <a:pt x="573" y="278"/>
                  <a:pt x="574" y="278"/>
                  <a:pt x="574" y="278"/>
                </a:cubicBezTo>
                <a:cubicBezTo>
                  <a:pt x="575" y="278"/>
                  <a:pt x="576" y="278"/>
                  <a:pt x="577" y="278"/>
                </a:cubicBezTo>
                <a:cubicBezTo>
                  <a:pt x="577" y="278"/>
                  <a:pt x="578" y="278"/>
                  <a:pt x="578" y="278"/>
                </a:cubicBezTo>
                <a:cubicBezTo>
                  <a:pt x="579" y="278"/>
                  <a:pt x="579" y="278"/>
                  <a:pt x="579" y="278"/>
                </a:cubicBezTo>
                <a:cubicBezTo>
                  <a:pt x="579" y="278"/>
                  <a:pt x="579" y="278"/>
                  <a:pt x="580" y="278"/>
                </a:cubicBezTo>
                <a:cubicBezTo>
                  <a:pt x="580" y="277"/>
                  <a:pt x="580" y="277"/>
                  <a:pt x="581" y="277"/>
                </a:cubicBezTo>
                <a:cubicBezTo>
                  <a:pt x="581" y="277"/>
                  <a:pt x="581" y="277"/>
                  <a:pt x="582" y="277"/>
                </a:cubicBezTo>
                <a:cubicBezTo>
                  <a:pt x="582" y="277"/>
                  <a:pt x="582" y="277"/>
                  <a:pt x="583" y="277"/>
                </a:cubicBezTo>
                <a:cubicBezTo>
                  <a:pt x="583" y="277"/>
                  <a:pt x="583" y="277"/>
                  <a:pt x="583" y="276"/>
                </a:cubicBezTo>
                <a:cubicBezTo>
                  <a:pt x="584" y="277"/>
                  <a:pt x="584" y="277"/>
                  <a:pt x="585" y="277"/>
                </a:cubicBezTo>
                <a:cubicBezTo>
                  <a:pt x="585" y="277"/>
                  <a:pt x="586" y="277"/>
                  <a:pt x="586" y="277"/>
                </a:cubicBezTo>
                <a:cubicBezTo>
                  <a:pt x="587" y="276"/>
                  <a:pt x="587" y="276"/>
                  <a:pt x="587" y="276"/>
                </a:cubicBezTo>
                <a:cubicBezTo>
                  <a:pt x="587" y="276"/>
                  <a:pt x="587" y="276"/>
                  <a:pt x="588" y="276"/>
                </a:cubicBezTo>
                <a:cubicBezTo>
                  <a:pt x="588" y="276"/>
                  <a:pt x="588" y="276"/>
                  <a:pt x="589" y="276"/>
                </a:cubicBezTo>
                <a:cubicBezTo>
                  <a:pt x="589" y="276"/>
                  <a:pt x="590" y="276"/>
                  <a:pt x="590" y="276"/>
                </a:cubicBezTo>
                <a:cubicBezTo>
                  <a:pt x="590" y="276"/>
                  <a:pt x="590" y="276"/>
                  <a:pt x="590" y="276"/>
                </a:cubicBezTo>
                <a:cubicBezTo>
                  <a:pt x="591" y="276"/>
                  <a:pt x="592" y="276"/>
                  <a:pt x="592" y="276"/>
                </a:cubicBezTo>
                <a:cubicBezTo>
                  <a:pt x="592" y="276"/>
                  <a:pt x="593" y="276"/>
                  <a:pt x="593" y="276"/>
                </a:cubicBezTo>
                <a:cubicBezTo>
                  <a:pt x="593" y="276"/>
                  <a:pt x="594" y="276"/>
                  <a:pt x="594" y="275"/>
                </a:cubicBezTo>
                <a:cubicBezTo>
                  <a:pt x="594" y="275"/>
                  <a:pt x="594" y="275"/>
                  <a:pt x="595" y="275"/>
                </a:cubicBezTo>
                <a:cubicBezTo>
                  <a:pt x="595" y="275"/>
                  <a:pt x="595" y="276"/>
                  <a:pt x="594" y="276"/>
                </a:cubicBezTo>
                <a:cubicBezTo>
                  <a:pt x="595" y="276"/>
                  <a:pt x="595" y="276"/>
                  <a:pt x="596" y="276"/>
                </a:cubicBezTo>
                <a:cubicBezTo>
                  <a:pt x="596" y="275"/>
                  <a:pt x="597" y="275"/>
                  <a:pt x="598" y="275"/>
                </a:cubicBezTo>
                <a:cubicBezTo>
                  <a:pt x="598" y="275"/>
                  <a:pt x="598" y="275"/>
                  <a:pt x="598" y="275"/>
                </a:cubicBezTo>
                <a:cubicBezTo>
                  <a:pt x="599" y="274"/>
                  <a:pt x="599" y="274"/>
                  <a:pt x="600" y="274"/>
                </a:cubicBezTo>
                <a:cubicBezTo>
                  <a:pt x="600" y="274"/>
                  <a:pt x="600" y="274"/>
                  <a:pt x="600" y="274"/>
                </a:cubicBezTo>
                <a:cubicBezTo>
                  <a:pt x="601" y="274"/>
                  <a:pt x="601" y="274"/>
                  <a:pt x="602" y="274"/>
                </a:cubicBezTo>
                <a:cubicBezTo>
                  <a:pt x="602" y="274"/>
                  <a:pt x="602" y="274"/>
                  <a:pt x="603" y="274"/>
                </a:cubicBezTo>
                <a:cubicBezTo>
                  <a:pt x="603" y="274"/>
                  <a:pt x="603" y="274"/>
                  <a:pt x="604" y="274"/>
                </a:cubicBezTo>
                <a:cubicBezTo>
                  <a:pt x="604" y="274"/>
                  <a:pt x="604" y="273"/>
                  <a:pt x="604" y="273"/>
                </a:cubicBezTo>
                <a:cubicBezTo>
                  <a:pt x="604" y="273"/>
                  <a:pt x="604" y="273"/>
                  <a:pt x="605" y="273"/>
                </a:cubicBezTo>
                <a:cubicBezTo>
                  <a:pt x="605" y="273"/>
                  <a:pt x="605" y="273"/>
                  <a:pt x="605" y="273"/>
                </a:cubicBezTo>
                <a:cubicBezTo>
                  <a:pt x="606" y="273"/>
                  <a:pt x="606" y="273"/>
                  <a:pt x="606" y="273"/>
                </a:cubicBezTo>
                <a:cubicBezTo>
                  <a:pt x="606" y="272"/>
                  <a:pt x="606" y="272"/>
                  <a:pt x="606" y="272"/>
                </a:cubicBezTo>
                <a:cubicBezTo>
                  <a:pt x="607" y="272"/>
                  <a:pt x="607" y="271"/>
                  <a:pt x="607" y="271"/>
                </a:cubicBezTo>
                <a:cubicBezTo>
                  <a:pt x="607" y="271"/>
                  <a:pt x="607" y="271"/>
                  <a:pt x="608" y="271"/>
                </a:cubicBezTo>
                <a:cubicBezTo>
                  <a:pt x="608" y="271"/>
                  <a:pt x="608" y="271"/>
                  <a:pt x="608" y="271"/>
                </a:cubicBezTo>
                <a:cubicBezTo>
                  <a:pt x="609" y="270"/>
                  <a:pt x="609" y="270"/>
                  <a:pt x="609" y="270"/>
                </a:cubicBezTo>
                <a:cubicBezTo>
                  <a:pt x="609" y="269"/>
                  <a:pt x="609" y="269"/>
                  <a:pt x="609" y="269"/>
                </a:cubicBezTo>
                <a:cubicBezTo>
                  <a:pt x="609" y="269"/>
                  <a:pt x="609" y="269"/>
                  <a:pt x="610" y="269"/>
                </a:cubicBezTo>
                <a:cubicBezTo>
                  <a:pt x="610" y="269"/>
                  <a:pt x="610" y="269"/>
                  <a:pt x="610" y="268"/>
                </a:cubicBezTo>
                <a:cubicBezTo>
                  <a:pt x="610" y="268"/>
                  <a:pt x="610" y="268"/>
                  <a:pt x="610" y="268"/>
                </a:cubicBezTo>
                <a:cubicBezTo>
                  <a:pt x="610" y="268"/>
                  <a:pt x="610" y="268"/>
                  <a:pt x="610" y="268"/>
                </a:cubicBezTo>
                <a:cubicBezTo>
                  <a:pt x="610" y="268"/>
                  <a:pt x="610" y="268"/>
                  <a:pt x="610" y="268"/>
                </a:cubicBezTo>
                <a:cubicBezTo>
                  <a:pt x="610" y="267"/>
                  <a:pt x="611" y="267"/>
                  <a:pt x="611" y="267"/>
                </a:cubicBezTo>
                <a:cubicBezTo>
                  <a:pt x="612" y="267"/>
                  <a:pt x="612" y="267"/>
                  <a:pt x="612" y="267"/>
                </a:cubicBezTo>
                <a:cubicBezTo>
                  <a:pt x="612" y="267"/>
                  <a:pt x="612" y="267"/>
                  <a:pt x="612" y="267"/>
                </a:cubicBezTo>
                <a:cubicBezTo>
                  <a:pt x="612" y="267"/>
                  <a:pt x="612" y="266"/>
                  <a:pt x="612" y="266"/>
                </a:cubicBezTo>
                <a:cubicBezTo>
                  <a:pt x="613" y="266"/>
                  <a:pt x="613" y="267"/>
                  <a:pt x="613" y="267"/>
                </a:cubicBezTo>
                <a:cubicBezTo>
                  <a:pt x="613" y="267"/>
                  <a:pt x="614" y="267"/>
                  <a:pt x="614" y="267"/>
                </a:cubicBezTo>
                <a:cubicBezTo>
                  <a:pt x="615" y="266"/>
                  <a:pt x="615" y="266"/>
                  <a:pt x="615" y="266"/>
                </a:cubicBezTo>
                <a:cubicBezTo>
                  <a:pt x="615" y="266"/>
                  <a:pt x="615" y="266"/>
                  <a:pt x="616" y="266"/>
                </a:cubicBezTo>
                <a:cubicBezTo>
                  <a:pt x="616" y="266"/>
                  <a:pt x="616" y="266"/>
                  <a:pt x="616" y="266"/>
                </a:cubicBezTo>
                <a:cubicBezTo>
                  <a:pt x="617" y="266"/>
                  <a:pt x="617" y="266"/>
                  <a:pt x="617" y="266"/>
                </a:cubicBezTo>
                <a:cubicBezTo>
                  <a:pt x="617" y="266"/>
                  <a:pt x="618" y="266"/>
                  <a:pt x="618" y="266"/>
                </a:cubicBezTo>
                <a:cubicBezTo>
                  <a:pt x="618" y="266"/>
                  <a:pt x="618" y="266"/>
                  <a:pt x="619" y="266"/>
                </a:cubicBezTo>
                <a:cubicBezTo>
                  <a:pt x="619" y="265"/>
                  <a:pt x="619" y="265"/>
                  <a:pt x="619" y="265"/>
                </a:cubicBezTo>
                <a:cubicBezTo>
                  <a:pt x="619" y="265"/>
                  <a:pt x="619" y="265"/>
                  <a:pt x="619" y="265"/>
                </a:cubicBezTo>
                <a:cubicBezTo>
                  <a:pt x="620" y="265"/>
                  <a:pt x="620" y="265"/>
                  <a:pt x="620" y="264"/>
                </a:cubicBezTo>
                <a:cubicBezTo>
                  <a:pt x="620" y="264"/>
                  <a:pt x="621" y="264"/>
                  <a:pt x="621" y="264"/>
                </a:cubicBezTo>
                <a:cubicBezTo>
                  <a:pt x="621" y="264"/>
                  <a:pt x="621" y="264"/>
                  <a:pt x="622" y="263"/>
                </a:cubicBezTo>
                <a:cubicBezTo>
                  <a:pt x="622" y="263"/>
                  <a:pt x="622" y="263"/>
                  <a:pt x="623" y="263"/>
                </a:cubicBezTo>
                <a:cubicBezTo>
                  <a:pt x="623" y="263"/>
                  <a:pt x="624" y="263"/>
                  <a:pt x="624" y="262"/>
                </a:cubicBezTo>
                <a:cubicBezTo>
                  <a:pt x="624" y="262"/>
                  <a:pt x="624" y="262"/>
                  <a:pt x="624" y="262"/>
                </a:cubicBezTo>
                <a:cubicBezTo>
                  <a:pt x="625" y="262"/>
                  <a:pt x="625" y="261"/>
                  <a:pt x="625" y="261"/>
                </a:cubicBezTo>
                <a:cubicBezTo>
                  <a:pt x="625" y="261"/>
                  <a:pt x="625" y="261"/>
                  <a:pt x="625" y="261"/>
                </a:cubicBezTo>
                <a:cubicBezTo>
                  <a:pt x="625" y="260"/>
                  <a:pt x="626" y="260"/>
                  <a:pt x="626" y="260"/>
                </a:cubicBezTo>
                <a:cubicBezTo>
                  <a:pt x="625" y="260"/>
                  <a:pt x="625" y="260"/>
                  <a:pt x="625" y="260"/>
                </a:cubicBezTo>
                <a:cubicBezTo>
                  <a:pt x="625" y="260"/>
                  <a:pt x="624" y="260"/>
                  <a:pt x="624" y="260"/>
                </a:cubicBezTo>
                <a:cubicBezTo>
                  <a:pt x="624" y="260"/>
                  <a:pt x="624" y="260"/>
                  <a:pt x="623" y="260"/>
                </a:cubicBezTo>
                <a:cubicBezTo>
                  <a:pt x="623" y="260"/>
                  <a:pt x="624" y="260"/>
                  <a:pt x="624" y="260"/>
                </a:cubicBezTo>
                <a:cubicBezTo>
                  <a:pt x="624" y="260"/>
                  <a:pt x="625" y="260"/>
                  <a:pt x="625" y="260"/>
                </a:cubicBezTo>
                <a:cubicBezTo>
                  <a:pt x="625" y="260"/>
                  <a:pt x="625" y="259"/>
                  <a:pt x="626" y="259"/>
                </a:cubicBezTo>
                <a:cubicBezTo>
                  <a:pt x="625" y="259"/>
                  <a:pt x="625" y="259"/>
                  <a:pt x="625" y="259"/>
                </a:cubicBezTo>
                <a:cubicBezTo>
                  <a:pt x="624" y="259"/>
                  <a:pt x="624" y="259"/>
                  <a:pt x="624" y="259"/>
                </a:cubicBezTo>
                <a:cubicBezTo>
                  <a:pt x="623" y="259"/>
                  <a:pt x="623" y="259"/>
                  <a:pt x="622" y="259"/>
                </a:cubicBezTo>
                <a:cubicBezTo>
                  <a:pt x="622" y="259"/>
                  <a:pt x="622" y="259"/>
                  <a:pt x="622" y="258"/>
                </a:cubicBezTo>
                <a:cubicBezTo>
                  <a:pt x="622" y="259"/>
                  <a:pt x="623" y="259"/>
                  <a:pt x="623" y="259"/>
                </a:cubicBezTo>
                <a:cubicBezTo>
                  <a:pt x="623" y="259"/>
                  <a:pt x="624" y="259"/>
                  <a:pt x="624" y="258"/>
                </a:cubicBezTo>
                <a:cubicBezTo>
                  <a:pt x="624" y="258"/>
                  <a:pt x="624" y="258"/>
                  <a:pt x="624" y="258"/>
                </a:cubicBezTo>
                <a:cubicBezTo>
                  <a:pt x="624" y="258"/>
                  <a:pt x="624" y="257"/>
                  <a:pt x="625" y="257"/>
                </a:cubicBezTo>
                <a:cubicBezTo>
                  <a:pt x="625" y="257"/>
                  <a:pt x="625" y="257"/>
                  <a:pt x="625" y="257"/>
                </a:cubicBezTo>
                <a:cubicBezTo>
                  <a:pt x="624" y="257"/>
                  <a:pt x="624" y="257"/>
                  <a:pt x="623" y="257"/>
                </a:cubicBezTo>
                <a:cubicBezTo>
                  <a:pt x="624" y="256"/>
                  <a:pt x="624" y="256"/>
                  <a:pt x="624" y="256"/>
                </a:cubicBezTo>
                <a:cubicBezTo>
                  <a:pt x="624" y="256"/>
                  <a:pt x="625" y="256"/>
                  <a:pt x="625" y="256"/>
                </a:cubicBezTo>
                <a:cubicBezTo>
                  <a:pt x="625" y="256"/>
                  <a:pt x="626" y="256"/>
                  <a:pt x="626" y="255"/>
                </a:cubicBezTo>
                <a:cubicBezTo>
                  <a:pt x="626" y="255"/>
                  <a:pt x="626" y="255"/>
                  <a:pt x="625" y="255"/>
                </a:cubicBezTo>
                <a:cubicBezTo>
                  <a:pt x="625" y="255"/>
                  <a:pt x="624" y="255"/>
                  <a:pt x="624" y="255"/>
                </a:cubicBezTo>
                <a:cubicBezTo>
                  <a:pt x="624" y="254"/>
                  <a:pt x="624" y="254"/>
                  <a:pt x="623" y="254"/>
                </a:cubicBezTo>
                <a:cubicBezTo>
                  <a:pt x="624" y="254"/>
                  <a:pt x="624" y="254"/>
                  <a:pt x="624" y="254"/>
                </a:cubicBezTo>
                <a:cubicBezTo>
                  <a:pt x="624" y="254"/>
                  <a:pt x="625" y="254"/>
                  <a:pt x="625" y="254"/>
                </a:cubicBezTo>
                <a:cubicBezTo>
                  <a:pt x="625" y="254"/>
                  <a:pt x="625" y="254"/>
                  <a:pt x="625" y="254"/>
                </a:cubicBezTo>
                <a:cubicBezTo>
                  <a:pt x="624" y="254"/>
                  <a:pt x="624" y="254"/>
                  <a:pt x="623" y="253"/>
                </a:cubicBezTo>
                <a:cubicBezTo>
                  <a:pt x="623" y="254"/>
                  <a:pt x="622" y="254"/>
                  <a:pt x="622" y="254"/>
                </a:cubicBezTo>
                <a:cubicBezTo>
                  <a:pt x="622" y="254"/>
                  <a:pt x="622" y="253"/>
                  <a:pt x="622" y="253"/>
                </a:cubicBezTo>
                <a:cubicBezTo>
                  <a:pt x="622" y="253"/>
                  <a:pt x="622" y="253"/>
                  <a:pt x="622" y="253"/>
                </a:cubicBezTo>
                <a:cubicBezTo>
                  <a:pt x="622" y="253"/>
                  <a:pt x="622" y="253"/>
                  <a:pt x="622" y="253"/>
                </a:cubicBezTo>
                <a:cubicBezTo>
                  <a:pt x="621" y="253"/>
                  <a:pt x="621" y="253"/>
                  <a:pt x="621" y="253"/>
                </a:cubicBezTo>
                <a:cubicBezTo>
                  <a:pt x="620" y="253"/>
                  <a:pt x="620" y="254"/>
                  <a:pt x="619" y="254"/>
                </a:cubicBezTo>
                <a:cubicBezTo>
                  <a:pt x="619" y="254"/>
                  <a:pt x="619" y="254"/>
                  <a:pt x="619" y="254"/>
                </a:cubicBezTo>
                <a:cubicBezTo>
                  <a:pt x="619" y="255"/>
                  <a:pt x="619" y="255"/>
                  <a:pt x="618" y="255"/>
                </a:cubicBezTo>
                <a:cubicBezTo>
                  <a:pt x="618" y="255"/>
                  <a:pt x="618" y="255"/>
                  <a:pt x="618" y="254"/>
                </a:cubicBezTo>
                <a:cubicBezTo>
                  <a:pt x="618" y="254"/>
                  <a:pt x="617" y="255"/>
                  <a:pt x="617" y="255"/>
                </a:cubicBezTo>
                <a:cubicBezTo>
                  <a:pt x="617" y="254"/>
                  <a:pt x="617" y="254"/>
                  <a:pt x="617" y="254"/>
                </a:cubicBezTo>
                <a:cubicBezTo>
                  <a:pt x="617" y="254"/>
                  <a:pt x="618" y="254"/>
                  <a:pt x="618" y="254"/>
                </a:cubicBezTo>
                <a:cubicBezTo>
                  <a:pt x="618" y="253"/>
                  <a:pt x="619" y="253"/>
                  <a:pt x="619" y="253"/>
                </a:cubicBezTo>
                <a:cubicBezTo>
                  <a:pt x="619" y="253"/>
                  <a:pt x="619" y="252"/>
                  <a:pt x="619" y="252"/>
                </a:cubicBezTo>
                <a:cubicBezTo>
                  <a:pt x="619" y="252"/>
                  <a:pt x="618" y="251"/>
                  <a:pt x="618" y="251"/>
                </a:cubicBezTo>
                <a:cubicBezTo>
                  <a:pt x="617" y="251"/>
                  <a:pt x="617" y="251"/>
                  <a:pt x="616" y="251"/>
                </a:cubicBezTo>
                <a:cubicBezTo>
                  <a:pt x="615" y="251"/>
                  <a:pt x="615" y="252"/>
                  <a:pt x="614" y="252"/>
                </a:cubicBezTo>
                <a:cubicBezTo>
                  <a:pt x="614" y="252"/>
                  <a:pt x="613" y="252"/>
                  <a:pt x="613" y="252"/>
                </a:cubicBezTo>
                <a:cubicBezTo>
                  <a:pt x="613" y="252"/>
                  <a:pt x="613" y="252"/>
                  <a:pt x="613" y="252"/>
                </a:cubicBezTo>
                <a:cubicBezTo>
                  <a:pt x="614" y="252"/>
                  <a:pt x="614" y="252"/>
                  <a:pt x="615" y="252"/>
                </a:cubicBezTo>
                <a:cubicBezTo>
                  <a:pt x="615" y="252"/>
                  <a:pt x="615" y="252"/>
                  <a:pt x="615" y="252"/>
                </a:cubicBezTo>
                <a:cubicBezTo>
                  <a:pt x="615" y="252"/>
                  <a:pt x="614" y="252"/>
                  <a:pt x="614" y="252"/>
                </a:cubicBezTo>
                <a:cubicBezTo>
                  <a:pt x="614" y="252"/>
                  <a:pt x="613" y="252"/>
                  <a:pt x="613" y="253"/>
                </a:cubicBezTo>
                <a:cubicBezTo>
                  <a:pt x="612" y="253"/>
                  <a:pt x="612" y="253"/>
                  <a:pt x="611" y="253"/>
                </a:cubicBezTo>
                <a:cubicBezTo>
                  <a:pt x="611" y="253"/>
                  <a:pt x="610" y="254"/>
                  <a:pt x="610" y="254"/>
                </a:cubicBezTo>
                <a:cubicBezTo>
                  <a:pt x="609" y="254"/>
                  <a:pt x="609" y="254"/>
                  <a:pt x="609" y="255"/>
                </a:cubicBezTo>
                <a:cubicBezTo>
                  <a:pt x="609" y="255"/>
                  <a:pt x="609" y="255"/>
                  <a:pt x="609" y="255"/>
                </a:cubicBezTo>
                <a:cubicBezTo>
                  <a:pt x="608" y="255"/>
                  <a:pt x="608" y="256"/>
                  <a:pt x="608" y="256"/>
                </a:cubicBezTo>
                <a:cubicBezTo>
                  <a:pt x="607" y="256"/>
                  <a:pt x="607" y="256"/>
                  <a:pt x="607" y="256"/>
                </a:cubicBezTo>
                <a:cubicBezTo>
                  <a:pt x="606" y="257"/>
                  <a:pt x="606" y="257"/>
                  <a:pt x="605" y="257"/>
                </a:cubicBezTo>
                <a:cubicBezTo>
                  <a:pt x="605" y="257"/>
                  <a:pt x="605" y="258"/>
                  <a:pt x="604" y="258"/>
                </a:cubicBezTo>
                <a:cubicBezTo>
                  <a:pt x="604" y="258"/>
                  <a:pt x="604" y="258"/>
                  <a:pt x="604" y="258"/>
                </a:cubicBezTo>
                <a:cubicBezTo>
                  <a:pt x="604" y="258"/>
                  <a:pt x="603" y="258"/>
                  <a:pt x="603" y="259"/>
                </a:cubicBezTo>
                <a:cubicBezTo>
                  <a:pt x="603" y="259"/>
                  <a:pt x="603" y="259"/>
                  <a:pt x="603" y="259"/>
                </a:cubicBezTo>
                <a:cubicBezTo>
                  <a:pt x="603" y="258"/>
                  <a:pt x="602" y="258"/>
                  <a:pt x="602" y="258"/>
                </a:cubicBezTo>
                <a:cubicBezTo>
                  <a:pt x="602" y="258"/>
                  <a:pt x="603" y="258"/>
                  <a:pt x="603" y="258"/>
                </a:cubicBezTo>
                <a:cubicBezTo>
                  <a:pt x="603" y="258"/>
                  <a:pt x="603" y="258"/>
                  <a:pt x="604" y="258"/>
                </a:cubicBezTo>
                <a:cubicBezTo>
                  <a:pt x="604" y="257"/>
                  <a:pt x="604" y="257"/>
                  <a:pt x="604" y="257"/>
                </a:cubicBezTo>
                <a:cubicBezTo>
                  <a:pt x="603" y="257"/>
                  <a:pt x="602" y="257"/>
                  <a:pt x="601" y="256"/>
                </a:cubicBezTo>
                <a:cubicBezTo>
                  <a:pt x="601" y="256"/>
                  <a:pt x="601" y="256"/>
                  <a:pt x="601" y="256"/>
                </a:cubicBezTo>
                <a:cubicBezTo>
                  <a:pt x="601" y="256"/>
                  <a:pt x="601" y="256"/>
                  <a:pt x="600" y="256"/>
                </a:cubicBezTo>
                <a:cubicBezTo>
                  <a:pt x="600" y="256"/>
                  <a:pt x="600" y="256"/>
                  <a:pt x="600" y="256"/>
                </a:cubicBezTo>
                <a:cubicBezTo>
                  <a:pt x="600" y="255"/>
                  <a:pt x="600" y="255"/>
                  <a:pt x="600" y="255"/>
                </a:cubicBezTo>
                <a:cubicBezTo>
                  <a:pt x="601" y="255"/>
                  <a:pt x="601" y="256"/>
                  <a:pt x="602" y="256"/>
                </a:cubicBezTo>
                <a:cubicBezTo>
                  <a:pt x="602" y="256"/>
                  <a:pt x="603" y="256"/>
                  <a:pt x="604" y="257"/>
                </a:cubicBezTo>
                <a:cubicBezTo>
                  <a:pt x="604" y="256"/>
                  <a:pt x="604" y="256"/>
                  <a:pt x="604" y="256"/>
                </a:cubicBezTo>
                <a:cubicBezTo>
                  <a:pt x="604" y="256"/>
                  <a:pt x="604" y="256"/>
                  <a:pt x="604" y="255"/>
                </a:cubicBezTo>
                <a:cubicBezTo>
                  <a:pt x="605" y="255"/>
                  <a:pt x="605" y="255"/>
                  <a:pt x="605" y="255"/>
                </a:cubicBezTo>
                <a:cubicBezTo>
                  <a:pt x="606" y="255"/>
                  <a:pt x="606" y="255"/>
                  <a:pt x="606" y="255"/>
                </a:cubicBezTo>
                <a:cubicBezTo>
                  <a:pt x="607" y="254"/>
                  <a:pt x="607" y="254"/>
                  <a:pt x="608" y="254"/>
                </a:cubicBezTo>
                <a:cubicBezTo>
                  <a:pt x="608" y="253"/>
                  <a:pt x="609" y="253"/>
                  <a:pt x="610" y="253"/>
                </a:cubicBezTo>
                <a:cubicBezTo>
                  <a:pt x="610" y="253"/>
                  <a:pt x="611" y="253"/>
                  <a:pt x="612" y="252"/>
                </a:cubicBezTo>
                <a:cubicBezTo>
                  <a:pt x="612" y="252"/>
                  <a:pt x="612" y="252"/>
                  <a:pt x="612" y="252"/>
                </a:cubicBezTo>
                <a:cubicBezTo>
                  <a:pt x="611" y="252"/>
                  <a:pt x="611" y="252"/>
                  <a:pt x="611" y="252"/>
                </a:cubicBezTo>
                <a:cubicBezTo>
                  <a:pt x="610" y="252"/>
                  <a:pt x="609" y="253"/>
                  <a:pt x="609" y="253"/>
                </a:cubicBezTo>
                <a:cubicBezTo>
                  <a:pt x="608" y="253"/>
                  <a:pt x="607" y="253"/>
                  <a:pt x="607" y="254"/>
                </a:cubicBezTo>
                <a:cubicBezTo>
                  <a:pt x="607" y="253"/>
                  <a:pt x="607" y="253"/>
                  <a:pt x="607" y="253"/>
                </a:cubicBezTo>
                <a:cubicBezTo>
                  <a:pt x="608" y="253"/>
                  <a:pt x="609" y="253"/>
                  <a:pt x="610" y="252"/>
                </a:cubicBezTo>
                <a:cubicBezTo>
                  <a:pt x="610" y="252"/>
                  <a:pt x="611" y="252"/>
                  <a:pt x="612" y="252"/>
                </a:cubicBezTo>
                <a:cubicBezTo>
                  <a:pt x="612" y="252"/>
                  <a:pt x="612" y="251"/>
                  <a:pt x="612" y="251"/>
                </a:cubicBezTo>
                <a:cubicBezTo>
                  <a:pt x="613" y="251"/>
                  <a:pt x="614" y="251"/>
                  <a:pt x="614" y="250"/>
                </a:cubicBezTo>
                <a:cubicBezTo>
                  <a:pt x="614" y="250"/>
                  <a:pt x="614" y="250"/>
                  <a:pt x="615" y="250"/>
                </a:cubicBezTo>
                <a:cubicBezTo>
                  <a:pt x="615" y="250"/>
                  <a:pt x="616" y="250"/>
                  <a:pt x="617" y="250"/>
                </a:cubicBezTo>
                <a:cubicBezTo>
                  <a:pt x="617" y="250"/>
                  <a:pt x="617" y="250"/>
                  <a:pt x="617" y="250"/>
                </a:cubicBezTo>
                <a:cubicBezTo>
                  <a:pt x="617" y="249"/>
                  <a:pt x="618" y="249"/>
                  <a:pt x="618" y="249"/>
                </a:cubicBezTo>
                <a:cubicBezTo>
                  <a:pt x="618" y="249"/>
                  <a:pt x="618" y="249"/>
                  <a:pt x="617" y="249"/>
                </a:cubicBezTo>
                <a:cubicBezTo>
                  <a:pt x="616" y="249"/>
                  <a:pt x="615" y="249"/>
                  <a:pt x="614" y="249"/>
                </a:cubicBezTo>
                <a:cubicBezTo>
                  <a:pt x="615" y="248"/>
                  <a:pt x="615" y="248"/>
                  <a:pt x="615" y="248"/>
                </a:cubicBezTo>
                <a:cubicBezTo>
                  <a:pt x="615" y="248"/>
                  <a:pt x="615" y="248"/>
                  <a:pt x="615" y="248"/>
                </a:cubicBezTo>
                <a:cubicBezTo>
                  <a:pt x="616" y="248"/>
                  <a:pt x="616" y="248"/>
                  <a:pt x="616" y="247"/>
                </a:cubicBezTo>
                <a:cubicBezTo>
                  <a:pt x="616" y="247"/>
                  <a:pt x="615" y="247"/>
                  <a:pt x="615" y="247"/>
                </a:cubicBezTo>
                <a:cubicBezTo>
                  <a:pt x="615" y="247"/>
                  <a:pt x="614" y="248"/>
                  <a:pt x="614" y="248"/>
                </a:cubicBezTo>
                <a:cubicBezTo>
                  <a:pt x="613" y="248"/>
                  <a:pt x="613" y="248"/>
                  <a:pt x="613" y="249"/>
                </a:cubicBezTo>
                <a:cubicBezTo>
                  <a:pt x="612" y="249"/>
                  <a:pt x="612" y="248"/>
                  <a:pt x="612" y="248"/>
                </a:cubicBezTo>
                <a:cubicBezTo>
                  <a:pt x="611" y="248"/>
                  <a:pt x="611" y="249"/>
                  <a:pt x="610" y="249"/>
                </a:cubicBezTo>
                <a:cubicBezTo>
                  <a:pt x="610" y="249"/>
                  <a:pt x="610" y="248"/>
                  <a:pt x="610" y="248"/>
                </a:cubicBezTo>
                <a:cubicBezTo>
                  <a:pt x="610" y="248"/>
                  <a:pt x="611" y="248"/>
                  <a:pt x="611" y="248"/>
                </a:cubicBezTo>
                <a:cubicBezTo>
                  <a:pt x="611" y="248"/>
                  <a:pt x="611" y="247"/>
                  <a:pt x="611" y="247"/>
                </a:cubicBezTo>
                <a:cubicBezTo>
                  <a:pt x="611" y="247"/>
                  <a:pt x="611" y="247"/>
                  <a:pt x="611" y="246"/>
                </a:cubicBezTo>
                <a:cubicBezTo>
                  <a:pt x="610" y="247"/>
                  <a:pt x="610" y="247"/>
                  <a:pt x="609" y="247"/>
                </a:cubicBezTo>
                <a:cubicBezTo>
                  <a:pt x="609" y="247"/>
                  <a:pt x="609" y="247"/>
                  <a:pt x="609" y="247"/>
                </a:cubicBezTo>
                <a:cubicBezTo>
                  <a:pt x="609" y="247"/>
                  <a:pt x="610" y="247"/>
                  <a:pt x="610" y="247"/>
                </a:cubicBezTo>
                <a:cubicBezTo>
                  <a:pt x="610" y="247"/>
                  <a:pt x="610" y="247"/>
                  <a:pt x="609" y="247"/>
                </a:cubicBezTo>
                <a:cubicBezTo>
                  <a:pt x="609" y="247"/>
                  <a:pt x="608" y="248"/>
                  <a:pt x="608" y="248"/>
                </a:cubicBezTo>
                <a:cubicBezTo>
                  <a:pt x="607" y="248"/>
                  <a:pt x="607" y="249"/>
                  <a:pt x="607" y="249"/>
                </a:cubicBezTo>
                <a:cubicBezTo>
                  <a:pt x="607" y="249"/>
                  <a:pt x="606" y="249"/>
                  <a:pt x="606" y="249"/>
                </a:cubicBezTo>
                <a:cubicBezTo>
                  <a:pt x="606" y="249"/>
                  <a:pt x="607" y="248"/>
                  <a:pt x="607" y="248"/>
                </a:cubicBezTo>
                <a:cubicBezTo>
                  <a:pt x="607" y="248"/>
                  <a:pt x="608" y="247"/>
                  <a:pt x="608" y="247"/>
                </a:cubicBezTo>
                <a:cubicBezTo>
                  <a:pt x="608" y="247"/>
                  <a:pt x="608" y="247"/>
                  <a:pt x="608" y="247"/>
                </a:cubicBezTo>
                <a:cubicBezTo>
                  <a:pt x="607" y="247"/>
                  <a:pt x="607" y="247"/>
                  <a:pt x="606" y="248"/>
                </a:cubicBezTo>
                <a:cubicBezTo>
                  <a:pt x="606" y="247"/>
                  <a:pt x="606" y="247"/>
                  <a:pt x="606" y="247"/>
                </a:cubicBezTo>
                <a:cubicBezTo>
                  <a:pt x="606" y="247"/>
                  <a:pt x="606" y="247"/>
                  <a:pt x="606" y="247"/>
                </a:cubicBezTo>
                <a:cubicBezTo>
                  <a:pt x="607" y="247"/>
                  <a:pt x="607" y="247"/>
                  <a:pt x="607" y="247"/>
                </a:cubicBezTo>
                <a:cubicBezTo>
                  <a:pt x="607" y="246"/>
                  <a:pt x="607" y="246"/>
                  <a:pt x="607" y="246"/>
                </a:cubicBezTo>
                <a:cubicBezTo>
                  <a:pt x="607" y="246"/>
                  <a:pt x="606" y="246"/>
                  <a:pt x="606" y="247"/>
                </a:cubicBezTo>
                <a:cubicBezTo>
                  <a:pt x="606" y="247"/>
                  <a:pt x="605" y="247"/>
                  <a:pt x="605" y="248"/>
                </a:cubicBezTo>
                <a:cubicBezTo>
                  <a:pt x="605" y="248"/>
                  <a:pt x="604" y="248"/>
                  <a:pt x="604" y="249"/>
                </a:cubicBezTo>
                <a:cubicBezTo>
                  <a:pt x="604" y="249"/>
                  <a:pt x="604" y="249"/>
                  <a:pt x="604" y="249"/>
                </a:cubicBezTo>
                <a:cubicBezTo>
                  <a:pt x="604" y="248"/>
                  <a:pt x="604" y="248"/>
                  <a:pt x="604" y="248"/>
                </a:cubicBezTo>
                <a:cubicBezTo>
                  <a:pt x="604" y="248"/>
                  <a:pt x="605" y="247"/>
                  <a:pt x="605" y="247"/>
                </a:cubicBezTo>
                <a:cubicBezTo>
                  <a:pt x="605" y="247"/>
                  <a:pt x="605" y="247"/>
                  <a:pt x="605" y="247"/>
                </a:cubicBezTo>
                <a:cubicBezTo>
                  <a:pt x="604" y="247"/>
                  <a:pt x="604" y="247"/>
                  <a:pt x="604" y="247"/>
                </a:cubicBezTo>
                <a:cubicBezTo>
                  <a:pt x="603" y="247"/>
                  <a:pt x="603" y="248"/>
                  <a:pt x="602" y="249"/>
                </a:cubicBezTo>
                <a:cubicBezTo>
                  <a:pt x="602" y="249"/>
                  <a:pt x="601" y="249"/>
                  <a:pt x="601" y="249"/>
                </a:cubicBezTo>
                <a:cubicBezTo>
                  <a:pt x="601" y="249"/>
                  <a:pt x="600" y="249"/>
                  <a:pt x="600" y="249"/>
                </a:cubicBezTo>
                <a:cubicBezTo>
                  <a:pt x="600" y="249"/>
                  <a:pt x="601" y="249"/>
                  <a:pt x="601" y="249"/>
                </a:cubicBezTo>
                <a:cubicBezTo>
                  <a:pt x="602" y="248"/>
                  <a:pt x="602" y="248"/>
                  <a:pt x="602" y="248"/>
                </a:cubicBezTo>
                <a:cubicBezTo>
                  <a:pt x="603" y="247"/>
                  <a:pt x="603" y="247"/>
                  <a:pt x="603" y="246"/>
                </a:cubicBezTo>
                <a:cubicBezTo>
                  <a:pt x="604" y="246"/>
                  <a:pt x="604" y="246"/>
                  <a:pt x="605" y="245"/>
                </a:cubicBezTo>
                <a:cubicBezTo>
                  <a:pt x="604" y="245"/>
                  <a:pt x="604" y="245"/>
                  <a:pt x="604" y="245"/>
                </a:cubicBezTo>
                <a:cubicBezTo>
                  <a:pt x="604" y="245"/>
                  <a:pt x="604" y="245"/>
                  <a:pt x="604" y="245"/>
                </a:cubicBezTo>
                <a:cubicBezTo>
                  <a:pt x="604" y="244"/>
                  <a:pt x="604" y="244"/>
                  <a:pt x="604" y="244"/>
                </a:cubicBezTo>
                <a:cubicBezTo>
                  <a:pt x="603" y="245"/>
                  <a:pt x="603" y="245"/>
                  <a:pt x="603" y="246"/>
                </a:cubicBezTo>
                <a:cubicBezTo>
                  <a:pt x="603" y="246"/>
                  <a:pt x="602" y="246"/>
                  <a:pt x="602" y="246"/>
                </a:cubicBezTo>
                <a:cubicBezTo>
                  <a:pt x="602" y="246"/>
                  <a:pt x="602" y="246"/>
                  <a:pt x="602" y="245"/>
                </a:cubicBezTo>
                <a:cubicBezTo>
                  <a:pt x="602" y="245"/>
                  <a:pt x="602" y="245"/>
                  <a:pt x="603" y="245"/>
                </a:cubicBezTo>
                <a:cubicBezTo>
                  <a:pt x="603" y="245"/>
                  <a:pt x="603" y="244"/>
                  <a:pt x="602" y="244"/>
                </a:cubicBezTo>
                <a:cubicBezTo>
                  <a:pt x="602" y="244"/>
                  <a:pt x="602" y="244"/>
                  <a:pt x="602" y="244"/>
                </a:cubicBezTo>
                <a:cubicBezTo>
                  <a:pt x="602" y="244"/>
                  <a:pt x="601" y="244"/>
                  <a:pt x="601" y="244"/>
                </a:cubicBezTo>
                <a:cubicBezTo>
                  <a:pt x="601" y="244"/>
                  <a:pt x="601" y="244"/>
                  <a:pt x="600" y="245"/>
                </a:cubicBezTo>
                <a:cubicBezTo>
                  <a:pt x="600" y="245"/>
                  <a:pt x="600" y="244"/>
                  <a:pt x="600" y="244"/>
                </a:cubicBezTo>
                <a:cubicBezTo>
                  <a:pt x="600" y="244"/>
                  <a:pt x="600" y="244"/>
                  <a:pt x="600" y="244"/>
                </a:cubicBezTo>
                <a:cubicBezTo>
                  <a:pt x="600" y="244"/>
                  <a:pt x="600" y="244"/>
                  <a:pt x="600" y="244"/>
                </a:cubicBezTo>
                <a:cubicBezTo>
                  <a:pt x="600" y="244"/>
                  <a:pt x="599" y="244"/>
                  <a:pt x="599" y="244"/>
                </a:cubicBezTo>
                <a:cubicBezTo>
                  <a:pt x="599" y="244"/>
                  <a:pt x="599" y="243"/>
                  <a:pt x="600" y="243"/>
                </a:cubicBezTo>
                <a:cubicBezTo>
                  <a:pt x="599" y="243"/>
                  <a:pt x="599" y="243"/>
                  <a:pt x="599" y="243"/>
                </a:cubicBezTo>
                <a:cubicBezTo>
                  <a:pt x="599" y="243"/>
                  <a:pt x="599" y="243"/>
                  <a:pt x="599" y="243"/>
                </a:cubicBezTo>
                <a:cubicBezTo>
                  <a:pt x="599" y="243"/>
                  <a:pt x="599" y="243"/>
                  <a:pt x="598" y="243"/>
                </a:cubicBezTo>
                <a:cubicBezTo>
                  <a:pt x="598" y="243"/>
                  <a:pt x="597" y="243"/>
                  <a:pt x="597" y="243"/>
                </a:cubicBezTo>
                <a:cubicBezTo>
                  <a:pt x="597" y="243"/>
                  <a:pt x="597" y="243"/>
                  <a:pt x="597" y="243"/>
                </a:cubicBezTo>
                <a:cubicBezTo>
                  <a:pt x="597" y="243"/>
                  <a:pt x="596" y="243"/>
                  <a:pt x="596" y="244"/>
                </a:cubicBezTo>
                <a:cubicBezTo>
                  <a:pt x="596" y="244"/>
                  <a:pt x="595" y="244"/>
                  <a:pt x="594" y="244"/>
                </a:cubicBezTo>
                <a:cubicBezTo>
                  <a:pt x="595" y="243"/>
                  <a:pt x="595" y="243"/>
                  <a:pt x="596" y="243"/>
                </a:cubicBezTo>
                <a:cubicBezTo>
                  <a:pt x="596" y="243"/>
                  <a:pt x="596" y="243"/>
                  <a:pt x="596" y="243"/>
                </a:cubicBezTo>
                <a:cubicBezTo>
                  <a:pt x="596" y="243"/>
                  <a:pt x="597" y="243"/>
                  <a:pt x="597" y="243"/>
                </a:cubicBezTo>
                <a:cubicBezTo>
                  <a:pt x="597" y="242"/>
                  <a:pt x="597" y="242"/>
                  <a:pt x="597" y="242"/>
                </a:cubicBezTo>
                <a:cubicBezTo>
                  <a:pt x="597" y="242"/>
                  <a:pt x="597" y="242"/>
                  <a:pt x="597" y="242"/>
                </a:cubicBezTo>
                <a:cubicBezTo>
                  <a:pt x="596" y="242"/>
                  <a:pt x="596" y="242"/>
                  <a:pt x="596" y="241"/>
                </a:cubicBezTo>
                <a:cubicBezTo>
                  <a:pt x="595" y="241"/>
                  <a:pt x="595" y="241"/>
                  <a:pt x="595" y="241"/>
                </a:cubicBezTo>
                <a:cubicBezTo>
                  <a:pt x="595" y="241"/>
                  <a:pt x="594" y="241"/>
                  <a:pt x="594" y="240"/>
                </a:cubicBezTo>
                <a:cubicBezTo>
                  <a:pt x="594" y="240"/>
                  <a:pt x="595" y="240"/>
                  <a:pt x="595" y="240"/>
                </a:cubicBezTo>
                <a:cubicBezTo>
                  <a:pt x="596" y="240"/>
                  <a:pt x="596" y="240"/>
                  <a:pt x="597" y="240"/>
                </a:cubicBezTo>
                <a:cubicBezTo>
                  <a:pt x="597" y="240"/>
                  <a:pt x="598" y="240"/>
                  <a:pt x="598" y="240"/>
                </a:cubicBezTo>
                <a:cubicBezTo>
                  <a:pt x="598" y="240"/>
                  <a:pt x="598" y="240"/>
                  <a:pt x="598" y="240"/>
                </a:cubicBezTo>
                <a:cubicBezTo>
                  <a:pt x="598" y="240"/>
                  <a:pt x="597" y="240"/>
                  <a:pt x="597" y="240"/>
                </a:cubicBezTo>
                <a:cubicBezTo>
                  <a:pt x="597" y="239"/>
                  <a:pt x="597" y="239"/>
                  <a:pt x="597" y="239"/>
                </a:cubicBezTo>
                <a:cubicBezTo>
                  <a:pt x="597" y="239"/>
                  <a:pt x="598" y="239"/>
                  <a:pt x="598" y="239"/>
                </a:cubicBezTo>
                <a:cubicBezTo>
                  <a:pt x="598" y="239"/>
                  <a:pt x="599" y="239"/>
                  <a:pt x="599" y="238"/>
                </a:cubicBezTo>
                <a:cubicBezTo>
                  <a:pt x="599" y="238"/>
                  <a:pt x="600" y="238"/>
                  <a:pt x="600" y="238"/>
                </a:cubicBezTo>
                <a:cubicBezTo>
                  <a:pt x="600" y="238"/>
                  <a:pt x="600" y="237"/>
                  <a:pt x="600" y="237"/>
                </a:cubicBezTo>
                <a:cubicBezTo>
                  <a:pt x="600" y="237"/>
                  <a:pt x="599" y="237"/>
                  <a:pt x="599" y="237"/>
                </a:cubicBezTo>
                <a:cubicBezTo>
                  <a:pt x="599" y="237"/>
                  <a:pt x="598" y="237"/>
                  <a:pt x="598" y="237"/>
                </a:cubicBezTo>
                <a:cubicBezTo>
                  <a:pt x="598" y="237"/>
                  <a:pt x="597" y="237"/>
                  <a:pt x="597" y="237"/>
                </a:cubicBezTo>
                <a:cubicBezTo>
                  <a:pt x="597" y="237"/>
                  <a:pt x="598" y="237"/>
                  <a:pt x="598" y="236"/>
                </a:cubicBezTo>
                <a:cubicBezTo>
                  <a:pt x="598" y="236"/>
                  <a:pt x="598" y="236"/>
                  <a:pt x="598" y="236"/>
                </a:cubicBezTo>
                <a:cubicBezTo>
                  <a:pt x="598" y="236"/>
                  <a:pt x="598" y="236"/>
                  <a:pt x="597" y="236"/>
                </a:cubicBezTo>
                <a:cubicBezTo>
                  <a:pt x="597" y="236"/>
                  <a:pt x="597" y="236"/>
                  <a:pt x="596" y="236"/>
                </a:cubicBezTo>
                <a:cubicBezTo>
                  <a:pt x="596" y="236"/>
                  <a:pt x="596" y="236"/>
                  <a:pt x="596" y="236"/>
                </a:cubicBezTo>
                <a:cubicBezTo>
                  <a:pt x="595" y="236"/>
                  <a:pt x="595" y="236"/>
                  <a:pt x="595" y="236"/>
                </a:cubicBezTo>
                <a:cubicBezTo>
                  <a:pt x="595" y="236"/>
                  <a:pt x="594" y="236"/>
                  <a:pt x="594" y="236"/>
                </a:cubicBezTo>
                <a:cubicBezTo>
                  <a:pt x="594" y="236"/>
                  <a:pt x="595" y="235"/>
                  <a:pt x="595" y="235"/>
                </a:cubicBezTo>
                <a:cubicBezTo>
                  <a:pt x="595" y="235"/>
                  <a:pt x="596" y="235"/>
                  <a:pt x="596" y="235"/>
                </a:cubicBezTo>
                <a:cubicBezTo>
                  <a:pt x="596" y="235"/>
                  <a:pt x="596" y="235"/>
                  <a:pt x="596" y="235"/>
                </a:cubicBezTo>
                <a:cubicBezTo>
                  <a:pt x="597" y="235"/>
                  <a:pt x="597" y="234"/>
                  <a:pt x="597" y="234"/>
                </a:cubicBezTo>
                <a:cubicBezTo>
                  <a:pt x="597" y="234"/>
                  <a:pt x="597" y="233"/>
                  <a:pt x="597" y="233"/>
                </a:cubicBezTo>
                <a:cubicBezTo>
                  <a:pt x="596" y="233"/>
                  <a:pt x="596" y="233"/>
                  <a:pt x="596" y="233"/>
                </a:cubicBezTo>
                <a:cubicBezTo>
                  <a:pt x="595" y="233"/>
                  <a:pt x="595" y="233"/>
                  <a:pt x="595" y="233"/>
                </a:cubicBezTo>
                <a:cubicBezTo>
                  <a:pt x="595" y="233"/>
                  <a:pt x="594" y="233"/>
                  <a:pt x="594" y="233"/>
                </a:cubicBezTo>
                <a:cubicBezTo>
                  <a:pt x="594" y="233"/>
                  <a:pt x="594" y="234"/>
                  <a:pt x="593" y="234"/>
                </a:cubicBezTo>
                <a:cubicBezTo>
                  <a:pt x="593" y="234"/>
                  <a:pt x="593" y="233"/>
                  <a:pt x="594" y="233"/>
                </a:cubicBezTo>
                <a:cubicBezTo>
                  <a:pt x="594" y="233"/>
                  <a:pt x="594" y="233"/>
                  <a:pt x="595" y="232"/>
                </a:cubicBezTo>
                <a:cubicBezTo>
                  <a:pt x="595" y="232"/>
                  <a:pt x="595" y="232"/>
                  <a:pt x="595" y="232"/>
                </a:cubicBezTo>
                <a:cubicBezTo>
                  <a:pt x="595" y="232"/>
                  <a:pt x="595" y="232"/>
                  <a:pt x="595" y="231"/>
                </a:cubicBezTo>
                <a:cubicBezTo>
                  <a:pt x="595" y="231"/>
                  <a:pt x="595" y="231"/>
                  <a:pt x="594" y="231"/>
                </a:cubicBezTo>
                <a:cubicBezTo>
                  <a:pt x="594" y="232"/>
                  <a:pt x="594" y="232"/>
                  <a:pt x="594" y="232"/>
                </a:cubicBezTo>
                <a:cubicBezTo>
                  <a:pt x="593" y="232"/>
                  <a:pt x="593" y="232"/>
                  <a:pt x="592" y="232"/>
                </a:cubicBezTo>
                <a:cubicBezTo>
                  <a:pt x="592" y="232"/>
                  <a:pt x="591" y="233"/>
                  <a:pt x="591" y="233"/>
                </a:cubicBezTo>
                <a:cubicBezTo>
                  <a:pt x="591" y="232"/>
                  <a:pt x="592" y="232"/>
                  <a:pt x="592" y="231"/>
                </a:cubicBezTo>
                <a:cubicBezTo>
                  <a:pt x="592" y="231"/>
                  <a:pt x="593" y="231"/>
                  <a:pt x="593" y="231"/>
                </a:cubicBezTo>
                <a:cubicBezTo>
                  <a:pt x="593" y="231"/>
                  <a:pt x="594" y="231"/>
                  <a:pt x="594" y="231"/>
                </a:cubicBezTo>
                <a:cubicBezTo>
                  <a:pt x="594" y="230"/>
                  <a:pt x="594" y="230"/>
                  <a:pt x="594" y="230"/>
                </a:cubicBezTo>
                <a:cubicBezTo>
                  <a:pt x="594" y="230"/>
                  <a:pt x="594" y="230"/>
                  <a:pt x="594" y="230"/>
                </a:cubicBezTo>
                <a:cubicBezTo>
                  <a:pt x="594" y="230"/>
                  <a:pt x="594" y="229"/>
                  <a:pt x="594" y="229"/>
                </a:cubicBezTo>
                <a:cubicBezTo>
                  <a:pt x="594" y="230"/>
                  <a:pt x="593" y="230"/>
                  <a:pt x="593" y="230"/>
                </a:cubicBezTo>
                <a:cubicBezTo>
                  <a:pt x="592" y="230"/>
                  <a:pt x="592" y="230"/>
                  <a:pt x="591" y="230"/>
                </a:cubicBezTo>
                <a:cubicBezTo>
                  <a:pt x="591" y="231"/>
                  <a:pt x="590" y="231"/>
                  <a:pt x="590" y="231"/>
                </a:cubicBezTo>
                <a:cubicBezTo>
                  <a:pt x="590" y="231"/>
                  <a:pt x="590" y="231"/>
                  <a:pt x="590" y="230"/>
                </a:cubicBezTo>
                <a:cubicBezTo>
                  <a:pt x="590" y="230"/>
                  <a:pt x="590" y="230"/>
                  <a:pt x="590" y="230"/>
                </a:cubicBezTo>
                <a:cubicBezTo>
                  <a:pt x="590" y="230"/>
                  <a:pt x="590" y="230"/>
                  <a:pt x="590" y="229"/>
                </a:cubicBezTo>
                <a:cubicBezTo>
                  <a:pt x="590" y="229"/>
                  <a:pt x="591" y="230"/>
                  <a:pt x="591" y="230"/>
                </a:cubicBezTo>
                <a:cubicBezTo>
                  <a:pt x="592" y="229"/>
                  <a:pt x="592" y="229"/>
                  <a:pt x="593" y="229"/>
                </a:cubicBezTo>
                <a:cubicBezTo>
                  <a:pt x="593" y="229"/>
                  <a:pt x="593" y="229"/>
                  <a:pt x="593" y="228"/>
                </a:cubicBezTo>
                <a:cubicBezTo>
                  <a:pt x="593" y="228"/>
                  <a:pt x="593" y="228"/>
                  <a:pt x="593" y="227"/>
                </a:cubicBezTo>
                <a:cubicBezTo>
                  <a:pt x="593" y="228"/>
                  <a:pt x="593" y="228"/>
                  <a:pt x="592" y="228"/>
                </a:cubicBezTo>
                <a:cubicBezTo>
                  <a:pt x="592" y="228"/>
                  <a:pt x="592" y="228"/>
                  <a:pt x="592" y="228"/>
                </a:cubicBezTo>
                <a:cubicBezTo>
                  <a:pt x="592" y="228"/>
                  <a:pt x="592" y="227"/>
                  <a:pt x="592" y="227"/>
                </a:cubicBezTo>
                <a:cubicBezTo>
                  <a:pt x="592" y="227"/>
                  <a:pt x="592" y="226"/>
                  <a:pt x="593" y="226"/>
                </a:cubicBezTo>
                <a:cubicBezTo>
                  <a:pt x="592" y="226"/>
                  <a:pt x="592" y="226"/>
                  <a:pt x="592" y="226"/>
                </a:cubicBezTo>
                <a:cubicBezTo>
                  <a:pt x="591" y="227"/>
                  <a:pt x="590" y="227"/>
                  <a:pt x="589" y="227"/>
                </a:cubicBezTo>
                <a:cubicBezTo>
                  <a:pt x="589" y="227"/>
                  <a:pt x="589" y="227"/>
                  <a:pt x="588" y="227"/>
                </a:cubicBezTo>
                <a:cubicBezTo>
                  <a:pt x="588" y="227"/>
                  <a:pt x="589" y="227"/>
                  <a:pt x="589" y="227"/>
                </a:cubicBezTo>
                <a:cubicBezTo>
                  <a:pt x="589" y="226"/>
                  <a:pt x="590" y="226"/>
                  <a:pt x="590" y="226"/>
                </a:cubicBezTo>
                <a:cubicBezTo>
                  <a:pt x="590" y="226"/>
                  <a:pt x="591" y="226"/>
                  <a:pt x="591" y="226"/>
                </a:cubicBezTo>
                <a:cubicBezTo>
                  <a:pt x="591" y="226"/>
                  <a:pt x="591" y="225"/>
                  <a:pt x="592" y="225"/>
                </a:cubicBezTo>
                <a:cubicBezTo>
                  <a:pt x="591" y="225"/>
                  <a:pt x="591" y="225"/>
                  <a:pt x="591" y="225"/>
                </a:cubicBezTo>
                <a:cubicBezTo>
                  <a:pt x="591" y="225"/>
                  <a:pt x="591" y="225"/>
                  <a:pt x="591" y="224"/>
                </a:cubicBezTo>
                <a:cubicBezTo>
                  <a:pt x="590" y="225"/>
                  <a:pt x="590" y="225"/>
                  <a:pt x="590" y="225"/>
                </a:cubicBezTo>
                <a:cubicBezTo>
                  <a:pt x="590" y="225"/>
                  <a:pt x="590" y="225"/>
                  <a:pt x="589" y="225"/>
                </a:cubicBezTo>
                <a:cubicBezTo>
                  <a:pt x="589" y="225"/>
                  <a:pt x="589" y="225"/>
                  <a:pt x="589" y="225"/>
                </a:cubicBezTo>
                <a:cubicBezTo>
                  <a:pt x="589" y="225"/>
                  <a:pt x="589" y="224"/>
                  <a:pt x="588" y="224"/>
                </a:cubicBezTo>
                <a:cubicBezTo>
                  <a:pt x="589" y="224"/>
                  <a:pt x="589" y="224"/>
                  <a:pt x="589" y="224"/>
                </a:cubicBezTo>
                <a:cubicBezTo>
                  <a:pt x="589" y="224"/>
                  <a:pt x="589" y="224"/>
                  <a:pt x="590" y="224"/>
                </a:cubicBezTo>
                <a:cubicBezTo>
                  <a:pt x="590" y="224"/>
                  <a:pt x="590" y="224"/>
                  <a:pt x="590" y="224"/>
                </a:cubicBezTo>
                <a:cubicBezTo>
                  <a:pt x="590" y="224"/>
                  <a:pt x="590" y="223"/>
                  <a:pt x="590" y="223"/>
                </a:cubicBezTo>
                <a:cubicBezTo>
                  <a:pt x="589" y="223"/>
                  <a:pt x="589" y="223"/>
                  <a:pt x="589" y="223"/>
                </a:cubicBezTo>
                <a:cubicBezTo>
                  <a:pt x="588" y="222"/>
                  <a:pt x="588" y="222"/>
                  <a:pt x="588" y="222"/>
                </a:cubicBezTo>
                <a:cubicBezTo>
                  <a:pt x="588" y="222"/>
                  <a:pt x="589" y="222"/>
                  <a:pt x="589" y="221"/>
                </a:cubicBezTo>
                <a:cubicBezTo>
                  <a:pt x="589" y="221"/>
                  <a:pt x="589" y="221"/>
                  <a:pt x="589" y="221"/>
                </a:cubicBezTo>
                <a:cubicBezTo>
                  <a:pt x="588" y="221"/>
                  <a:pt x="588" y="221"/>
                  <a:pt x="588" y="221"/>
                </a:cubicBezTo>
                <a:cubicBezTo>
                  <a:pt x="588" y="221"/>
                  <a:pt x="588" y="221"/>
                  <a:pt x="588" y="221"/>
                </a:cubicBezTo>
                <a:cubicBezTo>
                  <a:pt x="588" y="220"/>
                  <a:pt x="588" y="220"/>
                  <a:pt x="588" y="220"/>
                </a:cubicBezTo>
                <a:cubicBezTo>
                  <a:pt x="588" y="220"/>
                  <a:pt x="588" y="220"/>
                  <a:pt x="588" y="220"/>
                </a:cubicBezTo>
                <a:cubicBezTo>
                  <a:pt x="587" y="220"/>
                  <a:pt x="587" y="220"/>
                  <a:pt x="587" y="220"/>
                </a:cubicBezTo>
                <a:cubicBezTo>
                  <a:pt x="587" y="220"/>
                  <a:pt x="587" y="220"/>
                  <a:pt x="587" y="220"/>
                </a:cubicBezTo>
                <a:cubicBezTo>
                  <a:pt x="587" y="220"/>
                  <a:pt x="587" y="220"/>
                  <a:pt x="587" y="220"/>
                </a:cubicBezTo>
                <a:cubicBezTo>
                  <a:pt x="588" y="219"/>
                  <a:pt x="588" y="219"/>
                  <a:pt x="588" y="219"/>
                </a:cubicBezTo>
                <a:cubicBezTo>
                  <a:pt x="588" y="219"/>
                  <a:pt x="587" y="219"/>
                  <a:pt x="587" y="219"/>
                </a:cubicBezTo>
                <a:cubicBezTo>
                  <a:pt x="587" y="219"/>
                  <a:pt x="587" y="219"/>
                  <a:pt x="587" y="218"/>
                </a:cubicBezTo>
                <a:cubicBezTo>
                  <a:pt x="587" y="218"/>
                  <a:pt x="588" y="218"/>
                  <a:pt x="588" y="218"/>
                </a:cubicBezTo>
                <a:cubicBezTo>
                  <a:pt x="588" y="218"/>
                  <a:pt x="588" y="218"/>
                  <a:pt x="587" y="218"/>
                </a:cubicBezTo>
                <a:cubicBezTo>
                  <a:pt x="587" y="218"/>
                  <a:pt x="587" y="218"/>
                  <a:pt x="586" y="218"/>
                </a:cubicBezTo>
                <a:cubicBezTo>
                  <a:pt x="587" y="218"/>
                  <a:pt x="587" y="218"/>
                  <a:pt x="587" y="217"/>
                </a:cubicBezTo>
                <a:cubicBezTo>
                  <a:pt x="587" y="217"/>
                  <a:pt x="587" y="217"/>
                  <a:pt x="587" y="217"/>
                </a:cubicBezTo>
                <a:cubicBezTo>
                  <a:pt x="586" y="217"/>
                  <a:pt x="586" y="218"/>
                  <a:pt x="586" y="218"/>
                </a:cubicBezTo>
                <a:cubicBezTo>
                  <a:pt x="585" y="218"/>
                  <a:pt x="585" y="218"/>
                  <a:pt x="585" y="219"/>
                </a:cubicBezTo>
                <a:cubicBezTo>
                  <a:pt x="585" y="219"/>
                  <a:pt x="585" y="219"/>
                  <a:pt x="585" y="219"/>
                </a:cubicBezTo>
                <a:cubicBezTo>
                  <a:pt x="585" y="219"/>
                  <a:pt x="585" y="220"/>
                  <a:pt x="585" y="220"/>
                </a:cubicBezTo>
                <a:cubicBezTo>
                  <a:pt x="584" y="220"/>
                  <a:pt x="584" y="221"/>
                  <a:pt x="584" y="221"/>
                </a:cubicBezTo>
                <a:cubicBezTo>
                  <a:pt x="584" y="221"/>
                  <a:pt x="584" y="221"/>
                  <a:pt x="584" y="222"/>
                </a:cubicBezTo>
                <a:cubicBezTo>
                  <a:pt x="584" y="222"/>
                  <a:pt x="583" y="222"/>
                  <a:pt x="583" y="222"/>
                </a:cubicBezTo>
                <a:cubicBezTo>
                  <a:pt x="583" y="222"/>
                  <a:pt x="583" y="222"/>
                  <a:pt x="583" y="223"/>
                </a:cubicBezTo>
                <a:cubicBezTo>
                  <a:pt x="583" y="223"/>
                  <a:pt x="583" y="222"/>
                  <a:pt x="583" y="222"/>
                </a:cubicBezTo>
                <a:cubicBezTo>
                  <a:pt x="582" y="222"/>
                  <a:pt x="582" y="222"/>
                  <a:pt x="582" y="223"/>
                </a:cubicBezTo>
                <a:cubicBezTo>
                  <a:pt x="582" y="223"/>
                  <a:pt x="582" y="223"/>
                  <a:pt x="582" y="224"/>
                </a:cubicBezTo>
                <a:cubicBezTo>
                  <a:pt x="582" y="224"/>
                  <a:pt x="582" y="224"/>
                  <a:pt x="582" y="224"/>
                </a:cubicBezTo>
                <a:cubicBezTo>
                  <a:pt x="582" y="224"/>
                  <a:pt x="582" y="224"/>
                  <a:pt x="583" y="224"/>
                </a:cubicBezTo>
                <a:cubicBezTo>
                  <a:pt x="583" y="224"/>
                  <a:pt x="583" y="224"/>
                  <a:pt x="583" y="225"/>
                </a:cubicBezTo>
                <a:cubicBezTo>
                  <a:pt x="583" y="225"/>
                  <a:pt x="583" y="225"/>
                  <a:pt x="583" y="225"/>
                </a:cubicBezTo>
                <a:cubicBezTo>
                  <a:pt x="583" y="225"/>
                  <a:pt x="583" y="225"/>
                  <a:pt x="582" y="225"/>
                </a:cubicBezTo>
                <a:cubicBezTo>
                  <a:pt x="582" y="225"/>
                  <a:pt x="582" y="225"/>
                  <a:pt x="582" y="225"/>
                </a:cubicBezTo>
                <a:cubicBezTo>
                  <a:pt x="582" y="225"/>
                  <a:pt x="582" y="225"/>
                  <a:pt x="581" y="225"/>
                </a:cubicBezTo>
                <a:cubicBezTo>
                  <a:pt x="581" y="226"/>
                  <a:pt x="581" y="226"/>
                  <a:pt x="581" y="226"/>
                </a:cubicBezTo>
                <a:cubicBezTo>
                  <a:pt x="581" y="226"/>
                  <a:pt x="580" y="226"/>
                  <a:pt x="580" y="227"/>
                </a:cubicBezTo>
                <a:cubicBezTo>
                  <a:pt x="580" y="227"/>
                  <a:pt x="580" y="227"/>
                  <a:pt x="580" y="228"/>
                </a:cubicBezTo>
                <a:cubicBezTo>
                  <a:pt x="580" y="228"/>
                  <a:pt x="579" y="228"/>
                  <a:pt x="579" y="228"/>
                </a:cubicBezTo>
                <a:cubicBezTo>
                  <a:pt x="579" y="228"/>
                  <a:pt x="579" y="228"/>
                  <a:pt x="579" y="229"/>
                </a:cubicBezTo>
                <a:cubicBezTo>
                  <a:pt x="579" y="229"/>
                  <a:pt x="579" y="229"/>
                  <a:pt x="579" y="229"/>
                </a:cubicBezTo>
                <a:cubicBezTo>
                  <a:pt x="579" y="229"/>
                  <a:pt x="579" y="229"/>
                  <a:pt x="578" y="229"/>
                </a:cubicBezTo>
                <a:cubicBezTo>
                  <a:pt x="578" y="230"/>
                  <a:pt x="579" y="230"/>
                  <a:pt x="579" y="230"/>
                </a:cubicBezTo>
                <a:cubicBezTo>
                  <a:pt x="578" y="231"/>
                  <a:pt x="578" y="231"/>
                  <a:pt x="578" y="231"/>
                </a:cubicBezTo>
                <a:cubicBezTo>
                  <a:pt x="578" y="231"/>
                  <a:pt x="578" y="231"/>
                  <a:pt x="578" y="231"/>
                </a:cubicBezTo>
                <a:cubicBezTo>
                  <a:pt x="578" y="230"/>
                  <a:pt x="578" y="230"/>
                  <a:pt x="578" y="230"/>
                </a:cubicBezTo>
                <a:cubicBezTo>
                  <a:pt x="577" y="230"/>
                  <a:pt x="577" y="229"/>
                  <a:pt x="577" y="229"/>
                </a:cubicBezTo>
                <a:cubicBezTo>
                  <a:pt x="576" y="230"/>
                  <a:pt x="576" y="230"/>
                  <a:pt x="575" y="230"/>
                </a:cubicBezTo>
                <a:cubicBezTo>
                  <a:pt x="575" y="231"/>
                  <a:pt x="575" y="231"/>
                  <a:pt x="575" y="231"/>
                </a:cubicBezTo>
                <a:cubicBezTo>
                  <a:pt x="575" y="231"/>
                  <a:pt x="575" y="232"/>
                  <a:pt x="575" y="232"/>
                </a:cubicBezTo>
                <a:cubicBezTo>
                  <a:pt x="575" y="232"/>
                  <a:pt x="574" y="232"/>
                  <a:pt x="574" y="232"/>
                </a:cubicBezTo>
                <a:cubicBezTo>
                  <a:pt x="574" y="232"/>
                  <a:pt x="574" y="232"/>
                  <a:pt x="573" y="233"/>
                </a:cubicBezTo>
                <a:cubicBezTo>
                  <a:pt x="573" y="233"/>
                  <a:pt x="573" y="232"/>
                  <a:pt x="573" y="232"/>
                </a:cubicBezTo>
                <a:cubicBezTo>
                  <a:pt x="573" y="232"/>
                  <a:pt x="573" y="232"/>
                  <a:pt x="572" y="232"/>
                </a:cubicBezTo>
                <a:cubicBezTo>
                  <a:pt x="572" y="233"/>
                  <a:pt x="572" y="233"/>
                  <a:pt x="572" y="233"/>
                </a:cubicBezTo>
                <a:cubicBezTo>
                  <a:pt x="571" y="233"/>
                  <a:pt x="571" y="233"/>
                  <a:pt x="571" y="233"/>
                </a:cubicBezTo>
                <a:cubicBezTo>
                  <a:pt x="570" y="234"/>
                  <a:pt x="570" y="234"/>
                  <a:pt x="570" y="234"/>
                </a:cubicBezTo>
                <a:cubicBezTo>
                  <a:pt x="570" y="235"/>
                  <a:pt x="570" y="235"/>
                  <a:pt x="570" y="235"/>
                </a:cubicBezTo>
                <a:cubicBezTo>
                  <a:pt x="569" y="236"/>
                  <a:pt x="569" y="236"/>
                  <a:pt x="569" y="236"/>
                </a:cubicBezTo>
                <a:cubicBezTo>
                  <a:pt x="569" y="236"/>
                  <a:pt x="569" y="236"/>
                  <a:pt x="569" y="236"/>
                </a:cubicBezTo>
                <a:cubicBezTo>
                  <a:pt x="569" y="235"/>
                  <a:pt x="569" y="235"/>
                  <a:pt x="569" y="235"/>
                </a:cubicBezTo>
                <a:cubicBezTo>
                  <a:pt x="569" y="235"/>
                  <a:pt x="569" y="235"/>
                  <a:pt x="569" y="235"/>
                </a:cubicBezTo>
                <a:cubicBezTo>
                  <a:pt x="569" y="234"/>
                  <a:pt x="569" y="234"/>
                  <a:pt x="568" y="233"/>
                </a:cubicBezTo>
                <a:cubicBezTo>
                  <a:pt x="568" y="233"/>
                  <a:pt x="568" y="233"/>
                  <a:pt x="568" y="232"/>
                </a:cubicBezTo>
                <a:cubicBezTo>
                  <a:pt x="568" y="232"/>
                  <a:pt x="568" y="232"/>
                  <a:pt x="568" y="232"/>
                </a:cubicBezTo>
                <a:cubicBezTo>
                  <a:pt x="568" y="233"/>
                  <a:pt x="567" y="233"/>
                  <a:pt x="567" y="234"/>
                </a:cubicBezTo>
                <a:cubicBezTo>
                  <a:pt x="567" y="234"/>
                  <a:pt x="566" y="235"/>
                  <a:pt x="566" y="236"/>
                </a:cubicBezTo>
                <a:cubicBezTo>
                  <a:pt x="565" y="236"/>
                  <a:pt x="565" y="236"/>
                  <a:pt x="565" y="236"/>
                </a:cubicBezTo>
                <a:cubicBezTo>
                  <a:pt x="565" y="236"/>
                  <a:pt x="565" y="236"/>
                  <a:pt x="565" y="236"/>
                </a:cubicBezTo>
                <a:cubicBezTo>
                  <a:pt x="565" y="235"/>
                  <a:pt x="565" y="235"/>
                  <a:pt x="565" y="235"/>
                </a:cubicBezTo>
                <a:cubicBezTo>
                  <a:pt x="566" y="234"/>
                  <a:pt x="566" y="234"/>
                  <a:pt x="566" y="233"/>
                </a:cubicBezTo>
                <a:cubicBezTo>
                  <a:pt x="566" y="233"/>
                  <a:pt x="566" y="233"/>
                  <a:pt x="566" y="233"/>
                </a:cubicBezTo>
                <a:cubicBezTo>
                  <a:pt x="566" y="232"/>
                  <a:pt x="566" y="232"/>
                  <a:pt x="566" y="232"/>
                </a:cubicBezTo>
                <a:cubicBezTo>
                  <a:pt x="566" y="232"/>
                  <a:pt x="566" y="231"/>
                  <a:pt x="565" y="231"/>
                </a:cubicBezTo>
                <a:cubicBezTo>
                  <a:pt x="565" y="231"/>
                  <a:pt x="565" y="231"/>
                  <a:pt x="564" y="231"/>
                </a:cubicBezTo>
                <a:cubicBezTo>
                  <a:pt x="564" y="231"/>
                  <a:pt x="564" y="231"/>
                  <a:pt x="563" y="231"/>
                </a:cubicBezTo>
                <a:cubicBezTo>
                  <a:pt x="563" y="231"/>
                  <a:pt x="564" y="231"/>
                  <a:pt x="564" y="232"/>
                </a:cubicBezTo>
                <a:cubicBezTo>
                  <a:pt x="564" y="232"/>
                  <a:pt x="564" y="232"/>
                  <a:pt x="563" y="232"/>
                </a:cubicBezTo>
                <a:cubicBezTo>
                  <a:pt x="563" y="232"/>
                  <a:pt x="563" y="232"/>
                  <a:pt x="562" y="231"/>
                </a:cubicBezTo>
                <a:cubicBezTo>
                  <a:pt x="562" y="231"/>
                  <a:pt x="561" y="231"/>
                  <a:pt x="561" y="230"/>
                </a:cubicBezTo>
                <a:cubicBezTo>
                  <a:pt x="561" y="231"/>
                  <a:pt x="562" y="231"/>
                  <a:pt x="563" y="231"/>
                </a:cubicBezTo>
                <a:cubicBezTo>
                  <a:pt x="563" y="231"/>
                  <a:pt x="563" y="230"/>
                  <a:pt x="563" y="230"/>
                </a:cubicBezTo>
                <a:cubicBezTo>
                  <a:pt x="563" y="230"/>
                  <a:pt x="563" y="230"/>
                  <a:pt x="562" y="230"/>
                </a:cubicBezTo>
                <a:cubicBezTo>
                  <a:pt x="562" y="230"/>
                  <a:pt x="561" y="230"/>
                  <a:pt x="561" y="229"/>
                </a:cubicBezTo>
                <a:cubicBezTo>
                  <a:pt x="561" y="229"/>
                  <a:pt x="560" y="229"/>
                  <a:pt x="560" y="229"/>
                </a:cubicBezTo>
                <a:cubicBezTo>
                  <a:pt x="561" y="229"/>
                  <a:pt x="561" y="228"/>
                  <a:pt x="561" y="228"/>
                </a:cubicBezTo>
                <a:cubicBezTo>
                  <a:pt x="561" y="228"/>
                  <a:pt x="561" y="228"/>
                  <a:pt x="561" y="228"/>
                </a:cubicBezTo>
                <a:cubicBezTo>
                  <a:pt x="562" y="227"/>
                  <a:pt x="562" y="227"/>
                  <a:pt x="562" y="226"/>
                </a:cubicBezTo>
                <a:cubicBezTo>
                  <a:pt x="562" y="226"/>
                  <a:pt x="562" y="226"/>
                  <a:pt x="562" y="225"/>
                </a:cubicBezTo>
                <a:cubicBezTo>
                  <a:pt x="561" y="225"/>
                  <a:pt x="561" y="225"/>
                  <a:pt x="560" y="225"/>
                </a:cubicBezTo>
                <a:cubicBezTo>
                  <a:pt x="560" y="225"/>
                  <a:pt x="559" y="225"/>
                  <a:pt x="558" y="225"/>
                </a:cubicBezTo>
                <a:cubicBezTo>
                  <a:pt x="557" y="225"/>
                  <a:pt x="556" y="225"/>
                  <a:pt x="555" y="224"/>
                </a:cubicBezTo>
                <a:cubicBezTo>
                  <a:pt x="556" y="224"/>
                  <a:pt x="557" y="224"/>
                  <a:pt x="558" y="224"/>
                </a:cubicBezTo>
                <a:cubicBezTo>
                  <a:pt x="559" y="224"/>
                  <a:pt x="560" y="224"/>
                  <a:pt x="561" y="224"/>
                </a:cubicBezTo>
                <a:cubicBezTo>
                  <a:pt x="561" y="224"/>
                  <a:pt x="561" y="223"/>
                  <a:pt x="561" y="223"/>
                </a:cubicBezTo>
                <a:cubicBezTo>
                  <a:pt x="561" y="223"/>
                  <a:pt x="561" y="223"/>
                  <a:pt x="561" y="222"/>
                </a:cubicBezTo>
                <a:cubicBezTo>
                  <a:pt x="561" y="223"/>
                  <a:pt x="562" y="223"/>
                  <a:pt x="562" y="223"/>
                </a:cubicBezTo>
                <a:cubicBezTo>
                  <a:pt x="562" y="223"/>
                  <a:pt x="562" y="223"/>
                  <a:pt x="562" y="223"/>
                </a:cubicBezTo>
                <a:cubicBezTo>
                  <a:pt x="562" y="222"/>
                  <a:pt x="562" y="221"/>
                  <a:pt x="561" y="221"/>
                </a:cubicBezTo>
                <a:cubicBezTo>
                  <a:pt x="562" y="220"/>
                  <a:pt x="562" y="220"/>
                  <a:pt x="562" y="220"/>
                </a:cubicBezTo>
                <a:cubicBezTo>
                  <a:pt x="563" y="219"/>
                  <a:pt x="563" y="219"/>
                  <a:pt x="564" y="219"/>
                </a:cubicBezTo>
                <a:cubicBezTo>
                  <a:pt x="564" y="219"/>
                  <a:pt x="564" y="218"/>
                  <a:pt x="564" y="218"/>
                </a:cubicBezTo>
                <a:cubicBezTo>
                  <a:pt x="564" y="217"/>
                  <a:pt x="564" y="217"/>
                  <a:pt x="563" y="217"/>
                </a:cubicBezTo>
                <a:cubicBezTo>
                  <a:pt x="563" y="217"/>
                  <a:pt x="563" y="217"/>
                  <a:pt x="563" y="217"/>
                </a:cubicBezTo>
                <a:cubicBezTo>
                  <a:pt x="563" y="217"/>
                  <a:pt x="563" y="218"/>
                  <a:pt x="563" y="218"/>
                </a:cubicBezTo>
                <a:cubicBezTo>
                  <a:pt x="562" y="218"/>
                  <a:pt x="562" y="219"/>
                  <a:pt x="561" y="219"/>
                </a:cubicBezTo>
                <a:cubicBezTo>
                  <a:pt x="561" y="219"/>
                  <a:pt x="561" y="219"/>
                  <a:pt x="561" y="218"/>
                </a:cubicBezTo>
                <a:cubicBezTo>
                  <a:pt x="561" y="218"/>
                  <a:pt x="561" y="218"/>
                  <a:pt x="561" y="217"/>
                </a:cubicBezTo>
                <a:cubicBezTo>
                  <a:pt x="560" y="217"/>
                  <a:pt x="560" y="217"/>
                  <a:pt x="559" y="217"/>
                </a:cubicBezTo>
                <a:cubicBezTo>
                  <a:pt x="559" y="217"/>
                  <a:pt x="558" y="217"/>
                  <a:pt x="558" y="218"/>
                </a:cubicBezTo>
                <a:cubicBezTo>
                  <a:pt x="558" y="218"/>
                  <a:pt x="558" y="218"/>
                  <a:pt x="557" y="217"/>
                </a:cubicBezTo>
                <a:cubicBezTo>
                  <a:pt x="557" y="218"/>
                  <a:pt x="557" y="218"/>
                  <a:pt x="557" y="218"/>
                </a:cubicBezTo>
                <a:cubicBezTo>
                  <a:pt x="556" y="217"/>
                  <a:pt x="556" y="217"/>
                  <a:pt x="555" y="217"/>
                </a:cubicBezTo>
                <a:cubicBezTo>
                  <a:pt x="555" y="217"/>
                  <a:pt x="554" y="217"/>
                  <a:pt x="554" y="218"/>
                </a:cubicBezTo>
                <a:cubicBezTo>
                  <a:pt x="554" y="217"/>
                  <a:pt x="554" y="217"/>
                  <a:pt x="554" y="217"/>
                </a:cubicBezTo>
                <a:cubicBezTo>
                  <a:pt x="554" y="217"/>
                  <a:pt x="553" y="218"/>
                  <a:pt x="553" y="218"/>
                </a:cubicBezTo>
                <a:cubicBezTo>
                  <a:pt x="553" y="218"/>
                  <a:pt x="553" y="217"/>
                  <a:pt x="553" y="217"/>
                </a:cubicBezTo>
                <a:cubicBezTo>
                  <a:pt x="552" y="217"/>
                  <a:pt x="552" y="217"/>
                  <a:pt x="551" y="217"/>
                </a:cubicBezTo>
                <a:cubicBezTo>
                  <a:pt x="552" y="216"/>
                  <a:pt x="552" y="216"/>
                  <a:pt x="552" y="216"/>
                </a:cubicBezTo>
                <a:cubicBezTo>
                  <a:pt x="552" y="216"/>
                  <a:pt x="553" y="216"/>
                  <a:pt x="553" y="216"/>
                </a:cubicBezTo>
                <a:cubicBezTo>
                  <a:pt x="553" y="216"/>
                  <a:pt x="553" y="216"/>
                  <a:pt x="554" y="216"/>
                </a:cubicBezTo>
                <a:cubicBezTo>
                  <a:pt x="554" y="216"/>
                  <a:pt x="554" y="216"/>
                  <a:pt x="554" y="215"/>
                </a:cubicBezTo>
                <a:cubicBezTo>
                  <a:pt x="553" y="215"/>
                  <a:pt x="553" y="215"/>
                  <a:pt x="553" y="215"/>
                </a:cubicBezTo>
                <a:cubicBezTo>
                  <a:pt x="552" y="215"/>
                  <a:pt x="552" y="215"/>
                  <a:pt x="552" y="215"/>
                </a:cubicBezTo>
                <a:cubicBezTo>
                  <a:pt x="552" y="215"/>
                  <a:pt x="551" y="215"/>
                  <a:pt x="551" y="215"/>
                </a:cubicBezTo>
                <a:cubicBezTo>
                  <a:pt x="551" y="215"/>
                  <a:pt x="551" y="215"/>
                  <a:pt x="552" y="215"/>
                </a:cubicBezTo>
                <a:cubicBezTo>
                  <a:pt x="551" y="214"/>
                  <a:pt x="551" y="214"/>
                  <a:pt x="551" y="214"/>
                </a:cubicBezTo>
                <a:cubicBezTo>
                  <a:pt x="551" y="214"/>
                  <a:pt x="550" y="214"/>
                  <a:pt x="550" y="214"/>
                </a:cubicBezTo>
                <a:cubicBezTo>
                  <a:pt x="549" y="214"/>
                  <a:pt x="549" y="214"/>
                  <a:pt x="549" y="214"/>
                </a:cubicBezTo>
                <a:cubicBezTo>
                  <a:pt x="549" y="214"/>
                  <a:pt x="549" y="214"/>
                  <a:pt x="549" y="214"/>
                </a:cubicBezTo>
                <a:cubicBezTo>
                  <a:pt x="549" y="213"/>
                  <a:pt x="549" y="213"/>
                  <a:pt x="549" y="213"/>
                </a:cubicBezTo>
                <a:cubicBezTo>
                  <a:pt x="549" y="212"/>
                  <a:pt x="549" y="212"/>
                  <a:pt x="549" y="212"/>
                </a:cubicBezTo>
                <a:cubicBezTo>
                  <a:pt x="549" y="212"/>
                  <a:pt x="548" y="212"/>
                  <a:pt x="548" y="212"/>
                </a:cubicBezTo>
                <a:cubicBezTo>
                  <a:pt x="548" y="212"/>
                  <a:pt x="547" y="212"/>
                  <a:pt x="547" y="211"/>
                </a:cubicBezTo>
                <a:cubicBezTo>
                  <a:pt x="547" y="211"/>
                  <a:pt x="547" y="211"/>
                  <a:pt x="546" y="211"/>
                </a:cubicBezTo>
                <a:cubicBezTo>
                  <a:pt x="546" y="211"/>
                  <a:pt x="545" y="210"/>
                  <a:pt x="544" y="210"/>
                </a:cubicBezTo>
                <a:cubicBezTo>
                  <a:pt x="544" y="210"/>
                  <a:pt x="543" y="211"/>
                  <a:pt x="543" y="211"/>
                </a:cubicBezTo>
                <a:cubicBezTo>
                  <a:pt x="543" y="211"/>
                  <a:pt x="542" y="211"/>
                  <a:pt x="542" y="211"/>
                </a:cubicBezTo>
                <a:cubicBezTo>
                  <a:pt x="542" y="211"/>
                  <a:pt x="542" y="212"/>
                  <a:pt x="542" y="212"/>
                </a:cubicBezTo>
                <a:cubicBezTo>
                  <a:pt x="541" y="212"/>
                  <a:pt x="541" y="212"/>
                  <a:pt x="540" y="212"/>
                </a:cubicBezTo>
                <a:cubicBezTo>
                  <a:pt x="540" y="212"/>
                  <a:pt x="540" y="212"/>
                  <a:pt x="540" y="213"/>
                </a:cubicBezTo>
                <a:cubicBezTo>
                  <a:pt x="540" y="212"/>
                  <a:pt x="540" y="212"/>
                  <a:pt x="539" y="212"/>
                </a:cubicBezTo>
                <a:cubicBezTo>
                  <a:pt x="539" y="212"/>
                  <a:pt x="539" y="212"/>
                  <a:pt x="539" y="212"/>
                </a:cubicBezTo>
                <a:cubicBezTo>
                  <a:pt x="538" y="212"/>
                  <a:pt x="538" y="212"/>
                  <a:pt x="538" y="212"/>
                </a:cubicBezTo>
                <a:cubicBezTo>
                  <a:pt x="538" y="212"/>
                  <a:pt x="537" y="212"/>
                  <a:pt x="537" y="212"/>
                </a:cubicBezTo>
                <a:cubicBezTo>
                  <a:pt x="536" y="212"/>
                  <a:pt x="536" y="213"/>
                  <a:pt x="536" y="213"/>
                </a:cubicBezTo>
                <a:cubicBezTo>
                  <a:pt x="535" y="213"/>
                  <a:pt x="534" y="213"/>
                  <a:pt x="534" y="214"/>
                </a:cubicBezTo>
                <a:cubicBezTo>
                  <a:pt x="534" y="213"/>
                  <a:pt x="535" y="213"/>
                  <a:pt x="535" y="213"/>
                </a:cubicBezTo>
                <a:cubicBezTo>
                  <a:pt x="535" y="213"/>
                  <a:pt x="535" y="212"/>
                  <a:pt x="535" y="212"/>
                </a:cubicBezTo>
                <a:cubicBezTo>
                  <a:pt x="535" y="212"/>
                  <a:pt x="534" y="212"/>
                  <a:pt x="534" y="212"/>
                </a:cubicBezTo>
                <a:cubicBezTo>
                  <a:pt x="533" y="212"/>
                  <a:pt x="532" y="212"/>
                  <a:pt x="531" y="212"/>
                </a:cubicBezTo>
                <a:cubicBezTo>
                  <a:pt x="530" y="212"/>
                  <a:pt x="530" y="212"/>
                  <a:pt x="529" y="212"/>
                </a:cubicBezTo>
                <a:cubicBezTo>
                  <a:pt x="528" y="212"/>
                  <a:pt x="528" y="212"/>
                  <a:pt x="527" y="212"/>
                </a:cubicBezTo>
                <a:cubicBezTo>
                  <a:pt x="527" y="212"/>
                  <a:pt x="527" y="212"/>
                  <a:pt x="526" y="212"/>
                </a:cubicBezTo>
                <a:cubicBezTo>
                  <a:pt x="526" y="212"/>
                  <a:pt x="526" y="212"/>
                  <a:pt x="526" y="212"/>
                </a:cubicBezTo>
                <a:cubicBezTo>
                  <a:pt x="526" y="212"/>
                  <a:pt x="525" y="212"/>
                  <a:pt x="525" y="213"/>
                </a:cubicBezTo>
                <a:cubicBezTo>
                  <a:pt x="525" y="213"/>
                  <a:pt x="525" y="213"/>
                  <a:pt x="524" y="213"/>
                </a:cubicBezTo>
                <a:cubicBezTo>
                  <a:pt x="524" y="213"/>
                  <a:pt x="524" y="213"/>
                  <a:pt x="525" y="214"/>
                </a:cubicBezTo>
                <a:cubicBezTo>
                  <a:pt x="524" y="214"/>
                  <a:pt x="524" y="214"/>
                  <a:pt x="524" y="214"/>
                </a:cubicBezTo>
                <a:cubicBezTo>
                  <a:pt x="524" y="214"/>
                  <a:pt x="524" y="214"/>
                  <a:pt x="523" y="214"/>
                </a:cubicBezTo>
                <a:cubicBezTo>
                  <a:pt x="523" y="214"/>
                  <a:pt x="523" y="214"/>
                  <a:pt x="523" y="214"/>
                </a:cubicBezTo>
                <a:cubicBezTo>
                  <a:pt x="523" y="215"/>
                  <a:pt x="523" y="215"/>
                  <a:pt x="523" y="215"/>
                </a:cubicBezTo>
                <a:cubicBezTo>
                  <a:pt x="523" y="216"/>
                  <a:pt x="522" y="216"/>
                  <a:pt x="522" y="216"/>
                </a:cubicBezTo>
                <a:cubicBezTo>
                  <a:pt x="522" y="217"/>
                  <a:pt x="522" y="217"/>
                  <a:pt x="523" y="218"/>
                </a:cubicBezTo>
                <a:cubicBezTo>
                  <a:pt x="523" y="218"/>
                  <a:pt x="523" y="218"/>
                  <a:pt x="523" y="218"/>
                </a:cubicBezTo>
                <a:cubicBezTo>
                  <a:pt x="524" y="218"/>
                  <a:pt x="524" y="218"/>
                  <a:pt x="524" y="218"/>
                </a:cubicBezTo>
                <a:cubicBezTo>
                  <a:pt x="524" y="218"/>
                  <a:pt x="524" y="218"/>
                  <a:pt x="524" y="219"/>
                </a:cubicBezTo>
                <a:cubicBezTo>
                  <a:pt x="524" y="219"/>
                  <a:pt x="525" y="219"/>
                  <a:pt x="525" y="219"/>
                </a:cubicBezTo>
                <a:cubicBezTo>
                  <a:pt x="525" y="219"/>
                  <a:pt x="525" y="219"/>
                  <a:pt x="525" y="219"/>
                </a:cubicBezTo>
                <a:cubicBezTo>
                  <a:pt x="525" y="220"/>
                  <a:pt x="525" y="220"/>
                  <a:pt x="525" y="220"/>
                </a:cubicBezTo>
                <a:cubicBezTo>
                  <a:pt x="524" y="220"/>
                  <a:pt x="524" y="220"/>
                  <a:pt x="524" y="220"/>
                </a:cubicBezTo>
                <a:cubicBezTo>
                  <a:pt x="524" y="220"/>
                  <a:pt x="524" y="221"/>
                  <a:pt x="524" y="221"/>
                </a:cubicBezTo>
                <a:cubicBezTo>
                  <a:pt x="523" y="221"/>
                  <a:pt x="523" y="222"/>
                  <a:pt x="523" y="223"/>
                </a:cubicBezTo>
                <a:cubicBezTo>
                  <a:pt x="522" y="223"/>
                  <a:pt x="521" y="224"/>
                  <a:pt x="521" y="224"/>
                </a:cubicBezTo>
                <a:cubicBezTo>
                  <a:pt x="521" y="225"/>
                  <a:pt x="521" y="225"/>
                  <a:pt x="521" y="225"/>
                </a:cubicBezTo>
                <a:cubicBezTo>
                  <a:pt x="521" y="225"/>
                  <a:pt x="521" y="225"/>
                  <a:pt x="521" y="225"/>
                </a:cubicBezTo>
                <a:cubicBezTo>
                  <a:pt x="522" y="225"/>
                  <a:pt x="522" y="225"/>
                  <a:pt x="523" y="224"/>
                </a:cubicBezTo>
                <a:cubicBezTo>
                  <a:pt x="523" y="224"/>
                  <a:pt x="523" y="224"/>
                  <a:pt x="524" y="224"/>
                </a:cubicBezTo>
                <a:cubicBezTo>
                  <a:pt x="523" y="225"/>
                  <a:pt x="523" y="225"/>
                  <a:pt x="523" y="225"/>
                </a:cubicBezTo>
                <a:cubicBezTo>
                  <a:pt x="523" y="225"/>
                  <a:pt x="523" y="226"/>
                  <a:pt x="523" y="226"/>
                </a:cubicBezTo>
                <a:cubicBezTo>
                  <a:pt x="523" y="226"/>
                  <a:pt x="523" y="226"/>
                  <a:pt x="523" y="226"/>
                </a:cubicBezTo>
                <a:cubicBezTo>
                  <a:pt x="523" y="226"/>
                  <a:pt x="524" y="226"/>
                  <a:pt x="524" y="226"/>
                </a:cubicBezTo>
                <a:cubicBezTo>
                  <a:pt x="524" y="226"/>
                  <a:pt x="523" y="227"/>
                  <a:pt x="523" y="227"/>
                </a:cubicBezTo>
                <a:cubicBezTo>
                  <a:pt x="523" y="227"/>
                  <a:pt x="523" y="227"/>
                  <a:pt x="522" y="227"/>
                </a:cubicBezTo>
                <a:cubicBezTo>
                  <a:pt x="523" y="228"/>
                  <a:pt x="523" y="228"/>
                  <a:pt x="523" y="228"/>
                </a:cubicBezTo>
                <a:cubicBezTo>
                  <a:pt x="523" y="228"/>
                  <a:pt x="523" y="228"/>
                  <a:pt x="524" y="228"/>
                </a:cubicBezTo>
                <a:cubicBezTo>
                  <a:pt x="523" y="228"/>
                  <a:pt x="523" y="229"/>
                  <a:pt x="523" y="229"/>
                </a:cubicBezTo>
                <a:cubicBezTo>
                  <a:pt x="523" y="229"/>
                  <a:pt x="523" y="229"/>
                  <a:pt x="523" y="229"/>
                </a:cubicBezTo>
                <a:cubicBezTo>
                  <a:pt x="523" y="229"/>
                  <a:pt x="524" y="229"/>
                  <a:pt x="524" y="229"/>
                </a:cubicBezTo>
                <a:cubicBezTo>
                  <a:pt x="525" y="229"/>
                  <a:pt x="525" y="229"/>
                  <a:pt x="525" y="229"/>
                </a:cubicBezTo>
                <a:cubicBezTo>
                  <a:pt x="525" y="230"/>
                  <a:pt x="524" y="231"/>
                  <a:pt x="524" y="231"/>
                </a:cubicBezTo>
                <a:cubicBezTo>
                  <a:pt x="524" y="231"/>
                  <a:pt x="523" y="232"/>
                  <a:pt x="523" y="232"/>
                </a:cubicBezTo>
                <a:cubicBezTo>
                  <a:pt x="523" y="232"/>
                  <a:pt x="523" y="232"/>
                  <a:pt x="523" y="233"/>
                </a:cubicBezTo>
                <a:cubicBezTo>
                  <a:pt x="523" y="233"/>
                  <a:pt x="523" y="233"/>
                  <a:pt x="523" y="233"/>
                </a:cubicBezTo>
                <a:cubicBezTo>
                  <a:pt x="523" y="233"/>
                  <a:pt x="523" y="233"/>
                  <a:pt x="523" y="233"/>
                </a:cubicBezTo>
                <a:cubicBezTo>
                  <a:pt x="522" y="233"/>
                  <a:pt x="522" y="232"/>
                  <a:pt x="522" y="232"/>
                </a:cubicBezTo>
                <a:cubicBezTo>
                  <a:pt x="522" y="232"/>
                  <a:pt x="521" y="232"/>
                  <a:pt x="521" y="232"/>
                </a:cubicBezTo>
                <a:cubicBezTo>
                  <a:pt x="521" y="233"/>
                  <a:pt x="521" y="233"/>
                  <a:pt x="520" y="233"/>
                </a:cubicBezTo>
                <a:cubicBezTo>
                  <a:pt x="520" y="234"/>
                  <a:pt x="520" y="234"/>
                  <a:pt x="520" y="234"/>
                </a:cubicBezTo>
                <a:cubicBezTo>
                  <a:pt x="521" y="234"/>
                  <a:pt x="521" y="234"/>
                  <a:pt x="521" y="234"/>
                </a:cubicBezTo>
                <a:cubicBezTo>
                  <a:pt x="521" y="234"/>
                  <a:pt x="521" y="234"/>
                  <a:pt x="521" y="234"/>
                </a:cubicBezTo>
                <a:cubicBezTo>
                  <a:pt x="521" y="235"/>
                  <a:pt x="521" y="235"/>
                  <a:pt x="520" y="235"/>
                </a:cubicBezTo>
                <a:cubicBezTo>
                  <a:pt x="520" y="235"/>
                  <a:pt x="520" y="235"/>
                  <a:pt x="519" y="235"/>
                </a:cubicBezTo>
                <a:cubicBezTo>
                  <a:pt x="519" y="236"/>
                  <a:pt x="518" y="237"/>
                  <a:pt x="517" y="238"/>
                </a:cubicBezTo>
                <a:cubicBezTo>
                  <a:pt x="517" y="238"/>
                  <a:pt x="516" y="238"/>
                  <a:pt x="516" y="238"/>
                </a:cubicBezTo>
                <a:cubicBezTo>
                  <a:pt x="516" y="239"/>
                  <a:pt x="516" y="240"/>
                  <a:pt x="516" y="240"/>
                </a:cubicBezTo>
                <a:cubicBezTo>
                  <a:pt x="516" y="240"/>
                  <a:pt x="516" y="240"/>
                  <a:pt x="516" y="241"/>
                </a:cubicBezTo>
                <a:cubicBezTo>
                  <a:pt x="517" y="241"/>
                  <a:pt x="517" y="241"/>
                  <a:pt x="517" y="240"/>
                </a:cubicBezTo>
                <a:cubicBezTo>
                  <a:pt x="518" y="241"/>
                  <a:pt x="518" y="241"/>
                  <a:pt x="518" y="241"/>
                </a:cubicBezTo>
                <a:cubicBezTo>
                  <a:pt x="518" y="241"/>
                  <a:pt x="519" y="241"/>
                  <a:pt x="519" y="241"/>
                </a:cubicBezTo>
                <a:cubicBezTo>
                  <a:pt x="520" y="242"/>
                  <a:pt x="521" y="242"/>
                  <a:pt x="521" y="243"/>
                </a:cubicBezTo>
                <a:cubicBezTo>
                  <a:pt x="522" y="243"/>
                  <a:pt x="522" y="244"/>
                  <a:pt x="522" y="245"/>
                </a:cubicBezTo>
                <a:cubicBezTo>
                  <a:pt x="522" y="245"/>
                  <a:pt x="522" y="246"/>
                  <a:pt x="522" y="247"/>
                </a:cubicBezTo>
                <a:cubicBezTo>
                  <a:pt x="523" y="247"/>
                  <a:pt x="523" y="247"/>
                  <a:pt x="524" y="248"/>
                </a:cubicBezTo>
                <a:cubicBezTo>
                  <a:pt x="524" y="248"/>
                  <a:pt x="524" y="248"/>
                  <a:pt x="524" y="249"/>
                </a:cubicBezTo>
                <a:cubicBezTo>
                  <a:pt x="524" y="249"/>
                  <a:pt x="524" y="249"/>
                  <a:pt x="524" y="250"/>
                </a:cubicBezTo>
                <a:cubicBezTo>
                  <a:pt x="524" y="250"/>
                  <a:pt x="524" y="250"/>
                  <a:pt x="524" y="250"/>
                </a:cubicBezTo>
                <a:cubicBezTo>
                  <a:pt x="523" y="251"/>
                  <a:pt x="523" y="252"/>
                  <a:pt x="523" y="252"/>
                </a:cubicBezTo>
                <a:cubicBezTo>
                  <a:pt x="523" y="253"/>
                  <a:pt x="523" y="253"/>
                  <a:pt x="523" y="253"/>
                </a:cubicBezTo>
                <a:cubicBezTo>
                  <a:pt x="523" y="253"/>
                  <a:pt x="523" y="253"/>
                  <a:pt x="523" y="253"/>
                </a:cubicBezTo>
                <a:cubicBezTo>
                  <a:pt x="523" y="253"/>
                  <a:pt x="523" y="252"/>
                  <a:pt x="523" y="252"/>
                </a:cubicBezTo>
                <a:cubicBezTo>
                  <a:pt x="524" y="252"/>
                  <a:pt x="524" y="252"/>
                  <a:pt x="524" y="252"/>
                </a:cubicBezTo>
                <a:cubicBezTo>
                  <a:pt x="524" y="252"/>
                  <a:pt x="524" y="252"/>
                  <a:pt x="524" y="253"/>
                </a:cubicBezTo>
                <a:cubicBezTo>
                  <a:pt x="525" y="253"/>
                  <a:pt x="525" y="253"/>
                  <a:pt x="526" y="253"/>
                </a:cubicBezTo>
                <a:cubicBezTo>
                  <a:pt x="525" y="253"/>
                  <a:pt x="525" y="254"/>
                  <a:pt x="525" y="254"/>
                </a:cubicBezTo>
                <a:cubicBezTo>
                  <a:pt x="524" y="254"/>
                  <a:pt x="524" y="254"/>
                  <a:pt x="524" y="254"/>
                </a:cubicBezTo>
                <a:cubicBezTo>
                  <a:pt x="524" y="254"/>
                  <a:pt x="523" y="254"/>
                  <a:pt x="523" y="254"/>
                </a:cubicBezTo>
                <a:cubicBezTo>
                  <a:pt x="523" y="254"/>
                  <a:pt x="523" y="254"/>
                  <a:pt x="522" y="254"/>
                </a:cubicBezTo>
                <a:cubicBezTo>
                  <a:pt x="522" y="255"/>
                  <a:pt x="522" y="255"/>
                  <a:pt x="521" y="256"/>
                </a:cubicBezTo>
                <a:cubicBezTo>
                  <a:pt x="521" y="256"/>
                  <a:pt x="521" y="257"/>
                  <a:pt x="520" y="257"/>
                </a:cubicBezTo>
                <a:cubicBezTo>
                  <a:pt x="520" y="257"/>
                  <a:pt x="520" y="257"/>
                  <a:pt x="520" y="257"/>
                </a:cubicBezTo>
                <a:cubicBezTo>
                  <a:pt x="519" y="258"/>
                  <a:pt x="519" y="258"/>
                  <a:pt x="518" y="259"/>
                </a:cubicBezTo>
                <a:cubicBezTo>
                  <a:pt x="518" y="259"/>
                  <a:pt x="517" y="259"/>
                  <a:pt x="517" y="259"/>
                </a:cubicBezTo>
                <a:cubicBezTo>
                  <a:pt x="517" y="259"/>
                  <a:pt x="517" y="259"/>
                  <a:pt x="517" y="260"/>
                </a:cubicBezTo>
                <a:cubicBezTo>
                  <a:pt x="516" y="260"/>
                  <a:pt x="515" y="261"/>
                  <a:pt x="514" y="261"/>
                </a:cubicBezTo>
                <a:cubicBezTo>
                  <a:pt x="513" y="262"/>
                  <a:pt x="513" y="262"/>
                  <a:pt x="512" y="262"/>
                </a:cubicBezTo>
                <a:cubicBezTo>
                  <a:pt x="512" y="263"/>
                  <a:pt x="512" y="263"/>
                  <a:pt x="512" y="263"/>
                </a:cubicBezTo>
                <a:cubicBezTo>
                  <a:pt x="511" y="263"/>
                  <a:pt x="511" y="263"/>
                  <a:pt x="510" y="263"/>
                </a:cubicBezTo>
                <a:cubicBezTo>
                  <a:pt x="510" y="263"/>
                  <a:pt x="510" y="264"/>
                  <a:pt x="509" y="264"/>
                </a:cubicBezTo>
                <a:cubicBezTo>
                  <a:pt x="509" y="264"/>
                  <a:pt x="508" y="264"/>
                  <a:pt x="507" y="265"/>
                </a:cubicBezTo>
                <a:cubicBezTo>
                  <a:pt x="507" y="265"/>
                  <a:pt x="506" y="265"/>
                  <a:pt x="506" y="265"/>
                </a:cubicBezTo>
                <a:cubicBezTo>
                  <a:pt x="506" y="266"/>
                  <a:pt x="506" y="266"/>
                  <a:pt x="506" y="266"/>
                </a:cubicBezTo>
                <a:cubicBezTo>
                  <a:pt x="506" y="266"/>
                  <a:pt x="507" y="266"/>
                  <a:pt x="507" y="266"/>
                </a:cubicBezTo>
                <a:cubicBezTo>
                  <a:pt x="507" y="267"/>
                  <a:pt x="507" y="267"/>
                  <a:pt x="507" y="267"/>
                </a:cubicBezTo>
                <a:cubicBezTo>
                  <a:pt x="507" y="267"/>
                  <a:pt x="507" y="267"/>
                  <a:pt x="507" y="268"/>
                </a:cubicBezTo>
                <a:cubicBezTo>
                  <a:pt x="508" y="268"/>
                  <a:pt x="508" y="268"/>
                  <a:pt x="508" y="268"/>
                </a:cubicBezTo>
                <a:cubicBezTo>
                  <a:pt x="508" y="268"/>
                  <a:pt x="508" y="268"/>
                  <a:pt x="507" y="268"/>
                </a:cubicBezTo>
                <a:cubicBezTo>
                  <a:pt x="508" y="268"/>
                  <a:pt x="508" y="269"/>
                  <a:pt x="508" y="269"/>
                </a:cubicBezTo>
                <a:cubicBezTo>
                  <a:pt x="508" y="269"/>
                  <a:pt x="508" y="269"/>
                  <a:pt x="509" y="269"/>
                </a:cubicBezTo>
                <a:cubicBezTo>
                  <a:pt x="508" y="269"/>
                  <a:pt x="508" y="269"/>
                  <a:pt x="508" y="269"/>
                </a:cubicBezTo>
                <a:cubicBezTo>
                  <a:pt x="508" y="269"/>
                  <a:pt x="508" y="269"/>
                  <a:pt x="509" y="270"/>
                </a:cubicBezTo>
                <a:cubicBezTo>
                  <a:pt x="508" y="270"/>
                  <a:pt x="508" y="270"/>
                  <a:pt x="508" y="270"/>
                </a:cubicBezTo>
                <a:cubicBezTo>
                  <a:pt x="508" y="270"/>
                  <a:pt x="508" y="270"/>
                  <a:pt x="508" y="271"/>
                </a:cubicBezTo>
                <a:cubicBezTo>
                  <a:pt x="508" y="271"/>
                  <a:pt x="508" y="271"/>
                  <a:pt x="508" y="271"/>
                </a:cubicBezTo>
                <a:cubicBezTo>
                  <a:pt x="508" y="272"/>
                  <a:pt x="508" y="272"/>
                  <a:pt x="508" y="272"/>
                </a:cubicBezTo>
                <a:cubicBezTo>
                  <a:pt x="508" y="273"/>
                  <a:pt x="508" y="273"/>
                  <a:pt x="508" y="273"/>
                </a:cubicBezTo>
                <a:cubicBezTo>
                  <a:pt x="508" y="274"/>
                  <a:pt x="508" y="274"/>
                  <a:pt x="508" y="275"/>
                </a:cubicBezTo>
                <a:cubicBezTo>
                  <a:pt x="508" y="275"/>
                  <a:pt x="508" y="275"/>
                  <a:pt x="508" y="275"/>
                </a:cubicBezTo>
                <a:cubicBezTo>
                  <a:pt x="509" y="275"/>
                  <a:pt x="509" y="275"/>
                  <a:pt x="509" y="275"/>
                </a:cubicBezTo>
                <a:cubicBezTo>
                  <a:pt x="509" y="276"/>
                  <a:pt x="509" y="276"/>
                  <a:pt x="509" y="276"/>
                </a:cubicBezTo>
                <a:cubicBezTo>
                  <a:pt x="509" y="276"/>
                  <a:pt x="509" y="276"/>
                  <a:pt x="510" y="276"/>
                </a:cubicBezTo>
                <a:cubicBezTo>
                  <a:pt x="509" y="276"/>
                  <a:pt x="509" y="277"/>
                  <a:pt x="509" y="277"/>
                </a:cubicBezTo>
                <a:cubicBezTo>
                  <a:pt x="509" y="277"/>
                  <a:pt x="509" y="278"/>
                  <a:pt x="509" y="278"/>
                </a:cubicBezTo>
                <a:cubicBezTo>
                  <a:pt x="509" y="278"/>
                  <a:pt x="509" y="278"/>
                  <a:pt x="510" y="278"/>
                </a:cubicBezTo>
                <a:cubicBezTo>
                  <a:pt x="510" y="278"/>
                  <a:pt x="510" y="279"/>
                  <a:pt x="510" y="279"/>
                </a:cubicBezTo>
                <a:cubicBezTo>
                  <a:pt x="510" y="279"/>
                  <a:pt x="510" y="279"/>
                  <a:pt x="510" y="279"/>
                </a:cubicBezTo>
                <a:cubicBezTo>
                  <a:pt x="510" y="280"/>
                  <a:pt x="510" y="280"/>
                  <a:pt x="509" y="280"/>
                </a:cubicBezTo>
                <a:cubicBezTo>
                  <a:pt x="509" y="281"/>
                  <a:pt x="509" y="281"/>
                  <a:pt x="509" y="282"/>
                </a:cubicBezTo>
                <a:cubicBezTo>
                  <a:pt x="509" y="282"/>
                  <a:pt x="509" y="282"/>
                  <a:pt x="509" y="282"/>
                </a:cubicBezTo>
                <a:cubicBezTo>
                  <a:pt x="508" y="282"/>
                  <a:pt x="508" y="282"/>
                  <a:pt x="508" y="282"/>
                </a:cubicBezTo>
                <a:cubicBezTo>
                  <a:pt x="508" y="282"/>
                  <a:pt x="508" y="282"/>
                  <a:pt x="508" y="282"/>
                </a:cubicBezTo>
                <a:cubicBezTo>
                  <a:pt x="509" y="283"/>
                  <a:pt x="509" y="283"/>
                  <a:pt x="509" y="283"/>
                </a:cubicBezTo>
                <a:cubicBezTo>
                  <a:pt x="509" y="283"/>
                  <a:pt x="509" y="283"/>
                  <a:pt x="509" y="283"/>
                </a:cubicBezTo>
                <a:cubicBezTo>
                  <a:pt x="509" y="284"/>
                  <a:pt x="509" y="284"/>
                  <a:pt x="509" y="285"/>
                </a:cubicBezTo>
                <a:cubicBezTo>
                  <a:pt x="509" y="285"/>
                  <a:pt x="509" y="285"/>
                  <a:pt x="509" y="285"/>
                </a:cubicBezTo>
                <a:cubicBezTo>
                  <a:pt x="509" y="286"/>
                  <a:pt x="510" y="286"/>
                  <a:pt x="510" y="286"/>
                </a:cubicBezTo>
                <a:cubicBezTo>
                  <a:pt x="511" y="286"/>
                  <a:pt x="511" y="286"/>
                  <a:pt x="511" y="286"/>
                </a:cubicBezTo>
                <a:cubicBezTo>
                  <a:pt x="511" y="286"/>
                  <a:pt x="510" y="286"/>
                  <a:pt x="510" y="286"/>
                </a:cubicBezTo>
                <a:cubicBezTo>
                  <a:pt x="509" y="286"/>
                  <a:pt x="509" y="286"/>
                  <a:pt x="508" y="286"/>
                </a:cubicBezTo>
                <a:cubicBezTo>
                  <a:pt x="508" y="286"/>
                  <a:pt x="508" y="285"/>
                  <a:pt x="508" y="285"/>
                </a:cubicBezTo>
                <a:cubicBezTo>
                  <a:pt x="508" y="284"/>
                  <a:pt x="508" y="284"/>
                  <a:pt x="507" y="284"/>
                </a:cubicBezTo>
                <a:cubicBezTo>
                  <a:pt x="507" y="284"/>
                  <a:pt x="507" y="284"/>
                  <a:pt x="507" y="284"/>
                </a:cubicBezTo>
                <a:cubicBezTo>
                  <a:pt x="507" y="284"/>
                  <a:pt x="507" y="284"/>
                  <a:pt x="506" y="283"/>
                </a:cubicBezTo>
                <a:cubicBezTo>
                  <a:pt x="506" y="283"/>
                  <a:pt x="507" y="283"/>
                  <a:pt x="507" y="283"/>
                </a:cubicBezTo>
                <a:cubicBezTo>
                  <a:pt x="506" y="283"/>
                  <a:pt x="506" y="283"/>
                  <a:pt x="506" y="283"/>
                </a:cubicBezTo>
                <a:cubicBezTo>
                  <a:pt x="506" y="284"/>
                  <a:pt x="505" y="284"/>
                  <a:pt x="505" y="285"/>
                </a:cubicBezTo>
                <a:cubicBezTo>
                  <a:pt x="505" y="285"/>
                  <a:pt x="505" y="285"/>
                  <a:pt x="505" y="285"/>
                </a:cubicBezTo>
                <a:cubicBezTo>
                  <a:pt x="505" y="286"/>
                  <a:pt x="505" y="286"/>
                  <a:pt x="505" y="286"/>
                </a:cubicBezTo>
                <a:cubicBezTo>
                  <a:pt x="504" y="286"/>
                  <a:pt x="504" y="286"/>
                  <a:pt x="504" y="286"/>
                </a:cubicBezTo>
                <a:cubicBezTo>
                  <a:pt x="503" y="286"/>
                  <a:pt x="503" y="286"/>
                  <a:pt x="503" y="286"/>
                </a:cubicBezTo>
                <a:cubicBezTo>
                  <a:pt x="502" y="286"/>
                  <a:pt x="502" y="286"/>
                  <a:pt x="501" y="286"/>
                </a:cubicBezTo>
                <a:cubicBezTo>
                  <a:pt x="501" y="286"/>
                  <a:pt x="500" y="287"/>
                  <a:pt x="500" y="287"/>
                </a:cubicBezTo>
                <a:cubicBezTo>
                  <a:pt x="500" y="287"/>
                  <a:pt x="499" y="287"/>
                  <a:pt x="499" y="288"/>
                </a:cubicBezTo>
                <a:cubicBezTo>
                  <a:pt x="499" y="287"/>
                  <a:pt x="500" y="287"/>
                  <a:pt x="500" y="286"/>
                </a:cubicBezTo>
                <a:cubicBezTo>
                  <a:pt x="500" y="286"/>
                  <a:pt x="500" y="285"/>
                  <a:pt x="500" y="285"/>
                </a:cubicBezTo>
                <a:cubicBezTo>
                  <a:pt x="500" y="285"/>
                  <a:pt x="500" y="285"/>
                  <a:pt x="500" y="285"/>
                </a:cubicBezTo>
                <a:cubicBezTo>
                  <a:pt x="500" y="284"/>
                  <a:pt x="500" y="284"/>
                  <a:pt x="500" y="283"/>
                </a:cubicBezTo>
                <a:cubicBezTo>
                  <a:pt x="499" y="283"/>
                  <a:pt x="499" y="283"/>
                  <a:pt x="499" y="283"/>
                </a:cubicBezTo>
                <a:cubicBezTo>
                  <a:pt x="499" y="283"/>
                  <a:pt x="499" y="283"/>
                  <a:pt x="498" y="283"/>
                </a:cubicBezTo>
                <a:cubicBezTo>
                  <a:pt x="498" y="283"/>
                  <a:pt x="498" y="283"/>
                  <a:pt x="498" y="283"/>
                </a:cubicBezTo>
                <a:cubicBezTo>
                  <a:pt x="498" y="283"/>
                  <a:pt x="497" y="283"/>
                  <a:pt x="497" y="283"/>
                </a:cubicBezTo>
                <a:cubicBezTo>
                  <a:pt x="496" y="283"/>
                  <a:pt x="496" y="283"/>
                  <a:pt x="496" y="283"/>
                </a:cubicBezTo>
                <a:cubicBezTo>
                  <a:pt x="496" y="282"/>
                  <a:pt x="496" y="282"/>
                  <a:pt x="496" y="282"/>
                </a:cubicBezTo>
                <a:cubicBezTo>
                  <a:pt x="496" y="282"/>
                  <a:pt x="496" y="282"/>
                  <a:pt x="495" y="282"/>
                </a:cubicBezTo>
                <a:cubicBezTo>
                  <a:pt x="495" y="282"/>
                  <a:pt x="495" y="281"/>
                  <a:pt x="496" y="281"/>
                </a:cubicBezTo>
                <a:cubicBezTo>
                  <a:pt x="495" y="281"/>
                  <a:pt x="495" y="281"/>
                  <a:pt x="495" y="281"/>
                </a:cubicBezTo>
                <a:cubicBezTo>
                  <a:pt x="494" y="281"/>
                  <a:pt x="494" y="281"/>
                  <a:pt x="494" y="281"/>
                </a:cubicBezTo>
                <a:cubicBezTo>
                  <a:pt x="494" y="280"/>
                  <a:pt x="494" y="280"/>
                  <a:pt x="494" y="280"/>
                </a:cubicBezTo>
                <a:cubicBezTo>
                  <a:pt x="493" y="280"/>
                  <a:pt x="493" y="279"/>
                  <a:pt x="492" y="279"/>
                </a:cubicBezTo>
                <a:cubicBezTo>
                  <a:pt x="492" y="279"/>
                  <a:pt x="492" y="279"/>
                  <a:pt x="492" y="279"/>
                </a:cubicBezTo>
                <a:cubicBezTo>
                  <a:pt x="492" y="278"/>
                  <a:pt x="492" y="278"/>
                  <a:pt x="492" y="277"/>
                </a:cubicBezTo>
                <a:cubicBezTo>
                  <a:pt x="492" y="277"/>
                  <a:pt x="493" y="277"/>
                  <a:pt x="493" y="276"/>
                </a:cubicBezTo>
                <a:cubicBezTo>
                  <a:pt x="493" y="276"/>
                  <a:pt x="493" y="276"/>
                  <a:pt x="493" y="275"/>
                </a:cubicBezTo>
                <a:cubicBezTo>
                  <a:pt x="493" y="275"/>
                  <a:pt x="493" y="275"/>
                  <a:pt x="493" y="275"/>
                </a:cubicBezTo>
                <a:cubicBezTo>
                  <a:pt x="493" y="274"/>
                  <a:pt x="494" y="274"/>
                  <a:pt x="494" y="273"/>
                </a:cubicBezTo>
                <a:cubicBezTo>
                  <a:pt x="494" y="273"/>
                  <a:pt x="494" y="272"/>
                  <a:pt x="493" y="271"/>
                </a:cubicBezTo>
                <a:cubicBezTo>
                  <a:pt x="493" y="271"/>
                  <a:pt x="493" y="271"/>
                  <a:pt x="493" y="271"/>
                </a:cubicBezTo>
                <a:cubicBezTo>
                  <a:pt x="493" y="271"/>
                  <a:pt x="493" y="271"/>
                  <a:pt x="493" y="271"/>
                </a:cubicBezTo>
                <a:cubicBezTo>
                  <a:pt x="493" y="270"/>
                  <a:pt x="493" y="270"/>
                  <a:pt x="493" y="269"/>
                </a:cubicBezTo>
                <a:cubicBezTo>
                  <a:pt x="493" y="269"/>
                  <a:pt x="493" y="269"/>
                  <a:pt x="494" y="269"/>
                </a:cubicBezTo>
                <a:cubicBezTo>
                  <a:pt x="494" y="268"/>
                  <a:pt x="494" y="268"/>
                  <a:pt x="494" y="268"/>
                </a:cubicBezTo>
                <a:cubicBezTo>
                  <a:pt x="494" y="267"/>
                  <a:pt x="494" y="267"/>
                  <a:pt x="495" y="266"/>
                </a:cubicBezTo>
                <a:cubicBezTo>
                  <a:pt x="494" y="266"/>
                  <a:pt x="494" y="265"/>
                  <a:pt x="494" y="265"/>
                </a:cubicBezTo>
                <a:cubicBezTo>
                  <a:pt x="494" y="265"/>
                  <a:pt x="494" y="265"/>
                  <a:pt x="494" y="265"/>
                </a:cubicBezTo>
                <a:cubicBezTo>
                  <a:pt x="493" y="265"/>
                  <a:pt x="493" y="265"/>
                  <a:pt x="493" y="265"/>
                </a:cubicBezTo>
                <a:cubicBezTo>
                  <a:pt x="493" y="265"/>
                  <a:pt x="493" y="265"/>
                  <a:pt x="493" y="265"/>
                </a:cubicBezTo>
                <a:cubicBezTo>
                  <a:pt x="493" y="265"/>
                  <a:pt x="493" y="265"/>
                  <a:pt x="492" y="265"/>
                </a:cubicBezTo>
                <a:cubicBezTo>
                  <a:pt x="492" y="265"/>
                  <a:pt x="492" y="266"/>
                  <a:pt x="491" y="266"/>
                </a:cubicBezTo>
                <a:cubicBezTo>
                  <a:pt x="490" y="266"/>
                  <a:pt x="490" y="266"/>
                  <a:pt x="489" y="266"/>
                </a:cubicBezTo>
                <a:cubicBezTo>
                  <a:pt x="489" y="266"/>
                  <a:pt x="488" y="266"/>
                  <a:pt x="487" y="266"/>
                </a:cubicBezTo>
                <a:cubicBezTo>
                  <a:pt x="487" y="266"/>
                  <a:pt x="487" y="266"/>
                  <a:pt x="487" y="266"/>
                </a:cubicBezTo>
                <a:cubicBezTo>
                  <a:pt x="487" y="266"/>
                  <a:pt x="487" y="266"/>
                  <a:pt x="486" y="266"/>
                </a:cubicBezTo>
                <a:cubicBezTo>
                  <a:pt x="486" y="266"/>
                  <a:pt x="485" y="266"/>
                  <a:pt x="484" y="267"/>
                </a:cubicBezTo>
                <a:cubicBezTo>
                  <a:pt x="484" y="267"/>
                  <a:pt x="483" y="267"/>
                  <a:pt x="483" y="267"/>
                </a:cubicBezTo>
                <a:cubicBezTo>
                  <a:pt x="483" y="267"/>
                  <a:pt x="482" y="267"/>
                  <a:pt x="482" y="267"/>
                </a:cubicBezTo>
                <a:cubicBezTo>
                  <a:pt x="482" y="267"/>
                  <a:pt x="481" y="267"/>
                  <a:pt x="481" y="267"/>
                </a:cubicBezTo>
                <a:cubicBezTo>
                  <a:pt x="480" y="267"/>
                  <a:pt x="480" y="267"/>
                  <a:pt x="480" y="267"/>
                </a:cubicBezTo>
                <a:cubicBezTo>
                  <a:pt x="480" y="267"/>
                  <a:pt x="480" y="267"/>
                  <a:pt x="480" y="267"/>
                </a:cubicBezTo>
                <a:cubicBezTo>
                  <a:pt x="480" y="267"/>
                  <a:pt x="479" y="267"/>
                  <a:pt x="479" y="266"/>
                </a:cubicBezTo>
                <a:cubicBezTo>
                  <a:pt x="478" y="266"/>
                  <a:pt x="478" y="266"/>
                  <a:pt x="478" y="266"/>
                </a:cubicBezTo>
                <a:cubicBezTo>
                  <a:pt x="478" y="266"/>
                  <a:pt x="477" y="265"/>
                  <a:pt x="476" y="265"/>
                </a:cubicBezTo>
                <a:cubicBezTo>
                  <a:pt x="476" y="265"/>
                  <a:pt x="476" y="265"/>
                  <a:pt x="475" y="265"/>
                </a:cubicBezTo>
                <a:cubicBezTo>
                  <a:pt x="475" y="265"/>
                  <a:pt x="474" y="265"/>
                  <a:pt x="473" y="265"/>
                </a:cubicBezTo>
                <a:cubicBezTo>
                  <a:pt x="473" y="265"/>
                  <a:pt x="473" y="265"/>
                  <a:pt x="473" y="265"/>
                </a:cubicBezTo>
                <a:cubicBezTo>
                  <a:pt x="472" y="265"/>
                  <a:pt x="471" y="265"/>
                  <a:pt x="470" y="265"/>
                </a:cubicBezTo>
                <a:cubicBezTo>
                  <a:pt x="470" y="265"/>
                  <a:pt x="470" y="264"/>
                  <a:pt x="469" y="264"/>
                </a:cubicBezTo>
                <a:cubicBezTo>
                  <a:pt x="469" y="265"/>
                  <a:pt x="469" y="265"/>
                  <a:pt x="469" y="265"/>
                </a:cubicBezTo>
                <a:cubicBezTo>
                  <a:pt x="469" y="265"/>
                  <a:pt x="469" y="265"/>
                  <a:pt x="469" y="264"/>
                </a:cubicBezTo>
                <a:cubicBezTo>
                  <a:pt x="468" y="264"/>
                  <a:pt x="468" y="264"/>
                  <a:pt x="468" y="263"/>
                </a:cubicBezTo>
                <a:cubicBezTo>
                  <a:pt x="467" y="263"/>
                  <a:pt x="467" y="263"/>
                  <a:pt x="467" y="263"/>
                </a:cubicBezTo>
                <a:cubicBezTo>
                  <a:pt x="467" y="263"/>
                  <a:pt x="467" y="263"/>
                  <a:pt x="467" y="262"/>
                </a:cubicBezTo>
                <a:cubicBezTo>
                  <a:pt x="466" y="262"/>
                  <a:pt x="466" y="262"/>
                  <a:pt x="466" y="262"/>
                </a:cubicBezTo>
                <a:cubicBezTo>
                  <a:pt x="465" y="262"/>
                  <a:pt x="465" y="262"/>
                  <a:pt x="464" y="262"/>
                </a:cubicBezTo>
                <a:cubicBezTo>
                  <a:pt x="464" y="261"/>
                  <a:pt x="464" y="261"/>
                  <a:pt x="463" y="261"/>
                </a:cubicBezTo>
                <a:cubicBezTo>
                  <a:pt x="463" y="261"/>
                  <a:pt x="462" y="261"/>
                  <a:pt x="461" y="261"/>
                </a:cubicBezTo>
                <a:cubicBezTo>
                  <a:pt x="461" y="261"/>
                  <a:pt x="461" y="261"/>
                  <a:pt x="460" y="261"/>
                </a:cubicBezTo>
                <a:cubicBezTo>
                  <a:pt x="460" y="261"/>
                  <a:pt x="460" y="261"/>
                  <a:pt x="460" y="261"/>
                </a:cubicBezTo>
                <a:cubicBezTo>
                  <a:pt x="459" y="261"/>
                  <a:pt x="458" y="261"/>
                  <a:pt x="457" y="261"/>
                </a:cubicBezTo>
                <a:cubicBezTo>
                  <a:pt x="456" y="261"/>
                  <a:pt x="456" y="261"/>
                  <a:pt x="455" y="260"/>
                </a:cubicBezTo>
                <a:cubicBezTo>
                  <a:pt x="454" y="260"/>
                  <a:pt x="453" y="260"/>
                  <a:pt x="452" y="260"/>
                </a:cubicBezTo>
                <a:cubicBezTo>
                  <a:pt x="452" y="260"/>
                  <a:pt x="451" y="260"/>
                  <a:pt x="450" y="261"/>
                </a:cubicBezTo>
                <a:cubicBezTo>
                  <a:pt x="449" y="261"/>
                  <a:pt x="448" y="262"/>
                  <a:pt x="447" y="263"/>
                </a:cubicBezTo>
                <a:cubicBezTo>
                  <a:pt x="446" y="263"/>
                  <a:pt x="444" y="264"/>
                  <a:pt x="443" y="264"/>
                </a:cubicBezTo>
                <a:cubicBezTo>
                  <a:pt x="443" y="265"/>
                  <a:pt x="442" y="265"/>
                  <a:pt x="441" y="265"/>
                </a:cubicBezTo>
                <a:cubicBezTo>
                  <a:pt x="441" y="265"/>
                  <a:pt x="441" y="265"/>
                  <a:pt x="440" y="265"/>
                </a:cubicBezTo>
                <a:cubicBezTo>
                  <a:pt x="441" y="265"/>
                  <a:pt x="441" y="265"/>
                  <a:pt x="441" y="265"/>
                </a:cubicBezTo>
                <a:cubicBezTo>
                  <a:pt x="442" y="264"/>
                  <a:pt x="442" y="264"/>
                  <a:pt x="443" y="264"/>
                </a:cubicBezTo>
                <a:cubicBezTo>
                  <a:pt x="444" y="263"/>
                  <a:pt x="445" y="262"/>
                  <a:pt x="446" y="261"/>
                </a:cubicBezTo>
                <a:cubicBezTo>
                  <a:pt x="446" y="261"/>
                  <a:pt x="446" y="260"/>
                  <a:pt x="446" y="260"/>
                </a:cubicBezTo>
                <a:cubicBezTo>
                  <a:pt x="446" y="260"/>
                  <a:pt x="445" y="259"/>
                  <a:pt x="445" y="259"/>
                </a:cubicBezTo>
                <a:cubicBezTo>
                  <a:pt x="445" y="259"/>
                  <a:pt x="444" y="258"/>
                  <a:pt x="444" y="258"/>
                </a:cubicBezTo>
                <a:cubicBezTo>
                  <a:pt x="444" y="258"/>
                  <a:pt x="444" y="257"/>
                  <a:pt x="445" y="257"/>
                </a:cubicBezTo>
                <a:cubicBezTo>
                  <a:pt x="444" y="256"/>
                  <a:pt x="444" y="256"/>
                  <a:pt x="444" y="255"/>
                </a:cubicBezTo>
                <a:cubicBezTo>
                  <a:pt x="444" y="255"/>
                  <a:pt x="444" y="255"/>
                  <a:pt x="443" y="254"/>
                </a:cubicBezTo>
                <a:cubicBezTo>
                  <a:pt x="443" y="254"/>
                  <a:pt x="443" y="254"/>
                  <a:pt x="443" y="254"/>
                </a:cubicBezTo>
                <a:cubicBezTo>
                  <a:pt x="443" y="253"/>
                  <a:pt x="443" y="253"/>
                  <a:pt x="443" y="253"/>
                </a:cubicBezTo>
                <a:cubicBezTo>
                  <a:pt x="443" y="252"/>
                  <a:pt x="443" y="252"/>
                  <a:pt x="443" y="252"/>
                </a:cubicBezTo>
                <a:cubicBezTo>
                  <a:pt x="443" y="252"/>
                  <a:pt x="442" y="252"/>
                  <a:pt x="442" y="252"/>
                </a:cubicBezTo>
                <a:cubicBezTo>
                  <a:pt x="441" y="252"/>
                  <a:pt x="440" y="253"/>
                  <a:pt x="439" y="253"/>
                </a:cubicBezTo>
                <a:cubicBezTo>
                  <a:pt x="439" y="254"/>
                  <a:pt x="438" y="254"/>
                  <a:pt x="438" y="255"/>
                </a:cubicBezTo>
                <a:cubicBezTo>
                  <a:pt x="438" y="256"/>
                  <a:pt x="437" y="256"/>
                  <a:pt x="437" y="257"/>
                </a:cubicBezTo>
                <a:cubicBezTo>
                  <a:pt x="436" y="257"/>
                  <a:pt x="435" y="258"/>
                  <a:pt x="434" y="258"/>
                </a:cubicBezTo>
                <a:cubicBezTo>
                  <a:pt x="434" y="258"/>
                  <a:pt x="433" y="259"/>
                  <a:pt x="433" y="259"/>
                </a:cubicBezTo>
                <a:cubicBezTo>
                  <a:pt x="433" y="259"/>
                  <a:pt x="433" y="259"/>
                  <a:pt x="433" y="258"/>
                </a:cubicBezTo>
                <a:cubicBezTo>
                  <a:pt x="434" y="258"/>
                  <a:pt x="435" y="258"/>
                  <a:pt x="436" y="257"/>
                </a:cubicBezTo>
                <a:cubicBezTo>
                  <a:pt x="436" y="257"/>
                  <a:pt x="437" y="256"/>
                  <a:pt x="437" y="256"/>
                </a:cubicBezTo>
                <a:cubicBezTo>
                  <a:pt x="437" y="255"/>
                  <a:pt x="437" y="255"/>
                  <a:pt x="438" y="254"/>
                </a:cubicBezTo>
                <a:cubicBezTo>
                  <a:pt x="437" y="254"/>
                  <a:pt x="437" y="254"/>
                  <a:pt x="437" y="254"/>
                </a:cubicBezTo>
                <a:cubicBezTo>
                  <a:pt x="437" y="254"/>
                  <a:pt x="437" y="253"/>
                  <a:pt x="437" y="253"/>
                </a:cubicBezTo>
                <a:cubicBezTo>
                  <a:pt x="437" y="253"/>
                  <a:pt x="436" y="253"/>
                  <a:pt x="436" y="253"/>
                </a:cubicBezTo>
                <a:cubicBezTo>
                  <a:pt x="436" y="252"/>
                  <a:pt x="436" y="252"/>
                  <a:pt x="436" y="252"/>
                </a:cubicBezTo>
                <a:cubicBezTo>
                  <a:pt x="436" y="252"/>
                  <a:pt x="436" y="252"/>
                  <a:pt x="436" y="251"/>
                </a:cubicBezTo>
                <a:cubicBezTo>
                  <a:pt x="435" y="252"/>
                  <a:pt x="435" y="252"/>
                  <a:pt x="435" y="252"/>
                </a:cubicBezTo>
                <a:cubicBezTo>
                  <a:pt x="435" y="251"/>
                  <a:pt x="435" y="251"/>
                  <a:pt x="435" y="251"/>
                </a:cubicBezTo>
                <a:cubicBezTo>
                  <a:pt x="435" y="251"/>
                  <a:pt x="436" y="251"/>
                  <a:pt x="436" y="251"/>
                </a:cubicBezTo>
                <a:cubicBezTo>
                  <a:pt x="436" y="250"/>
                  <a:pt x="436" y="250"/>
                  <a:pt x="436" y="250"/>
                </a:cubicBezTo>
                <a:cubicBezTo>
                  <a:pt x="436" y="250"/>
                  <a:pt x="437" y="249"/>
                  <a:pt x="437" y="249"/>
                </a:cubicBezTo>
                <a:cubicBezTo>
                  <a:pt x="437" y="248"/>
                  <a:pt x="437" y="248"/>
                  <a:pt x="437" y="248"/>
                </a:cubicBezTo>
                <a:cubicBezTo>
                  <a:pt x="436" y="248"/>
                  <a:pt x="436" y="247"/>
                  <a:pt x="436" y="247"/>
                </a:cubicBezTo>
                <a:cubicBezTo>
                  <a:pt x="436" y="247"/>
                  <a:pt x="436" y="246"/>
                  <a:pt x="436" y="246"/>
                </a:cubicBezTo>
                <a:cubicBezTo>
                  <a:pt x="437" y="246"/>
                  <a:pt x="437" y="245"/>
                  <a:pt x="437" y="245"/>
                </a:cubicBezTo>
                <a:cubicBezTo>
                  <a:pt x="437" y="245"/>
                  <a:pt x="437" y="244"/>
                  <a:pt x="437" y="244"/>
                </a:cubicBezTo>
                <a:cubicBezTo>
                  <a:pt x="438" y="244"/>
                  <a:pt x="438" y="244"/>
                  <a:pt x="438" y="243"/>
                </a:cubicBezTo>
                <a:cubicBezTo>
                  <a:pt x="438" y="243"/>
                  <a:pt x="438" y="242"/>
                  <a:pt x="438" y="242"/>
                </a:cubicBezTo>
                <a:cubicBezTo>
                  <a:pt x="438" y="242"/>
                  <a:pt x="438" y="241"/>
                  <a:pt x="439" y="241"/>
                </a:cubicBezTo>
                <a:cubicBezTo>
                  <a:pt x="438" y="241"/>
                  <a:pt x="438" y="240"/>
                  <a:pt x="438" y="240"/>
                </a:cubicBezTo>
                <a:cubicBezTo>
                  <a:pt x="438" y="240"/>
                  <a:pt x="438" y="240"/>
                  <a:pt x="438" y="240"/>
                </a:cubicBezTo>
                <a:cubicBezTo>
                  <a:pt x="438" y="240"/>
                  <a:pt x="439" y="240"/>
                  <a:pt x="439" y="240"/>
                </a:cubicBezTo>
                <a:cubicBezTo>
                  <a:pt x="440" y="240"/>
                  <a:pt x="440" y="239"/>
                  <a:pt x="440" y="239"/>
                </a:cubicBezTo>
                <a:cubicBezTo>
                  <a:pt x="440" y="239"/>
                  <a:pt x="440" y="239"/>
                  <a:pt x="440" y="238"/>
                </a:cubicBezTo>
                <a:cubicBezTo>
                  <a:pt x="440" y="238"/>
                  <a:pt x="441" y="238"/>
                  <a:pt x="441" y="238"/>
                </a:cubicBezTo>
                <a:cubicBezTo>
                  <a:pt x="442" y="237"/>
                  <a:pt x="442" y="237"/>
                  <a:pt x="443" y="236"/>
                </a:cubicBezTo>
                <a:cubicBezTo>
                  <a:pt x="443" y="236"/>
                  <a:pt x="443" y="236"/>
                  <a:pt x="443" y="236"/>
                </a:cubicBezTo>
                <a:cubicBezTo>
                  <a:pt x="443" y="236"/>
                  <a:pt x="443" y="235"/>
                  <a:pt x="443" y="235"/>
                </a:cubicBezTo>
                <a:cubicBezTo>
                  <a:pt x="443" y="235"/>
                  <a:pt x="443" y="235"/>
                  <a:pt x="444" y="235"/>
                </a:cubicBezTo>
                <a:cubicBezTo>
                  <a:pt x="444" y="234"/>
                  <a:pt x="444" y="234"/>
                  <a:pt x="444" y="234"/>
                </a:cubicBezTo>
                <a:cubicBezTo>
                  <a:pt x="444" y="234"/>
                  <a:pt x="444" y="234"/>
                  <a:pt x="444" y="234"/>
                </a:cubicBezTo>
                <a:cubicBezTo>
                  <a:pt x="444" y="234"/>
                  <a:pt x="444" y="234"/>
                  <a:pt x="444" y="234"/>
                </a:cubicBezTo>
                <a:cubicBezTo>
                  <a:pt x="444" y="233"/>
                  <a:pt x="445" y="233"/>
                  <a:pt x="445" y="233"/>
                </a:cubicBezTo>
                <a:cubicBezTo>
                  <a:pt x="445" y="232"/>
                  <a:pt x="445" y="232"/>
                  <a:pt x="446" y="232"/>
                </a:cubicBezTo>
                <a:cubicBezTo>
                  <a:pt x="446" y="231"/>
                  <a:pt x="446" y="231"/>
                  <a:pt x="447" y="231"/>
                </a:cubicBezTo>
                <a:cubicBezTo>
                  <a:pt x="447" y="231"/>
                  <a:pt x="447" y="231"/>
                  <a:pt x="447" y="231"/>
                </a:cubicBezTo>
                <a:cubicBezTo>
                  <a:pt x="447" y="231"/>
                  <a:pt x="447" y="231"/>
                  <a:pt x="447" y="230"/>
                </a:cubicBezTo>
                <a:cubicBezTo>
                  <a:pt x="446" y="230"/>
                  <a:pt x="446" y="230"/>
                  <a:pt x="445" y="230"/>
                </a:cubicBezTo>
                <a:cubicBezTo>
                  <a:pt x="446" y="230"/>
                  <a:pt x="446" y="230"/>
                  <a:pt x="446" y="230"/>
                </a:cubicBezTo>
                <a:cubicBezTo>
                  <a:pt x="446" y="230"/>
                  <a:pt x="446" y="229"/>
                  <a:pt x="446" y="229"/>
                </a:cubicBezTo>
                <a:cubicBezTo>
                  <a:pt x="446" y="229"/>
                  <a:pt x="446" y="229"/>
                  <a:pt x="447" y="229"/>
                </a:cubicBezTo>
                <a:cubicBezTo>
                  <a:pt x="447" y="229"/>
                  <a:pt x="448" y="229"/>
                  <a:pt x="448" y="229"/>
                </a:cubicBezTo>
                <a:cubicBezTo>
                  <a:pt x="448" y="229"/>
                  <a:pt x="448" y="230"/>
                  <a:pt x="448" y="230"/>
                </a:cubicBezTo>
                <a:cubicBezTo>
                  <a:pt x="449" y="230"/>
                  <a:pt x="449" y="229"/>
                  <a:pt x="449" y="229"/>
                </a:cubicBezTo>
                <a:cubicBezTo>
                  <a:pt x="449" y="229"/>
                  <a:pt x="449" y="229"/>
                  <a:pt x="449" y="229"/>
                </a:cubicBezTo>
                <a:cubicBezTo>
                  <a:pt x="448" y="229"/>
                  <a:pt x="448" y="229"/>
                  <a:pt x="448" y="229"/>
                </a:cubicBezTo>
                <a:cubicBezTo>
                  <a:pt x="448" y="229"/>
                  <a:pt x="449" y="228"/>
                  <a:pt x="449" y="228"/>
                </a:cubicBezTo>
                <a:cubicBezTo>
                  <a:pt x="449" y="228"/>
                  <a:pt x="449" y="228"/>
                  <a:pt x="449" y="227"/>
                </a:cubicBezTo>
                <a:cubicBezTo>
                  <a:pt x="450" y="227"/>
                  <a:pt x="450" y="227"/>
                  <a:pt x="451" y="227"/>
                </a:cubicBezTo>
                <a:cubicBezTo>
                  <a:pt x="451" y="227"/>
                  <a:pt x="451" y="227"/>
                  <a:pt x="451" y="227"/>
                </a:cubicBezTo>
                <a:cubicBezTo>
                  <a:pt x="451" y="227"/>
                  <a:pt x="451" y="227"/>
                  <a:pt x="451" y="227"/>
                </a:cubicBezTo>
                <a:cubicBezTo>
                  <a:pt x="451" y="227"/>
                  <a:pt x="451" y="226"/>
                  <a:pt x="451" y="226"/>
                </a:cubicBezTo>
                <a:cubicBezTo>
                  <a:pt x="451" y="226"/>
                  <a:pt x="451" y="226"/>
                  <a:pt x="452" y="226"/>
                </a:cubicBezTo>
                <a:cubicBezTo>
                  <a:pt x="452" y="227"/>
                  <a:pt x="452" y="227"/>
                  <a:pt x="452" y="227"/>
                </a:cubicBezTo>
                <a:cubicBezTo>
                  <a:pt x="452" y="227"/>
                  <a:pt x="452" y="226"/>
                  <a:pt x="453" y="226"/>
                </a:cubicBezTo>
                <a:cubicBezTo>
                  <a:pt x="453" y="226"/>
                  <a:pt x="453" y="226"/>
                  <a:pt x="453" y="226"/>
                </a:cubicBezTo>
                <a:cubicBezTo>
                  <a:pt x="452" y="226"/>
                  <a:pt x="452" y="225"/>
                  <a:pt x="452" y="225"/>
                </a:cubicBezTo>
                <a:cubicBezTo>
                  <a:pt x="452" y="225"/>
                  <a:pt x="452" y="225"/>
                  <a:pt x="452" y="225"/>
                </a:cubicBezTo>
                <a:cubicBezTo>
                  <a:pt x="452" y="225"/>
                  <a:pt x="452" y="225"/>
                  <a:pt x="452" y="225"/>
                </a:cubicBezTo>
                <a:cubicBezTo>
                  <a:pt x="453" y="225"/>
                  <a:pt x="454" y="225"/>
                  <a:pt x="454" y="225"/>
                </a:cubicBezTo>
                <a:cubicBezTo>
                  <a:pt x="454" y="225"/>
                  <a:pt x="454" y="224"/>
                  <a:pt x="454" y="224"/>
                </a:cubicBezTo>
                <a:cubicBezTo>
                  <a:pt x="454" y="224"/>
                  <a:pt x="453" y="224"/>
                  <a:pt x="453" y="224"/>
                </a:cubicBezTo>
                <a:cubicBezTo>
                  <a:pt x="453" y="224"/>
                  <a:pt x="453" y="224"/>
                  <a:pt x="452" y="224"/>
                </a:cubicBezTo>
                <a:cubicBezTo>
                  <a:pt x="453" y="224"/>
                  <a:pt x="453" y="224"/>
                  <a:pt x="453" y="224"/>
                </a:cubicBezTo>
                <a:cubicBezTo>
                  <a:pt x="453" y="223"/>
                  <a:pt x="453" y="223"/>
                  <a:pt x="453" y="223"/>
                </a:cubicBezTo>
                <a:cubicBezTo>
                  <a:pt x="453" y="223"/>
                  <a:pt x="453" y="224"/>
                  <a:pt x="453" y="224"/>
                </a:cubicBezTo>
                <a:cubicBezTo>
                  <a:pt x="454" y="224"/>
                  <a:pt x="454" y="224"/>
                  <a:pt x="454" y="224"/>
                </a:cubicBezTo>
                <a:cubicBezTo>
                  <a:pt x="455" y="224"/>
                  <a:pt x="455" y="224"/>
                  <a:pt x="455" y="224"/>
                </a:cubicBezTo>
                <a:cubicBezTo>
                  <a:pt x="455" y="223"/>
                  <a:pt x="456" y="223"/>
                  <a:pt x="456" y="223"/>
                </a:cubicBezTo>
                <a:cubicBezTo>
                  <a:pt x="455" y="223"/>
                  <a:pt x="455" y="222"/>
                  <a:pt x="454" y="222"/>
                </a:cubicBezTo>
                <a:cubicBezTo>
                  <a:pt x="454" y="222"/>
                  <a:pt x="453" y="221"/>
                  <a:pt x="453" y="221"/>
                </a:cubicBezTo>
                <a:cubicBezTo>
                  <a:pt x="453" y="221"/>
                  <a:pt x="452" y="221"/>
                  <a:pt x="452" y="220"/>
                </a:cubicBezTo>
                <a:cubicBezTo>
                  <a:pt x="452" y="220"/>
                  <a:pt x="452" y="220"/>
                  <a:pt x="452" y="220"/>
                </a:cubicBezTo>
                <a:cubicBezTo>
                  <a:pt x="452" y="220"/>
                  <a:pt x="452" y="219"/>
                  <a:pt x="451" y="219"/>
                </a:cubicBezTo>
                <a:cubicBezTo>
                  <a:pt x="451" y="219"/>
                  <a:pt x="452" y="219"/>
                  <a:pt x="452" y="219"/>
                </a:cubicBezTo>
                <a:cubicBezTo>
                  <a:pt x="452" y="219"/>
                  <a:pt x="452" y="219"/>
                  <a:pt x="453" y="219"/>
                </a:cubicBezTo>
                <a:cubicBezTo>
                  <a:pt x="453" y="220"/>
                  <a:pt x="453" y="220"/>
                  <a:pt x="453" y="220"/>
                </a:cubicBezTo>
                <a:cubicBezTo>
                  <a:pt x="454" y="220"/>
                  <a:pt x="455" y="221"/>
                  <a:pt x="455" y="221"/>
                </a:cubicBezTo>
                <a:cubicBezTo>
                  <a:pt x="456" y="221"/>
                  <a:pt x="457" y="221"/>
                  <a:pt x="458" y="221"/>
                </a:cubicBezTo>
                <a:cubicBezTo>
                  <a:pt x="458" y="221"/>
                  <a:pt x="458" y="221"/>
                  <a:pt x="459" y="221"/>
                </a:cubicBezTo>
                <a:cubicBezTo>
                  <a:pt x="459" y="221"/>
                  <a:pt x="460" y="221"/>
                  <a:pt x="460" y="221"/>
                </a:cubicBezTo>
                <a:cubicBezTo>
                  <a:pt x="460" y="220"/>
                  <a:pt x="461" y="220"/>
                  <a:pt x="461" y="220"/>
                </a:cubicBezTo>
                <a:cubicBezTo>
                  <a:pt x="461" y="220"/>
                  <a:pt x="461" y="220"/>
                  <a:pt x="462" y="220"/>
                </a:cubicBezTo>
                <a:cubicBezTo>
                  <a:pt x="462" y="219"/>
                  <a:pt x="462" y="219"/>
                  <a:pt x="463" y="218"/>
                </a:cubicBezTo>
                <a:cubicBezTo>
                  <a:pt x="463" y="218"/>
                  <a:pt x="463" y="217"/>
                  <a:pt x="463" y="217"/>
                </a:cubicBezTo>
                <a:cubicBezTo>
                  <a:pt x="462" y="216"/>
                  <a:pt x="461" y="216"/>
                  <a:pt x="460" y="216"/>
                </a:cubicBezTo>
                <a:cubicBezTo>
                  <a:pt x="460" y="215"/>
                  <a:pt x="460" y="215"/>
                  <a:pt x="460" y="215"/>
                </a:cubicBezTo>
                <a:cubicBezTo>
                  <a:pt x="459" y="215"/>
                  <a:pt x="459" y="215"/>
                  <a:pt x="459" y="215"/>
                </a:cubicBezTo>
                <a:cubicBezTo>
                  <a:pt x="459" y="215"/>
                  <a:pt x="458" y="215"/>
                  <a:pt x="458" y="215"/>
                </a:cubicBezTo>
                <a:cubicBezTo>
                  <a:pt x="458" y="215"/>
                  <a:pt x="458" y="215"/>
                  <a:pt x="457" y="216"/>
                </a:cubicBezTo>
                <a:cubicBezTo>
                  <a:pt x="457" y="216"/>
                  <a:pt x="456" y="216"/>
                  <a:pt x="455" y="216"/>
                </a:cubicBezTo>
                <a:cubicBezTo>
                  <a:pt x="455" y="217"/>
                  <a:pt x="455" y="217"/>
                  <a:pt x="455" y="217"/>
                </a:cubicBezTo>
                <a:cubicBezTo>
                  <a:pt x="455" y="217"/>
                  <a:pt x="455" y="217"/>
                  <a:pt x="454" y="217"/>
                </a:cubicBezTo>
                <a:cubicBezTo>
                  <a:pt x="454" y="216"/>
                  <a:pt x="454" y="216"/>
                  <a:pt x="454" y="216"/>
                </a:cubicBezTo>
                <a:cubicBezTo>
                  <a:pt x="454" y="216"/>
                  <a:pt x="455" y="216"/>
                  <a:pt x="455" y="216"/>
                </a:cubicBezTo>
                <a:cubicBezTo>
                  <a:pt x="455" y="216"/>
                  <a:pt x="456" y="216"/>
                  <a:pt x="456" y="216"/>
                </a:cubicBezTo>
                <a:cubicBezTo>
                  <a:pt x="457" y="215"/>
                  <a:pt x="457" y="215"/>
                  <a:pt x="457" y="215"/>
                </a:cubicBezTo>
                <a:cubicBezTo>
                  <a:pt x="457" y="215"/>
                  <a:pt x="457" y="215"/>
                  <a:pt x="457" y="214"/>
                </a:cubicBezTo>
                <a:cubicBezTo>
                  <a:pt x="456" y="214"/>
                  <a:pt x="456" y="214"/>
                  <a:pt x="455" y="214"/>
                </a:cubicBezTo>
                <a:cubicBezTo>
                  <a:pt x="454" y="214"/>
                  <a:pt x="453" y="214"/>
                  <a:pt x="452" y="213"/>
                </a:cubicBezTo>
                <a:cubicBezTo>
                  <a:pt x="452" y="213"/>
                  <a:pt x="452" y="213"/>
                  <a:pt x="452" y="213"/>
                </a:cubicBezTo>
                <a:cubicBezTo>
                  <a:pt x="452" y="214"/>
                  <a:pt x="452" y="214"/>
                  <a:pt x="452" y="214"/>
                </a:cubicBezTo>
                <a:cubicBezTo>
                  <a:pt x="452" y="214"/>
                  <a:pt x="452" y="214"/>
                  <a:pt x="452" y="214"/>
                </a:cubicBezTo>
                <a:cubicBezTo>
                  <a:pt x="452" y="214"/>
                  <a:pt x="452" y="214"/>
                  <a:pt x="452" y="215"/>
                </a:cubicBezTo>
                <a:cubicBezTo>
                  <a:pt x="451" y="214"/>
                  <a:pt x="451" y="214"/>
                  <a:pt x="451" y="214"/>
                </a:cubicBezTo>
                <a:cubicBezTo>
                  <a:pt x="450" y="214"/>
                  <a:pt x="450" y="214"/>
                  <a:pt x="450" y="213"/>
                </a:cubicBezTo>
                <a:cubicBezTo>
                  <a:pt x="450" y="213"/>
                  <a:pt x="451" y="213"/>
                  <a:pt x="451" y="213"/>
                </a:cubicBezTo>
                <a:cubicBezTo>
                  <a:pt x="451" y="213"/>
                  <a:pt x="451" y="213"/>
                  <a:pt x="451" y="212"/>
                </a:cubicBezTo>
                <a:cubicBezTo>
                  <a:pt x="451" y="212"/>
                  <a:pt x="451" y="212"/>
                  <a:pt x="451" y="213"/>
                </a:cubicBezTo>
                <a:cubicBezTo>
                  <a:pt x="452" y="213"/>
                  <a:pt x="453" y="213"/>
                  <a:pt x="453" y="213"/>
                </a:cubicBezTo>
                <a:cubicBezTo>
                  <a:pt x="453" y="213"/>
                  <a:pt x="454" y="213"/>
                  <a:pt x="454" y="213"/>
                </a:cubicBezTo>
                <a:cubicBezTo>
                  <a:pt x="454" y="213"/>
                  <a:pt x="455" y="214"/>
                  <a:pt x="455" y="214"/>
                </a:cubicBezTo>
                <a:cubicBezTo>
                  <a:pt x="456" y="214"/>
                  <a:pt x="457" y="214"/>
                  <a:pt x="457" y="214"/>
                </a:cubicBezTo>
                <a:cubicBezTo>
                  <a:pt x="458" y="214"/>
                  <a:pt x="459" y="214"/>
                  <a:pt x="460" y="214"/>
                </a:cubicBezTo>
                <a:cubicBezTo>
                  <a:pt x="460" y="214"/>
                  <a:pt x="461" y="214"/>
                  <a:pt x="461" y="215"/>
                </a:cubicBezTo>
                <a:cubicBezTo>
                  <a:pt x="461" y="215"/>
                  <a:pt x="462" y="215"/>
                  <a:pt x="462" y="215"/>
                </a:cubicBezTo>
                <a:cubicBezTo>
                  <a:pt x="462" y="215"/>
                  <a:pt x="462" y="215"/>
                  <a:pt x="462" y="215"/>
                </a:cubicBezTo>
                <a:cubicBezTo>
                  <a:pt x="463" y="215"/>
                  <a:pt x="463" y="215"/>
                  <a:pt x="464" y="215"/>
                </a:cubicBezTo>
                <a:cubicBezTo>
                  <a:pt x="464" y="215"/>
                  <a:pt x="464" y="215"/>
                  <a:pt x="464" y="215"/>
                </a:cubicBezTo>
                <a:cubicBezTo>
                  <a:pt x="464" y="215"/>
                  <a:pt x="464" y="215"/>
                  <a:pt x="464" y="215"/>
                </a:cubicBezTo>
                <a:cubicBezTo>
                  <a:pt x="464" y="214"/>
                  <a:pt x="465" y="214"/>
                  <a:pt x="465" y="214"/>
                </a:cubicBezTo>
                <a:cubicBezTo>
                  <a:pt x="465" y="214"/>
                  <a:pt x="465" y="214"/>
                  <a:pt x="464" y="214"/>
                </a:cubicBezTo>
                <a:cubicBezTo>
                  <a:pt x="464" y="213"/>
                  <a:pt x="464" y="213"/>
                  <a:pt x="464" y="213"/>
                </a:cubicBezTo>
                <a:cubicBezTo>
                  <a:pt x="465" y="213"/>
                  <a:pt x="465" y="213"/>
                  <a:pt x="465" y="214"/>
                </a:cubicBezTo>
                <a:cubicBezTo>
                  <a:pt x="466" y="214"/>
                  <a:pt x="466" y="214"/>
                  <a:pt x="466" y="214"/>
                </a:cubicBezTo>
                <a:cubicBezTo>
                  <a:pt x="466" y="214"/>
                  <a:pt x="466" y="214"/>
                  <a:pt x="467" y="214"/>
                </a:cubicBezTo>
                <a:cubicBezTo>
                  <a:pt x="467" y="213"/>
                  <a:pt x="467" y="213"/>
                  <a:pt x="468" y="212"/>
                </a:cubicBezTo>
                <a:cubicBezTo>
                  <a:pt x="467" y="212"/>
                  <a:pt x="467" y="212"/>
                  <a:pt x="467" y="211"/>
                </a:cubicBezTo>
                <a:cubicBezTo>
                  <a:pt x="467" y="211"/>
                  <a:pt x="467" y="211"/>
                  <a:pt x="467" y="211"/>
                </a:cubicBezTo>
                <a:cubicBezTo>
                  <a:pt x="467" y="210"/>
                  <a:pt x="467" y="210"/>
                  <a:pt x="467" y="210"/>
                </a:cubicBezTo>
                <a:cubicBezTo>
                  <a:pt x="467" y="210"/>
                  <a:pt x="467" y="210"/>
                  <a:pt x="468" y="211"/>
                </a:cubicBezTo>
                <a:cubicBezTo>
                  <a:pt x="468" y="211"/>
                  <a:pt x="468" y="211"/>
                  <a:pt x="468" y="211"/>
                </a:cubicBezTo>
                <a:cubicBezTo>
                  <a:pt x="468" y="211"/>
                  <a:pt x="468" y="210"/>
                  <a:pt x="468" y="210"/>
                </a:cubicBezTo>
                <a:cubicBezTo>
                  <a:pt x="469" y="209"/>
                  <a:pt x="469" y="209"/>
                  <a:pt x="469" y="209"/>
                </a:cubicBezTo>
                <a:cubicBezTo>
                  <a:pt x="470" y="209"/>
                  <a:pt x="470" y="209"/>
                  <a:pt x="470" y="209"/>
                </a:cubicBezTo>
                <a:cubicBezTo>
                  <a:pt x="470" y="209"/>
                  <a:pt x="470" y="209"/>
                  <a:pt x="470" y="209"/>
                </a:cubicBezTo>
                <a:cubicBezTo>
                  <a:pt x="470" y="210"/>
                  <a:pt x="470" y="210"/>
                  <a:pt x="470" y="210"/>
                </a:cubicBezTo>
                <a:cubicBezTo>
                  <a:pt x="470" y="210"/>
                  <a:pt x="470" y="210"/>
                  <a:pt x="470" y="210"/>
                </a:cubicBezTo>
                <a:cubicBezTo>
                  <a:pt x="470" y="210"/>
                  <a:pt x="470" y="211"/>
                  <a:pt x="471" y="211"/>
                </a:cubicBezTo>
                <a:cubicBezTo>
                  <a:pt x="471" y="210"/>
                  <a:pt x="471" y="210"/>
                  <a:pt x="471" y="210"/>
                </a:cubicBezTo>
                <a:cubicBezTo>
                  <a:pt x="471" y="210"/>
                  <a:pt x="472" y="210"/>
                  <a:pt x="472" y="210"/>
                </a:cubicBezTo>
                <a:cubicBezTo>
                  <a:pt x="473" y="210"/>
                  <a:pt x="473" y="210"/>
                  <a:pt x="474" y="211"/>
                </a:cubicBezTo>
                <a:cubicBezTo>
                  <a:pt x="474" y="211"/>
                  <a:pt x="474" y="210"/>
                  <a:pt x="474" y="210"/>
                </a:cubicBezTo>
                <a:cubicBezTo>
                  <a:pt x="474" y="210"/>
                  <a:pt x="474" y="210"/>
                  <a:pt x="474" y="210"/>
                </a:cubicBezTo>
                <a:cubicBezTo>
                  <a:pt x="475" y="210"/>
                  <a:pt x="475" y="210"/>
                  <a:pt x="475" y="210"/>
                </a:cubicBezTo>
                <a:cubicBezTo>
                  <a:pt x="475" y="210"/>
                  <a:pt x="476" y="210"/>
                  <a:pt x="476" y="210"/>
                </a:cubicBezTo>
                <a:cubicBezTo>
                  <a:pt x="476" y="209"/>
                  <a:pt x="476" y="209"/>
                  <a:pt x="477" y="209"/>
                </a:cubicBezTo>
                <a:cubicBezTo>
                  <a:pt x="477" y="208"/>
                  <a:pt x="478" y="208"/>
                  <a:pt x="478" y="208"/>
                </a:cubicBezTo>
                <a:cubicBezTo>
                  <a:pt x="479" y="207"/>
                  <a:pt x="480" y="206"/>
                  <a:pt x="481" y="204"/>
                </a:cubicBezTo>
                <a:cubicBezTo>
                  <a:pt x="481" y="204"/>
                  <a:pt x="481" y="204"/>
                  <a:pt x="481" y="204"/>
                </a:cubicBezTo>
                <a:cubicBezTo>
                  <a:pt x="481" y="204"/>
                  <a:pt x="481" y="204"/>
                  <a:pt x="481" y="204"/>
                </a:cubicBezTo>
                <a:cubicBezTo>
                  <a:pt x="482" y="204"/>
                  <a:pt x="482" y="204"/>
                  <a:pt x="482" y="204"/>
                </a:cubicBezTo>
                <a:cubicBezTo>
                  <a:pt x="482" y="203"/>
                  <a:pt x="483" y="203"/>
                  <a:pt x="483" y="202"/>
                </a:cubicBezTo>
                <a:cubicBezTo>
                  <a:pt x="483" y="202"/>
                  <a:pt x="484" y="202"/>
                  <a:pt x="484" y="202"/>
                </a:cubicBezTo>
                <a:cubicBezTo>
                  <a:pt x="484" y="201"/>
                  <a:pt x="485" y="201"/>
                  <a:pt x="485" y="201"/>
                </a:cubicBezTo>
                <a:cubicBezTo>
                  <a:pt x="485" y="201"/>
                  <a:pt x="485" y="200"/>
                  <a:pt x="485" y="200"/>
                </a:cubicBezTo>
                <a:cubicBezTo>
                  <a:pt x="485" y="200"/>
                  <a:pt x="485" y="200"/>
                  <a:pt x="485" y="200"/>
                </a:cubicBezTo>
                <a:cubicBezTo>
                  <a:pt x="484" y="200"/>
                  <a:pt x="482" y="200"/>
                  <a:pt x="481" y="200"/>
                </a:cubicBezTo>
                <a:cubicBezTo>
                  <a:pt x="480" y="200"/>
                  <a:pt x="479" y="200"/>
                  <a:pt x="479" y="200"/>
                </a:cubicBezTo>
                <a:cubicBezTo>
                  <a:pt x="478" y="200"/>
                  <a:pt x="477" y="200"/>
                  <a:pt x="476" y="200"/>
                </a:cubicBezTo>
                <a:cubicBezTo>
                  <a:pt x="476" y="200"/>
                  <a:pt x="476" y="200"/>
                  <a:pt x="475" y="199"/>
                </a:cubicBezTo>
                <a:cubicBezTo>
                  <a:pt x="475" y="199"/>
                  <a:pt x="474" y="198"/>
                  <a:pt x="474" y="198"/>
                </a:cubicBezTo>
                <a:cubicBezTo>
                  <a:pt x="474" y="198"/>
                  <a:pt x="473" y="198"/>
                  <a:pt x="473" y="198"/>
                </a:cubicBezTo>
                <a:cubicBezTo>
                  <a:pt x="473" y="198"/>
                  <a:pt x="473" y="197"/>
                  <a:pt x="473" y="197"/>
                </a:cubicBezTo>
                <a:cubicBezTo>
                  <a:pt x="473" y="197"/>
                  <a:pt x="473" y="197"/>
                  <a:pt x="472" y="197"/>
                </a:cubicBezTo>
                <a:cubicBezTo>
                  <a:pt x="473" y="197"/>
                  <a:pt x="473" y="197"/>
                  <a:pt x="473" y="196"/>
                </a:cubicBezTo>
                <a:cubicBezTo>
                  <a:pt x="473" y="196"/>
                  <a:pt x="473" y="196"/>
                  <a:pt x="473" y="196"/>
                </a:cubicBezTo>
                <a:cubicBezTo>
                  <a:pt x="473" y="196"/>
                  <a:pt x="473" y="196"/>
                  <a:pt x="473" y="196"/>
                </a:cubicBezTo>
                <a:cubicBezTo>
                  <a:pt x="473" y="196"/>
                  <a:pt x="473" y="196"/>
                  <a:pt x="472" y="196"/>
                </a:cubicBezTo>
                <a:cubicBezTo>
                  <a:pt x="472" y="196"/>
                  <a:pt x="471" y="196"/>
                  <a:pt x="470" y="196"/>
                </a:cubicBezTo>
                <a:cubicBezTo>
                  <a:pt x="469" y="196"/>
                  <a:pt x="468" y="196"/>
                  <a:pt x="467" y="196"/>
                </a:cubicBezTo>
                <a:cubicBezTo>
                  <a:pt x="467" y="197"/>
                  <a:pt x="467" y="197"/>
                  <a:pt x="467" y="197"/>
                </a:cubicBezTo>
                <a:cubicBezTo>
                  <a:pt x="467" y="197"/>
                  <a:pt x="467" y="197"/>
                  <a:pt x="466" y="197"/>
                </a:cubicBezTo>
                <a:cubicBezTo>
                  <a:pt x="466" y="197"/>
                  <a:pt x="466" y="197"/>
                  <a:pt x="466" y="197"/>
                </a:cubicBezTo>
                <a:cubicBezTo>
                  <a:pt x="466" y="197"/>
                  <a:pt x="466" y="196"/>
                  <a:pt x="466" y="196"/>
                </a:cubicBezTo>
                <a:cubicBezTo>
                  <a:pt x="466" y="196"/>
                  <a:pt x="466" y="196"/>
                  <a:pt x="467" y="196"/>
                </a:cubicBezTo>
                <a:cubicBezTo>
                  <a:pt x="467" y="196"/>
                  <a:pt x="468" y="196"/>
                  <a:pt x="469" y="196"/>
                </a:cubicBezTo>
                <a:cubicBezTo>
                  <a:pt x="470" y="196"/>
                  <a:pt x="470" y="196"/>
                  <a:pt x="471" y="196"/>
                </a:cubicBezTo>
                <a:cubicBezTo>
                  <a:pt x="472" y="196"/>
                  <a:pt x="473" y="196"/>
                  <a:pt x="473" y="195"/>
                </a:cubicBezTo>
                <a:cubicBezTo>
                  <a:pt x="474" y="195"/>
                  <a:pt x="474" y="196"/>
                  <a:pt x="475" y="196"/>
                </a:cubicBezTo>
                <a:cubicBezTo>
                  <a:pt x="475" y="196"/>
                  <a:pt x="476" y="196"/>
                  <a:pt x="477" y="197"/>
                </a:cubicBezTo>
                <a:cubicBezTo>
                  <a:pt x="477" y="197"/>
                  <a:pt x="477" y="197"/>
                  <a:pt x="478" y="197"/>
                </a:cubicBezTo>
                <a:cubicBezTo>
                  <a:pt x="478" y="197"/>
                  <a:pt x="478" y="197"/>
                  <a:pt x="478" y="197"/>
                </a:cubicBezTo>
                <a:cubicBezTo>
                  <a:pt x="478" y="197"/>
                  <a:pt x="478" y="197"/>
                  <a:pt x="478" y="197"/>
                </a:cubicBezTo>
                <a:cubicBezTo>
                  <a:pt x="478" y="197"/>
                  <a:pt x="478" y="197"/>
                  <a:pt x="477" y="198"/>
                </a:cubicBezTo>
                <a:cubicBezTo>
                  <a:pt x="477" y="198"/>
                  <a:pt x="477" y="198"/>
                  <a:pt x="477" y="198"/>
                </a:cubicBezTo>
                <a:cubicBezTo>
                  <a:pt x="478" y="198"/>
                  <a:pt x="479" y="198"/>
                  <a:pt x="479" y="198"/>
                </a:cubicBezTo>
                <a:cubicBezTo>
                  <a:pt x="480" y="198"/>
                  <a:pt x="480" y="198"/>
                  <a:pt x="480" y="199"/>
                </a:cubicBezTo>
                <a:cubicBezTo>
                  <a:pt x="480" y="199"/>
                  <a:pt x="481" y="199"/>
                  <a:pt x="481" y="199"/>
                </a:cubicBezTo>
                <a:cubicBezTo>
                  <a:pt x="482" y="199"/>
                  <a:pt x="483" y="199"/>
                  <a:pt x="485" y="199"/>
                </a:cubicBezTo>
                <a:cubicBezTo>
                  <a:pt x="485" y="199"/>
                  <a:pt x="485" y="198"/>
                  <a:pt x="486" y="198"/>
                </a:cubicBezTo>
                <a:cubicBezTo>
                  <a:pt x="486" y="198"/>
                  <a:pt x="486" y="198"/>
                  <a:pt x="486" y="197"/>
                </a:cubicBezTo>
                <a:cubicBezTo>
                  <a:pt x="486" y="197"/>
                  <a:pt x="486" y="197"/>
                  <a:pt x="487" y="197"/>
                </a:cubicBezTo>
                <a:cubicBezTo>
                  <a:pt x="487" y="197"/>
                  <a:pt x="487" y="197"/>
                  <a:pt x="487" y="197"/>
                </a:cubicBezTo>
                <a:cubicBezTo>
                  <a:pt x="488" y="196"/>
                  <a:pt x="488" y="196"/>
                  <a:pt x="489" y="195"/>
                </a:cubicBezTo>
                <a:cubicBezTo>
                  <a:pt x="489" y="195"/>
                  <a:pt x="489" y="195"/>
                  <a:pt x="489" y="194"/>
                </a:cubicBezTo>
                <a:cubicBezTo>
                  <a:pt x="490" y="194"/>
                  <a:pt x="491" y="193"/>
                  <a:pt x="492" y="192"/>
                </a:cubicBezTo>
                <a:cubicBezTo>
                  <a:pt x="492" y="192"/>
                  <a:pt x="492" y="192"/>
                  <a:pt x="492" y="192"/>
                </a:cubicBezTo>
                <a:cubicBezTo>
                  <a:pt x="493" y="192"/>
                  <a:pt x="493" y="191"/>
                  <a:pt x="493" y="191"/>
                </a:cubicBezTo>
                <a:cubicBezTo>
                  <a:pt x="493" y="191"/>
                  <a:pt x="493" y="190"/>
                  <a:pt x="492" y="190"/>
                </a:cubicBezTo>
                <a:cubicBezTo>
                  <a:pt x="492" y="190"/>
                  <a:pt x="491" y="190"/>
                  <a:pt x="491" y="190"/>
                </a:cubicBezTo>
                <a:cubicBezTo>
                  <a:pt x="491" y="190"/>
                  <a:pt x="490" y="190"/>
                  <a:pt x="490" y="190"/>
                </a:cubicBezTo>
                <a:cubicBezTo>
                  <a:pt x="490" y="190"/>
                  <a:pt x="490" y="190"/>
                  <a:pt x="490" y="189"/>
                </a:cubicBezTo>
                <a:cubicBezTo>
                  <a:pt x="490" y="189"/>
                  <a:pt x="490" y="189"/>
                  <a:pt x="490" y="189"/>
                </a:cubicBezTo>
                <a:cubicBezTo>
                  <a:pt x="490" y="189"/>
                  <a:pt x="490" y="189"/>
                  <a:pt x="490" y="189"/>
                </a:cubicBezTo>
                <a:cubicBezTo>
                  <a:pt x="490" y="188"/>
                  <a:pt x="490" y="188"/>
                  <a:pt x="490" y="188"/>
                </a:cubicBezTo>
                <a:cubicBezTo>
                  <a:pt x="491" y="188"/>
                  <a:pt x="491" y="188"/>
                  <a:pt x="491" y="188"/>
                </a:cubicBezTo>
                <a:cubicBezTo>
                  <a:pt x="492" y="188"/>
                  <a:pt x="492" y="188"/>
                  <a:pt x="492" y="188"/>
                </a:cubicBezTo>
                <a:cubicBezTo>
                  <a:pt x="493" y="188"/>
                  <a:pt x="493" y="188"/>
                  <a:pt x="493" y="188"/>
                </a:cubicBezTo>
                <a:cubicBezTo>
                  <a:pt x="494" y="188"/>
                  <a:pt x="494" y="188"/>
                  <a:pt x="495" y="188"/>
                </a:cubicBezTo>
                <a:cubicBezTo>
                  <a:pt x="495" y="188"/>
                  <a:pt x="496" y="187"/>
                  <a:pt x="496" y="187"/>
                </a:cubicBezTo>
                <a:cubicBezTo>
                  <a:pt x="496" y="187"/>
                  <a:pt x="496" y="187"/>
                  <a:pt x="496" y="187"/>
                </a:cubicBezTo>
                <a:cubicBezTo>
                  <a:pt x="497" y="187"/>
                  <a:pt x="497" y="187"/>
                  <a:pt x="497" y="187"/>
                </a:cubicBezTo>
                <a:cubicBezTo>
                  <a:pt x="497" y="188"/>
                  <a:pt x="497" y="188"/>
                  <a:pt x="497" y="188"/>
                </a:cubicBezTo>
                <a:cubicBezTo>
                  <a:pt x="497" y="188"/>
                  <a:pt x="497" y="188"/>
                  <a:pt x="497" y="189"/>
                </a:cubicBezTo>
                <a:cubicBezTo>
                  <a:pt x="497" y="189"/>
                  <a:pt x="497" y="189"/>
                  <a:pt x="497" y="189"/>
                </a:cubicBezTo>
                <a:cubicBezTo>
                  <a:pt x="497" y="189"/>
                  <a:pt x="497" y="189"/>
                  <a:pt x="497" y="189"/>
                </a:cubicBezTo>
                <a:cubicBezTo>
                  <a:pt x="498" y="189"/>
                  <a:pt x="498" y="189"/>
                  <a:pt x="498" y="189"/>
                </a:cubicBezTo>
                <a:cubicBezTo>
                  <a:pt x="498" y="189"/>
                  <a:pt x="498" y="189"/>
                  <a:pt x="499" y="189"/>
                </a:cubicBezTo>
                <a:cubicBezTo>
                  <a:pt x="499" y="189"/>
                  <a:pt x="500" y="189"/>
                  <a:pt x="500" y="189"/>
                </a:cubicBezTo>
                <a:cubicBezTo>
                  <a:pt x="500" y="189"/>
                  <a:pt x="500" y="189"/>
                  <a:pt x="500" y="189"/>
                </a:cubicBezTo>
                <a:cubicBezTo>
                  <a:pt x="500" y="189"/>
                  <a:pt x="499" y="188"/>
                  <a:pt x="499" y="188"/>
                </a:cubicBezTo>
                <a:cubicBezTo>
                  <a:pt x="499" y="188"/>
                  <a:pt x="499" y="188"/>
                  <a:pt x="499" y="188"/>
                </a:cubicBezTo>
                <a:cubicBezTo>
                  <a:pt x="500" y="188"/>
                  <a:pt x="500" y="188"/>
                  <a:pt x="500" y="188"/>
                </a:cubicBezTo>
                <a:cubicBezTo>
                  <a:pt x="500" y="188"/>
                  <a:pt x="500" y="188"/>
                  <a:pt x="501" y="188"/>
                </a:cubicBezTo>
                <a:cubicBezTo>
                  <a:pt x="501" y="188"/>
                  <a:pt x="501" y="188"/>
                  <a:pt x="501" y="189"/>
                </a:cubicBezTo>
                <a:cubicBezTo>
                  <a:pt x="502" y="189"/>
                  <a:pt x="502" y="189"/>
                  <a:pt x="503" y="189"/>
                </a:cubicBezTo>
                <a:cubicBezTo>
                  <a:pt x="503" y="189"/>
                  <a:pt x="503" y="189"/>
                  <a:pt x="504" y="189"/>
                </a:cubicBezTo>
                <a:cubicBezTo>
                  <a:pt x="504" y="189"/>
                  <a:pt x="504" y="189"/>
                  <a:pt x="504" y="188"/>
                </a:cubicBezTo>
                <a:cubicBezTo>
                  <a:pt x="503" y="188"/>
                  <a:pt x="503" y="188"/>
                  <a:pt x="503" y="188"/>
                </a:cubicBezTo>
                <a:cubicBezTo>
                  <a:pt x="503" y="188"/>
                  <a:pt x="503" y="188"/>
                  <a:pt x="503" y="188"/>
                </a:cubicBezTo>
                <a:cubicBezTo>
                  <a:pt x="503" y="187"/>
                  <a:pt x="503" y="187"/>
                  <a:pt x="503" y="187"/>
                </a:cubicBezTo>
                <a:cubicBezTo>
                  <a:pt x="503" y="187"/>
                  <a:pt x="503" y="187"/>
                  <a:pt x="502" y="187"/>
                </a:cubicBezTo>
                <a:cubicBezTo>
                  <a:pt x="502" y="186"/>
                  <a:pt x="502" y="186"/>
                  <a:pt x="502" y="186"/>
                </a:cubicBezTo>
                <a:cubicBezTo>
                  <a:pt x="502" y="185"/>
                  <a:pt x="502" y="185"/>
                  <a:pt x="501" y="185"/>
                </a:cubicBezTo>
                <a:cubicBezTo>
                  <a:pt x="501" y="185"/>
                  <a:pt x="501" y="185"/>
                  <a:pt x="500" y="185"/>
                </a:cubicBezTo>
                <a:cubicBezTo>
                  <a:pt x="500" y="184"/>
                  <a:pt x="500" y="184"/>
                  <a:pt x="500" y="184"/>
                </a:cubicBezTo>
                <a:cubicBezTo>
                  <a:pt x="500" y="184"/>
                  <a:pt x="500" y="184"/>
                  <a:pt x="500" y="184"/>
                </a:cubicBezTo>
                <a:cubicBezTo>
                  <a:pt x="499" y="184"/>
                  <a:pt x="499" y="185"/>
                  <a:pt x="498" y="185"/>
                </a:cubicBezTo>
                <a:cubicBezTo>
                  <a:pt x="498" y="185"/>
                  <a:pt x="498" y="185"/>
                  <a:pt x="498" y="185"/>
                </a:cubicBezTo>
                <a:cubicBezTo>
                  <a:pt x="498" y="185"/>
                  <a:pt x="498" y="184"/>
                  <a:pt x="499" y="184"/>
                </a:cubicBezTo>
                <a:cubicBezTo>
                  <a:pt x="499" y="184"/>
                  <a:pt x="499" y="184"/>
                  <a:pt x="500" y="183"/>
                </a:cubicBezTo>
                <a:cubicBezTo>
                  <a:pt x="500" y="183"/>
                  <a:pt x="500" y="184"/>
                  <a:pt x="500" y="184"/>
                </a:cubicBezTo>
                <a:cubicBezTo>
                  <a:pt x="500" y="183"/>
                  <a:pt x="501" y="183"/>
                  <a:pt x="501" y="183"/>
                </a:cubicBezTo>
                <a:cubicBezTo>
                  <a:pt x="501" y="183"/>
                  <a:pt x="502" y="183"/>
                  <a:pt x="502" y="183"/>
                </a:cubicBezTo>
                <a:cubicBezTo>
                  <a:pt x="502" y="183"/>
                  <a:pt x="502" y="183"/>
                  <a:pt x="502" y="183"/>
                </a:cubicBezTo>
                <a:cubicBezTo>
                  <a:pt x="503" y="184"/>
                  <a:pt x="503" y="184"/>
                  <a:pt x="503" y="185"/>
                </a:cubicBezTo>
                <a:cubicBezTo>
                  <a:pt x="503" y="185"/>
                  <a:pt x="503" y="185"/>
                  <a:pt x="503" y="185"/>
                </a:cubicBezTo>
                <a:cubicBezTo>
                  <a:pt x="504" y="184"/>
                  <a:pt x="504" y="184"/>
                  <a:pt x="504" y="184"/>
                </a:cubicBezTo>
                <a:cubicBezTo>
                  <a:pt x="504" y="184"/>
                  <a:pt x="504" y="185"/>
                  <a:pt x="504" y="185"/>
                </a:cubicBezTo>
                <a:cubicBezTo>
                  <a:pt x="504" y="185"/>
                  <a:pt x="504" y="185"/>
                  <a:pt x="504" y="186"/>
                </a:cubicBezTo>
                <a:cubicBezTo>
                  <a:pt x="504" y="186"/>
                  <a:pt x="503" y="186"/>
                  <a:pt x="503" y="186"/>
                </a:cubicBezTo>
                <a:cubicBezTo>
                  <a:pt x="503" y="186"/>
                  <a:pt x="503" y="186"/>
                  <a:pt x="503" y="186"/>
                </a:cubicBezTo>
                <a:cubicBezTo>
                  <a:pt x="504" y="186"/>
                  <a:pt x="504" y="186"/>
                  <a:pt x="504" y="187"/>
                </a:cubicBezTo>
                <a:cubicBezTo>
                  <a:pt x="504" y="187"/>
                  <a:pt x="505" y="187"/>
                  <a:pt x="505" y="187"/>
                </a:cubicBezTo>
                <a:cubicBezTo>
                  <a:pt x="505" y="188"/>
                  <a:pt x="505" y="188"/>
                  <a:pt x="504" y="188"/>
                </a:cubicBezTo>
                <a:cubicBezTo>
                  <a:pt x="505" y="188"/>
                  <a:pt x="505" y="188"/>
                  <a:pt x="505" y="188"/>
                </a:cubicBezTo>
                <a:cubicBezTo>
                  <a:pt x="506" y="188"/>
                  <a:pt x="507" y="187"/>
                  <a:pt x="508" y="187"/>
                </a:cubicBezTo>
                <a:cubicBezTo>
                  <a:pt x="508" y="187"/>
                  <a:pt x="508" y="186"/>
                  <a:pt x="508" y="186"/>
                </a:cubicBezTo>
                <a:cubicBezTo>
                  <a:pt x="508" y="186"/>
                  <a:pt x="509" y="186"/>
                  <a:pt x="509" y="186"/>
                </a:cubicBezTo>
                <a:cubicBezTo>
                  <a:pt x="509" y="186"/>
                  <a:pt x="509" y="186"/>
                  <a:pt x="510" y="186"/>
                </a:cubicBezTo>
                <a:cubicBezTo>
                  <a:pt x="510" y="185"/>
                  <a:pt x="511" y="185"/>
                  <a:pt x="511" y="184"/>
                </a:cubicBezTo>
                <a:cubicBezTo>
                  <a:pt x="511" y="184"/>
                  <a:pt x="512" y="184"/>
                  <a:pt x="512" y="184"/>
                </a:cubicBezTo>
                <a:cubicBezTo>
                  <a:pt x="512" y="184"/>
                  <a:pt x="512" y="184"/>
                  <a:pt x="512" y="184"/>
                </a:cubicBezTo>
                <a:cubicBezTo>
                  <a:pt x="513" y="183"/>
                  <a:pt x="513" y="183"/>
                  <a:pt x="513" y="183"/>
                </a:cubicBezTo>
                <a:cubicBezTo>
                  <a:pt x="513" y="183"/>
                  <a:pt x="513" y="182"/>
                  <a:pt x="513" y="182"/>
                </a:cubicBezTo>
                <a:cubicBezTo>
                  <a:pt x="514" y="182"/>
                  <a:pt x="514" y="182"/>
                  <a:pt x="514" y="182"/>
                </a:cubicBezTo>
                <a:cubicBezTo>
                  <a:pt x="515" y="181"/>
                  <a:pt x="515" y="181"/>
                  <a:pt x="516" y="181"/>
                </a:cubicBezTo>
                <a:cubicBezTo>
                  <a:pt x="516" y="181"/>
                  <a:pt x="517" y="181"/>
                  <a:pt x="517" y="181"/>
                </a:cubicBezTo>
                <a:cubicBezTo>
                  <a:pt x="517" y="181"/>
                  <a:pt x="517" y="181"/>
                  <a:pt x="517" y="181"/>
                </a:cubicBezTo>
                <a:cubicBezTo>
                  <a:pt x="517" y="180"/>
                  <a:pt x="517" y="180"/>
                  <a:pt x="517" y="180"/>
                </a:cubicBezTo>
                <a:cubicBezTo>
                  <a:pt x="517" y="180"/>
                  <a:pt x="518" y="179"/>
                  <a:pt x="518" y="179"/>
                </a:cubicBezTo>
                <a:cubicBezTo>
                  <a:pt x="518" y="179"/>
                  <a:pt x="518" y="178"/>
                  <a:pt x="518" y="178"/>
                </a:cubicBezTo>
                <a:cubicBezTo>
                  <a:pt x="518" y="178"/>
                  <a:pt x="519" y="178"/>
                  <a:pt x="519" y="178"/>
                </a:cubicBezTo>
                <a:cubicBezTo>
                  <a:pt x="519" y="178"/>
                  <a:pt x="519" y="177"/>
                  <a:pt x="519" y="177"/>
                </a:cubicBezTo>
                <a:cubicBezTo>
                  <a:pt x="518" y="177"/>
                  <a:pt x="518" y="176"/>
                  <a:pt x="517" y="176"/>
                </a:cubicBezTo>
                <a:cubicBezTo>
                  <a:pt x="517" y="176"/>
                  <a:pt x="517" y="175"/>
                  <a:pt x="517" y="175"/>
                </a:cubicBezTo>
                <a:cubicBezTo>
                  <a:pt x="517" y="175"/>
                  <a:pt x="516" y="175"/>
                  <a:pt x="516" y="175"/>
                </a:cubicBezTo>
                <a:cubicBezTo>
                  <a:pt x="515" y="175"/>
                  <a:pt x="515" y="174"/>
                  <a:pt x="515" y="174"/>
                </a:cubicBezTo>
                <a:cubicBezTo>
                  <a:pt x="515" y="174"/>
                  <a:pt x="515" y="174"/>
                  <a:pt x="516" y="173"/>
                </a:cubicBezTo>
                <a:cubicBezTo>
                  <a:pt x="516" y="173"/>
                  <a:pt x="516" y="173"/>
                  <a:pt x="517" y="173"/>
                </a:cubicBezTo>
                <a:cubicBezTo>
                  <a:pt x="517" y="173"/>
                  <a:pt x="517" y="172"/>
                  <a:pt x="517" y="172"/>
                </a:cubicBezTo>
                <a:cubicBezTo>
                  <a:pt x="517" y="172"/>
                  <a:pt x="517" y="172"/>
                  <a:pt x="517" y="172"/>
                </a:cubicBezTo>
                <a:cubicBezTo>
                  <a:pt x="516" y="172"/>
                  <a:pt x="516" y="173"/>
                  <a:pt x="516" y="173"/>
                </a:cubicBezTo>
                <a:cubicBezTo>
                  <a:pt x="516" y="173"/>
                  <a:pt x="516" y="173"/>
                  <a:pt x="516" y="173"/>
                </a:cubicBezTo>
                <a:cubicBezTo>
                  <a:pt x="516" y="173"/>
                  <a:pt x="516" y="173"/>
                  <a:pt x="515" y="172"/>
                </a:cubicBezTo>
                <a:cubicBezTo>
                  <a:pt x="516" y="172"/>
                  <a:pt x="516" y="172"/>
                  <a:pt x="516" y="172"/>
                </a:cubicBezTo>
                <a:cubicBezTo>
                  <a:pt x="516" y="172"/>
                  <a:pt x="515" y="172"/>
                  <a:pt x="515" y="172"/>
                </a:cubicBezTo>
                <a:cubicBezTo>
                  <a:pt x="515" y="172"/>
                  <a:pt x="515" y="171"/>
                  <a:pt x="516" y="171"/>
                </a:cubicBezTo>
                <a:cubicBezTo>
                  <a:pt x="516" y="171"/>
                  <a:pt x="516" y="171"/>
                  <a:pt x="516" y="171"/>
                </a:cubicBezTo>
                <a:cubicBezTo>
                  <a:pt x="516" y="171"/>
                  <a:pt x="515" y="171"/>
                  <a:pt x="515" y="171"/>
                </a:cubicBezTo>
                <a:cubicBezTo>
                  <a:pt x="515" y="171"/>
                  <a:pt x="514" y="171"/>
                  <a:pt x="514" y="171"/>
                </a:cubicBezTo>
                <a:cubicBezTo>
                  <a:pt x="514" y="170"/>
                  <a:pt x="514" y="170"/>
                  <a:pt x="514" y="170"/>
                </a:cubicBezTo>
                <a:cubicBezTo>
                  <a:pt x="514" y="170"/>
                  <a:pt x="514" y="170"/>
                  <a:pt x="514" y="170"/>
                </a:cubicBezTo>
                <a:cubicBezTo>
                  <a:pt x="515" y="170"/>
                  <a:pt x="515" y="170"/>
                  <a:pt x="515" y="169"/>
                </a:cubicBezTo>
                <a:cubicBezTo>
                  <a:pt x="515" y="170"/>
                  <a:pt x="515" y="170"/>
                  <a:pt x="515" y="170"/>
                </a:cubicBezTo>
                <a:cubicBezTo>
                  <a:pt x="516" y="170"/>
                  <a:pt x="516" y="170"/>
                  <a:pt x="517" y="170"/>
                </a:cubicBezTo>
                <a:cubicBezTo>
                  <a:pt x="517" y="170"/>
                  <a:pt x="517" y="170"/>
                  <a:pt x="518" y="170"/>
                </a:cubicBezTo>
                <a:cubicBezTo>
                  <a:pt x="518" y="170"/>
                  <a:pt x="518" y="170"/>
                  <a:pt x="519" y="170"/>
                </a:cubicBezTo>
                <a:cubicBezTo>
                  <a:pt x="519" y="170"/>
                  <a:pt x="519" y="170"/>
                  <a:pt x="519" y="169"/>
                </a:cubicBezTo>
                <a:cubicBezTo>
                  <a:pt x="519" y="169"/>
                  <a:pt x="520" y="169"/>
                  <a:pt x="520" y="169"/>
                </a:cubicBezTo>
                <a:cubicBezTo>
                  <a:pt x="520" y="169"/>
                  <a:pt x="521" y="169"/>
                  <a:pt x="521" y="169"/>
                </a:cubicBezTo>
                <a:cubicBezTo>
                  <a:pt x="522" y="168"/>
                  <a:pt x="522" y="168"/>
                  <a:pt x="523" y="168"/>
                </a:cubicBezTo>
                <a:cubicBezTo>
                  <a:pt x="522" y="168"/>
                  <a:pt x="522" y="168"/>
                  <a:pt x="522" y="168"/>
                </a:cubicBezTo>
                <a:cubicBezTo>
                  <a:pt x="522" y="167"/>
                  <a:pt x="522" y="167"/>
                  <a:pt x="523" y="167"/>
                </a:cubicBezTo>
                <a:cubicBezTo>
                  <a:pt x="522" y="167"/>
                  <a:pt x="522" y="167"/>
                  <a:pt x="522" y="167"/>
                </a:cubicBezTo>
                <a:cubicBezTo>
                  <a:pt x="522" y="167"/>
                  <a:pt x="522" y="167"/>
                  <a:pt x="522" y="167"/>
                </a:cubicBezTo>
                <a:cubicBezTo>
                  <a:pt x="522" y="167"/>
                  <a:pt x="522" y="166"/>
                  <a:pt x="522" y="166"/>
                </a:cubicBezTo>
                <a:cubicBezTo>
                  <a:pt x="521" y="166"/>
                  <a:pt x="521" y="166"/>
                  <a:pt x="521" y="166"/>
                </a:cubicBezTo>
                <a:cubicBezTo>
                  <a:pt x="520" y="166"/>
                  <a:pt x="520" y="166"/>
                  <a:pt x="519" y="167"/>
                </a:cubicBezTo>
                <a:cubicBezTo>
                  <a:pt x="520" y="166"/>
                  <a:pt x="520" y="166"/>
                  <a:pt x="520" y="166"/>
                </a:cubicBezTo>
                <a:cubicBezTo>
                  <a:pt x="520" y="166"/>
                  <a:pt x="521" y="166"/>
                  <a:pt x="521" y="166"/>
                </a:cubicBezTo>
                <a:cubicBezTo>
                  <a:pt x="522" y="165"/>
                  <a:pt x="522" y="165"/>
                  <a:pt x="523" y="164"/>
                </a:cubicBezTo>
                <a:cubicBezTo>
                  <a:pt x="523" y="164"/>
                  <a:pt x="523" y="164"/>
                  <a:pt x="523" y="164"/>
                </a:cubicBezTo>
                <a:cubicBezTo>
                  <a:pt x="523" y="164"/>
                  <a:pt x="523" y="163"/>
                  <a:pt x="523" y="163"/>
                </a:cubicBezTo>
                <a:cubicBezTo>
                  <a:pt x="523" y="163"/>
                  <a:pt x="523" y="163"/>
                  <a:pt x="522" y="163"/>
                </a:cubicBezTo>
                <a:cubicBezTo>
                  <a:pt x="522" y="163"/>
                  <a:pt x="522" y="163"/>
                  <a:pt x="522" y="163"/>
                </a:cubicBezTo>
                <a:cubicBezTo>
                  <a:pt x="521" y="163"/>
                  <a:pt x="521" y="163"/>
                  <a:pt x="520" y="163"/>
                </a:cubicBezTo>
                <a:cubicBezTo>
                  <a:pt x="520" y="163"/>
                  <a:pt x="519" y="163"/>
                  <a:pt x="519" y="164"/>
                </a:cubicBezTo>
                <a:cubicBezTo>
                  <a:pt x="519" y="164"/>
                  <a:pt x="519" y="163"/>
                  <a:pt x="519" y="163"/>
                </a:cubicBezTo>
                <a:cubicBezTo>
                  <a:pt x="519" y="163"/>
                  <a:pt x="519" y="163"/>
                  <a:pt x="519" y="163"/>
                </a:cubicBezTo>
                <a:cubicBezTo>
                  <a:pt x="519" y="163"/>
                  <a:pt x="519" y="163"/>
                  <a:pt x="519" y="162"/>
                </a:cubicBezTo>
                <a:cubicBezTo>
                  <a:pt x="518" y="162"/>
                  <a:pt x="517" y="162"/>
                  <a:pt x="516" y="162"/>
                </a:cubicBezTo>
                <a:cubicBezTo>
                  <a:pt x="516" y="162"/>
                  <a:pt x="516" y="162"/>
                  <a:pt x="516" y="161"/>
                </a:cubicBezTo>
                <a:cubicBezTo>
                  <a:pt x="517" y="161"/>
                  <a:pt x="517" y="161"/>
                  <a:pt x="517" y="161"/>
                </a:cubicBezTo>
                <a:cubicBezTo>
                  <a:pt x="517" y="161"/>
                  <a:pt x="518" y="162"/>
                  <a:pt x="518" y="162"/>
                </a:cubicBezTo>
                <a:cubicBezTo>
                  <a:pt x="518" y="162"/>
                  <a:pt x="518" y="161"/>
                  <a:pt x="519" y="161"/>
                </a:cubicBezTo>
                <a:cubicBezTo>
                  <a:pt x="518" y="161"/>
                  <a:pt x="518" y="161"/>
                  <a:pt x="518" y="161"/>
                </a:cubicBezTo>
                <a:cubicBezTo>
                  <a:pt x="518" y="161"/>
                  <a:pt x="518" y="161"/>
                  <a:pt x="518" y="161"/>
                </a:cubicBezTo>
                <a:cubicBezTo>
                  <a:pt x="518" y="160"/>
                  <a:pt x="518" y="160"/>
                  <a:pt x="518" y="160"/>
                </a:cubicBezTo>
                <a:cubicBezTo>
                  <a:pt x="518" y="160"/>
                  <a:pt x="517" y="160"/>
                  <a:pt x="517" y="160"/>
                </a:cubicBezTo>
                <a:cubicBezTo>
                  <a:pt x="516" y="160"/>
                  <a:pt x="516" y="160"/>
                  <a:pt x="516" y="160"/>
                </a:cubicBezTo>
                <a:cubicBezTo>
                  <a:pt x="515" y="160"/>
                  <a:pt x="515" y="160"/>
                  <a:pt x="515" y="161"/>
                </a:cubicBezTo>
                <a:cubicBezTo>
                  <a:pt x="514" y="160"/>
                  <a:pt x="513" y="160"/>
                  <a:pt x="512" y="160"/>
                </a:cubicBezTo>
                <a:cubicBezTo>
                  <a:pt x="512" y="160"/>
                  <a:pt x="512" y="160"/>
                  <a:pt x="512" y="160"/>
                </a:cubicBezTo>
                <a:cubicBezTo>
                  <a:pt x="512" y="160"/>
                  <a:pt x="512" y="160"/>
                  <a:pt x="511" y="160"/>
                </a:cubicBezTo>
                <a:cubicBezTo>
                  <a:pt x="511" y="160"/>
                  <a:pt x="510" y="159"/>
                  <a:pt x="510" y="159"/>
                </a:cubicBezTo>
                <a:cubicBezTo>
                  <a:pt x="509" y="159"/>
                  <a:pt x="509" y="160"/>
                  <a:pt x="508" y="160"/>
                </a:cubicBezTo>
                <a:cubicBezTo>
                  <a:pt x="508" y="160"/>
                  <a:pt x="507" y="160"/>
                  <a:pt x="507" y="160"/>
                </a:cubicBezTo>
                <a:cubicBezTo>
                  <a:pt x="507" y="160"/>
                  <a:pt x="507" y="160"/>
                  <a:pt x="506" y="160"/>
                </a:cubicBezTo>
                <a:cubicBezTo>
                  <a:pt x="506" y="160"/>
                  <a:pt x="506" y="160"/>
                  <a:pt x="506" y="160"/>
                </a:cubicBezTo>
                <a:cubicBezTo>
                  <a:pt x="505" y="160"/>
                  <a:pt x="505" y="160"/>
                  <a:pt x="505" y="160"/>
                </a:cubicBezTo>
                <a:cubicBezTo>
                  <a:pt x="505" y="160"/>
                  <a:pt x="505" y="160"/>
                  <a:pt x="505" y="160"/>
                </a:cubicBezTo>
                <a:cubicBezTo>
                  <a:pt x="505" y="160"/>
                  <a:pt x="506" y="160"/>
                  <a:pt x="506" y="160"/>
                </a:cubicBezTo>
                <a:cubicBezTo>
                  <a:pt x="506" y="161"/>
                  <a:pt x="506" y="161"/>
                  <a:pt x="506" y="161"/>
                </a:cubicBezTo>
                <a:cubicBezTo>
                  <a:pt x="505" y="161"/>
                  <a:pt x="505" y="161"/>
                  <a:pt x="505" y="161"/>
                </a:cubicBezTo>
                <a:cubicBezTo>
                  <a:pt x="505" y="161"/>
                  <a:pt x="505" y="162"/>
                  <a:pt x="505" y="162"/>
                </a:cubicBezTo>
                <a:cubicBezTo>
                  <a:pt x="505" y="162"/>
                  <a:pt x="505" y="162"/>
                  <a:pt x="505" y="162"/>
                </a:cubicBezTo>
                <a:cubicBezTo>
                  <a:pt x="505" y="162"/>
                  <a:pt x="505" y="162"/>
                  <a:pt x="504" y="162"/>
                </a:cubicBezTo>
                <a:cubicBezTo>
                  <a:pt x="504" y="163"/>
                  <a:pt x="504" y="163"/>
                  <a:pt x="504" y="163"/>
                </a:cubicBezTo>
                <a:cubicBezTo>
                  <a:pt x="505" y="163"/>
                  <a:pt x="505" y="163"/>
                  <a:pt x="505" y="163"/>
                </a:cubicBezTo>
                <a:cubicBezTo>
                  <a:pt x="505" y="164"/>
                  <a:pt x="505" y="164"/>
                  <a:pt x="504" y="164"/>
                </a:cubicBezTo>
                <a:cubicBezTo>
                  <a:pt x="504" y="164"/>
                  <a:pt x="504" y="164"/>
                  <a:pt x="504" y="164"/>
                </a:cubicBezTo>
                <a:cubicBezTo>
                  <a:pt x="504" y="165"/>
                  <a:pt x="504" y="165"/>
                  <a:pt x="504" y="165"/>
                </a:cubicBezTo>
                <a:cubicBezTo>
                  <a:pt x="504" y="165"/>
                  <a:pt x="504" y="166"/>
                  <a:pt x="504" y="166"/>
                </a:cubicBezTo>
                <a:cubicBezTo>
                  <a:pt x="504" y="166"/>
                  <a:pt x="504" y="166"/>
                  <a:pt x="505" y="166"/>
                </a:cubicBezTo>
                <a:cubicBezTo>
                  <a:pt x="505" y="166"/>
                  <a:pt x="505" y="166"/>
                  <a:pt x="505" y="166"/>
                </a:cubicBezTo>
                <a:cubicBezTo>
                  <a:pt x="505" y="166"/>
                  <a:pt x="506" y="166"/>
                  <a:pt x="506" y="166"/>
                </a:cubicBezTo>
                <a:cubicBezTo>
                  <a:pt x="506" y="167"/>
                  <a:pt x="506" y="167"/>
                  <a:pt x="507" y="167"/>
                </a:cubicBezTo>
                <a:cubicBezTo>
                  <a:pt x="506" y="167"/>
                  <a:pt x="506" y="167"/>
                  <a:pt x="506" y="167"/>
                </a:cubicBezTo>
                <a:cubicBezTo>
                  <a:pt x="506" y="167"/>
                  <a:pt x="506" y="167"/>
                  <a:pt x="505" y="167"/>
                </a:cubicBezTo>
                <a:cubicBezTo>
                  <a:pt x="505" y="167"/>
                  <a:pt x="505" y="168"/>
                  <a:pt x="505" y="168"/>
                </a:cubicBezTo>
                <a:cubicBezTo>
                  <a:pt x="505" y="168"/>
                  <a:pt x="504" y="168"/>
                  <a:pt x="504" y="168"/>
                </a:cubicBezTo>
                <a:cubicBezTo>
                  <a:pt x="504" y="168"/>
                  <a:pt x="503" y="168"/>
                  <a:pt x="503" y="168"/>
                </a:cubicBezTo>
                <a:cubicBezTo>
                  <a:pt x="503" y="168"/>
                  <a:pt x="503" y="168"/>
                  <a:pt x="503" y="168"/>
                </a:cubicBezTo>
                <a:cubicBezTo>
                  <a:pt x="503" y="169"/>
                  <a:pt x="503" y="169"/>
                  <a:pt x="504" y="169"/>
                </a:cubicBezTo>
                <a:cubicBezTo>
                  <a:pt x="504" y="169"/>
                  <a:pt x="504" y="169"/>
                  <a:pt x="504" y="169"/>
                </a:cubicBezTo>
                <a:cubicBezTo>
                  <a:pt x="504" y="169"/>
                  <a:pt x="504" y="169"/>
                  <a:pt x="504" y="169"/>
                </a:cubicBezTo>
                <a:cubicBezTo>
                  <a:pt x="504" y="169"/>
                  <a:pt x="504" y="169"/>
                  <a:pt x="503" y="169"/>
                </a:cubicBezTo>
                <a:cubicBezTo>
                  <a:pt x="503" y="169"/>
                  <a:pt x="503" y="169"/>
                  <a:pt x="503" y="169"/>
                </a:cubicBezTo>
                <a:cubicBezTo>
                  <a:pt x="502" y="169"/>
                  <a:pt x="502" y="170"/>
                  <a:pt x="502" y="170"/>
                </a:cubicBezTo>
                <a:cubicBezTo>
                  <a:pt x="502" y="170"/>
                  <a:pt x="501" y="170"/>
                  <a:pt x="501" y="169"/>
                </a:cubicBezTo>
                <a:cubicBezTo>
                  <a:pt x="501" y="170"/>
                  <a:pt x="500" y="170"/>
                  <a:pt x="500" y="170"/>
                </a:cubicBezTo>
                <a:cubicBezTo>
                  <a:pt x="500" y="171"/>
                  <a:pt x="500" y="171"/>
                  <a:pt x="499" y="172"/>
                </a:cubicBezTo>
                <a:cubicBezTo>
                  <a:pt x="499" y="172"/>
                  <a:pt x="499" y="173"/>
                  <a:pt x="499" y="173"/>
                </a:cubicBezTo>
                <a:cubicBezTo>
                  <a:pt x="498" y="174"/>
                  <a:pt x="498" y="174"/>
                  <a:pt x="498" y="175"/>
                </a:cubicBezTo>
                <a:cubicBezTo>
                  <a:pt x="497" y="176"/>
                  <a:pt x="497" y="176"/>
                  <a:pt x="496" y="176"/>
                </a:cubicBezTo>
                <a:cubicBezTo>
                  <a:pt x="496" y="177"/>
                  <a:pt x="496" y="177"/>
                  <a:pt x="495" y="177"/>
                </a:cubicBezTo>
                <a:cubicBezTo>
                  <a:pt x="495" y="177"/>
                  <a:pt x="495" y="177"/>
                  <a:pt x="495" y="177"/>
                </a:cubicBezTo>
                <a:cubicBezTo>
                  <a:pt x="495" y="178"/>
                  <a:pt x="495" y="178"/>
                  <a:pt x="494" y="179"/>
                </a:cubicBezTo>
                <a:cubicBezTo>
                  <a:pt x="494" y="179"/>
                  <a:pt x="494" y="179"/>
                  <a:pt x="493" y="179"/>
                </a:cubicBezTo>
                <a:cubicBezTo>
                  <a:pt x="493" y="179"/>
                  <a:pt x="493" y="180"/>
                  <a:pt x="494" y="180"/>
                </a:cubicBezTo>
                <a:cubicBezTo>
                  <a:pt x="493" y="180"/>
                  <a:pt x="493" y="181"/>
                  <a:pt x="493" y="181"/>
                </a:cubicBezTo>
                <a:cubicBezTo>
                  <a:pt x="493" y="181"/>
                  <a:pt x="493" y="182"/>
                  <a:pt x="493" y="182"/>
                </a:cubicBezTo>
                <a:cubicBezTo>
                  <a:pt x="493" y="182"/>
                  <a:pt x="492" y="182"/>
                  <a:pt x="492" y="182"/>
                </a:cubicBezTo>
                <a:cubicBezTo>
                  <a:pt x="492" y="182"/>
                  <a:pt x="492" y="182"/>
                  <a:pt x="491" y="181"/>
                </a:cubicBezTo>
                <a:cubicBezTo>
                  <a:pt x="491" y="181"/>
                  <a:pt x="491" y="181"/>
                  <a:pt x="491" y="182"/>
                </a:cubicBezTo>
                <a:cubicBezTo>
                  <a:pt x="491" y="182"/>
                  <a:pt x="490" y="182"/>
                  <a:pt x="490" y="182"/>
                </a:cubicBezTo>
                <a:cubicBezTo>
                  <a:pt x="490" y="182"/>
                  <a:pt x="490" y="182"/>
                  <a:pt x="490" y="182"/>
                </a:cubicBezTo>
                <a:cubicBezTo>
                  <a:pt x="491" y="183"/>
                  <a:pt x="491" y="183"/>
                  <a:pt x="491" y="183"/>
                </a:cubicBezTo>
                <a:cubicBezTo>
                  <a:pt x="491" y="183"/>
                  <a:pt x="490" y="183"/>
                  <a:pt x="490" y="183"/>
                </a:cubicBezTo>
                <a:cubicBezTo>
                  <a:pt x="490" y="183"/>
                  <a:pt x="489" y="183"/>
                  <a:pt x="489" y="183"/>
                </a:cubicBezTo>
                <a:cubicBezTo>
                  <a:pt x="489" y="183"/>
                  <a:pt x="489" y="183"/>
                  <a:pt x="489" y="182"/>
                </a:cubicBezTo>
                <a:cubicBezTo>
                  <a:pt x="489" y="182"/>
                  <a:pt x="488" y="182"/>
                  <a:pt x="488" y="181"/>
                </a:cubicBezTo>
                <a:cubicBezTo>
                  <a:pt x="488" y="181"/>
                  <a:pt x="487" y="180"/>
                  <a:pt x="487" y="179"/>
                </a:cubicBezTo>
                <a:cubicBezTo>
                  <a:pt x="486" y="179"/>
                  <a:pt x="486" y="178"/>
                  <a:pt x="486" y="178"/>
                </a:cubicBezTo>
                <a:cubicBezTo>
                  <a:pt x="486" y="178"/>
                  <a:pt x="486" y="178"/>
                  <a:pt x="486" y="178"/>
                </a:cubicBezTo>
                <a:cubicBezTo>
                  <a:pt x="486" y="177"/>
                  <a:pt x="486" y="177"/>
                  <a:pt x="486" y="177"/>
                </a:cubicBezTo>
                <a:cubicBezTo>
                  <a:pt x="486" y="176"/>
                  <a:pt x="486" y="176"/>
                  <a:pt x="487" y="176"/>
                </a:cubicBezTo>
                <a:cubicBezTo>
                  <a:pt x="487" y="176"/>
                  <a:pt x="486" y="175"/>
                  <a:pt x="486" y="175"/>
                </a:cubicBezTo>
                <a:cubicBezTo>
                  <a:pt x="486" y="175"/>
                  <a:pt x="486" y="175"/>
                  <a:pt x="487" y="174"/>
                </a:cubicBezTo>
                <a:cubicBezTo>
                  <a:pt x="487" y="174"/>
                  <a:pt x="487" y="174"/>
                  <a:pt x="487" y="174"/>
                </a:cubicBezTo>
                <a:cubicBezTo>
                  <a:pt x="487" y="174"/>
                  <a:pt x="488" y="174"/>
                  <a:pt x="488" y="174"/>
                </a:cubicBezTo>
                <a:cubicBezTo>
                  <a:pt x="488" y="174"/>
                  <a:pt x="488" y="174"/>
                  <a:pt x="489" y="174"/>
                </a:cubicBezTo>
                <a:cubicBezTo>
                  <a:pt x="489" y="173"/>
                  <a:pt x="489" y="173"/>
                  <a:pt x="489" y="173"/>
                </a:cubicBezTo>
                <a:cubicBezTo>
                  <a:pt x="489" y="172"/>
                  <a:pt x="489" y="172"/>
                  <a:pt x="488" y="171"/>
                </a:cubicBezTo>
                <a:cubicBezTo>
                  <a:pt x="488" y="171"/>
                  <a:pt x="489" y="171"/>
                  <a:pt x="489" y="171"/>
                </a:cubicBezTo>
                <a:cubicBezTo>
                  <a:pt x="489" y="170"/>
                  <a:pt x="489" y="170"/>
                  <a:pt x="488" y="170"/>
                </a:cubicBezTo>
                <a:cubicBezTo>
                  <a:pt x="488" y="170"/>
                  <a:pt x="488" y="169"/>
                  <a:pt x="487" y="169"/>
                </a:cubicBezTo>
                <a:cubicBezTo>
                  <a:pt x="487" y="169"/>
                  <a:pt x="487" y="169"/>
                  <a:pt x="487" y="168"/>
                </a:cubicBezTo>
                <a:cubicBezTo>
                  <a:pt x="486" y="168"/>
                  <a:pt x="486" y="168"/>
                  <a:pt x="486" y="167"/>
                </a:cubicBezTo>
                <a:cubicBezTo>
                  <a:pt x="485" y="167"/>
                  <a:pt x="485" y="167"/>
                  <a:pt x="485" y="167"/>
                </a:cubicBezTo>
                <a:cubicBezTo>
                  <a:pt x="485" y="167"/>
                  <a:pt x="485" y="167"/>
                  <a:pt x="485" y="167"/>
                </a:cubicBezTo>
                <a:cubicBezTo>
                  <a:pt x="484" y="167"/>
                  <a:pt x="484" y="167"/>
                  <a:pt x="484" y="167"/>
                </a:cubicBezTo>
                <a:cubicBezTo>
                  <a:pt x="484" y="167"/>
                  <a:pt x="484" y="167"/>
                  <a:pt x="484" y="168"/>
                </a:cubicBezTo>
                <a:cubicBezTo>
                  <a:pt x="484" y="168"/>
                  <a:pt x="483" y="169"/>
                  <a:pt x="483" y="169"/>
                </a:cubicBezTo>
                <a:cubicBezTo>
                  <a:pt x="482" y="170"/>
                  <a:pt x="482" y="170"/>
                  <a:pt x="482" y="170"/>
                </a:cubicBezTo>
                <a:cubicBezTo>
                  <a:pt x="482" y="171"/>
                  <a:pt x="482" y="171"/>
                  <a:pt x="482" y="171"/>
                </a:cubicBezTo>
                <a:cubicBezTo>
                  <a:pt x="482" y="171"/>
                  <a:pt x="482" y="172"/>
                  <a:pt x="482" y="172"/>
                </a:cubicBezTo>
                <a:cubicBezTo>
                  <a:pt x="482" y="172"/>
                  <a:pt x="482" y="173"/>
                  <a:pt x="481" y="173"/>
                </a:cubicBezTo>
                <a:cubicBezTo>
                  <a:pt x="481" y="173"/>
                  <a:pt x="481" y="173"/>
                  <a:pt x="481" y="173"/>
                </a:cubicBezTo>
                <a:cubicBezTo>
                  <a:pt x="481" y="173"/>
                  <a:pt x="480" y="173"/>
                  <a:pt x="480" y="173"/>
                </a:cubicBezTo>
                <a:cubicBezTo>
                  <a:pt x="480" y="173"/>
                  <a:pt x="480" y="173"/>
                  <a:pt x="480" y="173"/>
                </a:cubicBezTo>
                <a:cubicBezTo>
                  <a:pt x="480" y="174"/>
                  <a:pt x="480" y="174"/>
                  <a:pt x="480" y="174"/>
                </a:cubicBezTo>
                <a:cubicBezTo>
                  <a:pt x="480" y="174"/>
                  <a:pt x="479" y="174"/>
                  <a:pt x="479" y="175"/>
                </a:cubicBezTo>
                <a:cubicBezTo>
                  <a:pt x="479" y="175"/>
                  <a:pt x="479" y="175"/>
                  <a:pt x="479" y="175"/>
                </a:cubicBezTo>
                <a:cubicBezTo>
                  <a:pt x="478" y="175"/>
                  <a:pt x="478" y="176"/>
                  <a:pt x="478" y="176"/>
                </a:cubicBezTo>
                <a:cubicBezTo>
                  <a:pt x="478" y="176"/>
                  <a:pt x="477" y="176"/>
                  <a:pt x="477" y="176"/>
                </a:cubicBezTo>
                <a:cubicBezTo>
                  <a:pt x="477" y="176"/>
                  <a:pt x="477" y="176"/>
                  <a:pt x="477" y="176"/>
                </a:cubicBezTo>
                <a:cubicBezTo>
                  <a:pt x="477" y="176"/>
                  <a:pt x="477" y="176"/>
                  <a:pt x="478" y="175"/>
                </a:cubicBezTo>
                <a:cubicBezTo>
                  <a:pt x="478" y="175"/>
                  <a:pt x="477" y="175"/>
                  <a:pt x="477" y="175"/>
                </a:cubicBezTo>
                <a:cubicBezTo>
                  <a:pt x="477" y="175"/>
                  <a:pt x="477" y="174"/>
                  <a:pt x="477" y="174"/>
                </a:cubicBezTo>
                <a:cubicBezTo>
                  <a:pt x="477" y="174"/>
                  <a:pt x="478" y="174"/>
                  <a:pt x="478" y="173"/>
                </a:cubicBezTo>
                <a:cubicBezTo>
                  <a:pt x="478" y="173"/>
                  <a:pt x="478" y="173"/>
                  <a:pt x="478" y="172"/>
                </a:cubicBezTo>
                <a:cubicBezTo>
                  <a:pt x="478" y="172"/>
                  <a:pt x="478" y="172"/>
                  <a:pt x="478" y="172"/>
                </a:cubicBezTo>
                <a:cubicBezTo>
                  <a:pt x="478" y="172"/>
                  <a:pt x="478" y="171"/>
                  <a:pt x="478" y="171"/>
                </a:cubicBezTo>
                <a:cubicBezTo>
                  <a:pt x="478" y="171"/>
                  <a:pt x="478" y="171"/>
                  <a:pt x="478" y="171"/>
                </a:cubicBezTo>
                <a:cubicBezTo>
                  <a:pt x="478" y="170"/>
                  <a:pt x="478" y="170"/>
                  <a:pt x="478" y="170"/>
                </a:cubicBezTo>
                <a:cubicBezTo>
                  <a:pt x="478" y="170"/>
                  <a:pt x="478" y="170"/>
                  <a:pt x="478" y="169"/>
                </a:cubicBezTo>
                <a:cubicBezTo>
                  <a:pt x="478" y="169"/>
                  <a:pt x="477" y="169"/>
                  <a:pt x="477" y="169"/>
                </a:cubicBezTo>
                <a:cubicBezTo>
                  <a:pt x="477" y="169"/>
                  <a:pt x="477" y="168"/>
                  <a:pt x="477" y="168"/>
                </a:cubicBezTo>
                <a:cubicBezTo>
                  <a:pt x="476" y="168"/>
                  <a:pt x="476" y="168"/>
                  <a:pt x="476" y="168"/>
                </a:cubicBezTo>
                <a:cubicBezTo>
                  <a:pt x="476" y="168"/>
                  <a:pt x="476" y="167"/>
                  <a:pt x="476" y="167"/>
                </a:cubicBezTo>
                <a:cubicBezTo>
                  <a:pt x="476" y="167"/>
                  <a:pt x="476" y="167"/>
                  <a:pt x="476" y="167"/>
                </a:cubicBezTo>
                <a:cubicBezTo>
                  <a:pt x="476" y="167"/>
                  <a:pt x="477" y="167"/>
                  <a:pt x="477" y="167"/>
                </a:cubicBezTo>
                <a:cubicBezTo>
                  <a:pt x="477" y="167"/>
                  <a:pt x="477" y="168"/>
                  <a:pt x="477" y="168"/>
                </a:cubicBezTo>
                <a:cubicBezTo>
                  <a:pt x="477" y="168"/>
                  <a:pt x="477" y="168"/>
                  <a:pt x="478" y="168"/>
                </a:cubicBezTo>
                <a:cubicBezTo>
                  <a:pt x="478" y="167"/>
                  <a:pt x="478" y="167"/>
                  <a:pt x="479" y="167"/>
                </a:cubicBezTo>
                <a:cubicBezTo>
                  <a:pt x="479" y="166"/>
                  <a:pt x="479" y="166"/>
                  <a:pt x="480" y="166"/>
                </a:cubicBezTo>
                <a:cubicBezTo>
                  <a:pt x="480" y="166"/>
                  <a:pt x="480" y="166"/>
                  <a:pt x="480" y="166"/>
                </a:cubicBezTo>
                <a:cubicBezTo>
                  <a:pt x="480" y="166"/>
                  <a:pt x="480" y="165"/>
                  <a:pt x="479" y="165"/>
                </a:cubicBezTo>
                <a:cubicBezTo>
                  <a:pt x="479" y="166"/>
                  <a:pt x="479" y="166"/>
                  <a:pt x="478" y="166"/>
                </a:cubicBezTo>
                <a:cubicBezTo>
                  <a:pt x="478" y="166"/>
                  <a:pt x="478" y="166"/>
                  <a:pt x="478" y="166"/>
                </a:cubicBezTo>
                <a:cubicBezTo>
                  <a:pt x="477" y="166"/>
                  <a:pt x="477" y="166"/>
                  <a:pt x="477" y="166"/>
                </a:cubicBezTo>
                <a:cubicBezTo>
                  <a:pt x="477" y="166"/>
                  <a:pt x="476" y="166"/>
                  <a:pt x="476" y="166"/>
                </a:cubicBezTo>
                <a:cubicBezTo>
                  <a:pt x="477" y="166"/>
                  <a:pt x="477" y="165"/>
                  <a:pt x="477" y="165"/>
                </a:cubicBezTo>
                <a:cubicBezTo>
                  <a:pt x="477" y="165"/>
                  <a:pt x="477" y="165"/>
                  <a:pt x="476" y="165"/>
                </a:cubicBezTo>
                <a:cubicBezTo>
                  <a:pt x="476" y="165"/>
                  <a:pt x="476" y="165"/>
                  <a:pt x="476" y="165"/>
                </a:cubicBezTo>
                <a:cubicBezTo>
                  <a:pt x="476" y="166"/>
                  <a:pt x="476" y="166"/>
                  <a:pt x="476" y="166"/>
                </a:cubicBezTo>
                <a:cubicBezTo>
                  <a:pt x="475" y="166"/>
                  <a:pt x="475" y="166"/>
                  <a:pt x="474" y="167"/>
                </a:cubicBezTo>
                <a:cubicBezTo>
                  <a:pt x="474" y="167"/>
                  <a:pt x="473" y="166"/>
                  <a:pt x="473" y="166"/>
                </a:cubicBezTo>
                <a:cubicBezTo>
                  <a:pt x="473" y="166"/>
                  <a:pt x="473" y="166"/>
                  <a:pt x="473" y="166"/>
                </a:cubicBezTo>
                <a:cubicBezTo>
                  <a:pt x="472" y="166"/>
                  <a:pt x="472" y="166"/>
                  <a:pt x="472" y="166"/>
                </a:cubicBezTo>
                <a:cubicBezTo>
                  <a:pt x="472" y="166"/>
                  <a:pt x="471" y="166"/>
                  <a:pt x="471" y="166"/>
                </a:cubicBezTo>
                <a:cubicBezTo>
                  <a:pt x="471" y="166"/>
                  <a:pt x="470" y="166"/>
                  <a:pt x="470" y="166"/>
                </a:cubicBezTo>
                <a:cubicBezTo>
                  <a:pt x="470" y="166"/>
                  <a:pt x="470" y="165"/>
                  <a:pt x="470" y="165"/>
                </a:cubicBezTo>
                <a:cubicBezTo>
                  <a:pt x="471" y="165"/>
                  <a:pt x="471" y="165"/>
                  <a:pt x="471" y="165"/>
                </a:cubicBezTo>
                <a:cubicBezTo>
                  <a:pt x="471" y="165"/>
                  <a:pt x="471" y="164"/>
                  <a:pt x="471" y="164"/>
                </a:cubicBezTo>
                <a:cubicBezTo>
                  <a:pt x="471" y="164"/>
                  <a:pt x="472" y="164"/>
                  <a:pt x="472" y="164"/>
                </a:cubicBezTo>
                <a:cubicBezTo>
                  <a:pt x="473" y="163"/>
                  <a:pt x="474" y="163"/>
                  <a:pt x="475" y="162"/>
                </a:cubicBezTo>
                <a:cubicBezTo>
                  <a:pt x="475" y="162"/>
                  <a:pt x="475" y="162"/>
                  <a:pt x="475" y="162"/>
                </a:cubicBezTo>
                <a:cubicBezTo>
                  <a:pt x="474" y="161"/>
                  <a:pt x="474" y="161"/>
                  <a:pt x="474" y="161"/>
                </a:cubicBezTo>
                <a:cubicBezTo>
                  <a:pt x="473" y="161"/>
                  <a:pt x="473" y="162"/>
                  <a:pt x="472" y="162"/>
                </a:cubicBezTo>
                <a:cubicBezTo>
                  <a:pt x="472" y="162"/>
                  <a:pt x="472" y="162"/>
                  <a:pt x="472" y="162"/>
                </a:cubicBezTo>
                <a:cubicBezTo>
                  <a:pt x="473" y="161"/>
                  <a:pt x="473" y="161"/>
                  <a:pt x="473" y="161"/>
                </a:cubicBezTo>
                <a:cubicBezTo>
                  <a:pt x="473" y="161"/>
                  <a:pt x="473" y="160"/>
                  <a:pt x="474" y="160"/>
                </a:cubicBezTo>
                <a:cubicBezTo>
                  <a:pt x="474" y="160"/>
                  <a:pt x="474" y="160"/>
                  <a:pt x="475" y="159"/>
                </a:cubicBezTo>
                <a:cubicBezTo>
                  <a:pt x="475" y="160"/>
                  <a:pt x="475" y="160"/>
                  <a:pt x="475" y="160"/>
                </a:cubicBezTo>
                <a:cubicBezTo>
                  <a:pt x="475" y="160"/>
                  <a:pt x="475" y="161"/>
                  <a:pt x="475" y="161"/>
                </a:cubicBezTo>
                <a:cubicBezTo>
                  <a:pt x="476" y="161"/>
                  <a:pt x="476" y="161"/>
                  <a:pt x="476" y="160"/>
                </a:cubicBezTo>
                <a:cubicBezTo>
                  <a:pt x="477" y="160"/>
                  <a:pt x="477" y="161"/>
                  <a:pt x="477" y="161"/>
                </a:cubicBezTo>
                <a:cubicBezTo>
                  <a:pt x="477" y="160"/>
                  <a:pt x="478" y="160"/>
                  <a:pt x="478" y="160"/>
                </a:cubicBezTo>
                <a:cubicBezTo>
                  <a:pt x="478" y="160"/>
                  <a:pt x="478" y="159"/>
                  <a:pt x="478" y="159"/>
                </a:cubicBezTo>
                <a:cubicBezTo>
                  <a:pt x="477" y="159"/>
                  <a:pt x="477" y="159"/>
                  <a:pt x="477" y="159"/>
                </a:cubicBezTo>
                <a:cubicBezTo>
                  <a:pt x="477" y="159"/>
                  <a:pt x="476" y="159"/>
                  <a:pt x="476" y="159"/>
                </a:cubicBezTo>
                <a:cubicBezTo>
                  <a:pt x="476" y="159"/>
                  <a:pt x="476" y="158"/>
                  <a:pt x="476" y="158"/>
                </a:cubicBezTo>
                <a:cubicBezTo>
                  <a:pt x="476" y="158"/>
                  <a:pt x="476" y="158"/>
                  <a:pt x="476" y="158"/>
                </a:cubicBezTo>
                <a:cubicBezTo>
                  <a:pt x="476" y="157"/>
                  <a:pt x="476" y="157"/>
                  <a:pt x="476" y="157"/>
                </a:cubicBezTo>
                <a:cubicBezTo>
                  <a:pt x="476" y="157"/>
                  <a:pt x="476" y="157"/>
                  <a:pt x="476" y="157"/>
                </a:cubicBezTo>
                <a:cubicBezTo>
                  <a:pt x="476" y="157"/>
                  <a:pt x="476" y="156"/>
                  <a:pt x="476" y="156"/>
                </a:cubicBezTo>
                <a:cubicBezTo>
                  <a:pt x="475" y="156"/>
                  <a:pt x="475" y="156"/>
                  <a:pt x="474" y="156"/>
                </a:cubicBezTo>
                <a:cubicBezTo>
                  <a:pt x="474" y="155"/>
                  <a:pt x="475" y="155"/>
                  <a:pt x="475" y="155"/>
                </a:cubicBezTo>
                <a:cubicBezTo>
                  <a:pt x="474" y="155"/>
                  <a:pt x="474" y="154"/>
                  <a:pt x="474" y="154"/>
                </a:cubicBezTo>
                <a:cubicBezTo>
                  <a:pt x="474" y="154"/>
                  <a:pt x="474" y="154"/>
                  <a:pt x="474" y="154"/>
                </a:cubicBezTo>
                <a:cubicBezTo>
                  <a:pt x="474" y="154"/>
                  <a:pt x="474" y="153"/>
                  <a:pt x="474" y="153"/>
                </a:cubicBezTo>
                <a:cubicBezTo>
                  <a:pt x="474" y="153"/>
                  <a:pt x="475" y="152"/>
                  <a:pt x="475" y="152"/>
                </a:cubicBezTo>
                <a:cubicBezTo>
                  <a:pt x="475" y="152"/>
                  <a:pt x="475" y="152"/>
                  <a:pt x="475" y="151"/>
                </a:cubicBezTo>
                <a:cubicBezTo>
                  <a:pt x="475" y="151"/>
                  <a:pt x="475" y="151"/>
                  <a:pt x="475" y="150"/>
                </a:cubicBezTo>
                <a:cubicBezTo>
                  <a:pt x="475" y="150"/>
                  <a:pt x="475" y="150"/>
                  <a:pt x="475" y="150"/>
                </a:cubicBezTo>
                <a:cubicBezTo>
                  <a:pt x="475" y="150"/>
                  <a:pt x="475" y="150"/>
                  <a:pt x="475" y="150"/>
                </a:cubicBezTo>
                <a:cubicBezTo>
                  <a:pt x="475" y="150"/>
                  <a:pt x="474" y="149"/>
                  <a:pt x="474" y="149"/>
                </a:cubicBezTo>
                <a:cubicBezTo>
                  <a:pt x="474" y="149"/>
                  <a:pt x="474" y="148"/>
                  <a:pt x="474" y="148"/>
                </a:cubicBezTo>
                <a:cubicBezTo>
                  <a:pt x="474" y="148"/>
                  <a:pt x="473" y="148"/>
                  <a:pt x="473" y="148"/>
                </a:cubicBezTo>
                <a:cubicBezTo>
                  <a:pt x="473" y="148"/>
                  <a:pt x="473" y="148"/>
                  <a:pt x="473" y="147"/>
                </a:cubicBezTo>
                <a:cubicBezTo>
                  <a:pt x="473" y="147"/>
                  <a:pt x="473" y="147"/>
                  <a:pt x="473" y="147"/>
                </a:cubicBezTo>
                <a:cubicBezTo>
                  <a:pt x="473" y="147"/>
                  <a:pt x="473" y="147"/>
                  <a:pt x="473" y="146"/>
                </a:cubicBezTo>
                <a:cubicBezTo>
                  <a:pt x="473" y="146"/>
                  <a:pt x="473" y="146"/>
                  <a:pt x="473" y="146"/>
                </a:cubicBezTo>
                <a:cubicBezTo>
                  <a:pt x="473" y="146"/>
                  <a:pt x="473" y="146"/>
                  <a:pt x="472" y="146"/>
                </a:cubicBezTo>
                <a:cubicBezTo>
                  <a:pt x="472" y="145"/>
                  <a:pt x="472" y="145"/>
                  <a:pt x="471" y="145"/>
                </a:cubicBezTo>
                <a:cubicBezTo>
                  <a:pt x="471" y="145"/>
                  <a:pt x="471" y="145"/>
                  <a:pt x="470" y="145"/>
                </a:cubicBezTo>
                <a:cubicBezTo>
                  <a:pt x="471" y="145"/>
                  <a:pt x="471" y="145"/>
                  <a:pt x="471" y="145"/>
                </a:cubicBezTo>
                <a:cubicBezTo>
                  <a:pt x="471" y="145"/>
                  <a:pt x="470" y="144"/>
                  <a:pt x="470" y="144"/>
                </a:cubicBezTo>
                <a:cubicBezTo>
                  <a:pt x="470" y="144"/>
                  <a:pt x="469" y="144"/>
                  <a:pt x="468" y="144"/>
                </a:cubicBezTo>
                <a:cubicBezTo>
                  <a:pt x="468" y="144"/>
                  <a:pt x="467" y="144"/>
                  <a:pt x="467" y="144"/>
                </a:cubicBezTo>
                <a:cubicBezTo>
                  <a:pt x="467" y="145"/>
                  <a:pt x="466" y="145"/>
                  <a:pt x="466" y="145"/>
                </a:cubicBezTo>
                <a:cubicBezTo>
                  <a:pt x="466" y="145"/>
                  <a:pt x="466" y="145"/>
                  <a:pt x="466" y="145"/>
                </a:cubicBezTo>
                <a:cubicBezTo>
                  <a:pt x="466" y="146"/>
                  <a:pt x="465" y="146"/>
                  <a:pt x="465" y="146"/>
                </a:cubicBezTo>
                <a:cubicBezTo>
                  <a:pt x="465" y="147"/>
                  <a:pt x="465" y="147"/>
                  <a:pt x="465" y="147"/>
                </a:cubicBezTo>
                <a:cubicBezTo>
                  <a:pt x="464" y="147"/>
                  <a:pt x="464" y="147"/>
                  <a:pt x="463" y="147"/>
                </a:cubicBezTo>
                <a:cubicBezTo>
                  <a:pt x="463" y="148"/>
                  <a:pt x="463" y="148"/>
                  <a:pt x="462" y="148"/>
                </a:cubicBezTo>
                <a:cubicBezTo>
                  <a:pt x="463" y="148"/>
                  <a:pt x="463" y="148"/>
                  <a:pt x="463" y="149"/>
                </a:cubicBezTo>
                <a:cubicBezTo>
                  <a:pt x="463" y="149"/>
                  <a:pt x="464" y="149"/>
                  <a:pt x="464" y="149"/>
                </a:cubicBezTo>
                <a:cubicBezTo>
                  <a:pt x="465" y="149"/>
                  <a:pt x="465" y="149"/>
                  <a:pt x="465" y="149"/>
                </a:cubicBezTo>
                <a:cubicBezTo>
                  <a:pt x="465" y="149"/>
                  <a:pt x="465" y="149"/>
                  <a:pt x="465" y="149"/>
                </a:cubicBezTo>
                <a:cubicBezTo>
                  <a:pt x="465" y="149"/>
                  <a:pt x="465" y="150"/>
                  <a:pt x="464" y="150"/>
                </a:cubicBezTo>
                <a:cubicBezTo>
                  <a:pt x="464" y="151"/>
                  <a:pt x="464" y="151"/>
                  <a:pt x="464" y="151"/>
                </a:cubicBezTo>
                <a:cubicBezTo>
                  <a:pt x="464" y="151"/>
                  <a:pt x="463" y="151"/>
                  <a:pt x="463" y="152"/>
                </a:cubicBezTo>
                <a:cubicBezTo>
                  <a:pt x="463" y="151"/>
                  <a:pt x="463" y="151"/>
                  <a:pt x="463" y="151"/>
                </a:cubicBezTo>
                <a:cubicBezTo>
                  <a:pt x="463" y="151"/>
                  <a:pt x="463" y="151"/>
                  <a:pt x="462" y="151"/>
                </a:cubicBezTo>
                <a:cubicBezTo>
                  <a:pt x="463" y="150"/>
                  <a:pt x="463" y="150"/>
                  <a:pt x="463" y="150"/>
                </a:cubicBezTo>
                <a:cubicBezTo>
                  <a:pt x="462" y="150"/>
                  <a:pt x="462" y="150"/>
                  <a:pt x="462" y="150"/>
                </a:cubicBezTo>
                <a:cubicBezTo>
                  <a:pt x="461" y="150"/>
                  <a:pt x="461" y="150"/>
                  <a:pt x="460" y="150"/>
                </a:cubicBezTo>
                <a:cubicBezTo>
                  <a:pt x="460" y="151"/>
                  <a:pt x="460" y="151"/>
                  <a:pt x="460" y="151"/>
                </a:cubicBezTo>
                <a:cubicBezTo>
                  <a:pt x="460" y="151"/>
                  <a:pt x="459" y="152"/>
                  <a:pt x="459" y="152"/>
                </a:cubicBezTo>
                <a:cubicBezTo>
                  <a:pt x="459" y="152"/>
                  <a:pt x="459" y="152"/>
                  <a:pt x="459" y="153"/>
                </a:cubicBezTo>
                <a:cubicBezTo>
                  <a:pt x="458" y="153"/>
                  <a:pt x="458" y="153"/>
                  <a:pt x="458" y="153"/>
                </a:cubicBezTo>
                <a:cubicBezTo>
                  <a:pt x="458" y="154"/>
                  <a:pt x="457" y="154"/>
                  <a:pt x="457" y="155"/>
                </a:cubicBezTo>
                <a:cubicBezTo>
                  <a:pt x="457" y="155"/>
                  <a:pt x="456" y="155"/>
                  <a:pt x="456" y="156"/>
                </a:cubicBezTo>
                <a:cubicBezTo>
                  <a:pt x="456" y="156"/>
                  <a:pt x="456" y="156"/>
                  <a:pt x="456" y="157"/>
                </a:cubicBezTo>
                <a:cubicBezTo>
                  <a:pt x="456" y="157"/>
                  <a:pt x="457" y="157"/>
                  <a:pt x="457" y="157"/>
                </a:cubicBezTo>
                <a:cubicBezTo>
                  <a:pt x="457" y="158"/>
                  <a:pt x="457" y="158"/>
                  <a:pt x="457" y="158"/>
                </a:cubicBezTo>
                <a:cubicBezTo>
                  <a:pt x="457" y="158"/>
                  <a:pt x="457" y="158"/>
                  <a:pt x="457" y="158"/>
                </a:cubicBezTo>
                <a:cubicBezTo>
                  <a:pt x="458" y="158"/>
                  <a:pt x="458" y="157"/>
                  <a:pt x="458" y="157"/>
                </a:cubicBezTo>
                <a:cubicBezTo>
                  <a:pt x="459" y="157"/>
                  <a:pt x="459" y="157"/>
                  <a:pt x="459" y="157"/>
                </a:cubicBezTo>
                <a:cubicBezTo>
                  <a:pt x="459" y="157"/>
                  <a:pt x="459" y="157"/>
                  <a:pt x="459" y="158"/>
                </a:cubicBezTo>
                <a:cubicBezTo>
                  <a:pt x="459" y="158"/>
                  <a:pt x="458" y="158"/>
                  <a:pt x="458" y="158"/>
                </a:cubicBezTo>
                <a:cubicBezTo>
                  <a:pt x="458" y="158"/>
                  <a:pt x="458" y="158"/>
                  <a:pt x="458" y="158"/>
                </a:cubicBezTo>
                <a:cubicBezTo>
                  <a:pt x="458" y="159"/>
                  <a:pt x="457" y="159"/>
                  <a:pt x="457" y="159"/>
                </a:cubicBezTo>
                <a:cubicBezTo>
                  <a:pt x="457" y="159"/>
                  <a:pt x="456" y="159"/>
                  <a:pt x="456" y="159"/>
                </a:cubicBezTo>
                <a:cubicBezTo>
                  <a:pt x="456" y="160"/>
                  <a:pt x="455" y="160"/>
                  <a:pt x="454" y="161"/>
                </a:cubicBezTo>
                <a:cubicBezTo>
                  <a:pt x="454" y="161"/>
                  <a:pt x="454" y="161"/>
                  <a:pt x="454" y="162"/>
                </a:cubicBezTo>
                <a:cubicBezTo>
                  <a:pt x="454" y="162"/>
                  <a:pt x="454" y="163"/>
                  <a:pt x="454" y="163"/>
                </a:cubicBezTo>
                <a:cubicBezTo>
                  <a:pt x="454" y="164"/>
                  <a:pt x="455" y="164"/>
                  <a:pt x="455" y="164"/>
                </a:cubicBezTo>
                <a:cubicBezTo>
                  <a:pt x="455" y="164"/>
                  <a:pt x="455" y="164"/>
                  <a:pt x="455" y="164"/>
                </a:cubicBezTo>
                <a:cubicBezTo>
                  <a:pt x="455" y="165"/>
                  <a:pt x="455" y="165"/>
                  <a:pt x="455" y="165"/>
                </a:cubicBezTo>
                <a:cubicBezTo>
                  <a:pt x="455" y="165"/>
                  <a:pt x="455" y="165"/>
                  <a:pt x="455" y="165"/>
                </a:cubicBezTo>
                <a:cubicBezTo>
                  <a:pt x="455" y="166"/>
                  <a:pt x="455" y="166"/>
                  <a:pt x="455" y="166"/>
                </a:cubicBezTo>
                <a:cubicBezTo>
                  <a:pt x="456" y="166"/>
                  <a:pt x="456" y="166"/>
                  <a:pt x="456" y="166"/>
                </a:cubicBezTo>
                <a:cubicBezTo>
                  <a:pt x="456" y="166"/>
                  <a:pt x="457" y="166"/>
                  <a:pt x="457" y="166"/>
                </a:cubicBezTo>
                <a:cubicBezTo>
                  <a:pt x="457" y="166"/>
                  <a:pt x="457" y="166"/>
                  <a:pt x="457" y="166"/>
                </a:cubicBezTo>
                <a:cubicBezTo>
                  <a:pt x="458" y="166"/>
                  <a:pt x="458" y="166"/>
                  <a:pt x="458" y="167"/>
                </a:cubicBezTo>
                <a:cubicBezTo>
                  <a:pt x="459" y="167"/>
                  <a:pt x="459" y="167"/>
                  <a:pt x="459" y="167"/>
                </a:cubicBezTo>
                <a:cubicBezTo>
                  <a:pt x="459" y="167"/>
                  <a:pt x="460" y="167"/>
                  <a:pt x="460" y="167"/>
                </a:cubicBezTo>
                <a:cubicBezTo>
                  <a:pt x="460" y="167"/>
                  <a:pt x="460" y="166"/>
                  <a:pt x="460" y="166"/>
                </a:cubicBezTo>
                <a:cubicBezTo>
                  <a:pt x="460" y="166"/>
                  <a:pt x="460" y="166"/>
                  <a:pt x="460" y="167"/>
                </a:cubicBezTo>
                <a:cubicBezTo>
                  <a:pt x="461" y="167"/>
                  <a:pt x="461" y="167"/>
                  <a:pt x="461" y="168"/>
                </a:cubicBezTo>
                <a:cubicBezTo>
                  <a:pt x="462" y="168"/>
                  <a:pt x="462" y="168"/>
                  <a:pt x="463" y="167"/>
                </a:cubicBezTo>
                <a:cubicBezTo>
                  <a:pt x="463" y="168"/>
                  <a:pt x="463" y="168"/>
                  <a:pt x="464" y="168"/>
                </a:cubicBezTo>
                <a:cubicBezTo>
                  <a:pt x="464" y="168"/>
                  <a:pt x="464" y="167"/>
                  <a:pt x="465" y="167"/>
                </a:cubicBezTo>
                <a:cubicBezTo>
                  <a:pt x="465" y="167"/>
                  <a:pt x="466" y="167"/>
                  <a:pt x="466" y="167"/>
                </a:cubicBezTo>
                <a:cubicBezTo>
                  <a:pt x="466" y="167"/>
                  <a:pt x="466" y="168"/>
                  <a:pt x="466" y="168"/>
                </a:cubicBezTo>
                <a:cubicBezTo>
                  <a:pt x="466" y="168"/>
                  <a:pt x="466" y="169"/>
                  <a:pt x="465" y="169"/>
                </a:cubicBezTo>
                <a:cubicBezTo>
                  <a:pt x="465" y="170"/>
                  <a:pt x="465" y="170"/>
                  <a:pt x="464" y="170"/>
                </a:cubicBezTo>
                <a:cubicBezTo>
                  <a:pt x="464" y="170"/>
                  <a:pt x="464" y="170"/>
                  <a:pt x="464" y="170"/>
                </a:cubicBezTo>
                <a:cubicBezTo>
                  <a:pt x="464" y="170"/>
                  <a:pt x="464" y="169"/>
                  <a:pt x="464" y="169"/>
                </a:cubicBezTo>
                <a:cubicBezTo>
                  <a:pt x="464" y="169"/>
                  <a:pt x="465" y="169"/>
                  <a:pt x="465" y="169"/>
                </a:cubicBezTo>
                <a:cubicBezTo>
                  <a:pt x="464" y="169"/>
                  <a:pt x="464" y="169"/>
                  <a:pt x="463" y="169"/>
                </a:cubicBezTo>
                <a:cubicBezTo>
                  <a:pt x="463" y="169"/>
                  <a:pt x="463" y="169"/>
                  <a:pt x="462" y="169"/>
                </a:cubicBezTo>
                <a:cubicBezTo>
                  <a:pt x="462" y="170"/>
                  <a:pt x="462" y="170"/>
                  <a:pt x="461" y="170"/>
                </a:cubicBezTo>
                <a:cubicBezTo>
                  <a:pt x="462" y="170"/>
                  <a:pt x="462" y="170"/>
                  <a:pt x="462" y="170"/>
                </a:cubicBezTo>
                <a:cubicBezTo>
                  <a:pt x="462" y="171"/>
                  <a:pt x="462" y="171"/>
                  <a:pt x="462" y="171"/>
                </a:cubicBezTo>
                <a:cubicBezTo>
                  <a:pt x="462" y="171"/>
                  <a:pt x="461" y="171"/>
                  <a:pt x="461" y="172"/>
                </a:cubicBezTo>
                <a:cubicBezTo>
                  <a:pt x="461" y="172"/>
                  <a:pt x="460" y="172"/>
                  <a:pt x="460" y="172"/>
                </a:cubicBezTo>
                <a:cubicBezTo>
                  <a:pt x="460" y="172"/>
                  <a:pt x="460" y="172"/>
                  <a:pt x="460" y="172"/>
                </a:cubicBezTo>
                <a:cubicBezTo>
                  <a:pt x="459" y="173"/>
                  <a:pt x="459" y="173"/>
                  <a:pt x="459" y="174"/>
                </a:cubicBezTo>
                <a:cubicBezTo>
                  <a:pt x="459" y="174"/>
                  <a:pt x="459" y="174"/>
                  <a:pt x="459" y="174"/>
                </a:cubicBezTo>
                <a:cubicBezTo>
                  <a:pt x="460" y="174"/>
                  <a:pt x="460" y="174"/>
                  <a:pt x="460" y="174"/>
                </a:cubicBezTo>
                <a:cubicBezTo>
                  <a:pt x="460" y="174"/>
                  <a:pt x="461" y="174"/>
                  <a:pt x="461" y="174"/>
                </a:cubicBezTo>
                <a:cubicBezTo>
                  <a:pt x="461" y="174"/>
                  <a:pt x="461" y="174"/>
                  <a:pt x="462" y="173"/>
                </a:cubicBezTo>
                <a:cubicBezTo>
                  <a:pt x="462" y="173"/>
                  <a:pt x="462" y="173"/>
                  <a:pt x="462" y="173"/>
                </a:cubicBezTo>
                <a:cubicBezTo>
                  <a:pt x="462" y="173"/>
                  <a:pt x="462" y="172"/>
                  <a:pt x="462" y="172"/>
                </a:cubicBezTo>
                <a:cubicBezTo>
                  <a:pt x="462" y="172"/>
                  <a:pt x="462" y="172"/>
                  <a:pt x="463" y="172"/>
                </a:cubicBezTo>
                <a:cubicBezTo>
                  <a:pt x="463" y="172"/>
                  <a:pt x="463" y="172"/>
                  <a:pt x="463" y="172"/>
                </a:cubicBezTo>
                <a:cubicBezTo>
                  <a:pt x="464" y="172"/>
                  <a:pt x="464" y="172"/>
                  <a:pt x="464" y="172"/>
                </a:cubicBezTo>
                <a:cubicBezTo>
                  <a:pt x="464" y="172"/>
                  <a:pt x="464" y="172"/>
                  <a:pt x="464" y="173"/>
                </a:cubicBezTo>
                <a:cubicBezTo>
                  <a:pt x="464" y="173"/>
                  <a:pt x="463" y="173"/>
                  <a:pt x="463" y="174"/>
                </a:cubicBezTo>
                <a:cubicBezTo>
                  <a:pt x="463" y="174"/>
                  <a:pt x="463" y="174"/>
                  <a:pt x="463" y="175"/>
                </a:cubicBezTo>
                <a:cubicBezTo>
                  <a:pt x="463" y="175"/>
                  <a:pt x="463" y="175"/>
                  <a:pt x="463" y="175"/>
                </a:cubicBezTo>
                <a:cubicBezTo>
                  <a:pt x="463" y="175"/>
                  <a:pt x="463" y="176"/>
                  <a:pt x="463" y="176"/>
                </a:cubicBezTo>
                <a:cubicBezTo>
                  <a:pt x="462" y="176"/>
                  <a:pt x="462" y="176"/>
                  <a:pt x="461" y="176"/>
                </a:cubicBezTo>
                <a:cubicBezTo>
                  <a:pt x="461" y="177"/>
                  <a:pt x="461" y="177"/>
                  <a:pt x="460" y="177"/>
                </a:cubicBezTo>
                <a:cubicBezTo>
                  <a:pt x="460" y="177"/>
                  <a:pt x="460" y="177"/>
                  <a:pt x="460" y="178"/>
                </a:cubicBezTo>
                <a:cubicBezTo>
                  <a:pt x="460" y="178"/>
                  <a:pt x="460" y="178"/>
                  <a:pt x="460" y="178"/>
                </a:cubicBezTo>
                <a:cubicBezTo>
                  <a:pt x="460" y="178"/>
                  <a:pt x="460" y="178"/>
                  <a:pt x="459" y="179"/>
                </a:cubicBezTo>
                <a:cubicBezTo>
                  <a:pt x="459" y="179"/>
                  <a:pt x="458" y="180"/>
                  <a:pt x="457" y="180"/>
                </a:cubicBezTo>
                <a:cubicBezTo>
                  <a:pt x="457" y="180"/>
                  <a:pt x="457" y="181"/>
                  <a:pt x="456" y="181"/>
                </a:cubicBezTo>
                <a:cubicBezTo>
                  <a:pt x="456" y="181"/>
                  <a:pt x="456" y="181"/>
                  <a:pt x="455" y="181"/>
                </a:cubicBezTo>
                <a:cubicBezTo>
                  <a:pt x="455" y="181"/>
                  <a:pt x="455" y="181"/>
                  <a:pt x="455" y="181"/>
                </a:cubicBezTo>
                <a:cubicBezTo>
                  <a:pt x="455" y="181"/>
                  <a:pt x="455" y="181"/>
                  <a:pt x="455" y="181"/>
                </a:cubicBezTo>
                <a:cubicBezTo>
                  <a:pt x="454" y="181"/>
                  <a:pt x="454" y="181"/>
                  <a:pt x="454" y="181"/>
                </a:cubicBezTo>
                <a:cubicBezTo>
                  <a:pt x="454" y="181"/>
                  <a:pt x="454" y="181"/>
                  <a:pt x="454" y="181"/>
                </a:cubicBezTo>
                <a:cubicBezTo>
                  <a:pt x="454" y="182"/>
                  <a:pt x="453" y="182"/>
                  <a:pt x="453" y="182"/>
                </a:cubicBezTo>
                <a:cubicBezTo>
                  <a:pt x="453" y="182"/>
                  <a:pt x="453" y="181"/>
                  <a:pt x="453" y="181"/>
                </a:cubicBezTo>
                <a:cubicBezTo>
                  <a:pt x="453" y="181"/>
                  <a:pt x="453" y="181"/>
                  <a:pt x="453" y="181"/>
                </a:cubicBezTo>
                <a:cubicBezTo>
                  <a:pt x="453" y="181"/>
                  <a:pt x="452" y="182"/>
                  <a:pt x="452" y="182"/>
                </a:cubicBezTo>
                <a:cubicBezTo>
                  <a:pt x="452" y="182"/>
                  <a:pt x="452" y="183"/>
                  <a:pt x="452" y="183"/>
                </a:cubicBezTo>
                <a:cubicBezTo>
                  <a:pt x="452" y="183"/>
                  <a:pt x="451" y="184"/>
                  <a:pt x="451" y="184"/>
                </a:cubicBezTo>
                <a:cubicBezTo>
                  <a:pt x="451" y="184"/>
                  <a:pt x="451" y="184"/>
                  <a:pt x="451" y="185"/>
                </a:cubicBezTo>
                <a:cubicBezTo>
                  <a:pt x="451" y="185"/>
                  <a:pt x="451" y="185"/>
                  <a:pt x="451" y="185"/>
                </a:cubicBezTo>
                <a:cubicBezTo>
                  <a:pt x="452" y="185"/>
                  <a:pt x="452" y="185"/>
                  <a:pt x="452" y="185"/>
                </a:cubicBezTo>
                <a:cubicBezTo>
                  <a:pt x="452" y="186"/>
                  <a:pt x="451" y="186"/>
                  <a:pt x="451" y="187"/>
                </a:cubicBezTo>
                <a:cubicBezTo>
                  <a:pt x="451" y="187"/>
                  <a:pt x="451" y="187"/>
                  <a:pt x="451" y="187"/>
                </a:cubicBezTo>
                <a:cubicBezTo>
                  <a:pt x="452" y="187"/>
                  <a:pt x="452" y="187"/>
                  <a:pt x="452" y="187"/>
                </a:cubicBezTo>
                <a:cubicBezTo>
                  <a:pt x="452" y="188"/>
                  <a:pt x="452" y="188"/>
                  <a:pt x="451" y="188"/>
                </a:cubicBezTo>
                <a:cubicBezTo>
                  <a:pt x="451" y="188"/>
                  <a:pt x="451" y="189"/>
                  <a:pt x="451" y="189"/>
                </a:cubicBezTo>
                <a:cubicBezTo>
                  <a:pt x="451" y="189"/>
                  <a:pt x="451" y="189"/>
                  <a:pt x="451" y="189"/>
                </a:cubicBezTo>
                <a:cubicBezTo>
                  <a:pt x="452" y="189"/>
                  <a:pt x="452" y="188"/>
                  <a:pt x="452" y="188"/>
                </a:cubicBezTo>
                <a:cubicBezTo>
                  <a:pt x="452" y="188"/>
                  <a:pt x="452" y="188"/>
                  <a:pt x="452" y="188"/>
                </a:cubicBezTo>
                <a:cubicBezTo>
                  <a:pt x="453" y="188"/>
                  <a:pt x="453" y="188"/>
                  <a:pt x="454" y="188"/>
                </a:cubicBezTo>
                <a:cubicBezTo>
                  <a:pt x="454" y="187"/>
                  <a:pt x="454" y="187"/>
                  <a:pt x="454" y="187"/>
                </a:cubicBezTo>
                <a:cubicBezTo>
                  <a:pt x="454" y="187"/>
                  <a:pt x="454" y="187"/>
                  <a:pt x="454" y="188"/>
                </a:cubicBezTo>
                <a:cubicBezTo>
                  <a:pt x="453" y="188"/>
                  <a:pt x="453" y="188"/>
                  <a:pt x="453" y="188"/>
                </a:cubicBezTo>
                <a:cubicBezTo>
                  <a:pt x="452" y="188"/>
                  <a:pt x="452" y="189"/>
                  <a:pt x="452" y="189"/>
                </a:cubicBezTo>
                <a:cubicBezTo>
                  <a:pt x="451" y="189"/>
                  <a:pt x="451" y="189"/>
                  <a:pt x="451" y="190"/>
                </a:cubicBezTo>
                <a:cubicBezTo>
                  <a:pt x="451" y="190"/>
                  <a:pt x="451" y="190"/>
                  <a:pt x="451" y="190"/>
                </a:cubicBezTo>
                <a:cubicBezTo>
                  <a:pt x="450" y="191"/>
                  <a:pt x="450" y="191"/>
                  <a:pt x="450" y="191"/>
                </a:cubicBezTo>
                <a:cubicBezTo>
                  <a:pt x="450" y="191"/>
                  <a:pt x="449" y="191"/>
                  <a:pt x="449" y="191"/>
                </a:cubicBezTo>
                <a:cubicBezTo>
                  <a:pt x="448" y="191"/>
                  <a:pt x="448" y="191"/>
                  <a:pt x="448" y="191"/>
                </a:cubicBezTo>
                <a:cubicBezTo>
                  <a:pt x="447" y="191"/>
                  <a:pt x="447" y="191"/>
                  <a:pt x="447" y="191"/>
                </a:cubicBezTo>
                <a:cubicBezTo>
                  <a:pt x="447" y="191"/>
                  <a:pt x="446" y="191"/>
                  <a:pt x="446" y="191"/>
                </a:cubicBezTo>
                <a:cubicBezTo>
                  <a:pt x="446" y="192"/>
                  <a:pt x="447" y="192"/>
                  <a:pt x="447" y="192"/>
                </a:cubicBezTo>
                <a:cubicBezTo>
                  <a:pt x="447" y="193"/>
                  <a:pt x="446" y="194"/>
                  <a:pt x="446" y="194"/>
                </a:cubicBezTo>
                <a:cubicBezTo>
                  <a:pt x="446" y="194"/>
                  <a:pt x="446" y="193"/>
                  <a:pt x="446" y="193"/>
                </a:cubicBezTo>
                <a:cubicBezTo>
                  <a:pt x="446" y="192"/>
                  <a:pt x="446" y="192"/>
                  <a:pt x="446" y="192"/>
                </a:cubicBezTo>
                <a:cubicBezTo>
                  <a:pt x="445" y="192"/>
                  <a:pt x="445" y="191"/>
                  <a:pt x="445" y="191"/>
                </a:cubicBezTo>
                <a:cubicBezTo>
                  <a:pt x="445" y="191"/>
                  <a:pt x="445" y="190"/>
                  <a:pt x="445" y="190"/>
                </a:cubicBezTo>
                <a:cubicBezTo>
                  <a:pt x="445" y="190"/>
                  <a:pt x="445" y="190"/>
                  <a:pt x="445" y="190"/>
                </a:cubicBezTo>
                <a:cubicBezTo>
                  <a:pt x="445" y="190"/>
                  <a:pt x="446" y="191"/>
                  <a:pt x="446" y="191"/>
                </a:cubicBezTo>
                <a:cubicBezTo>
                  <a:pt x="446" y="191"/>
                  <a:pt x="447" y="190"/>
                  <a:pt x="447" y="190"/>
                </a:cubicBezTo>
                <a:cubicBezTo>
                  <a:pt x="447" y="190"/>
                  <a:pt x="448" y="190"/>
                  <a:pt x="448" y="191"/>
                </a:cubicBezTo>
                <a:cubicBezTo>
                  <a:pt x="448" y="191"/>
                  <a:pt x="449" y="191"/>
                  <a:pt x="449" y="191"/>
                </a:cubicBezTo>
                <a:cubicBezTo>
                  <a:pt x="449" y="190"/>
                  <a:pt x="450" y="190"/>
                  <a:pt x="450" y="190"/>
                </a:cubicBezTo>
                <a:cubicBezTo>
                  <a:pt x="450" y="190"/>
                  <a:pt x="450" y="190"/>
                  <a:pt x="450" y="189"/>
                </a:cubicBezTo>
                <a:cubicBezTo>
                  <a:pt x="450" y="189"/>
                  <a:pt x="450" y="189"/>
                  <a:pt x="450" y="188"/>
                </a:cubicBezTo>
                <a:cubicBezTo>
                  <a:pt x="450" y="188"/>
                  <a:pt x="450" y="189"/>
                  <a:pt x="449" y="189"/>
                </a:cubicBezTo>
                <a:cubicBezTo>
                  <a:pt x="449" y="189"/>
                  <a:pt x="449" y="189"/>
                  <a:pt x="448" y="189"/>
                </a:cubicBezTo>
                <a:cubicBezTo>
                  <a:pt x="449" y="189"/>
                  <a:pt x="449" y="188"/>
                  <a:pt x="449" y="188"/>
                </a:cubicBezTo>
                <a:cubicBezTo>
                  <a:pt x="449" y="188"/>
                  <a:pt x="450" y="188"/>
                  <a:pt x="450" y="187"/>
                </a:cubicBezTo>
                <a:cubicBezTo>
                  <a:pt x="449" y="187"/>
                  <a:pt x="449" y="187"/>
                  <a:pt x="449" y="187"/>
                </a:cubicBezTo>
                <a:cubicBezTo>
                  <a:pt x="449" y="188"/>
                  <a:pt x="448" y="188"/>
                  <a:pt x="448" y="188"/>
                </a:cubicBezTo>
                <a:cubicBezTo>
                  <a:pt x="448" y="188"/>
                  <a:pt x="447" y="189"/>
                  <a:pt x="447" y="189"/>
                </a:cubicBezTo>
                <a:cubicBezTo>
                  <a:pt x="447" y="189"/>
                  <a:pt x="447" y="189"/>
                  <a:pt x="447" y="188"/>
                </a:cubicBezTo>
                <a:cubicBezTo>
                  <a:pt x="447" y="188"/>
                  <a:pt x="447" y="188"/>
                  <a:pt x="448" y="188"/>
                </a:cubicBezTo>
                <a:cubicBezTo>
                  <a:pt x="448" y="187"/>
                  <a:pt x="448" y="187"/>
                  <a:pt x="448" y="187"/>
                </a:cubicBezTo>
                <a:cubicBezTo>
                  <a:pt x="447" y="187"/>
                  <a:pt x="447" y="187"/>
                  <a:pt x="447" y="187"/>
                </a:cubicBezTo>
                <a:cubicBezTo>
                  <a:pt x="447" y="187"/>
                  <a:pt x="446" y="187"/>
                  <a:pt x="446" y="188"/>
                </a:cubicBezTo>
                <a:cubicBezTo>
                  <a:pt x="446" y="188"/>
                  <a:pt x="446" y="187"/>
                  <a:pt x="446" y="187"/>
                </a:cubicBezTo>
                <a:cubicBezTo>
                  <a:pt x="446" y="187"/>
                  <a:pt x="446" y="186"/>
                  <a:pt x="446" y="186"/>
                </a:cubicBezTo>
                <a:cubicBezTo>
                  <a:pt x="446" y="186"/>
                  <a:pt x="446" y="185"/>
                  <a:pt x="447" y="185"/>
                </a:cubicBezTo>
                <a:cubicBezTo>
                  <a:pt x="447" y="185"/>
                  <a:pt x="447" y="185"/>
                  <a:pt x="447" y="186"/>
                </a:cubicBezTo>
                <a:cubicBezTo>
                  <a:pt x="447" y="185"/>
                  <a:pt x="447" y="185"/>
                  <a:pt x="447" y="185"/>
                </a:cubicBezTo>
                <a:cubicBezTo>
                  <a:pt x="447" y="185"/>
                  <a:pt x="447" y="185"/>
                  <a:pt x="447" y="185"/>
                </a:cubicBezTo>
                <a:cubicBezTo>
                  <a:pt x="448" y="184"/>
                  <a:pt x="448" y="184"/>
                  <a:pt x="449" y="183"/>
                </a:cubicBezTo>
                <a:cubicBezTo>
                  <a:pt x="449" y="183"/>
                  <a:pt x="449" y="183"/>
                  <a:pt x="449" y="183"/>
                </a:cubicBezTo>
                <a:cubicBezTo>
                  <a:pt x="449" y="182"/>
                  <a:pt x="450" y="182"/>
                  <a:pt x="450" y="182"/>
                </a:cubicBezTo>
                <a:cubicBezTo>
                  <a:pt x="450" y="181"/>
                  <a:pt x="450" y="181"/>
                  <a:pt x="450" y="181"/>
                </a:cubicBezTo>
                <a:cubicBezTo>
                  <a:pt x="450" y="181"/>
                  <a:pt x="450" y="181"/>
                  <a:pt x="451" y="180"/>
                </a:cubicBezTo>
                <a:cubicBezTo>
                  <a:pt x="451" y="180"/>
                  <a:pt x="451" y="180"/>
                  <a:pt x="451" y="180"/>
                </a:cubicBezTo>
                <a:cubicBezTo>
                  <a:pt x="451" y="180"/>
                  <a:pt x="451" y="180"/>
                  <a:pt x="451" y="180"/>
                </a:cubicBezTo>
                <a:cubicBezTo>
                  <a:pt x="451" y="180"/>
                  <a:pt x="451" y="180"/>
                  <a:pt x="450" y="180"/>
                </a:cubicBezTo>
                <a:cubicBezTo>
                  <a:pt x="450" y="180"/>
                  <a:pt x="449" y="180"/>
                  <a:pt x="449" y="180"/>
                </a:cubicBezTo>
                <a:cubicBezTo>
                  <a:pt x="449" y="181"/>
                  <a:pt x="448" y="181"/>
                  <a:pt x="448" y="181"/>
                </a:cubicBezTo>
                <a:cubicBezTo>
                  <a:pt x="448" y="182"/>
                  <a:pt x="448" y="182"/>
                  <a:pt x="447" y="182"/>
                </a:cubicBezTo>
                <a:cubicBezTo>
                  <a:pt x="447" y="182"/>
                  <a:pt x="447" y="182"/>
                  <a:pt x="446" y="182"/>
                </a:cubicBezTo>
                <a:cubicBezTo>
                  <a:pt x="446" y="182"/>
                  <a:pt x="446" y="182"/>
                  <a:pt x="446" y="182"/>
                </a:cubicBezTo>
                <a:cubicBezTo>
                  <a:pt x="447" y="182"/>
                  <a:pt x="447" y="181"/>
                  <a:pt x="448" y="181"/>
                </a:cubicBezTo>
                <a:cubicBezTo>
                  <a:pt x="448" y="181"/>
                  <a:pt x="448" y="181"/>
                  <a:pt x="448" y="181"/>
                </a:cubicBezTo>
                <a:cubicBezTo>
                  <a:pt x="448" y="181"/>
                  <a:pt x="447" y="181"/>
                  <a:pt x="447" y="181"/>
                </a:cubicBezTo>
                <a:cubicBezTo>
                  <a:pt x="447" y="181"/>
                  <a:pt x="446" y="181"/>
                  <a:pt x="446" y="181"/>
                </a:cubicBezTo>
                <a:cubicBezTo>
                  <a:pt x="446" y="181"/>
                  <a:pt x="446" y="181"/>
                  <a:pt x="445" y="181"/>
                </a:cubicBezTo>
                <a:cubicBezTo>
                  <a:pt x="445" y="180"/>
                  <a:pt x="445" y="180"/>
                  <a:pt x="446" y="180"/>
                </a:cubicBezTo>
                <a:cubicBezTo>
                  <a:pt x="446" y="180"/>
                  <a:pt x="446" y="179"/>
                  <a:pt x="445" y="179"/>
                </a:cubicBezTo>
                <a:cubicBezTo>
                  <a:pt x="445" y="179"/>
                  <a:pt x="445" y="179"/>
                  <a:pt x="444" y="179"/>
                </a:cubicBezTo>
                <a:cubicBezTo>
                  <a:pt x="444" y="179"/>
                  <a:pt x="444" y="179"/>
                  <a:pt x="444" y="179"/>
                </a:cubicBezTo>
                <a:cubicBezTo>
                  <a:pt x="444" y="179"/>
                  <a:pt x="444" y="180"/>
                  <a:pt x="444" y="180"/>
                </a:cubicBezTo>
                <a:cubicBezTo>
                  <a:pt x="444" y="180"/>
                  <a:pt x="444" y="179"/>
                  <a:pt x="444" y="179"/>
                </a:cubicBezTo>
                <a:cubicBezTo>
                  <a:pt x="444" y="179"/>
                  <a:pt x="444" y="179"/>
                  <a:pt x="444" y="179"/>
                </a:cubicBezTo>
                <a:cubicBezTo>
                  <a:pt x="444" y="179"/>
                  <a:pt x="443" y="179"/>
                  <a:pt x="443" y="178"/>
                </a:cubicBezTo>
                <a:cubicBezTo>
                  <a:pt x="443" y="178"/>
                  <a:pt x="443" y="179"/>
                  <a:pt x="442" y="179"/>
                </a:cubicBezTo>
                <a:cubicBezTo>
                  <a:pt x="442" y="179"/>
                  <a:pt x="442" y="179"/>
                  <a:pt x="442" y="179"/>
                </a:cubicBezTo>
                <a:cubicBezTo>
                  <a:pt x="442" y="180"/>
                  <a:pt x="441" y="180"/>
                  <a:pt x="441" y="180"/>
                </a:cubicBezTo>
                <a:cubicBezTo>
                  <a:pt x="441" y="180"/>
                  <a:pt x="441" y="180"/>
                  <a:pt x="441" y="181"/>
                </a:cubicBezTo>
                <a:cubicBezTo>
                  <a:pt x="441" y="181"/>
                  <a:pt x="440" y="180"/>
                  <a:pt x="440" y="180"/>
                </a:cubicBezTo>
                <a:cubicBezTo>
                  <a:pt x="440" y="180"/>
                  <a:pt x="440" y="180"/>
                  <a:pt x="440" y="180"/>
                </a:cubicBezTo>
                <a:cubicBezTo>
                  <a:pt x="440" y="180"/>
                  <a:pt x="440" y="180"/>
                  <a:pt x="439" y="180"/>
                </a:cubicBezTo>
                <a:cubicBezTo>
                  <a:pt x="439" y="180"/>
                  <a:pt x="439" y="180"/>
                  <a:pt x="439" y="180"/>
                </a:cubicBezTo>
                <a:cubicBezTo>
                  <a:pt x="439" y="180"/>
                  <a:pt x="439" y="180"/>
                  <a:pt x="438" y="180"/>
                </a:cubicBezTo>
                <a:cubicBezTo>
                  <a:pt x="439" y="180"/>
                  <a:pt x="439" y="181"/>
                  <a:pt x="439" y="181"/>
                </a:cubicBezTo>
                <a:cubicBezTo>
                  <a:pt x="439" y="181"/>
                  <a:pt x="439" y="181"/>
                  <a:pt x="439" y="181"/>
                </a:cubicBezTo>
                <a:cubicBezTo>
                  <a:pt x="439" y="181"/>
                  <a:pt x="439" y="181"/>
                  <a:pt x="439" y="182"/>
                </a:cubicBezTo>
                <a:cubicBezTo>
                  <a:pt x="439" y="182"/>
                  <a:pt x="439" y="182"/>
                  <a:pt x="439" y="182"/>
                </a:cubicBezTo>
                <a:cubicBezTo>
                  <a:pt x="439" y="182"/>
                  <a:pt x="439" y="182"/>
                  <a:pt x="439" y="183"/>
                </a:cubicBezTo>
                <a:cubicBezTo>
                  <a:pt x="439" y="182"/>
                  <a:pt x="439" y="182"/>
                  <a:pt x="438" y="182"/>
                </a:cubicBezTo>
                <a:cubicBezTo>
                  <a:pt x="438" y="182"/>
                  <a:pt x="438" y="182"/>
                  <a:pt x="438" y="182"/>
                </a:cubicBezTo>
                <a:cubicBezTo>
                  <a:pt x="438" y="182"/>
                  <a:pt x="438" y="182"/>
                  <a:pt x="438" y="182"/>
                </a:cubicBezTo>
                <a:cubicBezTo>
                  <a:pt x="438" y="182"/>
                  <a:pt x="438" y="182"/>
                  <a:pt x="438" y="183"/>
                </a:cubicBezTo>
                <a:cubicBezTo>
                  <a:pt x="438" y="183"/>
                  <a:pt x="438" y="183"/>
                  <a:pt x="439" y="184"/>
                </a:cubicBezTo>
                <a:cubicBezTo>
                  <a:pt x="439" y="184"/>
                  <a:pt x="439" y="184"/>
                  <a:pt x="439" y="185"/>
                </a:cubicBezTo>
                <a:cubicBezTo>
                  <a:pt x="440" y="185"/>
                  <a:pt x="440" y="185"/>
                  <a:pt x="441" y="185"/>
                </a:cubicBezTo>
                <a:cubicBezTo>
                  <a:pt x="441" y="185"/>
                  <a:pt x="441" y="185"/>
                  <a:pt x="442" y="185"/>
                </a:cubicBezTo>
                <a:cubicBezTo>
                  <a:pt x="442" y="186"/>
                  <a:pt x="442" y="186"/>
                  <a:pt x="442" y="187"/>
                </a:cubicBezTo>
                <a:cubicBezTo>
                  <a:pt x="442" y="186"/>
                  <a:pt x="442" y="186"/>
                  <a:pt x="441" y="186"/>
                </a:cubicBezTo>
                <a:cubicBezTo>
                  <a:pt x="441" y="186"/>
                  <a:pt x="441" y="186"/>
                  <a:pt x="440" y="186"/>
                </a:cubicBezTo>
                <a:cubicBezTo>
                  <a:pt x="440" y="185"/>
                  <a:pt x="439" y="185"/>
                  <a:pt x="439" y="185"/>
                </a:cubicBezTo>
                <a:cubicBezTo>
                  <a:pt x="438" y="185"/>
                  <a:pt x="438" y="184"/>
                  <a:pt x="438" y="184"/>
                </a:cubicBezTo>
                <a:cubicBezTo>
                  <a:pt x="438" y="184"/>
                  <a:pt x="437" y="183"/>
                  <a:pt x="437" y="183"/>
                </a:cubicBezTo>
                <a:cubicBezTo>
                  <a:pt x="437" y="183"/>
                  <a:pt x="437" y="183"/>
                  <a:pt x="436" y="183"/>
                </a:cubicBezTo>
                <a:cubicBezTo>
                  <a:pt x="436" y="183"/>
                  <a:pt x="436" y="183"/>
                  <a:pt x="436" y="184"/>
                </a:cubicBezTo>
                <a:cubicBezTo>
                  <a:pt x="436" y="184"/>
                  <a:pt x="436" y="184"/>
                  <a:pt x="437" y="184"/>
                </a:cubicBezTo>
                <a:cubicBezTo>
                  <a:pt x="437" y="185"/>
                  <a:pt x="437" y="185"/>
                  <a:pt x="438" y="185"/>
                </a:cubicBezTo>
                <a:cubicBezTo>
                  <a:pt x="438" y="185"/>
                  <a:pt x="438" y="185"/>
                  <a:pt x="438" y="186"/>
                </a:cubicBezTo>
                <a:cubicBezTo>
                  <a:pt x="438" y="186"/>
                  <a:pt x="438" y="186"/>
                  <a:pt x="438" y="186"/>
                </a:cubicBezTo>
                <a:cubicBezTo>
                  <a:pt x="437" y="186"/>
                  <a:pt x="437" y="186"/>
                  <a:pt x="437" y="186"/>
                </a:cubicBezTo>
                <a:cubicBezTo>
                  <a:pt x="436" y="186"/>
                  <a:pt x="435" y="186"/>
                  <a:pt x="435" y="186"/>
                </a:cubicBezTo>
                <a:cubicBezTo>
                  <a:pt x="435" y="186"/>
                  <a:pt x="434" y="187"/>
                  <a:pt x="434" y="187"/>
                </a:cubicBezTo>
                <a:cubicBezTo>
                  <a:pt x="434" y="187"/>
                  <a:pt x="434" y="187"/>
                  <a:pt x="433" y="186"/>
                </a:cubicBezTo>
                <a:cubicBezTo>
                  <a:pt x="433" y="186"/>
                  <a:pt x="433" y="186"/>
                  <a:pt x="432" y="187"/>
                </a:cubicBezTo>
                <a:cubicBezTo>
                  <a:pt x="432" y="186"/>
                  <a:pt x="431" y="186"/>
                  <a:pt x="430" y="186"/>
                </a:cubicBezTo>
                <a:cubicBezTo>
                  <a:pt x="429" y="186"/>
                  <a:pt x="429" y="187"/>
                  <a:pt x="428" y="187"/>
                </a:cubicBezTo>
                <a:cubicBezTo>
                  <a:pt x="428" y="187"/>
                  <a:pt x="428" y="187"/>
                  <a:pt x="428" y="186"/>
                </a:cubicBezTo>
                <a:cubicBezTo>
                  <a:pt x="427" y="186"/>
                  <a:pt x="427" y="187"/>
                  <a:pt x="427" y="187"/>
                </a:cubicBezTo>
                <a:cubicBezTo>
                  <a:pt x="427" y="187"/>
                  <a:pt x="426" y="187"/>
                  <a:pt x="426" y="187"/>
                </a:cubicBezTo>
                <a:cubicBezTo>
                  <a:pt x="426" y="188"/>
                  <a:pt x="426" y="188"/>
                  <a:pt x="425" y="188"/>
                </a:cubicBezTo>
                <a:cubicBezTo>
                  <a:pt x="425" y="188"/>
                  <a:pt x="424" y="188"/>
                  <a:pt x="423" y="189"/>
                </a:cubicBezTo>
                <a:cubicBezTo>
                  <a:pt x="423" y="189"/>
                  <a:pt x="423" y="189"/>
                  <a:pt x="422" y="189"/>
                </a:cubicBezTo>
                <a:cubicBezTo>
                  <a:pt x="422" y="189"/>
                  <a:pt x="421" y="189"/>
                  <a:pt x="421" y="189"/>
                </a:cubicBezTo>
                <a:cubicBezTo>
                  <a:pt x="421" y="189"/>
                  <a:pt x="421" y="189"/>
                  <a:pt x="421" y="189"/>
                </a:cubicBezTo>
                <a:cubicBezTo>
                  <a:pt x="421" y="189"/>
                  <a:pt x="420" y="189"/>
                  <a:pt x="420" y="189"/>
                </a:cubicBezTo>
                <a:cubicBezTo>
                  <a:pt x="420" y="189"/>
                  <a:pt x="420" y="188"/>
                  <a:pt x="420" y="188"/>
                </a:cubicBezTo>
                <a:cubicBezTo>
                  <a:pt x="419" y="189"/>
                  <a:pt x="419" y="189"/>
                  <a:pt x="419" y="189"/>
                </a:cubicBezTo>
                <a:cubicBezTo>
                  <a:pt x="419" y="189"/>
                  <a:pt x="419" y="189"/>
                  <a:pt x="419" y="189"/>
                </a:cubicBezTo>
                <a:cubicBezTo>
                  <a:pt x="418" y="189"/>
                  <a:pt x="417" y="188"/>
                  <a:pt x="417" y="188"/>
                </a:cubicBezTo>
                <a:cubicBezTo>
                  <a:pt x="417" y="188"/>
                  <a:pt x="417" y="188"/>
                  <a:pt x="416" y="188"/>
                </a:cubicBezTo>
                <a:cubicBezTo>
                  <a:pt x="416" y="188"/>
                  <a:pt x="416" y="188"/>
                  <a:pt x="416" y="188"/>
                </a:cubicBezTo>
                <a:cubicBezTo>
                  <a:pt x="416" y="188"/>
                  <a:pt x="416" y="188"/>
                  <a:pt x="416" y="188"/>
                </a:cubicBezTo>
                <a:cubicBezTo>
                  <a:pt x="416" y="187"/>
                  <a:pt x="416" y="187"/>
                  <a:pt x="416" y="187"/>
                </a:cubicBezTo>
                <a:cubicBezTo>
                  <a:pt x="416" y="187"/>
                  <a:pt x="415" y="187"/>
                  <a:pt x="415" y="187"/>
                </a:cubicBezTo>
                <a:cubicBezTo>
                  <a:pt x="415" y="187"/>
                  <a:pt x="415" y="187"/>
                  <a:pt x="415" y="187"/>
                </a:cubicBezTo>
                <a:cubicBezTo>
                  <a:pt x="415" y="187"/>
                  <a:pt x="414" y="187"/>
                  <a:pt x="414" y="187"/>
                </a:cubicBezTo>
                <a:cubicBezTo>
                  <a:pt x="414" y="187"/>
                  <a:pt x="414" y="187"/>
                  <a:pt x="414" y="186"/>
                </a:cubicBezTo>
                <a:cubicBezTo>
                  <a:pt x="414" y="186"/>
                  <a:pt x="414" y="186"/>
                  <a:pt x="414" y="186"/>
                </a:cubicBezTo>
                <a:cubicBezTo>
                  <a:pt x="414" y="187"/>
                  <a:pt x="413" y="187"/>
                  <a:pt x="413" y="187"/>
                </a:cubicBezTo>
                <a:cubicBezTo>
                  <a:pt x="413" y="187"/>
                  <a:pt x="412" y="187"/>
                  <a:pt x="412" y="187"/>
                </a:cubicBezTo>
                <a:cubicBezTo>
                  <a:pt x="411" y="187"/>
                  <a:pt x="411" y="187"/>
                  <a:pt x="411" y="187"/>
                </a:cubicBezTo>
                <a:cubicBezTo>
                  <a:pt x="411" y="187"/>
                  <a:pt x="411" y="187"/>
                  <a:pt x="410" y="187"/>
                </a:cubicBezTo>
                <a:cubicBezTo>
                  <a:pt x="410" y="187"/>
                  <a:pt x="410" y="187"/>
                  <a:pt x="410" y="187"/>
                </a:cubicBezTo>
                <a:cubicBezTo>
                  <a:pt x="410" y="187"/>
                  <a:pt x="409" y="187"/>
                  <a:pt x="409" y="187"/>
                </a:cubicBezTo>
                <a:cubicBezTo>
                  <a:pt x="409" y="187"/>
                  <a:pt x="408" y="187"/>
                  <a:pt x="408" y="187"/>
                </a:cubicBezTo>
                <a:cubicBezTo>
                  <a:pt x="408" y="187"/>
                  <a:pt x="408" y="187"/>
                  <a:pt x="408" y="187"/>
                </a:cubicBezTo>
                <a:cubicBezTo>
                  <a:pt x="408" y="187"/>
                  <a:pt x="408" y="186"/>
                  <a:pt x="408" y="186"/>
                </a:cubicBezTo>
                <a:cubicBezTo>
                  <a:pt x="408" y="186"/>
                  <a:pt x="409" y="186"/>
                  <a:pt x="409" y="186"/>
                </a:cubicBezTo>
                <a:cubicBezTo>
                  <a:pt x="409" y="185"/>
                  <a:pt x="409" y="185"/>
                  <a:pt x="409" y="185"/>
                </a:cubicBezTo>
                <a:cubicBezTo>
                  <a:pt x="409" y="185"/>
                  <a:pt x="408" y="185"/>
                  <a:pt x="408" y="185"/>
                </a:cubicBezTo>
                <a:cubicBezTo>
                  <a:pt x="408" y="185"/>
                  <a:pt x="407" y="185"/>
                  <a:pt x="407" y="185"/>
                </a:cubicBezTo>
                <a:cubicBezTo>
                  <a:pt x="407" y="185"/>
                  <a:pt x="407" y="185"/>
                  <a:pt x="406" y="184"/>
                </a:cubicBezTo>
                <a:cubicBezTo>
                  <a:pt x="406" y="184"/>
                  <a:pt x="406" y="184"/>
                  <a:pt x="406" y="184"/>
                </a:cubicBezTo>
                <a:cubicBezTo>
                  <a:pt x="406" y="184"/>
                  <a:pt x="406" y="184"/>
                  <a:pt x="406" y="184"/>
                </a:cubicBezTo>
                <a:cubicBezTo>
                  <a:pt x="406" y="184"/>
                  <a:pt x="406" y="183"/>
                  <a:pt x="407" y="183"/>
                </a:cubicBezTo>
                <a:cubicBezTo>
                  <a:pt x="407" y="183"/>
                  <a:pt x="407" y="183"/>
                  <a:pt x="407" y="183"/>
                </a:cubicBezTo>
                <a:cubicBezTo>
                  <a:pt x="406" y="183"/>
                  <a:pt x="406" y="183"/>
                  <a:pt x="406" y="183"/>
                </a:cubicBezTo>
                <a:cubicBezTo>
                  <a:pt x="406" y="183"/>
                  <a:pt x="406" y="182"/>
                  <a:pt x="406" y="182"/>
                </a:cubicBezTo>
                <a:cubicBezTo>
                  <a:pt x="406" y="182"/>
                  <a:pt x="406" y="181"/>
                  <a:pt x="406" y="181"/>
                </a:cubicBezTo>
                <a:cubicBezTo>
                  <a:pt x="406" y="181"/>
                  <a:pt x="406" y="180"/>
                  <a:pt x="405" y="180"/>
                </a:cubicBezTo>
                <a:cubicBezTo>
                  <a:pt x="405" y="180"/>
                  <a:pt x="405" y="180"/>
                  <a:pt x="405" y="180"/>
                </a:cubicBezTo>
                <a:cubicBezTo>
                  <a:pt x="405" y="180"/>
                  <a:pt x="404" y="180"/>
                  <a:pt x="404" y="180"/>
                </a:cubicBezTo>
                <a:cubicBezTo>
                  <a:pt x="404" y="180"/>
                  <a:pt x="404" y="180"/>
                  <a:pt x="403" y="180"/>
                </a:cubicBezTo>
                <a:cubicBezTo>
                  <a:pt x="403" y="180"/>
                  <a:pt x="403" y="180"/>
                  <a:pt x="402" y="181"/>
                </a:cubicBezTo>
                <a:cubicBezTo>
                  <a:pt x="402" y="181"/>
                  <a:pt x="402" y="181"/>
                  <a:pt x="401" y="181"/>
                </a:cubicBezTo>
                <a:cubicBezTo>
                  <a:pt x="400" y="181"/>
                  <a:pt x="399" y="182"/>
                  <a:pt x="398" y="182"/>
                </a:cubicBezTo>
                <a:cubicBezTo>
                  <a:pt x="397" y="183"/>
                  <a:pt x="396" y="183"/>
                  <a:pt x="394" y="183"/>
                </a:cubicBezTo>
                <a:cubicBezTo>
                  <a:pt x="394" y="183"/>
                  <a:pt x="393" y="184"/>
                  <a:pt x="393" y="184"/>
                </a:cubicBezTo>
                <a:cubicBezTo>
                  <a:pt x="393" y="184"/>
                  <a:pt x="392" y="184"/>
                  <a:pt x="392" y="184"/>
                </a:cubicBezTo>
                <a:cubicBezTo>
                  <a:pt x="392" y="184"/>
                  <a:pt x="391" y="185"/>
                  <a:pt x="391" y="186"/>
                </a:cubicBezTo>
                <a:cubicBezTo>
                  <a:pt x="391" y="186"/>
                  <a:pt x="390" y="186"/>
                  <a:pt x="390" y="186"/>
                </a:cubicBezTo>
                <a:cubicBezTo>
                  <a:pt x="390" y="186"/>
                  <a:pt x="390" y="187"/>
                  <a:pt x="390" y="187"/>
                </a:cubicBezTo>
                <a:cubicBezTo>
                  <a:pt x="390" y="187"/>
                  <a:pt x="390" y="187"/>
                  <a:pt x="391" y="187"/>
                </a:cubicBezTo>
                <a:cubicBezTo>
                  <a:pt x="391" y="187"/>
                  <a:pt x="391" y="187"/>
                  <a:pt x="391" y="187"/>
                </a:cubicBezTo>
                <a:cubicBezTo>
                  <a:pt x="391" y="186"/>
                  <a:pt x="392" y="186"/>
                  <a:pt x="392" y="186"/>
                </a:cubicBezTo>
                <a:cubicBezTo>
                  <a:pt x="392" y="187"/>
                  <a:pt x="392" y="187"/>
                  <a:pt x="392" y="187"/>
                </a:cubicBezTo>
                <a:cubicBezTo>
                  <a:pt x="391" y="187"/>
                  <a:pt x="391" y="188"/>
                  <a:pt x="391" y="188"/>
                </a:cubicBezTo>
                <a:cubicBezTo>
                  <a:pt x="391" y="188"/>
                  <a:pt x="391" y="188"/>
                  <a:pt x="391" y="188"/>
                </a:cubicBezTo>
                <a:cubicBezTo>
                  <a:pt x="392" y="188"/>
                  <a:pt x="392" y="188"/>
                  <a:pt x="393" y="188"/>
                </a:cubicBezTo>
                <a:cubicBezTo>
                  <a:pt x="393" y="188"/>
                  <a:pt x="393" y="188"/>
                  <a:pt x="393" y="188"/>
                </a:cubicBezTo>
                <a:cubicBezTo>
                  <a:pt x="394" y="188"/>
                  <a:pt x="394" y="188"/>
                  <a:pt x="394" y="187"/>
                </a:cubicBezTo>
                <a:cubicBezTo>
                  <a:pt x="394" y="187"/>
                  <a:pt x="394" y="187"/>
                  <a:pt x="394" y="187"/>
                </a:cubicBezTo>
                <a:cubicBezTo>
                  <a:pt x="394" y="187"/>
                  <a:pt x="394" y="187"/>
                  <a:pt x="393" y="187"/>
                </a:cubicBezTo>
                <a:cubicBezTo>
                  <a:pt x="393" y="187"/>
                  <a:pt x="393" y="186"/>
                  <a:pt x="393" y="186"/>
                </a:cubicBezTo>
                <a:cubicBezTo>
                  <a:pt x="394" y="186"/>
                  <a:pt x="394" y="186"/>
                  <a:pt x="394" y="186"/>
                </a:cubicBezTo>
                <a:cubicBezTo>
                  <a:pt x="394" y="186"/>
                  <a:pt x="394" y="186"/>
                  <a:pt x="394" y="186"/>
                </a:cubicBezTo>
                <a:cubicBezTo>
                  <a:pt x="395" y="186"/>
                  <a:pt x="395" y="186"/>
                  <a:pt x="395" y="186"/>
                </a:cubicBezTo>
                <a:cubicBezTo>
                  <a:pt x="396" y="186"/>
                  <a:pt x="396" y="186"/>
                  <a:pt x="396" y="186"/>
                </a:cubicBezTo>
                <a:cubicBezTo>
                  <a:pt x="397" y="186"/>
                  <a:pt x="397" y="186"/>
                  <a:pt x="397" y="186"/>
                </a:cubicBezTo>
                <a:cubicBezTo>
                  <a:pt x="397" y="185"/>
                  <a:pt x="397" y="185"/>
                  <a:pt x="397" y="185"/>
                </a:cubicBezTo>
                <a:cubicBezTo>
                  <a:pt x="397" y="185"/>
                  <a:pt x="398" y="185"/>
                  <a:pt x="398" y="184"/>
                </a:cubicBezTo>
                <a:cubicBezTo>
                  <a:pt x="398" y="185"/>
                  <a:pt x="398" y="185"/>
                  <a:pt x="398" y="185"/>
                </a:cubicBezTo>
                <a:cubicBezTo>
                  <a:pt x="398" y="185"/>
                  <a:pt x="399" y="185"/>
                  <a:pt x="399" y="186"/>
                </a:cubicBezTo>
                <a:cubicBezTo>
                  <a:pt x="399" y="185"/>
                  <a:pt x="399" y="185"/>
                  <a:pt x="399" y="185"/>
                </a:cubicBezTo>
                <a:cubicBezTo>
                  <a:pt x="399" y="185"/>
                  <a:pt x="399" y="185"/>
                  <a:pt x="399" y="185"/>
                </a:cubicBezTo>
                <a:cubicBezTo>
                  <a:pt x="399" y="185"/>
                  <a:pt x="400" y="184"/>
                  <a:pt x="400" y="184"/>
                </a:cubicBezTo>
                <a:cubicBezTo>
                  <a:pt x="400" y="184"/>
                  <a:pt x="400" y="184"/>
                  <a:pt x="400" y="184"/>
                </a:cubicBezTo>
                <a:cubicBezTo>
                  <a:pt x="400" y="184"/>
                  <a:pt x="401" y="184"/>
                  <a:pt x="401" y="184"/>
                </a:cubicBezTo>
                <a:cubicBezTo>
                  <a:pt x="402" y="183"/>
                  <a:pt x="402" y="183"/>
                  <a:pt x="403" y="182"/>
                </a:cubicBezTo>
                <a:cubicBezTo>
                  <a:pt x="403" y="182"/>
                  <a:pt x="404" y="182"/>
                  <a:pt x="404" y="182"/>
                </a:cubicBezTo>
                <a:cubicBezTo>
                  <a:pt x="404" y="182"/>
                  <a:pt x="404" y="182"/>
                  <a:pt x="404" y="182"/>
                </a:cubicBezTo>
                <a:cubicBezTo>
                  <a:pt x="404" y="182"/>
                  <a:pt x="405" y="182"/>
                  <a:pt x="405" y="182"/>
                </a:cubicBezTo>
                <a:cubicBezTo>
                  <a:pt x="405" y="182"/>
                  <a:pt x="405" y="183"/>
                  <a:pt x="405" y="183"/>
                </a:cubicBezTo>
                <a:cubicBezTo>
                  <a:pt x="405" y="183"/>
                  <a:pt x="405" y="183"/>
                  <a:pt x="405" y="183"/>
                </a:cubicBezTo>
                <a:cubicBezTo>
                  <a:pt x="405" y="184"/>
                  <a:pt x="404" y="184"/>
                  <a:pt x="404" y="184"/>
                </a:cubicBezTo>
                <a:cubicBezTo>
                  <a:pt x="404" y="184"/>
                  <a:pt x="404" y="184"/>
                  <a:pt x="403" y="184"/>
                </a:cubicBezTo>
                <a:cubicBezTo>
                  <a:pt x="403" y="184"/>
                  <a:pt x="403" y="185"/>
                  <a:pt x="403" y="185"/>
                </a:cubicBezTo>
                <a:cubicBezTo>
                  <a:pt x="402" y="185"/>
                  <a:pt x="402" y="185"/>
                  <a:pt x="402" y="185"/>
                </a:cubicBezTo>
                <a:cubicBezTo>
                  <a:pt x="402" y="185"/>
                  <a:pt x="401" y="185"/>
                  <a:pt x="401" y="185"/>
                </a:cubicBezTo>
                <a:cubicBezTo>
                  <a:pt x="401" y="185"/>
                  <a:pt x="401" y="185"/>
                  <a:pt x="400" y="185"/>
                </a:cubicBezTo>
                <a:cubicBezTo>
                  <a:pt x="400" y="186"/>
                  <a:pt x="400" y="186"/>
                  <a:pt x="400" y="186"/>
                </a:cubicBezTo>
                <a:cubicBezTo>
                  <a:pt x="400" y="187"/>
                  <a:pt x="400" y="187"/>
                  <a:pt x="400" y="187"/>
                </a:cubicBezTo>
                <a:cubicBezTo>
                  <a:pt x="400" y="187"/>
                  <a:pt x="401" y="188"/>
                  <a:pt x="401" y="188"/>
                </a:cubicBezTo>
                <a:cubicBezTo>
                  <a:pt x="401" y="188"/>
                  <a:pt x="400" y="187"/>
                  <a:pt x="400" y="187"/>
                </a:cubicBezTo>
                <a:cubicBezTo>
                  <a:pt x="400" y="187"/>
                  <a:pt x="400" y="187"/>
                  <a:pt x="400" y="187"/>
                </a:cubicBezTo>
                <a:cubicBezTo>
                  <a:pt x="399" y="187"/>
                  <a:pt x="399" y="187"/>
                  <a:pt x="399" y="187"/>
                </a:cubicBezTo>
                <a:cubicBezTo>
                  <a:pt x="399" y="187"/>
                  <a:pt x="399" y="187"/>
                  <a:pt x="398" y="187"/>
                </a:cubicBezTo>
                <a:cubicBezTo>
                  <a:pt x="398" y="187"/>
                  <a:pt x="398" y="188"/>
                  <a:pt x="398" y="188"/>
                </a:cubicBezTo>
                <a:cubicBezTo>
                  <a:pt x="398" y="188"/>
                  <a:pt x="397" y="188"/>
                  <a:pt x="397" y="188"/>
                </a:cubicBezTo>
                <a:cubicBezTo>
                  <a:pt x="397" y="188"/>
                  <a:pt x="396" y="189"/>
                  <a:pt x="396" y="189"/>
                </a:cubicBezTo>
                <a:cubicBezTo>
                  <a:pt x="396" y="189"/>
                  <a:pt x="396" y="188"/>
                  <a:pt x="396" y="188"/>
                </a:cubicBezTo>
                <a:cubicBezTo>
                  <a:pt x="396" y="188"/>
                  <a:pt x="396" y="188"/>
                  <a:pt x="396" y="188"/>
                </a:cubicBezTo>
                <a:cubicBezTo>
                  <a:pt x="395" y="189"/>
                  <a:pt x="395" y="189"/>
                  <a:pt x="395" y="189"/>
                </a:cubicBezTo>
                <a:cubicBezTo>
                  <a:pt x="395" y="189"/>
                  <a:pt x="395" y="189"/>
                  <a:pt x="394" y="190"/>
                </a:cubicBezTo>
                <a:cubicBezTo>
                  <a:pt x="394" y="190"/>
                  <a:pt x="394" y="189"/>
                  <a:pt x="394" y="189"/>
                </a:cubicBezTo>
                <a:cubicBezTo>
                  <a:pt x="393" y="189"/>
                  <a:pt x="393" y="190"/>
                  <a:pt x="393" y="190"/>
                </a:cubicBezTo>
                <a:cubicBezTo>
                  <a:pt x="393" y="190"/>
                  <a:pt x="393" y="190"/>
                  <a:pt x="393" y="190"/>
                </a:cubicBezTo>
                <a:cubicBezTo>
                  <a:pt x="393" y="190"/>
                  <a:pt x="393" y="190"/>
                  <a:pt x="393" y="191"/>
                </a:cubicBezTo>
                <a:cubicBezTo>
                  <a:pt x="392" y="191"/>
                  <a:pt x="392" y="191"/>
                  <a:pt x="391" y="191"/>
                </a:cubicBezTo>
                <a:cubicBezTo>
                  <a:pt x="391" y="191"/>
                  <a:pt x="391" y="191"/>
                  <a:pt x="390" y="192"/>
                </a:cubicBezTo>
                <a:cubicBezTo>
                  <a:pt x="390" y="192"/>
                  <a:pt x="390" y="192"/>
                  <a:pt x="391" y="192"/>
                </a:cubicBezTo>
                <a:cubicBezTo>
                  <a:pt x="391" y="192"/>
                  <a:pt x="391" y="193"/>
                  <a:pt x="391" y="193"/>
                </a:cubicBezTo>
                <a:cubicBezTo>
                  <a:pt x="391" y="193"/>
                  <a:pt x="391" y="194"/>
                  <a:pt x="391" y="195"/>
                </a:cubicBezTo>
                <a:cubicBezTo>
                  <a:pt x="391" y="195"/>
                  <a:pt x="390" y="196"/>
                  <a:pt x="390" y="196"/>
                </a:cubicBezTo>
                <a:cubicBezTo>
                  <a:pt x="390" y="196"/>
                  <a:pt x="390" y="197"/>
                  <a:pt x="390" y="197"/>
                </a:cubicBezTo>
                <a:cubicBezTo>
                  <a:pt x="391" y="197"/>
                  <a:pt x="391" y="197"/>
                  <a:pt x="392" y="197"/>
                </a:cubicBezTo>
                <a:cubicBezTo>
                  <a:pt x="392" y="197"/>
                  <a:pt x="392" y="197"/>
                  <a:pt x="392" y="197"/>
                </a:cubicBezTo>
                <a:cubicBezTo>
                  <a:pt x="391" y="198"/>
                  <a:pt x="391" y="198"/>
                  <a:pt x="390" y="198"/>
                </a:cubicBezTo>
                <a:cubicBezTo>
                  <a:pt x="391" y="198"/>
                  <a:pt x="391" y="198"/>
                  <a:pt x="391" y="198"/>
                </a:cubicBezTo>
                <a:cubicBezTo>
                  <a:pt x="391" y="198"/>
                  <a:pt x="391" y="199"/>
                  <a:pt x="392" y="199"/>
                </a:cubicBezTo>
                <a:cubicBezTo>
                  <a:pt x="392" y="199"/>
                  <a:pt x="392" y="199"/>
                  <a:pt x="392" y="199"/>
                </a:cubicBezTo>
                <a:cubicBezTo>
                  <a:pt x="392" y="200"/>
                  <a:pt x="391" y="200"/>
                  <a:pt x="391" y="200"/>
                </a:cubicBezTo>
                <a:cubicBezTo>
                  <a:pt x="391" y="200"/>
                  <a:pt x="391" y="200"/>
                  <a:pt x="391" y="200"/>
                </a:cubicBezTo>
                <a:cubicBezTo>
                  <a:pt x="391" y="200"/>
                  <a:pt x="391" y="200"/>
                  <a:pt x="390" y="200"/>
                </a:cubicBezTo>
                <a:cubicBezTo>
                  <a:pt x="390" y="200"/>
                  <a:pt x="390" y="200"/>
                  <a:pt x="390" y="200"/>
                </a:cubicBezTo>
                <a:cubicBezTo>
                  <a:pt x="390" y="200"/>
                  <a:pt x="390" y="200"/>
                  <a:pt x="390" y="200"/>
                </a:cubicBezTo>
                <a:cubicBezTo>
                  <a:pt x="390" y="200"/>
                  <a:pt x="390" y="199"/>
                  <a:pt x="390" y="199"/>
                </a:cubicBezTo>
                <a:cubicBezTo>
                  <a:pt x="390" y="199"/>
                  <a:pt x="390" y="199"/>
                  <a:pt x="390" y="199"/>
                </a:cubicBezTo>
                <a:cubicBezTo>
                  <a:pt x="390" y="199"/>
                  <a:pt x="390" y="199"/>
                  <a:pt x="389" y="199"/>
                </a:cubicBezTo>
                <a:cubicBezTo>
                  <a:pt x="389" y="200"/>
                  <a:pt x="389" y="200"/>
                  <a:pt x="388" y="201"/>
                </a:cubicBezTo>
                <a:cubicBezTo>
                  <a:pt x="388" y="201"/>
                  <a:pt x="388" y="202"/>
                  <a:pt x="389" y="202"/>
                </a:cubicBezTo>
                <a:cubicBezTo>
                  <a:pt x="389" y="203"/>
                  <a:pt x="389" y="203"/>
                  <a:pt x="390" y="204"/>
                </a:cubicBezTo>
                <a:cubicBezTo>
                  <a:pt x="390" y="205"/>
                  <a:pt x="390" y="205"/>
                  <a:pt x="390" y="206"/>
                </a:cubicBezTo>
                <a:cubicBezTo>
                  <a:pt x="390" y="206"/>
                  <a:pt x="390" y="205"/>
                  <a:pt x="389" y="204"/>
                </a:cubicBezTo>
                <a:cubicBezTo>
                  <a:pt x="389" y="204"/>
                  <a:pt x="389" y="204"/>
                  <a:pt x="388" y="203"/>
                </a:cubicBezTo>
                <a:cubicBezTo>
                  <a:pt x="388" y="203"/>
                  <a:pt x="388" y="203"/>
                  <a:pt x="388" y="203"/>
                </a:cubicBezTo>
                <a:cubicBezTo>
                  <a:pt x="388" y="203"/>
                  <a:pt x="388" y="203"/>
                  <a:pt x="388" y="202"/>
                </a:cubicBezTo>
                <a:cubicBezTo>
                  <a:pt x="388" y="202"/>
                  <a:pt x="388" y="202"/>
                  <a:pt x="388" y="202"/>
                </a:cubicBezTo>
                <a:cubicBezTo>
                  <a:pt x="388" y="202"/>
                  <a:pt x="387" y="202"/>
                  <a:pt x="387" y="202"/>
                </a:cubicBezTo>
                <a:cubicBezTo>
                  <a:pt x="387" y="201"/>
                  <a:pt x="387" y="201"/>
                  <a:pt x="387" y="201"/>
                </a:cubicBezTo>
                <a:cubicBezTo>
                  <a:pt x="387" y="200"/>
                  <a:pt x="387" y="200"/>
                  <a:pt x="386" y="199"/>
                </a:cubicBezTo>
                <a:cubicBezTo>
                  <a:pt x="386" y="199"/>
                  <a:pt x="386" y="199"/>
                  <a:pt x="385" y="199"/>
                </a:cubicBezTo>
                <a:cubicBezTo>
                  <a:pt x="385" y="198"/>
                  <a:pt x="385" y="198"/>
                  <a:pt x="385" y="198"/>
                </a:cubicBezTo>
                <a:cubicBezTo>
                  <a:pt x="385" y="197"/>
                  <a:pt x="385" y="197"/>
                  <a:pt x="386" y="197"/>
                </a:cubicBezTo>
                <a:cubicBezTo>
                  <a:pt x="386" y="196"/>
                  <a:pt x="386" y="196"/>
                  <a:pt x="386" y="195"/>
                </a:cubicBezTo>
                <a:cubicBezTo>
                  <a:pt x="386" y="195"/>
                  <a:pt x="386" y="195"/>
                  <a:pt x="386" y="194"/>
                </a:cubicBezTo>
                <a:cubicBezTo>
                  <a:pt x="386" y="194"/>
                  <a:pt x="386" y="194"/>
                  <a:pt x="386" y="194"/>
                </a:cubicBezTo>
                <a:cubicBezTo>
                  <a:pt x="385" y="195"/>
                  <a:pt x="385" y="195"/>
                  <a:pt x="385" y="195"/>
                </a:cubicBezTo>
                <a:cubicBezTo>
                  <a:pt x="385" y="195"/>
                  <a:pt x="385" y="196"/>
                  <a:pt x="385" y="196"/>
                </a:cubicBezTo>
                <a:cubicBezTo>
                  <a:pt x="385" y="196"/>
                  <a:pt x="385" y="196"/>
                  <a:pt x="385" y="197"/>
                </a:cubicBezTo>
                <a:cubicBezTo>
                  <a:pt x="385" y="197"/>
                  <a:pt x="384" y="197"/>
                  <a:pt x="384" y="197"/>
                </a:cubicBezTo>
                <a:cubicBezTo>
                  <a:pt x="384" y="196"/>
                  <a:pt x="384" y="196"/>
                  <a:pt x="384" y="196"/>
                </a:cubicBezTo>
                <a:cubicBezTo>
                  <a:pt x="384" y="195"/>
                  <a:pt x="384" y="195"/>
                  <a:pt x="384" y="195"/>
                </a:cubicBezTo>
                <a:cubicBezTo>
                  <a:pt x="384" y="194"/>
                  <a:pt x="384" y="194"/>
                  <a:pt x="384" y="194"/>
                </a:cubicBezTo>
                <a:cubicBezTo>
                  <a:pt x="384" y="194"/>
                  <a:pt x="384" y="194"/>
                  <a:pt x="383" y="194"/>
                </a:cubicBezTo>
                <a:cubicBezTo>
                  <a:pt x="383" y="194"/>
                  <a:pt x="383" y="194"/>
                  <a:pt x="383" y="194"/>
                </a:cubicBezTo>
                <a:cubicBezTo>
                  <a:pt x="383" y="194"/>
                  <a:pt x="383" y="194"/>
                  <a:pt x="382" y="194"/>
                </a:cubicBezTo>
                <a:cubicBezTo>
                  <a:pt x="382" y="194"/>
                  <a:pt x="382" y="194"/>
                  <a:pt x="382" y="194"/>
                </a:cubicBezTo>
                <a:cubicBezTo>
                  <a:pt x="382" y="194"/>
                  <a:pt x="382" y="194"/>
                  <a:pt x="382" y="193"/>
                </a:cubicBezTo>
                <a:cubicBezTo>
                  <a:pt x="382" y="193"/>
                  <a:pt x="382" y="193"/>
                  <a:pt x="382" y="193"/>
                </a:cubicBezTo>
                <a:cubicBezTo>
                  <a:pt x="382" y="193"/>
                  <a:pt x="381" y="193"/>
                  <a:pt x="381" y="193"/>
                </a:cubicBezTo>
                <a:cubicBezTo>
                  <a:pt x="381" y="193"/>
                  <a:pt x="381" y="193"/>
                  <a:pt x="381" y="193"/>
                </a:cubicBezTo>
                <a:cubicBezTo>
                  <a:pt x="381" y="192"/>
                  <a:pt x="381" y="192"/>
                  <a:pt x="381" y="192"/>
                </a:cubicBezTo>
                <a:cubicBezTo>
                  <a:pt x="381" y="192"/>
                  <a:pt x="381" y="192"/>
                  <a:pt x="381" y="191"/>
                </a:cubicBezTo>
                <a:cubicBezTo>
                  <a:pt x="381" y="192"/>
                  <a:pt x="381" y="192"/>
                  <a:pt x="380" y="192"/>
                </a:cubicBezTo>
                <a:cubicBezTo>
                  <a:pt x="379" y="192"/>
                  <a:pt x="378" y="193"/>
                  <a:pt x="377" y="193"/>
                </a:cubicBezTo>
                <a:cubicBezTo>
                  <a:pt x="377" y="194"/>
                  <a:pt x="376" y="194"/>
                  <a:pt x="376" y="195"/>
                </a:cubicBezTo>
                <a:cubicBezTo>
                  <a:pt x="375" y="195"/>
                  <a:pt x="375" y="195"/>
                  <a:pt x="375" y="195"/>
                </a:cubicBezTo>
                <a:cubicBezTo>
                  <a:pt x="375" y="195"/>
                  <a:pt x="375" y="194"/>
                  <a:pt x="375" y="194"/>
                </a:cubicBezTo>
                <a:cubicBezTo>
                  <a:pt x="375" y="194"/>
                  <a:pt x="375" y="194"/>
                  <a:pt x="374" y="194"/>
                </a:cubicBezTo>
                <a:cubicBezTo>
                  <a:pt x="374" y="195"/>
                  <a:pt x="374" y="195"/>
                  <a:pt x="374" y="195"/>
                </a:cubicBezTo>
                <a:cubicBezTo>
                  <a:pt x="374" y="195"/>
                  <a:pt x="373" y="195"/>
                  <a:pt x="373" y="195"/>
                </a:cubicBezTo>
                <a:cubicBezTo>
                  <a:pt x="373" y="195"/>
                  <a:pt x="373" y="195"/>
                  <a:pt x="372" y="195"/>
                </a:cubicBezTo>
                <a:cubicBezTo>
                  <a:pt x="372" y="196"/>
                  <a:pt x="372" y="196"/>
                  <a:pt x="371" y="197"/>
                </a:cubicBezTo>
                <a:cubicBezTo>
                  <a:pt x="371" y="196"/>
                  <a:pt x="371" y="196"/>
                  <a:pt x="371" y="196"/>
                </a:cubicBezTo>
                <a:cubicBezTo>
                  <a:pt x="371" y="196"/>
                  <a:pt x="370" y="196"/>
                  <a:pt x="370" y="196"/>
                </a:cubicBezTo>
                <a:cubicBezTo>
                  <a:pt x="370" y="196"/>
                  <a:pt x="369" y="196"/>
                  <a:pt x="369" y="196"/>
                </a:cubicBezTo>
                <a:cubicBezTo>
                  <a:pt x="369" y="196"/>
                  <a:pt x="369" y="196"/>
                  <a:pt x="369" y="197"/>
                </a:cubicBezTo>
                <a:cubicBezTo>
                  <a:pt x="369" y="197"/>
                  <a:pt x="368" y="197"/>
                  <a:pt x="368" y="197"/>
                </a:cubicBezTo>
                <a:cubicBezTo>
                  <a:pt x="367" y="197"/>
                  <a:pt x="366" y="197"/>
                  <a:pt x="365" y="197"/>
                </a:cubicBezTo>
                <a:cubicBezTo>
                  <a:pt x="365" y="197"/>
                  <a:pt x="364" y="197"/>
                  <a:pt x="363" y="197"/>
                </a:cubicBezTo>
                <a:cubicBezTo>
                  <a:pt x="363" y="197"/>
                  <a:pt x="362" y="197"/>
                  <a:pt x="361" y="197"/>
                </a:cubicBezTo>
                <a:cubicBezTo>
                  <a:pt x="361" y="197"/>
                  <a:pt x="360" y="198"/>
                  <a:pt x="360" y="198"/>
                </a:cubicBezTo>
                <a:cubicBezTo>
                  <a:pt x="360" y="198"/>
                  <a:pt x="360" y="197"/>
                  <a:pt x="360" y="197"/>
                </a:cubicBezTo>
                <a:cubicBezTo>
                  <a:pt x="359" y="197"/>
                  <a:pt x="359" y="197"/>
                  <a:pt x="358" y="197"/>
                </a:cubicBezTo>
                <a:cubicBezTo>
                  <a:pt x="358" y="197"/>
                  <a:pt x="358" y="197"/>
                  <a:pt x="357" y="197"/>
                </a:cubicBezTo>
                <a:cubicBezTo>
                  <a:pt x="357" y="197"/>
                  <a:pt x="357" y="197"/>
                  <a:pt x="356" y="197"/>
                </a:cubicBezTo>
                <a:cubicBezTo>
                  <a:pt x="356" y="197"/>
                  <a:pt x="356" y="197"/>
                  <a:pt x="356" y="197"/>
                </a:cubicBezTo>
                <a:cubicBezTo>
                  <a:pt x="355" y="197"/>
                  <a:pt x="355" y="197"/>
                  <a:pt x="355" y="197"/>
                </a:cubicBezTo>
                <a:cubicBezTo>
                  <a:pt x="354" y="197"/>
                  <a:pt x="354" y="196"/>
                  <a:pt x="354" y="196"/>
                </a:cubicBezTo>
                <a:cubicBezTo>
                  <a:pt x="354" y="196"/>
                  <a:pt x="355" y="196"/>
                  <a:pt x="355" y="196"/>
                </a:cubicBezTo>
                <a:cubicBezTo>
                  <a:pt x="355" y="196"/>
                  <a:pt x="356" y="196"/>
                  <a:pt x="356" y="196"/>
                </a:cubicBezTo>
                <a:cubicBezTo>
                  <a:pt x="356" y="195"/>
                  <a:pt x="356" y="195"/>
                  <a:pt x="356" y="195"/>
                </a:cubicBezTo>
                <a:cubicBezTo>
                  <a:pt x="356" y="195"/>
                  <a:pt x="357" y="194"/>
                  <a:pt x="357" y="194"/>
                </a:cubicBezTo>
                <a:cubicBezTo>
                  <a:pt x="357" y="194"/>
                  <a:pt x="357" y="194"/>
                  <a:pt x="356" y="194"/>
                </a:cubicBezTo>
                <a:cubicBezTo>
                  <a:pt x="357" y="194"/>
                  <a:pt x="357" y="193"/>
                  <a:pt x="357" y="193"/>
                </a:cubicBezTo>
                <a:cubicBezTo>
                  <a:pt x="358" y="193"/>
                  <a:pt x="358" y="193"/>
                  <a:pt x="359" y="193"/>
                </a:cubicBezTo>
                <a:cubicBezTo>
                  <a:pt x="359" y="193"/>
                  <a:pt x="359" y="193"/>
                  <a:pt x="359" y="193"/>
                </a:cubicBezTo>
                <a:cubicBezTo>
                  <a:pt x="359" y="193"/>
                  <a:pt x="359" y="193"/>
                  <a:pt x="359" y="193"/>
                </a:cubicBezTo>
                <a:cubicBezTo>
                  <a:pt x="360" y="193"/>
                  <a:pt x="360" y="192"/>
                  <a:pt x="361" y="192"/>
                </a:cubicBezTo>
                <a:cubicBezTo>
                  <a:pt x="362" y="192"/>
                  <a:pt x="362" y="192"/>
                  <a:pt x="363" y="192"/>
                </a:cubicBezTo>
                <a:cubicBezTo>
                  <a:pt x="364" y="192"/>
                  <a:pt x="364" y="191"/>
                  <a:pt x="364" y="191"/>
                </a:cubicBezTo>
                <a:cubicBezTo>
                  <a:pt x="364" y="191"/>
                  <a:pt x="364" y="191"/>
                  <a:pt x="364" y="190"/>
                </a:cubicBezTo>
                <a:cubicBezTo>
                  <a:pt x="364" y="190"/>
                  <a:pt x="364" y="190"/>
                  <a:pt x="364" y="189"/>
                </a:cubicBezTo>
                <a:cubicBezTo>
                  <a:pt x="364" y="189"/>
                  <a:pt x="364" y="189"/>
                  <a:pt x="364" y="189"/>
                </a:cubicBezTo>
                <a:cubicBezTo>
                  <a:pt x="363" y="188"/>
                  <a:pt x="363" y="188"/>
                  <a:pt x="363" y="188"/>
                </a:cubicBezTo>
                <a:cubicBezTo>
                  <a:pt x="363" y="188"/>
                  <a:pt x="363" y="188"/>
                  <a:pt x="362" y="187"/>
                </a:cubicBezTo>
                <a:cubicBezTo>
                  <a:pt x="362" y="187"/>
                  <a:pt x="362" y="187"/>
                  <a:pt x="361" y="187"/>
                </a:cubicBezTo>
                <a:cubicBezTo>
                  <a:pt x="361" y="187"/>
                  <a:pt x="361" y="187"/>
                  <a:pt x="361" y="187"/>
                </a:cubicBezTo>
                <a:cubicBezTo>
                  <a:pt x="360" y="187"/>
                  <a:pt x="360" y="187"/>
                  <a:pt x="360" y="186"/>
                </a:cubicBezTo>
                <a:cubicBezTo>
                  <a:pt x="360" y="186"/>
                  <a:pt x="359" y="186"/>
                  <a:pt x="358" y="186"/>
                </a:cubicBezTo>
                <a:cubicBezTo>
                  <a:pt x="358" y="186"/>
                  <a:pt x="358" y="186"/>
                  <a:pt x="358" y="186"/>
                </a:cubicBezTo>
                <a:cubicBezTo>
                  <a:pt x="358" y="186"/>
                  <a:pt x="358" y="187"/>
                  <a:pt x="358" y="187"/>
                </a:cubicBezTo>
                <a:cubicBezTo>
                  <a:pt x="358" y="187"/>
                  <a:pt x="357" y="187"/>
                  <a:pt x="357" y="187"/>
                </a:cubicBezTo>
                <a:cubicBezTo>
                  <a:pt x="357" y="187"/>
                  <a:pt x="357" y="187"/>
                  <a:pt x="357" y="187"/>
                </a:cubicBezTo>
                <a:cubicBezTo>
                  <a:pt x="356" y="187"/>
                  <a:pt x="356" y="187"/>
                  <a:pt x="355" y="187"/>
                </a:cubicBezTo>
                <a:cubicBezTo>
                  <a:pt x="355" y="187"/>
                  <a:pt x="355" y="187"/>
                  <a:pt x="355" y="187"/>
                </a:cubicBezTo>
                <a:cubicBezTo>
                  <a:pt x="355" y="187"/>
                  <a:pt x="356" y="187"/>
                  <a:pt x="356" y="187"/>
                </a:cubicBezTo>
                <a:cubicBezTo>
                  <a:pt x="356" y="187"/>
                  <a:pt x="356" y="187"/>
                  <a:pt x="356" y="188"/>
                </a:cubicBezTo>
                <a:cubicBezTo>
                  <a:pt x="356" y="188"/>
                  <a:pt x="357" y="188"/>
                  <a:pt x="357" y="188"/>
                </a:cubicBezTo>
                <a:cubicBezTo>
                  <a:pt x="357" y="188"/>
                  <a:pt x="357" y="188"/>
                  <a:pt x="357" y="189"/>
                </a:cubicBezTo>
                <a:cubicBezTo>
                  <a:pt x="356" y="188"/>
                  <a:pt x="356" y="188"/>
                  <a:pt x="356" y="188"/>
                </a:cubicBezTo>
                <a:cubicBezTo>
                  <a:pt x="356" y="188"/>
                  <a:pt x="355" y="188"/>
                  <a:pt x="355" y="188"/>
                </a:cubicBezTo>
                <a:cubicBezTo>
                  <a:pt x="355" y="188"/>
                  <a:pt x="355" y="188"/>
                  <a:pt x="354" y="188"/>
                </a:cubicBezTo>
                <a:cubicBezTo>
                  <a:pt x="354" y="188"/>
                  <a:pt x="353" y="188"/>
                  <a:pt x="352" y="188"/>
                </a:cubicBezTo>
                <a:cubicBezTo>
                  <a:pt x="352" y="188"/>
                  <a:pt x="352" y="187"/>
                  <a:pt x="352" y="187"/>
                </a:cubicBezTo>
                <a:cubicBezTo>
                  <a:pt x="352" y="188"/>
                  <a:pt x="352" y="188"/>
                  <a:pt x="352" y="188"/>
                </a:cubicBezTo>
                <a:cubicBezTo>
                  <a:pt x="351" y="188"/>
                  <a:pt x="351" y="188"/>
                  <a:pt x="351" y="188"/>
                </a:cubicBezTo>
                <a:cubicBezTo>
                  <a:pt x="350" y="188"/>
                  <a:pt x="350" y="187"/>
                  <a:pt x="350" y="187"/>
                </a:cubicBezTo>
                <a:cubicBezTo>
                  <a:pt x="350" y="187"/>
                  <a:pt x="349" y="187"/>
                  <a:pt x="349" y="187"/>
                </a:cubicBezTo>
                <a:cubicBezTo>
                  <a:pt x="349" y="187"/>
                  <a:pt x="348" y="187"/>
                  <a:pt x="348" y="187"/>
                </a:cubicBezTo>
                <a:cubicBezTo>
                  <a:pt x="347" y="187"/>
                  <a:pt x="347" y="187"/>
                  <a:pt x="346" y="187"/>
                </a:cubicBezTo>
                <a:cubicBezTo>
                  <a:pt x="346" y="187"/>
                  <a:pt x="345" y="187"/>
                  <a:pt x="344" y="187"/>
                </a:cubicBezTo>
                <a:cubicBezTo>
                  <a:pt x="344" y="187"/>
                  <a:pt x="344" y="186"/>
                  <a:pt x="344" y="186"/>
                </a:cubicBezTo>
                <a:cubicBezTo>
                  <a:pt x="342" y="186"/>
                  <a:pt x="340" y="186"/>
                  <a:pt x="339" y="186"/>
                </a:cubicBezTo>
                <a:cubicBezTo>
                  <a:pt x="338" y="186"/>
                  <a:pt x="337" y="185"/>
                  <a:pt x="337" y="185"/>
                </a:cubicBezTo>
                <a:cubicBezTo>
                  <a:pt x="337" y="185"/>
                  <a:pt x="337" y="185"/>
                  <a:pt x="337" y="184"/>
                </a:cubicBezTo>
                <a:cubicBezTo>
                  <a:pt x="336" y="184"/>
                  <a:pt x="335" y="183"/>
                  <a:pt x="335" y="183"/>
                </a:cubicBezTo>
                <a:cubicBezTo>
                  <a:pt x="335" y="183"/>
                  <a:pt x="335" y="182"/>
                  <a:pt x="335" y="182"/>
                </a:cubicBezTo>
                <a:cubicBezTo>
                  <a:pt x="334" y="182"/>
                  <a:pt x="334" y="182"/>
                  <a:pt x="334" y="182"/>
                </a:cubicBezTo>
                <a:cubicBezTo>
                  <a:pt x="333" y="182"/>
                  <a:pt x="333" y="182"/>
                  <a:pt x="332" y="182"/>
                </a:cubicBezTo>
                <a:cubicBezTo>
                  <a:pt x="332" y="182"/>
                  <a:pt x="331" y="182"/>
                  <a:pt x="331" y="183"/>
                </a:cubicBezTo>
                <a:cubicBezTo>
                  <a:pt x="331" y="182"/>
                  <a:pt x="330" y="182"/>
                  <a:pt x="330" y="182"/>
                </a:cubicBezTo>
                <a:cubicBezTo>
                  <a:pt x="330" y="182"/>
                  <a:pt x="329" y="183"/>
                  <a:pt x="329" y="183"/>
                </a:cubicBezTo>
                <a:cubicBezTo>
                  <a:pt x="329" y="183"/>
                  <a:pt x="328" y="183"/>
                  <a:pt x="328" y="182"/>
                </a:cubicBezTo>
                <a:cubicBezTo>
                  <a:pt x="328" y="183"/>
                  <a:pt x="327" y="183"/>
                  <a:pt x="327" y="183"/>
                </a:cubicBezTo>
                <a:cubicBezTo>
                  <a:pt x="326" y="184"/>
                  <a:pt x="326" y="184"/>
                  <a:pt x="326" y="184"/>
                </a:cubicBezTo>
                <a:cubicBezTo>
                  <a:pt x="325" y="185"/>
                  <a:pt x="325" y="185"/>
                  <a:pt x="325" y="186"/>
                </a:cubicBezTo>
                <a:cubicBezTo>
                  <a:pt x="325" y="186"/>
                  <a:pt x="324" y="186"/>
                  <a:pt x="324" y="187"/>
                </a:cubicBezTo>
                <a:cubicBezTo>
                  <a:pt x="324" y="187"/>
                  <a:pt x="323" y="187"/>
                  <a:pt x="323" y="187"/>
                </a:cubicBezTo>
                <a:cubicBezTo>
                  <a:pt x="323" y="188"/>
                  <a:pt x="322" y="188"/>
                  <a:pt x="322" y="188"/>
                </a:cubicBezTo>
                <a:cubicBezTo>
                  <a:pt x="322" y="188"/>
                  <a:pt x="321" y="188"/>
                  <a:pt x="321" y="188"/>
                </a:cubicBezTo>
                <a:cubicBezTo>
                  <a:pt x="320" y="188"/>
                  <a:pt x="320" y="188"/>
                  <a:pt x="319" y="188"/>
                </a:cubicBezTo>
                <a:cubicBezTo>
                  <a:pt x="319" y="188"/>
                  <a:pt x="319" y="188"/>
                  <a:pt x="318" y="188"/>
                </a:cubicBezTo>
                <a:cubicBezTo>
                  <a:pt x="319" y="188"/>
                  <a:pt x="319" y="187"/>
                  <a:pt x="319" y="187"/>
                </a:cubicBezTo>
                <a:cubicBezTo>
                  <a:pt x="319" y="187"/>
                  <a:pt x="319" y="187"/>
                  <a:pt x="319" y="187"/>
                </a:cubicBezTo>
                <a:cubicBezTo>
                  <a:pt x="320" y="186"/>
                  <a:pt x="320" y="186"/>
                  <a:pt x="320" y="186"/>
                </a:cubicBezTo>
                <a:cubicBezTo>
                  <a:pt x="320" y="186"/>
                  <a:pt x="321" y="186"/>
                  <a:pt x="321" y="185"/>
                </a:cubicBezTo>
                <a:cubicBezTo>
                  <a:pt x="321" y="185"/>
                  <a:pt x="321" y="185"/>
                  <a:pt x="322" y="185"/>
                </a:cubicBezTo>
                <a:cubicBezTo>
                  <a:pt x="322" y="185"/>
                  <a:pt x="322" y="185"/>
                  <a:pt x="322" y="184"/>
                </a:cubicBezTo>
                <a:cubicBezTo>
                  <a:pt x="322" y="184"/>
                  <a:pt x="321" y="184"/>
                  <a:pt x="321" y="184"/>
                </a:cubicBezTo>
                <a:cubicBezTo>
                  <a:pt x="321" y="184"/>
                  <a:pt x="321" y="184"/>
                  <a:pt x="321" y="185"/>
                </a:cubicBezTo>
                <a:cubicBezTo>
                  <a:pt x="320" y="185"/>
                  <a:pt x="320" y="185"/>
                  <a:pt x="320" y="184"/>
                </a:cubicBezTo>
                <a:cubicBezTo>
                  <a:pt x="320" y="184"/>
                  <a:pt x="320" y="184"/>
                  <a:pt x="320" y="184"/>
                </a:cubicBezTo>
                <a:cubicBezTo>
                  <a:pt x="320" y="184"/>
                  <a:pt x="321" y="183"/>
                  <a:pt x="321" y="183"/>
                </a:cubicBezTo>
                <a:cubicBezTo>
                  <a:pt x="321" y="183"/>
                  <a:pt x="321" y="183"/>
                  <a:pt x="321" y="183"/>
                </a:cubicBezTo>
                <a:cubicBezTo>
                  <a:pt x="321" y="182"/>
                  <a:pt x="321" y="182"/>
                  <a:pt x="322" y="182"/>
                </a:cubicBezTo>
                <a:cubicBezTo>
                  <a:pt x="321" y="182"/>
                  <a:pt x="321" y="181"/>
                  <a:pt x="321" y="181"/>
                </a:cubicBezTo>
                <a:cubicBezTo>
                  <a:pt x="321" y="181"/>
                  <a:pt x="321" y="181"/>
                  <a:pt x="321" y="181"/>
                </a:cubicBezTo>
                <a:cubicBezTo>
                  <a:pt x="320" y="181"/>
                  <a:pt x="320" y="181"/>
                  <a:pt x="320" y="181"/>
                </a:cubicBezTo>
                <a:cubicBezTo>
                  <a:pt x="320" y="181"/>
                  <a:pt x="320" y="182"/>
                  <a:pt x="320" y="182"/>
                </a:cubicBezTo>
                <a:cubicBezTo>
                  <a:pt x="319" y="182"/>
                  <a:pt x="319" y="183"/>
                  <a:pt x="318" y="183"/>
                </a:cubicBezTo>
                <a:cubicBezTo>
                  <a:pt x="318" y="183"/>
                  <a:pt x="317" y="183"/>
                  <a:pt x="317" y="183"/>
                </a:cubicBezTo>
                <a:cubicBezTo>
                  <a:pt x="317" y="184"/>
                  <a:pt x="318" y="184"/>
                  <a:pt x="318" y="184"/>
                </a:cubicBezTo>
                <a:cubicBezTo>
                  <a:pt x="318" y="185"/>
                  <a:pt x="318" y="185"/>
                  <a:pt x="318" y="185"/>
                </a:cubicBezTo>
                <a:cubicBezTo>
                  <a:pt x="318" y="185"/>
                  <a:pt x="317" y="185"/>
                  <a:pt x="317" y="185"/>
                </a:cubicBezTo>
                <a:cubicBezTo>
                  <a:pt x="317" y="185"/>
                  <a:pt x="316" y="185"/>
                  <a:pt x="316" y="185"/>
                </a:cubicBezTo>
                <a:cubicBezTo>
                  <a:pt x="315" y="185"/>
                  <a:pt x="315" y="186"/>
                  <a:pt x="315" y="186"/>
                </a:cubicBezTo>
                <a:cubicBezTo>
                  <a:pt x="315" y="186"/>
                  <a:pt x="315" y="186"/>
                  <a:pt x="316" y="186"/>
                </a:cubicBezTo>
                <a:cubicBezTo>
                  <a:pt x="316" y="186"/>
                  <a:pt x="316" y="187"/>
                  <a:pt x="316" y="187"/>
                </a:cubicBezTo>
                <a:cubicBezTo>
                  <a:pt x="315" y="187"/>
                  <a:pt x="315" y="187"/>
                  <a:pt x="314" y="187"/>
                </a:cubicBezTo>
                <a:cubicBezTo>
                  <a:pt x="314" y="187"/>
                  <a:pt x="314" y="188"/>
                  <a:pt x="313" y="188"/>
                </a:cubicBezTo>
                <a:cubicBezTo>
                  <a:pt x="314" y="188"/>
                  <a:pt x="314" y="188"/>
                  <a:pt x="314" y="188"/>
                </a:cubicBezTo>
                <a:cubicBezTo>
                  <a:pt x="314" y="188"/>
                  <a:pt x="315" y="188"/>
                  <a:pt x="315" y="188"/>
                </a:cubicBezTo>
                <a:cubicBezTo>
                  <a:pt x="315" y="188"/>
                  <a:pt x="315" y="188"/>
                  <a:pt x="316" y="188"/>
                </a:cubicBezTo>
                <a:cubicBezTo>
                  <a:pt x="315" y="189"/>
                  <a:pt x="315" y="189"/>
                  <a:pt x="314" y="189"/>
                </a:cubicBezTo>
                <a:cubicBezTo>
                  <a:pt x="314" y="189"/>
                  <a:pt x="313" y="189"/>
                  <a:pt x="313" y="189"/>
                </a:cubicBezTo>
                <a:cubicBezTo>
                  <a:pt x="313" y="189"/>
                  <a:pt x="312" y="189"/>
                  <a:pt x="312" y="189"/>
                </a:cubicBezTo>
                <a:cubicBezTo>
                  <a:pt x="311" y="188"/>
                  <a:pt x="311" y="188"/>
                  <a:pt x="311" y="188"/>
                </a:cubicBezTo>
                <a:cubicBezTo>
                  <a:pt x="311" y="187"/>
                  <a:pt x="310" y="186"/>
                  <a:pt x="310" y="185"/>
                </a:cubicBezTo>
                <a:cubicBezTo>
                  <a:pt x="310" y="184"/>
                  <a:pt x="310" y="184"/>
                  <a:pt x="310" y="183"/>
                </a:cubicBezTo>
                <a:cubicBezTo>
                  <a:pt x="310" y="183"/>
                  <a:pt x="310" y="182"/>
                  <a:pt x="309" y="181"/>
                </a:cubicBezTo>
                <a:cubicBezTo>
                  <a:pt x="310" y="181"/>
                  <a:pt x="310" y="180"/>
                  <a:pt x="310" y="180"/>
                </a:cubicBezTo>
                <a:cubicBezTo>
                  <a:pt x="309" y="179"/>
                  <a:pt x="309" y="178"/>
                  <a:pt x="309" y="178"/>
                </a:cubicBezTo>
                <a:cubicBezTo>
                  <a:pt x="308" y="177"/>
                  <a:pt x="308" y="177"/>
                  <a:pt x="308" y="177"/>
                </a:cubicBezTo>
                <a:cubicBezTo>
                  <a:pt x="308" y="177"/>
                  <a:pt x="307" y="177"/>
                  <a:pt x="307" y="178"/>
                </a:cubicBezTo>
                <a:cubicBezTo>
                  <a:pt x="307" y="178"/>
                  <a:pt x="306" y="178"/>
                  <a:pt x="306" y="179"/>
                </a:cubicBezTo>
                <a:cubicBezTo>
                  <a:pt x="306" y="179"/>
                  <a:pt x="307" y="179"/>
                  <a:pt x="307" y="179"/>
                </a:cubicBezTo>
                <a:cubicBezTo>
                  <a:pt x="307" y="179"/>
                  <a:pt x="307" y="180"/>
                  <a:pt x="306" y="180"/>
                </a:cubicBezTo>
                <a:cubicBezTo>
                  <a:pt x="307" y="180"/>
                  <a:pt x="307" y="180"/>
                  <a:pt x="307" y="180"/>
                </a:cubicBezTo>
                <a:cubicBezTo>
                  <a:pt x="307" y="181"/>
                  <a:pt x="307" y="181"/>
                  <a:pt x="307" y="181"/>
                </a:cubicBezTo>
                <a:cubicBezTo>
                  <a:pt x="307" y="182"/>
                  <a:pt x="307" y="182"/>
                  <a:pt x="306" y="182"/>
                </a:cubicBezTo>
                <a:cubicBezTo>
                  <a:pt x="306" y="182"/>
                  <a:pt x="306" y="181"/>
                  <a:pt x="305" y="181"/>
                </a:cubicBezTo>
                <a:cubicBezTo>
                  <a:pt x="305" y="182"/>
                  <a:pt x="305" y="182"/>
                  <a:pt x="305" y="182"/>
                </a:cubicBezTo>
                <a:cubicBezTo>
                  <a:pt x="305" y="182"/>
                  <a:pt x="305" y="182"/>
                  <a:pt x="305" y="182"/>
                </a:cubicBezTo>
                <a:cubicBezTo>
                  <a:pt x="305" y="183"/>
                  <a:pt x="305" y="183"/>
                  <a:pt x="304" y="183"/>
                </a:cubicBezTo>
                <a:cubicBezTo>
                  <a:pt x="304" y="183"/>
                  <a:pt x="304" y="183"/>
                  <a:pt x="303" y="183"/>
                </a:cubicBezTo>
                <a:cubicBezTo>
                  <a:pt x="304" y="184"/>
                  <a:pt x="304" y="184"/>
                  <a:pt x="304" y="184"/>
                </a:cubicBezTo>
                <a:cubicBezTo>
                  <a:pt x="304" y="184"/>
                  <a:pt x="303" y="184"/>
                  <a:pt x="303" y="184"/>
                </a:cubicBezTo>
                <a:cubicBezTo>
                  <a:pt x="302" y="185"/>
                  <a:pt x="302" y="185"/>
                  <a:pt x="301" y="186"/>
                </a:cubicBezTo>
                <a:cubicBezTo>
                  <a:pt x="300" y="186"/>
                  <a:pt x="300" y="187"/>
                  <a:pt x="300" y="187"/>
                </a:cubicBezTo>
                <a:cubicBezTo>
                  <a:pt x="299" y="187"/>
                  <a:pt x="299" y="187"/>
                  <a:pt x="299" y="187"/>
                </a:cubicBezTo>
                <a:cubicBezTo>
                  <a:pt x="299" y="187"/>
                  <a:pt x="298" y="187"/>
                  <a:pt x="298" y="186"/>
                </a:cubicBezTo>
                <a:cubicBezTo>
                  <a:pt x="299" y="186"/>
                  <a:pt x="299" y="186"/>
                  <a:pt x="300" y="186"/>
                </a:cubicBezTo>
                <a:cubicBezTo>
                  <a:pt x="300" y="185"/>
                  <a:pt x="300" y="185"/>
                  <a:pt x="300" y="185"/>
                </a:cubicBezTo>
                <a:cubicBezTo>
                  <a:pt x="300" y="185"/>
                  <a:pt x="299" y="185"/>
                  <a:pt x="299" y="185"/>
                </a:cubicBezTo>
                <a:cubicBezTo>
                  <a:pt x="299" y="185"/>
                  <a:pt x="298" y="186"/>
                  <a:pt x="298" y="186"/>
                </a:cubicBezTo>
                <a:cubicBezTo>
                  <a:pt x="297" y="186"/>
                  <a:pt x="297" y="186"/>
                  <a:pt x="296" y="187"/>
                </a:cubicBezTo>
                <a:cubicBezTo>
                  <a:pt x="296" y="187"/>
                  <a:pt x="295" y="187"/>
                  <a:pt x="295" y="188"/>
                </a:cubicBezTo>
                <a:cubicBezTo>
                  <a:pt x="294" y="188"/>
                  <a:pt x="294" y="188"/>
                  <a:pt x="293" y="188"/>
                </a:cubicBezTo>
                <a:cubicBezTo>
                  <a:pt x="292" y="189"/>
                  <a:pt x="291" y="190"/>
                  <a:pt x="290" y="191"/>
                </a:cubicBezTo>
                <a:cubicBezTo>
                  <a:pt x="290" y="191"/>
                  <a:pt x="289" y="191"/>
                  <a:pt x="289" y="192"/>
                </a:cubicBezTo>
                <a:cubicBezTo>
                  <a:pt x="288" y="192"/>
                  <a:pt x="288" y="193"/>
                  <a:pt x="288" y="193"/>
                </a:cubicBezTo>
                <a:cubicBezTo>
                  <a:pt x="288" y="193"/>
                  <a:pt x="288" y="193"/>
                  <a:pt x="287" y="193"/>
                </a:cubicBezTo>
                <a:cubicBezTo>
                  <a:pt x="288" y="192"/>
                  <a:pt x="288" y="192"/>
                  <a:pt x="288" y="191"/>
                </a:cubicBezTo>
                <a:cubicBezTo>
                  <a:pt x="288" y="191"/>
                  <a:pt x="288" y="191"/>
                  <a:pt x="288" y="191"/>
                </a:cubicBezTo>
                <a:cubicBezTo>
                  <a:pt x="287" y="191"/>
                  <a:pt x="287" y="192"/>
                  <a:pt x="286" y="192"/>
                </a:cubicBezTo>
                <a:cubicBezTo>
                  <a:pt x="286" y="192"/>
                  <a:pt x="286" y="192"/>
                  <a:pt x="286" y="192"/>
                </a:cubicBezTo>
                <a:cubicBezTo>
                  <a:pt x="286" y="192"/>
                  <a:pt x="286" y="192"/>
                  <a:pt x="285" y="192"/>
                </a:cubicBezTo>
                <a:cubicBezTo>
                  <a:pt x="285" y="193"/>
                  <a:pt x="285" y="193"/>
                  <a:pt x="285" y="193"/>
                </a:cubicBezTo>
                <a:cubicBezTo>
                  <a:pt x="284" y="193"/>
                  <a:pt x="284" y="193"/>
                  <a:pt x="284" y="193"/>
                </a:cubicBezTo>
                <a:cubicBezTo>
                  <a:pt x="283" y="193"/>
                  <a:pt x="283" y="193"/>
                  <a:pt x="283" y="193"/>
                </a:cubicBezTo>
                <a:cubicBezTo>
                  <a:pt x="283" y="193"/>
                  <a:pt x="283" y="194"/>
                  <a:pt x="283" y="194"/>
                </a:cubicBezTo>
                <a:cubicBezTo>
                  <a:pt x="282" y="195"/>
                  <a:pt x="281" y="195"/>
                  <a:pt x="280" y="196"/>
                </a:cubicBezTo>
                <a:cubicBezTo>
                  <a:pt x="280" y="196"/>
                  <a:pt x="280" y="196"/>
                  <a:pt x="279" y="196"/>
                </a:cubicBezTo>
                <a:cubicBezTo>
                  <a:pt x="279" y="197"/>
                  <a:pt x="278" y="197"/>
                  <a:pt x="277" y="197"/>
                </a:cubicBezTo>
                <a:cubicBezTo>
                  <a:pt x="277" y="198"/>
                  <a:pt x="277" y="198"/>
                  <a:pt x="276" y="199"/>
                </a:cubicBezTo>
                <a:cubicBezTo>
                  <a:pt x="277" y="199"/>
                  <a:pt x="277" y="199"/>
                  <a:pt x="277" y="199"/>
                </a:cubicBezTo>
                <a:cubicBezTo>
                  <a:pt x="277" y="199"/>
                  <a:pt x="276" y="199"/>
                  <a:pt x="276" y="199"/>
                </a:cubicBezTo>
                <a:cubicBezTo>
                  <a:pt x="276" y="199"/>
                  <a:pt x="276" y="200"/>
                  <a:pt x="275" y="200"/>
                </a:cubicBezTo>
                <a:cubicBezTo>
                  <a:pt x="275" y="200"/>
                  <a:pt x="275" y="200"/>
                  <a:pt x="274" y="200"/>
                </a:cubicBezTo>
                <a:cubicBezTo>
                  <a:pt x="274" y="200"/>
                  <a:pt x="274" y="200"/>
                  <a:pt x="274" y="200"/>
                </a:cubicBezTo>
                <a:cubicBezTo>
                  <a:pt x="275" y="200"/>
                  <a:pt x="275" y="201"/>
                  <a:pt x="276" y="201"/>
                </a:cubicBezTo>
                <a:cubicBezTo>
                  <a:pt x="275" y="201"/>
                  <a:pt x="275" y="201"/>
                  <a:pt x="274" y="201"/>
                </a:cubicBezTo>
                <a:cubicBezTo>
                  <a:pt x="274" y="201"/>
                  <a:pt x="274" y="200"/>
                  <a:pt x="273" y="200"/>
                </a:cubicBezTo>
                <a:cubicBezTo>
                  <a:pt x="273" y="200"/>
                  <a:pt x="273" y="200"/>
                  <a:pt x="274" y="199"/>
                </a:cubicBezTo>
                <a:cubicBezTo>
                  <a:pt x="274" y="199"/>
                  <a:pt x="274" y="199"/>
                  <a:pt x="274" y="199"/>
                </a:cubicBezTo>
                <a:cubicBezTo>
                  <a:pt x="274" y="199"/>
                  <a:pt x="275" y="199"/>
                  <a:pt x="275" y="198"/>
                </a:cubicBezTo>
                <a:cubicBezTo>
                  <a:pt x="275" y="198"/>
                  <a:pt x="275" y="198"/>
                  <a:pt x="276" y="197"/>
                </a:cubicBezTo>
                <a:cubicBezTo>
                  <a:pt x="276" y="197"/>
                  <a:pt x="276" y="197"/>
                  <a:pt x="276" y="197"/>
                </a:cubicBezTo>
                <a:cubicBezTo>
                  <a:pt x="277" y="197"/>
                  <a:pt x="277" y="197"/>
                  <a:pt x="277" y="197"/>
                </a:cubicBezTo>
                <a:cubicBezTo>
                  <a:pt x="277" y="197"/>
                  <a:pt x="277" y="197"/>
                  <a:pt x="277" y="196"/>
                </a:cubicBezTo>
                <a:cubicBezTo>
                  <a:pt x="277" y="196"/>
                  <a:pt x="278" y="196"/>
                  <a:pt x="278" y="195"/>
                </a:cubicBezTo>
                <a:cubicBezTo>
                  <a:pt x="278" y="195"/>
                  <a:pt x="278" y="195"/>
                  <a:pt x="279" y="196"/>
                </a:cubicBezTo>
                <a:cubicBezTo>
                  <a:pt x="279" y="195"/>
                  <a:pt x="280" y="194"/>
                  <a:pt x="281" y="194"/>
                </a:cubicBezTo>
                <a:cubicBezTo>
                  <a:pt x="281" y="194"/>
                  <a:pt x="281" y="193"/>
                  <a:pt x="281" y="193"/>
                </a:cubicBezTo>
                <a:cubicBezTo>
                  <a:pt x="282" y="193"/>
                  <a:pt x="282" y="192"/>
                  <a:pt x="283" y="192"/>
                </a:cubicBezTo>
                <a:cubicBezTo>
                  <a:pt x="283" y="192"/>
                  <a:pt x="284" y="192"/>
                  <a:pt x="285" y="191"/>
                </a:cubicBezTo>
                <a:cubicBezTo>
                  <a:pt x="285" y="191"/>
                  <a:pt x="285" y="191"/>
                  <a:pt x="285" y="191"/>
                </a:cubicBezTo>
                <a:cubicBezTo>
                  <a:pt x="285" y="191"/>
                  <a:pt x="286" y="191"/>
                  <a:pt x="287" y="191"/>
                </a:cubicBezTo>
                <a:cubicBezTo>
                  <a:pt x="287" y="190"/>
                  <a:pt x="288" y="190"/>
                  <a:pt x="288" y="189"/>
                </a:cubicBezTo>
                <a:cubicBezTo>
                  <a:pt x="288" y="190"/>
                  <a:pt x="289" y="190"/>
                  <a:pt x="289" y="190"/>
                </a:cubicBezTo>
                <a:cubicBezTo>
                  <a:pt x="289" y="190"/>
                  <a:pt x="289" y="190"/>
                  <a:pt x="289" y="190"/>
                </a:cubicBezTo>
                <a:cubicBezTo>
                  <a:pt x="290" y="189"/>
                  <a:pt x="290" y="189"/>
                  <a:pt x="290" y="189"/>
                </a:cubicBezTo>
                <a:cubicBezTo>
                  <a:pt x="290" y="189"/>
                  <a:pt x="291" y="189"/>
                  <a:pt x="291" y="189"/>
                </a:cubicBezTo>
                <a:cubicBezTo>
                  <a:pt x="291" y="188"/>
                  <a:pt x="292" y="188"/>
                  <a:pt x="292" y="188"/>
                </a:cubicBezTo>
                <a:cubicBezTo>
                  <a:pt x="293" y="188"/>
                  <a:pt x="293" y="187"/>
                  <a:pt x="293" y="187"/>
                </a:cubicBezTo>
                <a:cubicBezTo>
                  <a:pt x="294" y="187"/>
                  <a:pt x="294" y="186"/>
                  <a:pt x="295" y="186"/>
                </a:cubicBezTo>
                <a:cubicBezTo>
                  <a:pt x="296" y="186"/>
                  <a:pt x="297" y="185"/>
                  <a:pt x="297" y="185"/>
                </a:cubicBezTo>
                <a:cubicBezTo>
                  <a:pt x="297" y="184"/>
                  <a:pt x="297" y="184"/>
                  <a:pt x="297" y="184"/>
                </a:cubicBezTo>
                <a:cubicBezTo>
                  <a:pt x="298" y="184"/>
                  <a:pt x="298" y="184"/>
                  <a:pt x="298" y="184"/>
                </a:cubicBezTo>
                <a:cubicBezTo>
                  <a:pt x="298" y="184"/>
                  <a:pt x="298" y="183"/>
                  <a:pt x="298" y="183"/>
                </a:cubicBezTo>
                <a:cubicBezTo>
                  <a:pt x="298" y="183"/>
                  <a:pt x="298" y="183"/>
                  <a:pt x="298" y="183"/>
                </a:cubicBezTo>
                <a:cubicBezTo>
                  <a:pt x="298" y="183"/>
                  <a:pt x="297" y="183"/>
                  <a:pt x="297" y="183"/>
                </a:cubicBezTo>
                <a:cubicBezTo>
                  <a:pt x="297" y="182"/>
                  <a:pt x="297" y="182"/>
                  <a:pt x="296" y="182"/>
                </a:cubicBezTo>
                <a:cubicBezTo>
                  <a:pt x="296" y="183"/>
                  <a:pt x="296" y="183"/>
                  <a:pt x="296" y="183"/>
                </a:cubicBezTo>
                <a:cubicBezTo>
                  <a:pt x="296" y="183"/>
                  <a:pt x="296" y="183"/>
                  <a:pt x="296" y="183"/>
                </a:cubicBezTo>
                <a:cubicBezTo>
                  <a:pt x="296" y="184"/>
                  <a:pt x="296" y="184"/>
                  <a:pt x="295" y="184"/>
                </a:cubicBezTo>
                <a:cubicBezTo>
                  <a:pt x="295" y="184"/>
                  <a:pt x="295" y="184"/>
                  <a:pt x="295" y="184"/>
                </a:cubicBezTo>
                <a:cubicBezTo>
                  <a:pt x="295" y="184"/>
                  <a:pt x="295" y="184"/>
                  <a:pt x="294" y="184"/>
                </a:cubicBezTo>
                <a:cubicBezTo>
                  <a:pt x="294" y="184"/>
                  <a:pt x="294" y="184"/>
                  <a:pt x="294" y="184"/>
                </a:cubicBezTo>
                <a:cubicBezTo>
                  <a:pt x="294" y="184"/>
                  <a:pt x="293" y="184"/>
                  <a:pt x="293" y="184"/>
                </a:cubicBezTo>
                <a:cubicBezTo>
                  <a:pt x="292" y="184"/>
                  <a:pt x="292" y="185"/>
                  <a:pt x="291" y="185"/>
                </a:cubicBezTo>
                <a:cubicBezTo>
                  <a:pt x="291" y="185"/>
                  <a:pt x="291" y="186"/>
                  <a:pt x="291" y="186"/>
                </a:cubicBezTo>
                <a:cubicBezTo>
                  <a:pt x="291" y="186"/>
                  <a:pt x="290" y="186"/>
                  <a:pt x="290" y="187"/>
                </a:cubicBezTo>
                <a:cubicBezTo>
                  <a:pt x="290" y="186"/>
                  <a:pt x="290" y="186"/>
                  <a:pt x="289" y="186"/>
                </a:cubicBezTo>
                <a:cubicBezTo>
                  <a:pt x="289" y="186"/>
                  <a:pt x="289" y="186"/>
                  <a:pt x="289" y="186"/>
                </a:cubicBezTo>
                <a:cubicBezTo>
                  <a:pt x="289" y="187"/>
                  <a:pt x="288" y="187"/>
                  <a:pt x="288" y="187"/>
                </a:cubicBezTo>
                <a:cubicBezTo>
                  <a:pt x="287" y="188"/>
                  <a:pt x="286" y="188"/>
                  <a:pt x="286" y="189"/>
                </a:cubicBezTo>
                <a:cubicBezTo>
                  <a:pt x="284" y="189"/>
                  <a:pt x="283" y="189"/>
                  <a:pt x="282" y="190"/>
                </a:cubicBezTo>
                <a:cubicBezTo>
                  <a:pt x="282" y="190"/>
                  <a:pt x="282" y="190"/>
                  <a:pt x="282" y="190"/>
                </a:cubicBezTo>
                <a:cubicBezTo>
                  <a:pt x="281" y="190"/>
                  <a:pt x="281" y="190"/>
                  <a:pt x="281" y="190"/>
                </a:cubicBezTo>
                <a:cubicBezTo>
                  <a:pt x="281" y="190"/>
                  <a:pt x="281" y="190"/>
                  <a:pt x="281" y="190"/>
                </a:cubicBezTo>
                <a:cubicBezTo>
                  <a:pt x="281" y="190"/>
                  <a:pt x="281" y="191"/>
                  <a:pt x="281" y="191"/>
                </a:cubicBezTo>
                <a:cubicBezTo>
                  <a:pt x="280" y="191"/>
                  <a:pt x="280" y="191"/>
                  <a:pt x="280" y="191"/>
                </a:cubicBezTo>
                <a:cubicBezTo>
                  <a:pt x="279" y="191"/>
                  <a:pt x="279" y="191"/>
                  <a:pt x="279" y="191"/>
                </a:cubicBezTo>
                <a:cubicBezTo>
                  <a:pt x="279" y="192"/>
                  <a:pt x="279" y="192"/>
                  <a:pt x="279" y="192"/>
                </a:cubicBezTo>
                <a:cubicBezTo>
                  <a:pt x="278" y="193"/>
                  <a:pt x="278" y="193"/>
                  <a:pt x="277" y="194"/>
                </a:cubicBezTo>
                <a:cubicBezTo>
                  <a:pt x="277" y="194"/>
                  <a:pt x="277" y="194"/>
                  <a:pt x="277" y="194"/>
                </a:cubicBezTo>
                <a:cubicBezTo>
                  <a:pt x="276" y="194"/>
                  <a:pt x="276" y="194"/>
                  <a:pt x="276" y="194"/>
                </a:cubicBezTo>
                <a:cubicBezTo>
                  <a:pt x="276" y="194"/>
                  <a:pt x="276" y="194"/>
                  <a:pt x="275" y="194"/>
                </a:cubicBezTo>
                <a:cubicBezTo>
                  <a:pt x="275" y="194"/>
                  <a:pt x="275" y="194"/>
                  <a:pt x="274" y="194"/>
                </a:cubicBezTo>
                <a:cubicBezTo>
                  <a:pt x="274" y="195"/>
                  <a:pt x="274" y="195"/>
                  <a:pt x="273" y="195"/>
                </a:cubicBezTo>
                <a:cubicBezTo>
                  <a:pt x="273" y="195"/>
                  <a:pt x="273" y="195"/>
                  <a:pt x="273" y="195"/>
                </a:cubicBezTo>
                <a:cubicBezTo>
                  <a:pt x="272" y="196"/>
                  <a:pt x="272" y="196"/>
                  <a:pt x="272" y="196"/>
                </a:cubicBezTo>
                <a:cubicBezTo>
                  <a:pt x="272" y="196"/>
                  <a:pt x="272" y="196"/>
                  <a:pt x="271" y="197"/>
                </a:cubicBezTo>
                <a:cubicBezTo>
                  <a:pt x="271" y="197"/>
                  <a:pt x="271" y="197"/>
                  <a:pt x="270" y="197"/>
                </a:cubicBezTo>
                <a:cubicBezTo>
                  <a:pt x="270" y="198"/>
                  <a:pt x="270" y="198"/>
                  <a:pt x="269" y="198"/>
                </a:cubicBezTo>
                <a:cubicBezTo>
                  <a:pt x="269" y="199"/>
                  <a:pt x="268" y="199"/>
                  <a:pt x="267" y="199"/>
                </a:cubicBezTo>
                <a:cubicBezTo>
                  <a:pt x="267" y="200"/>
                  <a:pt x="267" y="200"/>
                  <a:pt x="267" y="200"/>
                </a:cubicBezTo>
                <a:cubicBezTo>
                  <a:pt x="267" y="201"/>
                  <a:pt x="267" y="201"/>
                  <a:pt x="267" y="201"/>
                </a:cubicBezTo>
                <a:cubicBezTo>
                  <a:pt x="268" y="202"/>
                  <a:pt x="268" y="203"/>
                  <a:pt x="268" y="203"/>
                </a:cubicBezTo>
                <a:cubicBezTo>
                  <a:pt x="268" y="204"/>
                  <a:pt x="268" y="204"/>
                  <a:pt x="268" y="204"/>
                </a:cubicBezTo>
                <a:cubicBezTo>
                  <a:pt x="268" y="204"/>
                  <a:pt x="268" y="204"/>
                  <a:pt x="268" y="204"/>
                </a:cubicBezTo>
                <a:cubicBezTo>
                  <a:pt x="268" y="205"/>
                  <a:pt x="267" y="205"/>
                  <a:pt x="267" y="205"/>
                </a:cubicBezTo>
                <a:cubicBezTo>
                  <a:pt x="266" y="206"/>
                  <a:pt x="266" y="206"/>
                  <a:pt x="265" y="207"/>
                </a:cubicBezTo>
                <a:cubicBezTo>
                  <a:pt x="265" y="207"/>
                  <a:pt x="265" y="207"/>
                  <a:pt x="266" y="206"/>
                </a:cubicBezTo>
                <a:cubicBezTo>
                  <a:pt x="266" y="206"/>
                  <a:pt x="266" y="205"/>
                  <a:pt x="266" y="205"/>
                </a:cubicBezTo>
                <a:cubicBezTo>
                  <a:pt x="266" y="205"/>
                  <a:pt x="266" y="205"/>
                  <a:pt x="266" y="204"/>
                </a:cubicBezTo>
                <a:cubicBezTo>
                  <a:pt x="266" y="204"/>
                  <a:pt x="266" y="204"/>
                  <a:pt x="266" y="204"/>
                </a:cubicBezTo>
                <a:cubicBezTo>
                  <a:pt x="266" y="204"/>
                  <a:pt x="266" y="204"/>
                  <a:pt x="266" y="204"/>
                </a:cubicBezTo>
                <a:cubicBezTo>
                  <a:pt x="265" y="204"/>
                  <a:pt x="264" y="204"/>
                  <a:pt x="264" y="203"/>
                </a:cubicBezTo>
                <a:cubicBezTo>
                  <a:pt x="264" y="203"/>
                  <a:pt x="263" y="204"/>
                  <a:pt x="263" y="204"/>
                </a:cubicBezTo>
                <a:cubicBezTo>
                  <a:pt x="263" y="204"/>
                  <a:pt x="263" y="203"/>
                  <a:pt x="262" y="203"/>
                </a:cubicBezTo>
                <a:cubicBezTo>
                  <a:pt x="262" y="203"/>
                  <a:pt x="262" y="203"/>
                  <a:pt x="262" y="203"/>
                </a:cubicBezTo>
                <a:cubicBezTo>
                  <a:pt x="261" y="203"/>
                  <a:pt x="261" y="203"/>
                  <a:pt x="261" y="203"/>
                </a:cubicBezTo>
                <a:cubicBezTo>
                  <a:pt x="261" y="202"/>
                  <a:pt x="260" y="202"/>
                  <a:pt x="260" y="202"/>
                </a:cubicBezTo>
                <a:cubicBezTo>
                  <a:pt x="259" y="202"/>
                  <a:pt x="259" y="202"/>
                  <a:pt x="259" y="202"/>
                </a:cubicBezTo>
                <a:cubicBezTo>
                  <a:pt x="259" y="202"/>
                  <a:pt x="259" y="202"/>
                  <a:pt x="258" y="202"/>
                </a:cubicBezTo>
                <a:cubicBezTo>
                  <a:pt x="258" y="202"/>
                  <a:pt x="258" y="202"/>
                  <a:pt x="258" y="202"/>
                </a:cubicBezTo>
                <a:cubicBezTo>
                  <a:pt x="258" y="202"/>
                  <a:pt x="258" y="202"/>
                  <a:pt x="257" y="202"/>
                </a:cubicBezTo>
                <a:cubicBezTo>
                  <a:pt x="257" y="202"/>
                  <a:pt x="257" y="202"/>
                  <a:pt x="257" y="202"/>
                </a:cubicBezTo>
                <a:cubicBezTo>
                  <a:pt x="257" y="202"/>
                  <a:pt x="256" y="202"/>
                  <a:pt x="256" y="202"/>
                </a:cubicBezTo>
                <a:cubicBezTo>
                  <a:pt x="255" y="202"/>
                  <a:pt x="254" y="201"/>
                  <a:pt x="253" y="201"/>
                </a:cubicBezTo>
                <a:cubicBezTo>
                  <a:pt x="253" y="201"/>
                  <a:pt x="253" y="201"/>
                  <a:pt x="253" y="200"/>
                </a:cubicBezTo>
                <a:cubicBezTo>
                  <a:pt x="252" y="200"/>
                  <a:pt x="252" y="200"/>
                  <a:pt x="252" y="199"/>
                </a:cubicBezTo>
                <a:cubicBezTo>
                  <a:pt x="252" y="199"/>
                  <a:pt x="252" y="199"/>
                  <a:pt x="252" y="199"/>
                </a:cubicBezTo>
                <a:cubicBezTo>
                  <a:pt x="252" y="200"/>
                  <a:pt x="252" y="200"/>
                  <a:pt x="251" y="200"/>
                </a:cubicBezTo>
                <a:cubicBezTo>
                  <a:pt x="251" y="200"/>
                  <a:pt x="251" y="200"/>
                  <a:pt x="251" y="200"/>
                </a:cubicBezTo>
                <a:cubicBezTo>
                  <a:pt x="251" y="200"/>
                  <a:pt x="250" y="199"/>
                  <a:pt x="250" y="199"/>
                </a:cubicBezTo>
                <a:cubicBezTo>
                  <a:pt x="250" y="199"/>
                  <a:pt x="250" y="199"/>
                  <a:pt x="250" y="198"/>
                </a:cubicBezTo>
                <a:cubicBezTo>
                  <a:pt x="250" y="198"/>
                  <a:pt x="250" y="198"/>
                  <a:pt x="250" y="198"/>
                </a:cubicBezTo>
                <a:cubicBezTo>
                  <a:pt x="250" y="198"/>
                  <a:pt x="250" y="198"/>
                  <a:pt x="250" y="198"/>
                </a:cubicBezTo>
                <a:cubicBezTo>
                  <a:pt x="250" y="198"/>
                  <a:pt x="249" y="197"/>
                  <a:pt x="249" y="197"/>
                </a:cubicBezTo>
                <a:cubicBezTo>
                  <a:pt x="248" y="197"/>
                  <a:pt x="248" y="197"/>
                  <a:pt x="248" y="197"/>
                </a:cubicBezTo>
                <a:cubicBezTo>
                  <a:pt x="248" y="197"/>
                  <a:pt x="247" y="197"/>
                  <a:pt x="247" y="197"/>
                </a:cubicBezTo>
                <a:cubicBezTo>
                  <a:pt x="247" y="197"/>
                  <a:pt x="247" y="197"/>
                  <a:pt x="247" y="197"/>
                </a:cubicBezTo>
                <a:cubicBezTo>
                  <a:pt x="246" y="197"/>
                  <a:pt x="246" y="197"/>
                  <a:pt x="246" y="196"/>
                </a:cubicBezTo>
                <a:cubicBezTo>
                  <a:pt x="246" y="196"/>
                  <a:pt x="245" y="196"/>
                  <a:pt x="245" y="196"/>
                </a:cubicBezTo>
                <a:cubicBezTo>
                  <a:pt x="244" y="196"/>
                  <a:pt x="244" y="197"/>
                  <a:pt x="244" y="197"/>
                </a:cubicBezTo>
                <a:cubicBezTo>
                  <a:pt x="242" y="197"/>
                  <a:pt x="241" y="196"/>
                  <a:pt x="240" y="196"/>
                </a:cubicBezTo>
                <a:cubicBezTo>
                  <a:pt x="240" y="196"/>
                  <a:pt x="239" y="197"/>
                  <a:pt x="239" y="197"/>
                </a:cubicBezTo>
                <a:cubicBezTo>
                  <a:pt x="239" y="197"/>
                  <a:pt x="239" y="196"/>
                  <a:pt x="239" y="196"/>
                </a:cubicBezTo>
                <a:cubicBezTo>
                  <a:pt x="239" y="196"/>
                  <a:pt x="239" y="196"/>
                  <a:pt x="239" y="196"/>
                </a:cubicBezTo>
                <a:cubicBezTo>
                  <a:pt x="238" y="196"/>
                  <a:pt x="238" y="196"/>
                  <a:pt x="237" y="196"/>
                </a:cubicBezTo>
                <a:cubicBezTo>
                  <a:pt x="237" y="196"/>
                  <a:pt x="237" y="197"/>
                  <a:pt x="236" y="197"/>
                </a:cubicBezTo>
                <a:cubicBezTo>
                  <a:pt x="236" y="197"/>
                  <a:pt x="236" y="197"/>
                  <a:pt x="236" y="197"/>
                </a:cubicBezTo>
                <a:cubicBezTo>
                  <a:pt x="235" y="196"/>
                  <a:pt x="235" y="196"/>
                  <a:pt x="235" y="195"/>
                </a:cubicBezTo>
                <a:cubicBezTo>
                  <a:pt x="234" y="195"/>
                  <a:pt x="234" y="195"/>
                  <a:pt x="234" y="195"/>
                </a:cubicBezTo>
                <a:cubicBezTo>
                  <a:pt x="233" y="195"/>
                  <a:pt x="233" y="195"/>
                  <a:pt x="233" y="195"/>
                </a:cubicBezTo>
                <a:cubicBezTo>
                  <a:pt x="233" y="195"/>
                  <a:pt x="232" y="194"/>
                  <a:pt x="232" y="194"/>
                </a:cubicBezTo>
                <a:cubicBezTo>
                  <a:pt x="232" y="194"/>
                  <a:pt x="232" y="194"/>
                  <a:pt x="231" y="194"/>
                </a:cubicBezTo>
                <a:cubicBezTo>
                  <a:pt x="231" y="194"/>
                  <a:pt x="231" y="193"/>
                  <a:pt x="231" y="193"/>
                </a:cubicBezTo>
                <a:cubicBezTo>
                  <a:pt x="230" y="194"/>
                  <a:pt x="229" y="194"/>
                  <a:pt x="229" y="194"/>
                </a:cubicBezTo>
                <a:cubicBezTo>
                  <a:pt x="228" y="194"/>
                  <a:pt x="228" y="194"/>
                  <a:pt x="228" y="194"/>
                </a:cubicBezTo>
                <a:cubicBezTo>
                  <a:pt x="228" y="195"/>
                  <a:pt x="227" y="195"/>
                  <a:pt x="227" y="195"/>
                </a:cubicBezTo>
                <a:cubicBezTo>
                  <a:pt x="226" y="195"/>
                  <a:pt x="226" y="195"/>
                  <a:pt x="225" y="196"/>
                </a:cubicBezTo>
                <a:cubicBezTo>
                  <a:pt x="225" y="196"/>
                  <a:pt x="225" y="196"/>
                  <a:pt x="224" y="196"/>
                </a:cubicBezTo>
                <a:cubicBezTo>
                  <a:pt x="224" y="196"/>
                  <a:pt x="224" y="196"/>
                  <a:pt x="224" y="196"/>
                </a:cubicBezTo>
                <a:cubicBezTo>
                  <a:pt x="224" y="196"/>
                  <a:pt x="224" y="196"/>
                  <a:pt x="223" y="196"/>
                </a:cubicBezTo>
                <a:cubicBezTo>
                  <a:pt x="223" y="196"/>
                  <a:pt x="223" y="196"/>
                  <a:pt x="223" y="196"/>
                </a:cubicBezTo>
                <a:cubicBezTo>
                  <a:pt x="223" y="196"/>
                  <a:pt x="223" y="196"/>
                  <a:pt x="222" y="196"/>
                </a:cubicBezTo>
                <a:cubicBezTo>
                  <a:pt x="222" y="196"/>
                  <a:pt x="222" y="196"/>
                  <a:pt x="222" y="196"/>
                </a:cubicBezTo>
                <a:cubicBezTo>
                  <a:pt x="222" y="196"/>
                  <a:pt x="223" y="196"/>
                  <a:pt x="223" y="196"/>
                </a:cubicBezTo>
                <a:cubicBezTo>
                  <a:pt x="223" y="196"/>
                  <a:pt x="223" y="196"/>
                  <a:pt x="223" y="196"/>
                </a:cubicBezTo>
                <a:cubicBezTo>
                  <a:pt x="222" y="196"/>
                  <a:pt x="222" y="196"/>
                  <a:pt x="222" y="196"/>
                </a:cubicBezTo>
                <a:cubicBezTo>
                  <a:pt x="221" y="196"/>
                  <a:pt x="221" y="196"/>
                  <a:pt x="221" y="196"/>
                </a:cubicBezTo>
                <a:cubicBezTo>
                  <a:pt x="221" y="196"/>
                  <a:pt x="220" y="196"/>
                  <a:pt x="220" y="196"/>
                </a:cubicBezTo>
                <a:cubicBezTo>
                  <a:pt x="220" y="196"/>
                  <a:pt x="220" y="196"/>
                  <a:pt x="220" y="196"/>
                </a:cubicBezTo>
                <a:cubicBezTo>
                  <a:pt x="220" y="196"/>
                  <a:pt x="221" y="196"/>
                  <a:pt x="221" y="196"/>
                </a:cubicBezTo>
                <a:cubicBezTo>
                  <a:pt x="221" y="196"/>
                  <a:pt x="220" y="195"/>
                  <a:pt x="220" y="195"/>
                </a:cubicBezTo>
                <a:cubicBezTo>
                  <a:pt x="220" y="196"/>
                  <a:pt x="220" y="196"/>
                  <a:pt x="220" y="196"/>
                </a:cubicBezTo>
                <a:cubicBezTo>
                  <a:pt x="219" y="196"/>
                  <a:pt x="219" y="196"/>
                  <a:pt x="219" y="196"/>
                </a:cubicBezTo>
                <a:cubicBezTo>
                  <a:pt x="219" y="196"/>
                  <a:pt x="219" y="196"/>
                  <a:pt x="219" y="196"/>
                </a:cubicBezTo>
                <a:cubicBezTo>
                  <a:pt x="218" y="196"/>
                  <a:pt x="218" y="195"/>
                  <a:pt x="218" y="195"/>
                </a:cubicBezTo>
                <a:cubicBezTo>
                  <a:pt x="217" y="195"/>
                  <a:pt x="216" y="195"/>
                  <a:pt x="216" y="195"/>
                </a:cubicBezTo>
                <a:cubicBezTo>
                  <a:pt x="215" y="195"/>
                  <a:pt x="215" y="195"/>
                  <a:pt x="215" y="196"/>
                </a:cubicBezTo>
                <a:cubicBezTo>
                  <a:pt x="215" y="196"/>
                  <a:pt x="215" y="196"/>
                  <a:pt x="215" y="196"/>
                </a:cubicBezTo>
                <a:cubicBezTo>
                  <a:pt x="214" y="196"/>
                  <a:pt x="214" y="196"/>
                  <a:pt x="214" y="196"/>
                </a:cubicBezTo>
                <a:cubicBezTo>
                  <a:pt x="214" y="196"/>
                  <a:pt x="214" y="196"/>
                  <a:pt x="214" y="196"/>
                </a:cubicBezTo>
                <a:cubicBezTo>
                  <a:pt x="214" y="196"/>
                  <a:pt x="214" y="196"/>
                  <a:pt x="214" y="196"/>
                </a:cubicBezTo>
                <a:cubicBezTo>
                  <a:pt x="214" y="196"/>
                  <a:pt x="214" y="196"/>
                  <a:pt x="213" y="196"/>
                </a:cubicBezTo>
                <a:cubicBezTo>
                  <a:pt x="213" y="196"/>
                  <a:pt x="213" y="196"/>
                  <a:pt x="213" y="196"/>
                </a:cubicBezTo>
                <a:cubicBezTo>
                  <a:pt x="212" y="196"/>
                  <a:pt x="212" y="196"/>
                  <a:pt x="212" y="197"/>
                </a:cubicBezTo>
                <a:cubicBezTo>
                  <a:pt x="212" y="197"/>
                  <a:pt x="212" y="197"/>
                  <a:pt x="211" y="197"/>
                </a:cubicBezTo>
                <a:cubicBezTo>
                  <a:pt x="211" y="196"/>
                  <a:pt x="211" y="196"/>
                  <a:pt x="211" y="196"/>
                </a:cubicBezTo>
                <a:cubicBezTo>
                  <a:pt x="211" y="196"/>
                  <a:pt x="212" y="196"/>
                  <a:pt x="212" y="196"/>
                </a:cubicBezTo>
                <a:cubicBezTo>
                  <a:pt x="212" y="196"/>
                  <a:pt x="211" y="196"/>
                  <a:pt x="211" y="196"/>
                </a:cubicBezTo>
                <a:cubicBezTo>
                  <a:pt x="211" y="196"/>
                  <a:pt x="211" y="196"/>
                  <a:pt x="210" y="196"/>
                </a:cubicBezTo>
                <a:cubicBezTo>
                  <a:pt x="210" y="196"/>
                  <a:pt x="210" y="196"/>
                  <a:pt x="209" y="196"/>
                </a:cubicBezTo>
                <a:cubicBezTo>
                  <a:pt x="209" y="196"/>
                  <a:pt x="210" y="196"/>
                  <a:pt x="210" y="196"/>
                </a:cubicBezTo>
                <a:cubicBezTo>
                  <a:pt x="210" y="196"/>
                  <a:pt x="209" y="196"/>
                  <a:pt x="209" y="196"/>
                </a:cubicBezTo>
                <a:cubicBezTo>
                  <a:pt x="209" y="196"/>
                  <a:pt x="209" y="196"/>
                  <a:pt x="208" y="196"/>
                </a:cubicBezTo>
                <a:cubicBezTo>
                  <a:pt x="208" y="195"/>
                  <a:pt x="208" y="195"/>
                  <a:pt x="207" y="195"/>
                </a:cubicBezTo>
                <a:cubicBezTo>
                  <a:pt x="207" y="195"/>
                  <a:pt x="207" y="195"/>
                  <a:pt x="207" y="195"/>
                </a:cubicBezTo>
                <a:cubicBezTo>
                  <a:pt x="207" y="195"/>
                  <a:pt x="207" y="195"/>
                  <a:pt x="207" y="195"/>
                </a:cubicBezTo>
                <a:cubicBezTo>
                  <a:pt x="207" y="195"/>
                  <a:pt x="206" y="195"/>
                  <a:pt x="206" y="195"/>
                </a:cubicBezTo>
                <a:cubicBezTo>
                  <a:pt x="206" y="195"/>
                  <a:pt x="206" y="195"/>
                  <a:pt x="206" y="196"/>
                </a:cubicBezTo>
                <a:cubicBezTo>
                  <a:pt x="205" y="196"/>
                  <a:pt x="205" y="197"/>
                  <a:pt x="204" y="198"/>
                </a:cubicBezTo>
                <a:cubicBezTo>
                  <a:pt x="203" y="198"/>
                  <a:pt x="203" y="199"/>
                  <a:pt x="202" y="199"/>
                </a:cubicBezTo>
                <a:cubicBezTo>
                  <a:pt x="202" y="199"/>
                  <a:pt x="203" y="198"/>
                  <a:pt x="204" y="198"/>
                </a:cubicBezTo>
                <a:cubicBezTo>
                  <a:pt x="204" y="197"/>
                  <a:pt x="204" y="196"/>
                  <a:pt x="204" y="196"/>
                </a:cubicBezTo>
                <a:cubicBezTo>
                  <a:pt x="205" y="195"/>
                  <a:pt x="205" y="195"/>
                  <a:pt x="205" y="195"/>
                </a:cubicBezTo>
                <a:cubicBezTo>
                  <a:pt x="205" y="194"/>
                  <a:pt x="205" y="194"/>
                  <a:pt x="205" y="194"/>
                </a:cubicBezTo>
                <a:cubicBezTo>
                  <a:pt x="205" y="194"/>
                  <a:pt x="205" y="194"/>
                  <a:pt x="204" y="194"/>
                </a:cubicBezTo>
                <a:cubicBezTo>
                  <a:pt x="204" y="194"/>
                  <a:pt x="203" y="194"/>
                  <a:pt x="203" y="194"/>
                </a:cubicBezTo>
                <a:cubicBezTo>
                  <a:pt x="202" y="194"/>
                  <a:pt x="202" y="194"/>
                  <a:pt x="201" y="194"/>
                </a:cubicBezTo>
                <a:cubicBezTo>
                  <a:pt x="201" y="194"/>
                  <a:pt x="200" y="195"/>
                  <a:pt x="200" y="195"/>
                </a:cubicBezTo>
                <a:cubicBezTo>
                  <a:pt x="200" y="195"/>
                  <a:pt x="199" y="195"/>
                  <a:pt x="199" y="195"/>
                </a:cubicBezTo>
                <a:cubicBezTo>
                  <a:pt x="199" y="196"/>
                  <a:pt x="199" y="196"/>
                  <a:pt x="199" y="196"/>
                </a:cubicBezTo>
                <a:cubicBezTo>
                  <a:pt x="198" y="196"/>
                  <a:pt x="198" y="196"/>
                  <a:pt x="197" y="197"/>
                </a:cubicBezTo>
                <a:cubicBezTo>
                  <a:pt x="197" y="197"/>
                  <a:pt x="196" y="198"/>
                  <a:pt x="196" y="198"/>
                </a:cubicBezTo>
                <a:cubicBezTo>
                  <a:pt x="196" y="199"/>
                  <a:pt x="195" y="199"/>
                  <a:pt x="195" y="199"/>
                </a:cubicBezTo>
                <a:cubicBezTo>
                  <a:pt x="195" y="199"/>
                  <a:pt x="195" y="199"/>
                  <a:pt x="196" y="198"/>
                </a:cubicBezTo>
                <a:cubicBezTo>
                  <a:pt x="196" y="198"/>
                  <a:pt x="195" y="198"/>
                  <a:pt x="195" y="197"/>
                </a:cubicBezTo>
                <a:cubicBezTo>
                  <a:pt x="195" y="197"/>
                  <a:pt x="195" y="197"/>
                  <a:pt x="195" y="196"/>
                </a:cubicBezTo>
                <a:cubicBezTo>
                  <a:pt x="195" y="196"/>
                  <a:pt x="195" y="196"/>
                  <a:pt x="195" y="196"/>
                </a:cubicBezTo>
                <a:cubicBezTo>
                  <a:pt x="194" y="196"/>
                  <a:pt x="193" y="196"/>
                  <a:pt x="193" y="196"/>
                </a:cubicBezTo>
                <a:cubicBezTo>
                  <a:pt x="193" y="196"/>
                  <a:pt x="193" y="196"/>
                  <a:pt x="193" y="196"/>
                </a:cubicBezTo>
                <a:cubicBezTo>
                  <a:pt x="193" y="195"/>
                  <a:pt x="193" y="195"/>
                  <a:pt x="194" y="195"/>
                </a:cubicBezTo>
                <a:cubicBezTo>
                  <a:pt x="194" y="195"/>
                  <a:pt x="194" y="195"/>
                  <a:pt x="194" y="195"/>
                </a:cubicBezTo>
                <a:cubicBezTo>
                  <a:pt x="194" y="195"/>
                  <a:pt x="194" y="194"/>
                  <a:pt x="194" y="194"/>
                </a:cubicBezTo>
                <a:cubicBezTo>
                  <a:pt x="193" y="194"/>
                  <a:pt x="192" y="195"/>
                  <a:pt x="191" y="195"/>
                </a:cubicBezTo>
                <a:cubicBezTo>
                  <a:pt x="191" y="194"/>
                  <a:pt x="191" y="194"/>
                  <a:pt x="191" y="194"/>
                </a:cubicBezTo>
                <a:cubicBezTo>
                  <a:pt x="191" y="194"/>
                  <a:pt x="191" y="194"/>
                  <a:pt x="191" y="193"/>
                </a:cubicBezTo>
                <a:cubicBezTo>
                  <a:pt x="191" y="193"/>
                  <a:pt x="192" y="193"/>
                  <a:pt x="192" y="192"/>
                </a:cubicBezTo>
                <a:cubicBezTo>
                  <a:pt x="193" y="192"/>
                  <a:pt x="193" y="192"/>
                  <a:pt x="193" y="192"/>
                </a:cubicBezTo>
                <a:cubicBezTo>
                  <a:pt x="193" y="192"/>
                  <a:pt x="192" y="191"/>
                  <a:pt x="192" y="191"/>
                </a:cubicBezTo>
                <a:cubicBezTo>
                  <a:pt x="192" y="191"/>
                  <a:pt x="192" y="191"/>
                  <a:pt x="191" y="191"/>
                </a:cubicBezTo>
                <a:cubicBezTo>
                  <a:pt x="191" y="191"/>
                  <a:pt x="191" y="191"/>
                  <a:pt x="191" y="191"/>
                </a:cubicBezTo>
                <a:cubicBezTo>
                  <a:pt x="190" y="191"/>
                  <a:pt x="190" y="191"/>
                  <a:pt x="190" y="192"/>
                </a:cubicBezTo>
                <a:cubicBezTo>
                  <a:pt x="190" y="191"/>
                  <a:pt x="190" y="191"/>
                  <a:pt x="190" y="191"/>
                </a:cubicBezTo>
                <a:cubicBezTo>
                  <a:pt x="189" y="191"/>
                  <a:pt x="189" y="191"/>
                  <a:pt x="189" y="191"/>
                </a:cubicBezTo>
                <a:cubicBezTo>
                  <a:pt x="188" y="192"/>
                  <a:pt x="188" y="192"/>
                  <a:pt x="187" y="192"/>
                </a:cubicBezTo>
                <a:cubicBezTo>
                  <a:pt x="187" y="192"/>
                  <a:pt x="186" y="192"/>
                  <a:pt x="186" y="192"/>
                </a:cubicBezTo>
                <a:cubicBezTo>
                  <a:pt x="186" y="192"/>
                  <a:pt x="186" y="192"/>
                  <a:pt x="185" y="192"/>
                </a:cubicBezTo>
                <a:cubicBezTo>
                  <a:pt x="185" y="192"/>
                  <a:pt x="185" y="192"/>
                  <a:pt x="185" y="193"/>
                </a:cubicBezTo>
                <a:cubicBezTo>
                  <a:pt x="184" y="193"/>
                  <a:pt x="184" y="193"/>
                  <a:pt x="183" y="193"/>
                </a:cubicBezTo>
                <a:cubicBezTo>
                  <a:pt x="183" y="193"/>
                  <a:pt x="183" y="194"/>
                  <a:pt x="183" y="194"/>
                </a:cubicBezTo>
                <a:cubicBezTo>
                  <a:pt x="183" y="194"/>
                  <a:pt x="183" y="194"/>
                  <a:pt x="183" y="194"/>
                </a:cubicBezTo>
                <a:cubicBezTo>
                  <a:pt x="183" y="194"/>
                  <a:pt x="182" y="194"/>
                  <a:pt x="182" y="194"/>
                </a:cubicBezTo>
                <a:cubicBezTo>
                  <a:pt x="182" y="194"/>
                  <a:pt x="182" y="194"/>
                  <a:pt x="182" y="193"/>
                </a:cubicBezTo>
                <a:cubicBezTo>
                  <a:pt x="182" y="193"/>
                  <a:pt x="183" y="193"/>
                  <a:pt x="183" y="193"/>
                </a:cubicBezTo>
                <a:cubicBezTo>
                  <a:pt x="183" y="193"/>
                  <a:pt x="182" y="193"/>
                  <a:pt x="182" y="192"/>
                </a:cubicBezTo>
                <a:cubicBezTo>
                  <a:pt x="182" y="192"/>
                  <a:pt x="182" y="192"/>
                  <a:pt x="183" y="192"/>
                </a:cubicBezTo>
                <a:cubicBezTo>
                  <a:pt x="183" y="192"/>
                  <a:pt x="183" y="191"/>
                  <a:pt x="183" y="191"/>
                </a:cubicBezTo>
                <a:cubicBezTo>
                  <a:pt x="183" y="191"/>
                  <a:pt x="183" y="191"/>
                  <a:pt x="183" y="191"/>
                </a:cubicBezTo>
                <a:cubicBezTo>
                  <a:pt x="183" y="190"/>
                  <a:pt x="183" y="190"/>
                  <a:pt x="183" y="190"/>
                </a:cubicBezTo>
                <a:cubicBezTo>
                  <a:pt x="183" y="190"/>
                  <a:pt x="183" y="190"/>
                  <a:pt x="182" y="190"/>
                </a:cubicBezTo>
                <a:cubicBezTo>
                  <a:pt x="182" y="190"/>
                  <a:pt x="182" y="190"/>
                  <a:pt x="182" y="190"/>
                </a:cubicBezTo>
                <a:cubicBezTo>
                  <a:pt x="182" y="190"/>
                  <a:pt x="181" y="191"/>
                  <a:pt x="181" y="191"/>
                </a:cubicBezTo>
                <a:cubicBezTo>
                  <a:pt x="181" y="191"/>
                  <a:pt x="181" y="192"/>
                  <a:pt x="181" y="192"/>
                </a:cubicBezTo>
                <a:cubicBezTo>
                  <a:pt x="181" y="192"/>
                  <a:pt x="181" y="192"/>
                  <a:pt x="181" y="192"/>
                </a:cubicBezTo>
                <a:cubicBezTo>
                  <a:pt x="180" y="192"/>
                  <a:pt x="180" y="192"/>
                  <a:pt x="180" y="192"/>
                </a:cubicBezTo>
                <a:cubicBezTo>
                  <a:pt x="179" y="192"/>
                  <a:pt x="179" y="192"/>
                  <a:pt x="179" y="193"/>
                </a:cubicBezTo>
                <a:cubicBezTo>
                  <a:pt x="179" y="193"/>
                  <a:pt x="179" y="193"/>
                  <a:pt x="179" y="193"/>
                </a:cubicBezTo>
                <a:cubicBezTo>
                  <a:pt x="179" y="193"/>
                  <a:pt x="179" y="193"/>
                  <a:pt x="179" y="194"/>
                </a:cubicBezTo>
                <a:cubicBezTo>
                  <a:pt x="179" y="194"/>
                  <a:pt x="179" y="194"/>
                  <a:pt x="179" y="194"/>
                </a:cubicBezTo>
                <a:cubicBezTo>
                  <a:pt x="178" y="194"/>
                  <a:pt x="178" y="195"/>
                  <a:pt x="178" y="195"/>
                </a:cubicBezTo>
                <a:cubicBezTo>
                  <a:pt x="178" y="195"/>
                  <a:pt x="178" y="195"/>
                  <a:pt x="178" y="195"/>
                </a:cubicBezTo>
                <a:cubicBezTo>
                  <a:pt x="178" y="195"/>
                  <a:pt x="178" y="195"/>
                  <a:pt x="177" y="196"/>
                </a:cubicBezTo>
                <a:cubicBezTo>
                  <a:pt x="178" y="196"/>
                  <a:pt x="178" y="196"/>
                  <a:pt x="178" y="196"/>
                </a:cubicBezTo>
                <a:cubicBezTo>
                  <a:pt x="177" y="196"/>
                  <a:pt x="177" y="196"/>
                  <a:pt x="177" y="196"/>
                </a:cubicBezTo>
                <a:cubicBezTo>
                  <a:pt x="177" y="196"/>
                  <a:pt x="177" y="195"/>
                  <a:pt x="177" y="195"/>
                </a:cubicBezTo>
                <a:cubicBezTo>
                  <a:pt x="177" y="195"/>
                  <a:pt x="177" y="195"/>
                  <a:pt x="177" y="194"/>
                </a:cubicBezTo>
                <a:cubicBezTo>
                  <a:pt x="177" y="194"/>
                  <a:pt x="177" y="194"/>
                  <a:pt x="176" y="194"/>
                </a:cubicBezTo>
                <a:cubicBezTo>
                  <a:pt x="176" y="195"/>
                  <a:pt x="176" y="195"/>
                  <a:pt x="176" y="195"/>
                </a:cubicBezTo>
                <a:cubicBezTo>
                  <a:pt x="176" y="195"/>
                  <a:pt x="176" y="196"/>
                  <a:pt x="176" y="196"/>
                </a:cubicBezTo>
                <a:cubicBezTo>
                  <a:pt x="175" y="196"/>
                  <a:pt x="175" y="196"/>
                  <a:pt x="175" y="196"/>
                </a:cubicBezTo>
                <a:cubicBezTo>
                  <a:pt x="175" y="196"/>
                  <a:pt x="175" y="195"/>
                  <a:pt x="175" y="195"/>
                </a:cubicBezTo>
                <a:cubicBezTo>
                  <a:pt x="175" y="195"/>
                  <a:pt x="175" y="195"/>
                  <a:pt x="174" y="195"/>
                </a:cubicBezTo>
                <a:cubicBezTo>
                  <a:pt x="174" y="195"/>
                  <a:pt x="174" y="195"/>
                  <a:pt x="173" y="195"/>
                </a:cubicBezTo>
                <a:cubicBezTo>
                  <a:pt x="173" y="195"/>
                  <a:pt x="173" y="195"/>
                  <a:pt x="173" y="195"/>
                </a:cubicBezTo>
                <a:cubicBezTo>
                  <a:pt x="174" y="194"/>
                  <a:pt x="174" y="194"/>
                  <a:pt x="174" y="193"/>
                </a:cubicBezTo>
                <a:cubicBezTo>
                  <a:pt x="175" y="193"/>
                  <a:pt x="175" y="193"/>
                  <a:pt x="175" y="193"/>
                </a:cubicBezTo>
                <a:cubicBezTo>
                  <a:pt x="176" y="193"/>
                  <a:pt x="176" y="193"/>
                  <a:pt x="177" y="193"/>
                </a:cubicBezTo>
                <a:cubicBezTo>
                  <a:pt x="177" y="193"/>
                  <a:pt x="178" y="192"/>
                  <a:pt x="178" y="192"/>
                </a:cubicBezTo>
                <a:cubicBezTo>
                  <a:pt x="179" y="192"/>
                  <a:pt x="179" y="191"/>
                  <a:pt x="179" y="191"/>
                </a:cubicBezTo>
                <a:cubicBezTo>
                  <a:pt x="179" y="191"/>
                  <a:pt x="180" y="190"/>
                  <a:pt x="180" y="190"/>
                </a:cubicBezTo>
                <a:cubicBezTo>
                  <a:pt x="180" y="190"/>
                  <a:pt x="180" y="190"/>
                  <a:pt x="180" y="190"/>
                </a:cubicBezTo>
                <a:cubicBezTo>
                  <a:pt x="180" y="190"/>
                  <a:pt x="180" y="189"/>
                  <a:pt x="180" y="189"/>
                </a:cubicBezTo>
                <a:cubicBezTo>
                  <a:pt x="180" y="189"/>
                  <a:pt x="180" y="189"/>
                  <a:pt x="180" y="189"/>
                </a:cubicBezTo>
                <a:cubicBezTo>
                  <a:pt x="179" y="189"/>
                  <a:pt x="179" y="189"/>
                  <a:pt x="178" y="189"/>
                </a:cubicBezTo>
                <a:cubicBezTo>
                  <a:pt x="178" y="189"/>
                  <a:pt x="178" y="189"/>
                  <a:pt x="178" y="190"/>
                </a:cubicBezTo>
                <a:cubicBezTo>
                  <a:pt x="178" y="189"/>
                  <a:pt x="178" y="189"/>
                  <a:pt x="178" y="189"/>
                </a:cubicBezTo>
                <a:cubicBezTo>
                  <a:pt x="177" y="189"/>
                  <a:pt x="177" y="189"/>
                  <a:pt x="177" y="189"/>
                </a:cubicBezTo>
                <a:cubicBezTo>
                  <a:pt x="177" y="189"/>
                  <a:pt x="177" y="189"/>
                  <a:pt x="177" y="189"/>
                </a:cubicBezTo>
                <a:cubicBezTo>
                  <a:pt x="177" y="189"/>
                  <a:pt x="177" y="189"/>
                  <a:pt x="177" y="189"/>
                </a:cubicBezTo>
                <a:cubicBezTo>
                  <a:pt x="177" y="188"/>
                  <a:pt x="177" y="188"/>
                  <a:pt x="177" y="188"/>
                </a:cubicBezTo>
                <a:cubicBezTo>
                  <a:pt x="177" y="188"/>
                  <a:pt x="177" y="188"/>
                  <a:pt x="177" y="188"/>
                </a:cubicBezTo>
                <a:cubicBezTo>
                  <a:pt x="177" y="188"/>
                  <a:pt x="177" y="188"/>
                  <a:pt x="177" y="188"/>
                </a:cubicBezTo>
                <a:cubicBezTo>
                  <a:pt x="176" y="188"/>
                  <a:pt x="176" y="189"/>
                  <a:pt x="175" y="189"/>
                </a:cubicBezTo>
                <a:cubicBezTo>
                  <a:pt x="175" y="190"/>
                  <a:pt x="175" y="190"/>
                  <a:pt x="174" y="190"/>
                </a:cubicBezTo>
                <a:cubicBezTo>
                  <a:pt x="174" y="190"/>
                  <a:pt x="174" y="190"/>
                  <a:pt x="173" y="191"/>
                </a:cubicBezTo>
                <a:cubicBezTo>
                  <a:pt x="173" y="191"/>
                  <a:pt x="172" y="191"/>
                  <a:pt x="172" y="192"/>
                </a:cubicBezTo>
                <a:cubicBezTo>
                  <a:pt x="171" y="192"/>
                  <a:pt x="171" y="193"/>
                  <a:pt x="170" y="194"/>
                </a:cubicBezTo>
                <a:cubicBezTo>
                  <a:pt x="170" y="194"/>
                  <a:pt x="169" y="194"/>
                  <a:pt x="169" y="195"/>
                </a:cubicBezTo>
                <a:cubicBezTo>
                  <a:pt x="168" y="195"/>
                  <a:pt x="167" y="195"/>
                  <a:pt x="166" y="196"/>
                </a:cubicBezTo>
                <a:cubicBezTo>
                  <a:pt x="165" y="196"/>
                  <a:pt x="165" y="196"/>
                  <a:pt x="164" y="196"/>
                </a:cubicBezTo>
                <a:cubicBezTo>
                  <a:pt x="164" y="196"/>
                  <a:pt x="164" y="196"/>
                  <a:pt x="164" y="196"/>
                </a:cubicBezTo>
                <a:cubicBezTo>
                  <a:pt x="164" y="196"/>
                  <a:pt x="164" y="196"/>
                  <a:pt x="164" y="196"/>
                </a:cubicBezTo>
                <a:cubicBezTo>
                  <a:pt x="163" y="196"/>
                  <a:pt x="163" y="196"/>
                  <a:pt x="163" y="196"/>
                </a:cubicBezTo>
                <a:cubicBezTo>
                  <a:pt x="162" y="196"/>
                  <a:pt x="162" y="196"/>
                  <a:pt x="161" y="196"/>
                </a:cubicBezTo>
                <a:cubicBezTo>
                  <a:pt x="161" y="197"/>
                  <a:pt x="161" y="197"/>
                  <a:pt x="160" y="197"/>
                </a:cubicBezTo>
                <a:cubicBezTo>
                  <a:pt x="160" y="197"/>
                  <a:pt x="160" y="197"/>
                  <a:pt x="160" y="198"/>
                </a:cubicBezTo>
                <a:cubicBezTo>
                  <a:pt x="160" y="198"/>
                  <a:pt x="160" y="198"/>
                  <a:pt x="160" y="198"/>
                </a:cubicBezTo>
                <a:cubicBezTo>
                  <a:pt x="160" y="198"/>
                  <a:pt x="159" y="198"/>
                  <a:pt x="159" y="198"/>
                </a:cubicBezTo>
                <a:cubicBezTo>
                  <a:pt x="159" y="197"/>
                  <a:pt x="159" y="197"/>
                  <a:pt x="159" y="197"/>
                </a:cubicBezTo>
                <a:cubicBezTo>
                  <a:pt x="160" y="197"/>
                  <a:pt x="160" y="197"/>
                  <a:pt x="160" y="196"/>
                </a:cubicBezTo>
                <a:cubicBezTo>
                  <a:pt x="160" y="196"/>
                  <a:pt x="160" y="196"/>
                  <a:pt x="160" y="196"/>
                </a:cubicBezTo>
                <a:cubicBezTo>
                  <a:pt x="159" y="197"/>
                  <a:pt x="159" y="197"/>
                  <a:pt x="158" y="197"/>
                </a:cubicBezTo>
                <a:cubicBezTo>
                  <a:pt x="158" y="198"/>
                  <a:pt x="157" y="198"/>
                  <a:pt x="156" y="199"/>
                </a:cubicBezTo>
                <a:cubicBezTo>
                  <a:pt x="156" y="199"/>
                  <a:pt x="156" y="199"/>
                  <a:pt x="155" y="200"/>
                </a:cubicBezTo>
                <a:cubicBezTo>
                  <a:pt x="155" y="200"/>
                  <a:pt x="155" y="201"/>
                  <a:pt x="155" y="201"/>
                </a:cubicBezTo>
                <a:cubicBezTo>
                  <a:pt x="155" y="201"/>
                  <a:pt x="155" y="201"/>
                  <a:pt x="155" y="201"/>
                </a:cubicBezTo>
                <a:cubicBezTo>
                  <a:pt x="156" y="201"/>
                  <a:pt x="156" y="201"/>
                  <a:pt x="157" y="201"/>
                </a:cubicBezTo>
                <a:cubicBezTo>
                  <a:pt x="157" y="201"/>
                  <a:pt x="156" y="201"/>
                  <a:pt x="156" y="202"/>
                </a:cubicBezTo>
                <a:cubicBezTo>
                  <a:pt x="156" y="202"/>
                  <a:pt x="155" y="202"/>
                  <a:pt x="155" y="202"/>
                </a:cubicBezTo>
                <a:cubicBezTo>
                  <a:pt x="154" y="203"/>
                  <a:pt x="154" y="203"/>
                  <a:pt x="154" y="204"/>
                </a:cubicBezTo>
                <a:cubicBezTo>
                  <a:pt x="153" y="204"/>
                  <a:pt x="153" y="205"/>
                  <a:pt x="153" y="206"/>
                </a:cubicBezTo>
                <a:cubicBezTo>
                  <a:pt x="153" y="206"/>
                  <a:pt x="153" y="206"/>
                  <a:pt x="153" y="207"/>
                </a:cubicBezTo>
                <a:cubicBezTo>
                  <a:pt x="153" y="207"/>
                  <a:pt x="153" y="207"/>
                  <a:pt x="153" y="207"/>
                </a:cubicBezTo>
                <a:cubicBezTo>
                  <a:pt x="152" y="207"/>
                  <a:pt x="152" y="207"/>
                  <a:pt x="152" y="207"/>
                </a:cubicBezTo>
                <a:cubicBezTo>
                  <a:pt x="152" y="207"/>
                  <a:pt x="152" y="206"/>
                  <a:pt x="152" y="206"/>
                </a:cubicBezTo>
                <a:cubicBezTo>
                  <a:pt x="152" y="205"/>
                  <a:pt x="153" y="204"/>
                  <a:pt x="153" y="204"/>
                </a:cubicBezTo>
                <a:cubicBezTo>
                  <a:pt x="153" y="203"/>
                  <a:pt x="153" y="203"/>
                  <a:pt x="153" y="203"/>
                </a:cubicBezTo>
                <a:cubicBezTo>
                  <a:pt x="153" y="203"/>
                  <a:pt x="153" y="203"/>
                  <a:pt x="152" y="203"/>
                </a:cubicBezTo>
                <a:cubicBezTo>
                  <a:pt x="151" y="204"/>
                  <a:pt x="151" y="205"/>
                  <a:pt x="150" y="205"/>
                </a:cubicBezTo>
                <a:cubicBezTo>
                  <a:pt x="149" y="205"/>
                  <a:pt x="149" y="206"/>
                  <a:pt x="149" y="206"/>
                </a:cubicBezTo>
                <a:cubicBezTo>
                  <a:pt x="148" y="206"/>
                  <a:pt x="148" y="206"/>
                  <a:pt x="148" y="206"/>
                </a:cubicBezTo>
                <a:cubicBezTo>
                  <a:pt x="147" y="206"/>
                  <a:pt x="147" y="206"/>
                  <a:pt x="147" y="206"/>
                </a:cubicBezTo>
                <a:cubicBezTo>
                  <a:pt x="146" y="206"/>
                  <a:pt x="146" y="206"/>
                  <a:pt x="145" y="206"/>
                </a:cubicBezTo>
                <a:cubicBezTo>
                  <a:pt x="145" y="206"/>
                  <a:pt x="145" y="206"/>
                  <a:pt x="144" y="206"/>
                </a:cubicBezTo>
                <a:cubicBezTo>
                  <a:pt x="144" y="206"/>
                  <a:pt x="145" y="206"/>
                  <a:pt x="145" y="206"/>
                </a:cubicBezTo>
                <a:cubicBezTo>
                  <a:pt x="145" y="206"/>
                  <a:pt x="146" y="206"/>
                  <a:pt x="147" y="206"/>
                </a:cubicBezTo>
                <a:cubicBezTo>
                  <a:pt x="147" y="206"/>
                  <a:pt x="147" y="206"/>
                  <a:pt x="147" y="206"/>
                </a:cubicBezTo>
                <a:cubicBezTo>
                  <a:pt x="147" y="206"/>
                  <a:pt x="147" y="207"/>
                  <a:pt x="147" y="207"/>
                </a:cubicBezTo>
                <a:cubicBezTo>
                  <a:pt x="146" y="207"/>
                  <a:pt x="146" y="207"/>
                  <a:pt x="145" y="207"/>
                </a:cubicBezTo>
                <a:cubicBezTo>
                  <a:pt x="144" y="207"/>
                  <a:pt x="144" y="208"/>
                  <a:pt x="143" y="208"/>
                </a:cubicBezTo>
                <a:cubicBezTo>
                  <a:pt x="142" y="208"/>
                  <a:pt x="142" y="209"/>
                  <a:pt x="141" y="210"/>
                </a:cubicBezTo>
                <a:cubicBezTo>
                  <a:pt x="140" y="210"/>
                  <a:pt x="139" y="211"/>
                  <a:pt x="139" y="212"/>
                </a:cubicBezTo>
                <a:cubicBezTo>
                  <a:pt x="138" y="213"/>
                  <a:pt x="137" y="214"/>
                  <a:pt x="136" y="215"/>
                </a:cubicBezTo>
                <a:cubicBezTo>
                  <a:pt x="135" y="215"/>
                  <a:pt x="135" y="216"/>
                  <a:pt x="134" y="217"/>
                </a:cubicBezTo>
                <a:cubicBezTo>
                  <a:pt x="133" y="217"/>
                  <a:pt x="133" y="218"/>
                  <a:pt x="132" y="219"/>
                </a:cubicBezTo>
                <a:cubicBezTo>
                  <a:pt x="132" y="220"/>
                  <a:pt x="131" y="221"/>
                  <a:pt x="130" y="222"/>
                </a:cubicBezTo>
                <a:cubicBezTo>
                  <a:pt x="130" y="222"/>
                  <a:pt x="129" y="222"/>
                  <a:pt x="128" y="223"/>
                </a:cubicBezTo>
                <a:cubicBezTo>
                  <a:pt x="128" y="223"/>
                  <a:pt x="128" y="223"/>
                  <a:pt x="127" y="223"/>
                </a:cubicBezTo>
                <a:cubicBezTo>
                  <a:pt x="127" y="224"/>
                  <a:pt x="127" y="224"/>
                  <a:pt x="126" y="225"/>
                </a:cubicBezTo>
                <a:cubicBezTo>
                  <a:pt x="126" y="225"/>
                  <a:pt x="125" y="225"/>
                  <a:pt x="125" y="225"/>
                </a:cubicBezTo>
                <a:cubicBezTo>
                  <a:pt x="124" y="226"/>
                  <a:pt x="124" y="226"/>
                  <a:pt x="123" y="227"/>
                </a:cubicBezTo>
                <a:cubicBezTo>
                  <a:pt x="123" y="227"/>
                  <a:pt x="122" y="227"/>
                  <a:pt x="122" y="228"/>
                </a:cubicBezTo>
                <a:cubicBezTo>
                  <a:pt x="121" y="228"/>
                  <a:pt x="121" y="228"/>
                  <a:pt x="121" y="228"/>
                </a:cubicBezTo>
                <a:cubicBezTo>
                  <a:pt x="120" y="228"/>
                  <a:pt x="119" y="228"/>
                  <a:pt x="119" y="228"/>
                </a:cubicBezTo>
                <a:cubicBezTo>
                  <a:pt x="118" y="228"/>
                  <a:pt x="118" y="228"/>
                  <a:pt x="117" y="228"/>
                </a:cubicBezTo>
                <a:cubicBezTo>
                  <a:pt x="117" y="228"/>
                  <a:pt x="116" y="228"/>
                  <a:pt x="116" y="228"/>
                </a:cubicBezTo>
                <a:cubicBezTo>
                  <a:pt x="115" y="229"/>
                  <a:pt x="114" y="229"/>
                  <a:pt x="114" y="229"/>
                </a:cubicBezTo>
                <a:cubicBezTo>
                  <a:pt x="114" y="229"/>
                  <a:pt x="113" y="229"/>
                  <a:pt x="113" y="229"/>
                </a:cubicBezTo>
                <a:cubicBezTo>
                  <a:pt x="113" y="230"/>
                  <a:pt x="113" y="230"/>
                  <a:pt x="112" y="230"/>
                </a:cubicBezTo>
                <a:cubicBezTo>
                  <a:pt x="112" y="231"/>
                  <a:pt x="111" y="232"/>
                  <a:pt x="111" y="233"/>
                </a:cubicBezTo>
                <a:cubicBezTo>
                  <a:pt x="111" y="233"/>
                  <a:pt x="111" y="233"/>
                  <a:pt x="111" y="234"/>
                </a:cubicBezTo>
                <a:cubicBezTo>
                  <a:pt x="110" y="234"/>
                  <a:pt x="110" y="234"/>
                  <a:pt x="110" y="235"/>
                </a:cubicBezTo>
                <a:cubicBezTo>
                  <a:pt x="110" y="235"/>
                  <a:pt x="110" y="235"/>
                  <a:pt x="110" y="236"/>
                </a:cubicBezTo>
                <a:cubicBezTo>
                  <a:pt x="109" y="236"/>
                  <a:pt x="109" y="236"/>
                  <a:pt x="109" y="236"/>
                </a:cubicBezTo>
                <a:cubicBezTo>
                  <a:pt x="108" y="236"/>
                  <a:pt x="108" y="236"/>
                  <a:pt x="108" y="236"/>
                </a:cubicBezTo>
                <a:cubicBezTo>
                  <a:pt x="108" y="236"/>
                  <a:pt x="108" y="237"/>
                  <a:pt x="107" y="237"/>
                </a:cubicBezTo>
                <a:cubicBezTo>
                  <a:pt x="108" y="237"/>
                  <a:pt x="109" y="237"/>
                  <a:pt x="109" y="238"/>
                </a:cubicBezTo>
                <a:cubicBezTo>
                  <a:pt x="110" y="238"/>
                  <a:pt x="111" y="239"/>
                  <a:pt x="112" y="240"/>
                </a:cubicBezTo>
                <a:cubicBezTo>
                  <a:pt x="113" y="241"/>
                  <a:pt x="114" y="241"/>
                  <a:pt x="114" y="242"/>
                </a:cubicBezTo>
                <a:cubicBezTo>
                  <a:pt x="115" y="242"/>
                  <a:pt x="115" y="243"/>
                  <a:pt x="116" y="243"/>
                </a:cubicBezTo>
                <a:cubicBezTo>
                  <a:pt x="116" y="244"/>
                  <a:pt x="116" y="245"/>
                  <a:pt x="116" y="245"/>
                </a:cubicBezTo>
                <a:cubicBezTo>
                  <a:pt x="116" y="246"/>
                  <a:pt x="116" y="247"/>
                  <a:pt x="116" y="247"/>
                </a:cubicBezTo>
                <a:cubicBezTo>
                  <a:pt x="116" y="248"/>
                  <a:pt x="115" y="248"/>
                  <a:pt x="115" y="249"/>
                </a:cubicBezTo>
                <a:cubicBezTo>
                  <a:pt x="115" y="249"/>
                  <a:pt x="115" y="249"/>
                  <a:pt x="115" y="249"/>
                </a:cubicBezTo>
                <a:cubicBezTo>
                  <a:pt x="116" y="249"/>
                  <a:pt x="117" y="249"/>
                  <a:pt x="118" y="250"/>
                </a:cubicBezTo>
                <a:cubicBezTo>
                  <a:pt x="119" y="250"/>
                  <a:pt x="119" y="250"/>
                  <a:pt x="120" y="249"/>
                </a:cubicBezTo>
                <a:cubicBezTo>
                  <a:pt x="119" y="249"/>
                  <a:pt x="119" y="249"/>
                  <a:pt x="119" y="249"/>
                </a:cubicBezTo>
                <a:cubicBezTo>
                  <a:pt x="119" y="249"/>
                  <a:pt x="120" y="249"/>
                  <a:pt x="120" y="249"/>
                </a:cubicBezTo>
                <a:cubicBezTo>
                  <a:pt x="120" y="249"/>
                  <a:pt x="120" y="248"/>
                  <a:pt x="121" y="248"/>
                </a:cubicBezTo>
                <a:cubicBezTo>
                  <a:pt x="121" y="248"/>
                  <a:pt x="121" y="248"/>
                  <a:pt x="121" y="248"/>
                </a:cubicBezTo>
                <a:cubicBezTo>
                  <a:pt x="121" y="248"/>
                  <a:pt x="121" y="248"/>
                  <a:pt x="121" y="248"/>
                </a:cubicBezTo>
                <a:cubicBezTo>
                  <a:pt x="121" y="249"/>
                  <a:pt x="121" y="249"/>
                  <a:pt x="121" y="249"/>
                </a:cubicBezTo>
                <a:cubicBezTo>
                  <a:pt x="122" y="249"/>
                  <a:pt x="123" y="249"/>
                  <a:pt x="124" y="249"/>
                </a:cubicBezTo>
                <a:cubicBezTo>
                  <a:pt x="124" y="249"/>
                  <a:pt x="124" y="249"/>
                  <a:pt x="124" y="250"/>
                </a:cubicBezTo>
                <a:cubicBezTo>
                  <a:pt x="123" y="250"/>
                  <a:pt x="123" y="250"/>
                  <a:pt x="123" y="250"/>
                </a:cubicBezTo>
                <a:cubicBezTo>
                  <a:pt x="123" y="250"/>
                  <a:pt x="123" y="250"/>
                  <a:pt x="122" y="251"/>
                </a:cubicBezTo>
                <a:cubicBezTo>
                  <a:pt x="123" y="251"/>
                  <a:pt x="123" y="252"/>
                  <a:pt x="123" y="252"/>
                </a:cubicBezTo>
                <a:cubicBezTo>
                  <a:pt x="123" y="253"/>
                  <a:pt x="123" y="253"/>
                  <a:pt x="124" y="253"/>
                </a:cubicBezTo>
                <a:cubicBezTo>
                  <a:pt x="124" y="253"/>
                  <a:pt x="124" y="253"/>
                  <a:pt x="124" y="253"/>
                </a:cubicBezTo>
                <a:cubicBezTo>
                  <a:pt x="125" y="253"/>
                  <a:pt x="125" y="253"/>
                  <a:pt x="125" y="252"/>
                </a:cubicBezTo>
                <a:cubicBezTo>
                  <a:pt x="125" y="252"/>
                  <a:pt x="126" y="252"/>
                  <a:pt x="126" y="252"/>
                </a:cubicBezTo>
                <a:cubicBezTo>
                  <a:pt x="126" y="252"/>
                  <a:pt x="127" y="252"/>
                  <a:pt x="127" y="252"/>
                </a:cubicBezTo>
                <a:cubicBezTo>
                  <a:pt x="127" y="252"/>
                  <a:pt x="128" y="252"/>
                  <a:pt x="128" y="252"/>
                </a:cubicBezTo>
                <a:cubicBezTo>
                  <a:pt x="128" y="251"/>
                  <a:pt x="129" y="251"/>
                  <a:pt x="129" y="251"/>
                </a:cubicBezTo>
                <a:cubicBezTo>
                  <a:pt x="130" y="251"/>
                  <a:pt x="130" y="251"/>
                  <a:pt x="131" y="250"/>
                </a:cubicBezTo>
                <a:cubicBezTo>
                  <a:pt x="132" y="250"/>
                  <a:pt x="132" y="250"/>
                  <a:pt x="133" y="250"/>
                </a:cubicBezTo>
                <a:cubicBezTo>
                  <a:pt x="132" y="251"/>
                  <a:pt x="132" y="251"/>
                  <a:pt x="131" y="251"/>
                </a:cubicBezTo>
                <a:cubicBezTo>
                  <a:pt x="132" y="252"/>
                  <a:pt x="132" y="252"/>
                  <a:pt x="132" y="252"/>
                </a:cubicBezTo>
                <a:cubicBezTo>
                  <a:pt x="132" y="252"/>
                  <a:pt x="132" y="253"/>
                  <a:pt x="132" y="253"/>
                </a:cubicBezTo>
                <a:cubicBezTo>
                  <a:pt x="131" y="253"/>
                  <a:pt x="131" y="253"/>
                  <a:pt x="130" y="254"/>
                </a:cubicBezTo>
                <a:cubicBezTo>
                  <a:pt x="130" y="254"/>
                  <a:pt x="130" y="253"/>
                  <a:pt x="130" y="253"/>
                </a:cubicBezTo>
                <a:cubicBezTo>
                  <a:pt x="130" y="253"/>
                  <a:pt x="129" y="253"/>
                  <a:pt x="129" y="253"/>
                </a:cubicBezTo>
                <a:cubicBezTo>
                  <a:pt x="129" y="253"/>
                  <a:pt x="129" y="254"/>
                  <a:pt x="128" y="254"/>
                </a:cubicBezTo>
                <a:cubicBezTo>
                  <a:pt x="128" y="254"/>
                  <a:pt x="127" y="254"/>
                  <a:pt x="127" y="254"/>
                </a:cubicBezTo>
                <a:cubicBezTo>
                  <a:pt x="127" y="254"/>
                  <a:pt x="126" y="254"/>
                  <a:pt x="126" y="254"/>
                </a:cubicBezTo>
                <a:cubicBezTo>
                  <a:pt x="126" y="254"/>
                  <a:pt x="125" y="254"/>
                  <a:pt x="125" y="254"/>
                </a:cubicBezTo>
                <a:cubicBezTo>
                  <a:pt x="125" y="254"/>
                  <a:pt x="124" y="254"/>
                  <a:pt x="124" y="254"/>
                </a:cubicBezTo>
                <a:cubicBezTo>
                  <a:pt x="124" y="254"/>
                  <a:pt x="124" y="254"/>
                  <a:pt x="124" y="254"/>
                </a:cubicBezTo>
                <a:cubicBezTo>
                  <a:pt x="123" y="254"/>
                  <a:pt x="122" y="254"/>
                  <a:pt x="122" y="254"/>
                </a:cubicBezTo>
                <a:cubicBezTo>
                  <a:pt x="122" y="254"/>
                  <a:pt x="122" y="253"/>
                  <a:pt x="122" y="253"/>
                </a:cubicBezTo>
                <a:cubicBezTo>
                  <a:pt x="122" y="252"/>
                  <a:pt x="122" y="251"/>
                  <a:pt x="122" y="250"/>
                </a:cubicBezTo>
                <a:cubicBezTo>
                  <a:pt x="122" y="250"/>
                  <a:pt x="122" y="250"/>
                  <a:pt x="121" y="250"/>
                </a:cubicBezTo>
                <a:cubicBezTo>
                  <a:pt x="121" y="250"/>
                  <a:pt x="121" y="250"/>
                  <a:pt x="121" y="250"/>
                </a:cubicBezTo>
                <a:cubicBezTo>
                  <a:pt x="121" y="250"/>
                  <a:pt x="120" y="251"/>
                  <a:pt x="120" y="251"/>
                </a:cubicBezTo>
                <a:cubicBezTo>
                  <a:pt x="121" y="252"/>
                  <a:pt x="121" y="252"/>
                  <a:pt x="121" y="253"/>
                </a:cubicBezTo>
                <a:cubicBezTo>
                  <a:pt x="121" y="254"/>
                  <a:pt x="121" y="254"/>
                  <a:pt x="121" y="255"/>
                </a:cubicBezTo>
                <a:cubicBezTo>
                  <a:pt x="121" y="255"/>
                  <a:pt x="121" y="255"/>
                  <a:pt x="120" y="256"/>
                </a:cubicBezTo>
                <a:cubicBezTo>
                  <a:pt x="121" y="256"/>
                  <a:pt x="121" y="256"/>
                  <a:pt x="121" y="256"/>
                </a:cubicBezTo>
                <a:cubicBezTo>
                  <a:pt x="121" y="256"/>
                  <a:pt x="121" y="256"/>
                  <a:pt x="121" y="255"/>
                </a:cubicBezTo>
                <a:cubicBezTo>
                  <a:pt x="121" y="255"/>
                  <a:pt x="122" y="255"/>
                  <a:pt x="122" y="255"/>
                </a:cubicBezTo>
                <a:cubicBezTo>
                  <a:pt x="122" y="255"/>
                  <a:pt x="122" y="255"/>
                  <a:pt x="123" y="255"/>
                </a:cubicBezTo>
                <a:cubicBezTo>
                  <a:pt x="123" y="255"/>
                  <a:pt x="123" y="255"/>
                  <a:pt x="124" y="254"/>
                </a:cubicBezTo>
                <a:cubicBezTo>
                  <a:pt x="124" y="255"/>
                  <a:pt x="125" y="255"/>
                  <a:pt x="125" y="255"/>
                </a:cubicBezTo>
                <a:cubicBezTo>
                  <a:pt x="125" y="255"/>
                  <a:pt x="125" y="256"/>
                  <a:pt x="125" y="256"/>
                </a:cubicBezTo>
                <a:cubicBezTo>
                  <a:pt x="125" y="257"/>
                  <a:pt x="125" y="257"/>
                  <a:pt x="125" y="257"/>
                </a:cubicBezTo>
                <a:cubicBezTo>
                  <a:pt x="124" y="258"/>
                  <a:pt x="124" y="258"/>
                  <a:pt x="123" y="258"/>
                </a:cubicBezTo>
                <a:cubicBezTo>
                  <a:pt x="123" y="258"/>
                  <a:pt x="124" y="257"/>
                  <a:pt x="124" y="257"/>
                </a:cubicBezTo>
                <a:cubicBezTo>
                  <a:pt x="124" y="257"/>
                  <a:pt x="124" y="256"/>
                  <a:pt x="124" y="256"/>
                </a:cubicBezTo>
                <a:cubicBezTo>
                  <a:pt x="124" y="256"/>
                  <a:pt x="123" y="256"/>
                  <a:pt x="123" y="256"/>
                </a:cubicBezTo>
                <a:cubicBezTo>
                  <a:pt x="123" y="256"/>
                  <a:pt x="123" y="256"/>
                  <a:pt x="122" y="256"/>
                </a:cubicBezTo>
                <a:cubicBezTo>
                  <a:pt x="122" y="257"/>
                  <a:pt x="122" y="257"/>
                  <a:pt x="122" y="257"/>
                </a:cubicBezTo>
                <a:cubicBezTo>
                  <a:pt x="121" y="258"/>
                  <a:pt x="121" y="258"/>
                  <a:pt x="121" y="259"/>
                </a:cubicBezTo>
                <a:cubicBezTo>
                  <a:pt x="121" y="259"/>
                  <a:pt x="121" y="259"/>
                  <a:pt x="121" y="259"/>
                </a:cubicBezTo>
                <a:cubicBezTo>
                  <a:pt x="120" y="259"/>
                  <a:pt x="120" y="260"/>
                  <a:pt x="120" y="260"/>
                </a:cubicBezTo>
                <a:cubicBezTo>
                  <a:pt x="120" y="260"/>
                  <a:pt x="119" y="260"/>
                  <a:pt x="119" y="261"/>
                </a:cubicBezTo>
                <a:cubicBezTo>
                  <a:pt x="119" y="260"/>
                  <a:pt x="119" y="260"/>
                  <a:pt x="118" y="260"/>
                </a:cubicBezTo>
                <a:cubicBezTo>
                  <a:pt x="118" y="260"/>
                  <a:pt x="118" y="260"/>
                  <a:pt x="118" y="260"/>
                </a:cubicBezTo>
                <a:cubicBezTo>
                  <a:pt x="117" y="260"/>
                  <a:pt x="117" y="261"/>
                  <a:pt x="117" y="261"/>
                </a:cubicBezTo>
                <a:cubicBezTo>
                  <a:pt x="116" y="261"/>
                  <a:pt x="116" y="261"/>
                  <a:pt x="116" y="261"/>
                </a:cubicBezTo>
                <a:cubicBezTo>
                  <a:pt x="116" y="261"/>
                  <a:pt x="115" y="261"/>
                  <a:pt x="115" y="260"/>
                </a:cubicBezTo>
                <a:cubicBezTo>
                  <a:pt x="115" y="260"/>
                  <a:pt x="115" y="261"/>
                  <a:pt x="114" y="261"/>
                </a:cubicBezTo>
                <a:cubicBezTo>
                  <a:pt x="114" y="261"/>
                  <a:pt x="114" y="261"/>
                  <a:pt x="114" y="261"/>
                </a:cubicBezTo>
                <a:cubicBezTo>
                  <a:pt x="114" y="261"/>
                  <a:pt x="113" y="261"/>
                  <a:pt x="113" y="261"/>
                </a:cubicBezTo>
                <a:cubicBezTo>
                  <a:pt x="113" y="261"/>
                  <a:pt x="113" y="261"/>
                  <a:pt x="113" y="261"/>
                </a:cubicBezTo>
                <a:cubicBezTo>
                  <a:pt x="112" y="261"/>
                  <a:pt x="112" y="261"/>
                  <a:pt x="112" y="261"/>
                </a:cubicBezTo>
                <a:cubicBezTo>
                  <a:pt x="111" y="261"/>
                  <a:pt x="111" y="261"/>
                  <a:pt x="111" y="262"/>
                </a:cubicBezTo>
                <a:cubicBezTo>
                  <a:pt x="111" y="262"/>
                  <a:pt x="111" y="262"/>
                  <a:pt x="110" y="262"/>
                </a:cubicBezTo>
                <a:cubicBezTo>
                  <a:pt x="110" y="262"/>
                  <a:pt x="110" y="261"/>
                  <a:pt x="110" y="261"/>
                </a:cubicBezTo>
                <a:cubicBezTo>
                  <a:pt x="110" y="261"/>
                  <a:pt x="110" y="261"/>
                  <a:pt x="109" y="261"/>
                </a:cubicBezTo>
                <a:cubicBezTo>
                  <a:pt x="109" y="261"/>
                  <a:pt x="109" y="260"/>
                  <a:pt x="109" y="260"/>
                </a:cubicBezTo>
                <a:cubicBezTo>
                  <a:pt x="109" y="260"/>
                  <a:pt x="110" y="260"/>
                  <a:pt x="110" y="260"/>
                </a:cubicBezTo>
                <a:cubicBezTo>
                  <a:pt x="110" y="259"/>
                  <a:pt x="111" y="259"/>
                  <a:pt x="111" y="258"/>
                </a:cubicBezTo>
                <a:cubicBezTo>
                  <a:pt x="111" y="258"/>
                  <a:pt x="111" y="258"/>
                  <a:pt x="111" y="258"/>
                </a:cubicBezTo>
                <a:cubicBezTo>
                  <a:pt x="111" y="258"/>
                  <a:pt x="112" y="257"/>
                  <a:pt x="112" y="257"/>
                </a:cubicBezTo>
                <a:cubicBezTo>
                  <a:pt x="112" y="257"/>
                  <a:pt x="112" y="257"/>
                  <a:pt x="112" y="257"/>
                </a:cubicBezTo>
                <a:cubicBezTo>
                  <a:pt x="111" y="257"/>
                  <a:pt x="110" y="256"/>
                  <a:pt x="110" y="256"/>
                </a:cubicBezTo>
                <a:cubicBezTo>
                  <a:pt x="109" y="256"/>
                  <a:pt x="109" y="256"/>
                  <a:pt x="109" y="256"/>
                </a:cubicBezTo>
                <a:cubicBezTo>
                  <a:pt x="108" y="257"/>
                  <a:pt x="108" y="257"/>
                  <a:pt x="108" y="257"/>
                </a:cubicBezTo>
                <a:cubicBezTo>
                  <a:pt x="107" y="257"/>
                  <a:pt x="107" y="258"/>
                  <a:pt x="106" y="258"/>
                </a:cubicBezTo>
                <a:cubicBezTo>
                  <a:pt x="106" y="259"/>
                  <a:pt x="105" y="259"/>
                  <a:pt x="105" y="259"/>
                </a:cubicBezTo>
                <a:cubicBezTo>
                  <a:pt x="105" y="259"/>
                  <a:pt x="104" y="259"/>
                  <a:pt x="104" y="259"/>
                </a:cubicBezTo>
                <a:cubicBezTo>
                  <a:pt x="104" y="259"/>
                  <a:pt x="103" y="259"/>
                  <a:pt x="103" y="259"/>
                </a:cubicBezTo>
                <a:cubicBezTo>
                  <a:pt x="102" y="260"/>
                  <a:pt x="101" y="261"/>
                  <a:pt x="100" y="262"/>
                </a:cubicBezTo>
                <a:cubicBezTo>
                  <a:pt x="100" y="262"/>
                  <a:pt x="100" y="262"/>
                  <a:pt x="100" y="262"/>
                </a:cubicBezTo>
                <a:cubicBezTo>
                  <a:pt x="100" y="262"/>
                  <a:pt x="100" y="262"/>
                  <a:pt x="101" y="262"/>
                </a:cubicBezTo>
                <a:cubicBezTo>
                  <a:pt x="101" y="262"/>
                  <a:pt x="102" y="262"/>
                  <a:pt x="102" y="262"/>
                </a:cubicBezTo>
                <a:cubicBezTo>
                  <a:pt x="102" y="262"/>
                  <a:pt x="102" y="263"/>
                  <a:pt x="102" y="263"/>
                </a:cubicBezTo>
                <a:cubicBezTo>
                  <a:pt x="102" y="263"/>
                  <a:pt x="101" y="263"/>
                  <a:pt x="101" y="263"/>
                </a:cubicBezTo>
                <a:cubicBezTo>
                  <a:pt x="101" y="263"/>
                  <a:pt x="101" y="263"/>
                  <a:pt x="100" y="263"/>
                </a:cubicBezTo>
                <a:cubicBezTo>
                  <a:pt x="100" y="263"/>
                  <a:pt x="100" y="263"/>
                  <a:pt x="100" y="263"/>
                </a:cubicBezTo>
                <a:cubicBezTo>
                  <a:pt x="99" y="263"/>
                  <a:pt x="99" y="263"/>
                  <a:pt x="98" y="264"/>
                </a:cubicBezTo>
                <a:cubicBezTo>
                  <a:pt x="98" y="264"/>
                  <a:pt x="97" y="264"/>
                  <a:pt x="96" y="264"/>
                </a:cubicBezTo>
                <a:cubicBezTo>
                  <a:pt x="96" y="265"/>
                  <a:pt x="95" y="265"/>
                  <a:pt x="94" y="265"/>
                </a:cubicBezTo>
                <a:cubicBezTo>
                  <a:pt x="94" y="266"/>
                  <a:pt x="94" y="266"/>
                  <a:pt x="94" y="266"/>
                </a:cubicBezTo>
                <a:cubicBezTo>
                  <a:pt x="94" y="266"/>
                  <a:pt x="94" y="266"/>
                  <a:pt x="94" y="266"/>
                </a:cubicBezTo>
                <a:cubicBezTo>
                  <a:pt x="94" y="267"/>
                  <a:pt x="93" y="267"/>
                  <a:pt x="93" y="267"/>
                </a:cubicBezTo>
                <a:cubicBezTo>
                  <a:pt x="93" y="267"/>
                  <a:pt x="93" y="267"/>
                  <a:pt x="92" y="267"/>
                </a:cubicBezTo>
                <a:cubicBezTo>
                  <a:pt x="92" y="267"/>
                  <a:pt x="92" y="267"/>
                  <a:pt x="92" y="267"/>
                </a:cubicBezTo>
                <a:cubicBezTo>
                  <a:pt x="91" y="268"/>
                  <a:pt x="91" y="268"/>
                  <a:pt x="90" y="269"/>
                </a:cubicBezTo>
                <a:cubicBezTo>
                  <a:pt x="90" y="269"/>
                  <a:pt x="90" y="269"/>
                  <a:pt x="91" y="269"/>
                </a:cubicBezTo>
                <a:cubicBezTo>
                  <a:pt x="90" y="269"/>
                  <a:pt x="90" y="269"/>
                  <a:pt x="90" y="270"/>
                </a:cubicBezTo>
                <a:cubicBezTo>
                  <a:pt x="89" y="270"/>
                  <a:pt x="89" y="270"/>
                  <a:pt x="88" y="271"/>
                </a:cubicBezTo>
                <a:cubicBezTo>
                  <a:pt x="88" y="271"/>
                  <a:pt x="88" y="271"/>
                  <a:pt x="87" y="272"/>
                </a:cubicBezTo>
                <a:cubicBezTo>
                  <a:pt x="87" y="272"/>
                  <a:pt x="87" y="272"/>
                  <a:pt x="87" y="272"/>
                </a:cubicBezTo>
                <a:cubicBezTo>
                  <a:pt x="87" y="272"/>
                  <a:pt x="87" y="272"/>
                  <a:pt x="87" y="272"/>
                </a:cubicBezTo>
                <a:cubicBezTo>
                  <a:pt x="87" y="272"/>
                  <a:pt x="87" y="271"/>
                  <a:pt x="87" y="271"/>
                </a:cubicBezTo>
                <a:cubicBezTo>
                  <a:pt x="87" y="271"/>
                  <a:pt x="86" y="272"/>
                  <a:pt x="86" y="272"/>
                </a:cubicBezTo>
                <a:cubicBezTo>
                  <a:pt x="86" y="272"/>
                  <a:pt x="86" y="273"/>
                  <a:pt x="86" y="273"/>
                </a:cubicBezTo>
                <a:cubicBezTo>
                  <a:pt x="86" y="273"/>
                  <a:pt x="86" y="273"/>
                  <a:pt x="86" y="273"/>
                </a:cubicBezTo>
                <a:cubicBezTo>
                  <a:pt x="86" y="273"/>
                  <a:pt x="87" y="274"/>
                  <a:pt x="88" y="274"/>
                </a:cubicBezTo>
                <a:cubicBezTo>
                  <a:pt x="89" y="274"/>
                  <a:pt x="89" y="274"/>
                  <a:pt x="90" y="274"/>
                </a:cubicBezTo>
                <a:cubicBezTo>
                  <a:pt x="91" y="274"/>
                  <a:pt x="91" y="274"/>
                  <a:pt x="92" y="274"/>
                </a:cubicBezTo>
                <a:cubicBezTo>
                  <a:pt x="92" y="274"/>
                  <a:pt x="93" y="274"/>
                  <a:pt x="93" y="274"/>
                </a:cubicBezTo>
                <a:cubicBezTo>
                  <a:pt x="94" y="274"/>
                  <a:pt x="94" y="274"/>
                  <a:pt x="95" y="274"/>
                </a:cubicBezTo>
                <a:cubicBezTo>
                  <a:pt x="95" y="274"/>
                  <a:pt x="95" y="275"/>
                  <a:pt x="96" y="275"/>
                </a:cubicBezTo>
                <a:cubicBezTo>
                  <a:pt x="96" y="275"/>
                  <a:pt x="96" y="275"/>
                  <a:pt x="97" y="274"/>
                </a:cubicBezTo>
                <a:cubicBezTo>
                  <a:pt x="97" y="274"/>
                  <a:pt x="98" y="274"/>
                  <a:pt x="98" y="274"/>
                </a:cubicBezTo>
                <a:cubicBezTo>
                  <a:pt x="98" y="274"/>
                  <a:pt x="98" y="274"/>
                  <a:pt x="98" y="275"/>
                </a:cubicBezTo>
                <a:cubicBezTo>
                  <a:pt x="97" y="275"/>
                  <a:pt x="97" y="275"/>
                  <a:pt x="96" y="276"/>
                </a:cubicBezTo>
                <a:cubicBezTo>
                  <a:pt x="96" y="275"/>
                  <a:pt x="96" y="275"/>
                  <a:pt x="96" y="275"/>
                </a:cubicBezTo>
                <a:cubicBezTo>
                  <a:pt x="95" y="275"/>
                  <a:pt x="95" y="275"/>
                  <a:pt x="94" y="275"/>
                </a:cubicBezTo>
                <a:cubicBezTo>
                  <a:pt x="94" y="275"/>
                  <a:pt x="93" y="275"/>
                  <a:pt x="93" y="275"/>
                </a:cubicBezTo>
                <a:cubicBezTo>
                  <a:pt x="93" y="275"/>
                  <a:pt x="93" y="275"/>
                  <a:pt x="93" y="275"/>
                </a:cubicBezTo>
                <a:cubicBezTo>
                  <a:pt x="92" y="276"/>
                  <a:pt x="92" y="276"/>
                  <a:pt x="92" y="277"/>
                </a:cubicBezTo>
                <a:cubicBezTo>
                  <a:pt x="92" y="277"/>
                  <a:pt x="91" y="277"/>
                  <a:pt x="91" y="277"/>
                </a:cubicBezTo>
                <a:cubicBezTo>
                  <a:pt x="91" y="277"/>
                  <a:pt x="90" y="277"/>
                  <a:pt x="90" y="277"/>
                </a:cubicBezTo>
                <a:cubicBezTo>
                  <a:pt x="90" y="276"/>
                  <a:pt x="90" y="276"/>
                  <a:pt x="91" y="276"/>
                </a:cubicBezTo>
                <a:cubicBezTo>
                  <a:pt x="91" y="275"/>
                  <a:pt x="91" y="275"/>
                  <a:pt x="90" y="275"/>
                </a:cubicBezTo>
                <a:cubicBezTo>
                  <a:pt x="90" y="275"/>
                  <a:pt x="90" y="276"/>
                  <a:pt x="90" y="276"/>
                </a:cubicBezTo>
                <a:cubicBezTo>
                  <a:pt x="89" y="276"/>
                  <a:pt x="89" y="276"/>
                  <a:pt x="89" y="277"/>
                </a:cubicBezTo>
                <a:cubicBezTo>
                  <a:pt x="89" y="277"/>
                  <a:pt x="90" y="278"/>
                  <a:pt x="90" y="278"/>
                </a:cubicBezTo>
                <a:cubicBezTo>
                  <a:pt x="90" y="278"/>
                  <a:pt x="90" y="278"/>
                  <a:pt x="90" y="278"/>
                </a:cubicBezTo>
                <a:cubicBezTo>
                  <a:pt x="91" y="278"/>
                  <a:pt x="91" y="279"/>
                  <a:pt x="91" y="279"/>
                </a:cubicBezTo>
                <a:cubicBezTo>
                  <a:pt x="91" y="279"/>
                  <a:pt x="90" y="279"/>
                  <a:pt x="90" y="280"/>
                </a:cubicBezTo>
                <a:cubicBezTo>
                  <a:pt x="90" y="280"/>
                  <a:pt x="90" y="281"/>
                  <a:pt x="89" y="281"/>
                </a:cubicBezTo>
                <a:cubicBezTo>
                  <a:pt x="90" y="281"/>
                  <a:pt x="90" y="282"/>
                  <a:pt x="90" y="282"/>
                </a:cubicBezTo>
                <a:cubicBezTo>
                  <a:pt x="90" y="282"/>
                  <a:pt x="90" y="283"/>
                  <a:pt x="90" y="283"/>
                </a:cubicBezTo>
                <a:cubicBezTo>
                  <a:pt x="91" y="283"/>
                  <a:pt x="92" y="283"/>
                  <a:pt x="93" y="283"/>
                </a:cubicBezTo>
                <a:cubicBezTo>
                  <a:pt x="94" y="283"/>
                  <a:pt x="94" y="283"/>
                  <a:pt x="95" y="283"/>
                </a:cubicBezTo>
                <a:cubicBezTo>
                  <a:pt x="95" y="283"/>
                  <a:pt x="96" y="283"/>
                  <a:pt x="96" y="283"/>
                </a:cubicBezTo>
                <a:cubicBezTo>
                  <a:pt x="97" y="283"/>
                  <a:pt x="97" y="283"/>
                  <a:pt x="97" y="283"/>
                </a:cubicBezTo>
                <a:cubicBezTo>
                  <a:pt x="98" y="283"/>
                  <a:pt x="98" y="282"/>
                  <a:pt x="98" y="282"/>
                </a:cubicBezTo>
                <a:cubicBezTo>
                  <a:pt x="99" y="281"/>
                  <a:pt x="99" y="281"/>
                  <a:pt x="100" y="281"/>
                </a:cubicBezTo>
                <a:cubicBezTo>
                  <a:pt x="100" y="281"/>
                  <a:pt x="101" y="281"/>
                  <a:pt x="101" y="280"/>
                </a:cubicBezTo>
                <a:cubicBezTo>
                  <a:pt x="102" y="280"/>
                  <a:pt x="103" y="280"/>
                  <a:pt x="104" y="280"/>
                </a:cubicBezTo>
                <a:cubicBezTo>
                  <a:pt x="104" y="279"/>
                  <a:pt x="104" y="279"/>
                  <a:pt x="105" y="279"/>
                </a:cubicBezTo>
                <a:cubicBezTo>
                  <a:pt x="105" y="280"/>
                  <a:pt x="105" y="280"/>
                  <a:pt x="106" y="280"/>
                </a:cubicBezTo>
                <a:cubicBezTo>
                  <a:pt x="106" y="280"/>
                  <a:pt x="106" y="280"/>
                  <a:pt x="106" y="280"/>
                </a:cubicBezTo>
                <a:cubicBezTo>
                  <a:pt x="106" y="280"/>
                  <a:pt x="107" y="280"/>
                  <a:pt x="107" y="279"/>
                </a:cubicBezTo>
                <a:cubicBezTo>
                  <a:pt x="106" y="279"/>
                  <a:pt x="106" y="279"/>
                  <a:pt x="106" y="279"/>
                </a:cubicBezTo>
                <a:cubicBezTo>
                  <a:pt x="106" y="278"/>
                  <a:pt x="106" y="278"/>
                  <a:pt x="106" y="278"/>
                </a:cubicBezTo>
                <a:cubicBezTo>
                  <a:pt x="107" y="278"/>
                  <a:pt x="107" y="278"/>
                  <a:pt x="108" y="278"/>
                </a:cubicBezTo>
                <a:cubicBezTo>
                  <a:pt x="108" y="278"/>
                  <a:pt x="108" y="278"/>
                  <a:pt x="108" y="278"/>
                </a:cubicBezTo>
                <a:cubicBezTo>
                  <a:pt x="107" y="279"/>
                  <a:pt x="107" y="279"/>
                  <a:pt x="107" y="280"/>
                </a:cubicBezTo>
                <a:cubicBezTo>
                  <a:pt x="107" y="280"/>
                  <a:pt x="107" y="280"/>
                  <a:pt x="107" y="280"/>
                </a:cubicBezTo>
                <a:cubicBezTo>
                  <a:pt x="108" y="280"/>
                  <a:pt x="108" y="280"/>
                  <a:pt x="108" y="280"/>
                </a:cubicBezTo>
                <a:cubicBezTo>
                  <a:pt x="108" y="279"/>
                  <a:pt x="109" y="279"/>
                  <a:pt x="109" y="279"/>
                </a:cubicBezTo>
                <a:cubicBezTo>
                  <a:pt x="109" y="278"/>
                  <a:pt x="109" y="278"/>
                  <a:pt x="109" y="278"/>
                </a:cubicBezTo>
                <a:cubicBezTo>
                  <a:pt x="110" y="278"/>
                  <a:pt x="110" y="277"/>
                  <a:pt x="111" y="277"/>
                </a:cubicBezTo>
                <a:cubicBezTo>
                  <a:pt x="111" y="276"/>
                  <a:pt x="112" y="276"/>
                  <a:pt x="113" y="275"/>
                </a:cubicBezTo>
                <a:cubicBezTo>
                  <a:pt x="113" y="275"/>
                  <a:pt x="114" y="275"/>
                  <a:pt x="114" y="274"/>
                </a:cubicBezTo>
                <a:cubicBezTo>
                  <a:pt x="114" y="274"/>
                  <a:pt x="114" y="274"/>
                  <a:pt x="115" y="273"/>
                </a:cubicBezTo>
                <a:cubicBezTo>
                  <a:pt x="115" y="273"/>
                  <a:pt x="115" y="273"/>
                  <a:pt x="115" y="273"/>
                </a:cubicBezTo>
                <a:cubicBezTo>
                  <a:pt x="115" y="273"/>
                  <a:pt x="115" y="273"/>
                  <a:pt x="115" y="273"/>
                </a:cubicBezTo>
                <a:cubicBezTo>
                  <a:pt x="116" y="273"/>
                  <a:pt x="116" y="273"/>
                  <a:pt x="116" y="273"/>
                </a:cubicBezTo>
                <a:cubicBezTo>
                  <a:pt x="117" y="273"/>
                  <a:pt x="117" y="272"/>
                  <a:pt x="118" y="272"/>
                </a:cubicBezTo>
                <a:cubicBezTo>
                  <a:pt x="118" y="271"/>
                  <a:pt x="119" y="271"/>
                  <a:pt x="119" y="271"/>
                </a:cubicBezTo>
                <a:cubicBezTo>
                  <a:pt x="119" y="271"/>
                  <a:pt x="119" y="271"/>
                  <a:pt x="120" y="270"/>
                </a:cubicBezTo>
                <a:cubicBezTo>
                  <a:pt x="119" y="271"/>
                  <a:pt x="119" y="271"/>
                  <a:pt x="119" y="271"/>
                </a:cubicBezTo>
                <a:cubicBezTo>
                  <a:pt x="119" y="272"/>
                  <a:pt x="119" y="272"/>
                  <a:pt x="118" y="272"/>
                </a:cubicBezTo>
                <a:cubicBezTo>
                  <a:pt x="118" y="272"/>
                  <a:pt x="118" y="272"/>
                  <a:pt x="118" y="273"/>
                </a:cubicBezTo>
                <a:cubicBezTo>
                  <a:pt x="119" y="272"/>
                  <a:pt x="119" y="272"/>
                  <a:pt x="119" y="272"/>
                </a:cubicBezTo>
                <a:cubicBezTo>
                  <a:pt x="119" y="273"/>
                  <a:pt x="119" y="273"/>
                  <a:pt x="119" y="274"/>
                </a:cubicBezTo>
                <a:cubicBezTo>
                  <a:pt x="118" y="274"/>
                  <a:pt x="118" y="275"/>
                  <a:pt x="117" y="275"/>
                </a:cubicBezTo>
                <a:cubicBezTo>
                  <a:pt x="117" y="275"/>
                  <a:pt x="117" y="275"/>
                  <a:pt x="116" y="275"/>
                </a:cubicBezTo>
                <a:cubicBezTo>
                  <a:pt x="116" y="275"/>
                  <a:pt x="116" y="275"/>
                  <a:pt x="116" y="275"/>
                </a:cubicBezTo>
                <a:cubicBezTo>
                  <a:pt x="115" y="275"/>
                  <a:pt x="115" y="276"/>
                  <a:pt x="115" y="276"/>
                </a:cubicBezTo>
                <a:cubicBezTo>
                  <a:pt x="115" y="276"/>
                  <a:pt x="115" y="276"/>
                  <a:pt x="115" y="277"/>
                </a:cubicBezTo>
                <a:cubicBezTo>
                  <a:pt x="115" y="276"/>
                  <a:pt x="116" y="276"/>
                  <a:pt x="116" y="276"/>
                </a:cubicBezTo>
                <a:cubicBezTo>
                  <a:pt x="116" y="276"/>
                  <a:pt x="117" y="276"/>
                  <a:pt x="117" y="276"/>
                </a:cubicBezTo>
                <a:cubicBezTo>
                  <a:pt x="117" y="277"/>
                  <a:pt x="117" y="277"/>
                  <a:pt x="117" y="277"/>
                </a:cubicBezTo>
                <a:cubicBezTo>
                  <a:pt x="117" y="278"/>
                  <a:pt x="117" y="279"/>
                  <a:pt x="116" y="279"/>
                </a:cubicBezTo>
                <a:cubicBezTo>
                  <a:pt x="116" y="279"/>
                  <a:pt x="116" y="280"/>
                  <a:pt x="116" y="280"/>
                </a:cubicBezTo>
                <a:cubicBezTo>
                  <a:pt x="116" y="280"/>
                  <a:pt x="116" y="281"/>
                  <a:pt x="116" y="281"/>
                </a:cubicBezTo>
                <a:cubicBezTo>
                  <a:pt x="116" y="281"/>
                  <a:pt x="116" y="281"/>
                  <a:pt x="116" y="281"/>
                </a:cubicBezTo>
                <a:cubicBezTo>
                  <a:pt x="116" y="281"/>
                  <a:pt x="116" y="281"/>
                  <a:pt x="116" y="282"/>
                </a:cubicBezTo>
                <a:cubicBezTo>
                  <a:pt x="116" y="282"/>
                  <a:pt x="117" y="282"/>
                  <a:pt x="117" y="282"/>
                </a:cubicBezTo>
                <a:cubicBezTo>
                  <a:pt x="117" y="282"/>
                  <a:pt x="117" y="283"/>
                  <a:pt x="117" y="283"/>
                </a:cubicBezTo>
                <a:cubicBezTo>
                  <a:pt x="117" y="283"/>
                  <a:pt x="116" y="284"/>
                  <a:pt x="116" y="284"/>
                </a:cubicBezTo>
                <a:cubicBezTo>
                  <a:pt x="116" y="284"/>
                  <a:pt x="116" y="285"/>
                  <a:pt x="115" y="285"/>
                </a:cubicBezTo>
                <a:cubicBezTo>
                  <a:pt x="115" y="285"/>
                  <a:pt x="115" y="285"/>
                  <a:pt x="114" y="285"/>
                </a:cubicBezTo>
                <a:cubicBezTo>
                  <a:pt x="114" y="286"/>
                  <a:pt x="114" y="286"/>
                  <a:pt x="114" y="286"/>
                </a:cubicBezTo>
                <a:cubicBezTo>
                  <a:pt x="113" y="286"/>
                  <a:pt x="113" y="287"/>
                  <a:pt x="113" y="287"/>
                </a:cubicBezTo>
                <a:cubicBezTo>
                  <a:pt x="113" y="287"/>
                  <a:pt x="112" y="287"/>
                  <a:pt x="112" y="288"/>
                </a:cubicBezTo>
                <a:cubicBezTo>
                  <a:pt x="112" y="288"/>
                  <a:pt x="111" y="288"/>
                  <a:pt x="111" y="288"/>
                </a:cubicBezTo>
                <a:cubicBezTo>
                  <a:pt x="110" y="288"/>
                  <a:pt x="110" y="288"/>
                  <a:pt x="109" y="288"/>
                </a:cubicBezTo>
                <a:cubicBezTo>
                  <a:pt x="109" y="288"/>
                  <a:pt x="109" y="288"/>
                  <a:pt x="109" y="289"/>
                </a:cubicBezTo>
                <a:cubicBezTo>
                  <a:pt x="108" y="288"/>
                  <a:pt x="108" y="288"/>
                  <a:pt x="108" y="288"/>
                </a:cubicBezTo>
                <a:cubicBezTo>
                  <a:pt x="108" y="288"/>
                  <a:pt x="107" y="288"/>
                  <a:pt x="107" y="288"/>
                </a:cubicBezTo>
                <a:cubicBezTo>
                  <a:pt x="107" y="288"/>
                  <a:pt x="107" y="288"/>
                  <a:pt x="107" y="288"/>
                </a:cubicBezTo>
                <a:cubicBezTo>
                  <a:pt x="106" y="289"/>
                  <a:pt x="106" y="289"/>
                  <a:pt x="106" y="290"/>
                </a:cubicBezTo>
                <a:cubicBezTo>
                  <a:pt x="106" y="290"/>
                  <a:pt x="105" y="291"/>
                  <a:pt x="105" y="291"/>
                </a:cubicBezTo>
                <a:cubicBezTo>
                  <a:pt x="105" y="291"/>
                  <a:pt x="105" y="292"/>
                  <a:pt x="104" y="292"/>
                </a:cubicBezTo>
                <a:cubicBezTo>
                  <a:pt x="104" y="292"/>
                  <a:pt x="103" y="293"/>
                  <a:pt x="102" y="293"/>
                </a:cubicBezTo>
                <a:cubicBezTo>
                  <a:pt x="102" y="294"/>
                  <a:pt x="102" y="294"/>
                  <a:pt x="102" y="294"/>
                </a:cubicBezTo>
                <a:cubicBezTo>
                  <a:pt x="102" y="294"/>
                  <a:pt x="101" y="294"/>
                  <a:pt x="101" y="295"/>
                </a:cubicBezTo>
                <a:cubicBezTo>
                  <a:pt x="101" y="295"/>
                  <a:pt x="100" y="295"/>
                  <a:pt x="100" y="295"/>
                </a:cubicBezTo>
                <a:cubicBezTo>
                  <a:pt x="99" y="295"/>
                  <a:pt x="99" y="295"/>
                  <a:pt x="98" y="296"/>
                </a:cubicBezTo>
                <a:cubicBezTo>
                  <a:pt x="98" y="296"/>
                  <a:pt x="98" y="296"/>
                  <a:pt x="97" y="297"/>
                </a:cubicBezTo>
                <a:cubicBezTo>
                  <a:pt x="97" y="297"/>
                  <a:pt x="96" y="297"/>
                  <a:pt x="96" y="298"/>
                </a:cubicBezTo>
                <a:cubicBezTo>
                  <a:pt x="96" y="298"/>
                  <a:pt x="96" y="298"/>
                  <a:pt x="95" y="298"/>
                </a:cubicBezTo>
                <a:cubicBezTo>
                  <a:pt x="96" y="298"/>
                  <a:pt x="96" y="299"/>
                  <a:pt x="96" y="299"/>
                </a:cubicBezTo>
                <a:cubicBezTo>
                  <a:pt x="96" y="300"/>
                  <a:pt x="96" y="300"/>
                  <a:pt x="96" y="301"/>
                </a:cubicBezTo>
                <a:cubicBezTo>
                  <a:pt x="95" y="301"/>
                  <a:pt x="95" y="301"/>
                  <a:pt x="95" y="301"/>
                </a:cubicBezTo>
                <a:cubicBezTo>
                  <a:pt x="95" y="301"/>
                  <a:pt x="95" y="301"/>
                  <a:pt x="95" y="301"/>
                </a:cubicBezTo>
                <a:cubicBezTo>
                  <a:pt x="94" y="301"/>
                  <a:pt x="94" y="301"/>
                  <a:pt x="93" y="301"/>
                </a:cubicBezTo>
                <a:cubicBezTo>
                  <a:pt x="93" y="301"/>
                  <a:pt x="92" y="301"/>
                  <a:pt x="91" y="301"/>
                </a:cubicBezTo>
                <a:cubicBezTo>
                  <a:pt x="91" y="302"/>
                  <a:pt x="91" y="302"/>
                  <a:pt x="91" y="302"/>
                </a:cubicBezTo>
                <a:cubicBezTo>
                  <a:pt x="91" y="302"/>
                  <a:pt x="91" y="302"/>
                  <a:pt x="91" y="302"/>
                </a:cubicBezTo>
                <a:cubicBezTo>
                  <a:pt x="92" y="302"/>
                  <a:pt x="92" y="302"/>
                  <a:pt x="92" y="302"/>
                </a:cubicBezTo>
                <a:cubicBezTo>
                  <a:pt x="92" y="303"/>
                  <a:pt x="92" y="303"/>
                  <a:pt x="92" y="303"/>
                </a:cubicBezTo>
                <a:cubicBezTo>
                  <a:pt x="92" y="303"/>
                  <a:pt x="92" y="303"/>
                  <a:pt x="91" y="303"/>
                </a:cubicBezTo>
                <a:cubicBezTo>
                  <a:pt x="91" y="303"/>
                  <a:pt x="91" y="303"/>
                  <a:pt x="91" y="303"/>
                </a:cubicBezTo>
                <a:cubicBezTo>
                  <a:pt x="90" y="303"/>
                  <a:pt x="90" y="303"/>
                  <a:pt x="90" y="303"/>
                </a:cubicBezTo>
                <a:cubicBezTo>
                  <a:pt x="89" y="303"/>
                  <a:pt x="89" y="303"/>
                  <a:pt x="89" y="303"/>
                </a:cubicBezTo>
                <a:cubicBezTo>
                  <a:pt x="89" y="304"/>
                  <a:pt x="88" y="304"/>
                  <a:pt x="88" y="305"/>
                </a:cubicBezTo>
                <a:cubicBezTo>
                  <a:pt x="88" y="305"/>
                  <a:pt x="88" y="305"/>
                  <a:pt x="88" y="306"/>
                </a:cubicBezTo>
                <a:cubicBezTo>
                  <a:pt x="88" y="306"/>
                  <a:pt x="87" y="306"/>
                  <a:pt x="87" y="306"/>
                </a:cubicBezTo>
                <a:cubicBezTo>
                  <a:pt x="87" y="306"/>
                  <a:pt x="87" y="307"/>
                  <a:pt x="87" y="307"/>
                </a:cubicBezTo>
                <a:cubicBezTo>
                  <a:pt x="86" y="308"/>
                  <a:pt x="85" y="308"/>
                  <a:pt x="85" y="309"/>
                </a:cubicBezTo>
                <a:cubicBezTo>
                  <a:pt x="85" y="310"/>
                  <a:pt x="85" y="310"/>
                  <a:pt x="85" y="310"/>
                </a:cubicBezTo>
                <a:cubicBezTo>
                  <a:pt x="85" y="311"/>
                  <a:pt x="85" y="311"/>
                  <a:pt x="85" y="311"/>
                </a:cubicBezTo>
                <a:cubicBezTo>
                  <a:pt x="84" y="311"/>
                  <a:pt x="84" y="311"/>
                  <a:pt x="84" y="312"/>
                </a:cubicBezTo>
                <a:cubicBezTo>
                  <a:pt x="83" y="312"/>
                  <a:pt x="83" y="312"/>
                  <a:pt x="82" y="312"/>
                </a:cubicBezTo>
                <a:cubicBezTo>
                  <a:pt x="82" y="312"/>
                  <a:pt x="82" y="312"/>
                  <a:pt x="82" y="312"/>
                </a:cubicBezTo>
                <a:cubicBezTo>
                  <a:pt x="83" y="312"/>
                  <a:pt x="83" y="312"/>
                  <a:pt x="84" y="312"/>
                </a:cubicBezTo>
                <a:cubicBezTo>
                  <a:pt x="84" y="313"/>
                  <a:pt x="84" y="313"/>
                  <a:pt x="84" y="313"/>
                </a:cubicBezTo>
                <a:cubicBezTo>
                  <a:pt x="83" y="313"/>
                  <a:pt x="83" y="313"/>
                  <a:pt x="83" y="313"/>
                </a:cubicBezTo>
                <a:cubicBezTo>
                  <a:pt x="83" y="313"/>
                  <a:pt x="82" y="313"/>
                  <a:pt x="82" y="313"/>
                </a:cubicBezTo>
                <a:cubicBezTo>
                  <a:pt x="82" y="313"/>
                  <a:pt x="82" y="313"/>
                  <a:pt x="82" y="313"/>
                </a:cubicBezTo>
                <a:cubicBezTo>
                  <a:pt x="82" y="314"/>
                  <a:pt x="82" y="314"/>
                  <a:pt x="82" y="314"/>
                </a:cubicBezTo>
                <a:cubicBezTo>
                  <a:pt x="81" y="315"/>
                  <a:pt x="81" y="315"/>
                  <a:pt x="81" y="316"/>
                </a:cubicBezTo>
                <a:cubicBezTo>
                  <a:pt x="81" y="316"/>
                  <a:pt x="81" y="316"/>
                  <a:pt x="81" y="316"/>
                </a:cubicBezTo>
                <a:cubicBezTo>
                  <a:pt x="81" y="316"/>
                  <a:pt x="82" y="316"/>
                  <a:pt x="82" y="316"/>
                </a:cubicBezTo>
                <a:cubicBezTo>
                  <a:pt x="83" y="317"/>
                  <a:pt x="83" y="317"/>
                  <a:pt x="83" y="317"/>
                </a:cubicBezTo>
                <a:cubicBezTo>
                  <a:pt x="83" y="317"/>
                  <a:pt x="83" y="318"/>
                  <a:pt x="83" y="318"/>
                </a:cubicBezTo>
                <a:cubicBezTo>
                  <a:pt x="83" y="318"/>
                  <a:pt x="83" y="318"/>
                  <a:pt x="83" y="319"/>
                </a:cubicBezTo>
                <a:cubicBezTo>
                  <a:pt x="83" y="319"/>
                  <a:pt x="83" y="319"/>
                  <a:pt x="83" y="319"/>
                </a:cubicBezTo>
                <a:cubicBezTo>
                  <a:pt x="84" y="319"/>
                  <a:pt x="84" y="319"/>
                  <a:pt x="84" y="319"/>
                </a:cubicBezTo>
                <a:cubicBezTo>
                  <a:pt x="84" y="318"/>
                  <a:pt x="84" y="318"/>
                  <a:pt x="84" y="318"/>
                </a:cubicBezTo>
                <a:cubicBezTo>
                  <a:pt x="84" y="318"/>
                  <a:pt x="85" y="318"/>
                  <a:pt x="85" y="318"/>
                </a:cubicBezTo>
                <a:cubicBezTo>
                  <a:pt x="85" y="318"/>
                  <a:pt x="85" y="319"/>
                  <a:pt x="85" y="319"/>
                </a:cubicBezTo>
                <a:cubicBezTo>
                  <a:pt x="85" y="319"/>
                  <a:pt x="85" y="319"/>
                  <a:pt x="85" y="319"/>
                </a:cubicBezTo>
                <a:cubicBezTo>
                  <a:pt x="85" y="320"/>
                  <a:pt x="85" y="320"/>
                  <a:pt x="85" y="320"/>
                </a:cubicBezTo>
                <a:cubicBezTo>
                  <a:pt x="85" y="320"/>
                  <a:pt x="85" y="320"/>
                  <a:pt x="85" y="320"/>
                </a:cubicBezTo>
                <a:cubicBezTo>
                  <a:pt x="85" y="320"/>
                  <a:pt x="86" y="320"/>
                  <a:pt x="86" y="320"/>
                </a:cubicBezTo>
                <a:cubicBezTo>
                  <a:pt x="86" y="319"/>
                  <a:pt x="86" y="319"/>
                  <a:pt x="86" y="319"/>
                </a:cubicBezTo>
                <a:cubicBezTo>
                  <a:pt x="86" y="319"/>
                  <a:pt x="87" y="319"/>
                  <a:pt x="87" y="319"/>
                </a:cubicBezTo>
                <a:cubicBezTo>
                  <a:pt x="87" y="319"/>
                  <a:pt x="87" y="319"/>
                  <a:pt x="87" y="319"/>
                </a:cubicBezTo>
                <a:cubicBezTo>
                  <a:pt x="87" y="319"/>
                  <a:pt x="87" y="319"/>
                  <a:pt x="88" y="319"/>
                </a:cubicBezTo>
                <a:cubicBezTo>
                  <a:pt x="88" y="319"/>
                  <a:pt x="88" y="319"/>
                  <a:pt x="89" y="319"/>
                </a:cubicBezTo>
                <a:cubicBezTo>
                  <a:pt x="89" y="319"/>
                  <a:pt x="90" y="319"/>
                  <a:pt x="90" y="319"/>
                </a:cubicBezTo>
                <a:cubicBezTo>
                  <a:pt x="90" y="318"/>
                  <a:pt x="91" y="318"/>
                  <a:pt x="91" y="318"/>
                </a:cubicBezTo>
                <a:cubicBezTo>
                  <a:pt x="91" y="318"/>
                  <a:pt x="91" y="317"/>
                  <a:pt x="92" y="317"/>
                </a:cubicBezTo>
                <a:cubicBezTo>
                  <a:pt x="92" y="317"/>
                  <a:pt x="91" y="316"/>
                  <a:pt x="91" y="316"/>
                </a:cubicBezTo>
                <a:cubicBezTo>
                  <a:pt x="92" y="315"/>
                  <a:pt x="92" y="315"/>
                  <a:pt x="92" y="315"/>
                </a:cubicBezTo>
                <a:cubicBezTo>
                  <a:pt x="92" y="315"/>
                  <a:pt x="93" y="314"/>
                  <a:pt x="94" y="314"/>
                </a:cubicBezTo>
                <a:cubicBezTo>
                  <a:pt x="94" y="314"/>
                  <a:pt x="94" y="313"/>
                  <a:pt x="94" y="313"/>
                </a:cubicBezTo>
                <a:cubicBezTo>
                  <a:pt x="94" y="314"/>
                  <a:pt x="94" y="314"/>
                  <a:pt x="94" y="314"/>
                </a:cubicBezTo>
                <a:cubicBezTo>
                  <a:pt x="94" y="315"/>
                  <a:pt x="93" y="315"/>
                  <a:pt x="93" y="315"/>
                </a:cubicBezTo>
                <a:cubicBezTo>
                  <a:pt x="93" y="315"/>
                  <a:pt x="92" y="316"/>
                  <a:pt x="92" y="317"/>
                </a:cubicBezTo>
                <a:cubicBezTo>
                  <a:pt x="92" y="317"/>
                  <a:pt x="92" y="317"/>
                  <a:pt x="92" y="317"/>
                </a:cubicBezTo>
                <a:cubicBezTo>
                  <a:pt x="92" y="318"/>
                  <a:pt x="92" y="318"/>
                  <a:pt x="91" y="318"/>
                </a:cubicBezTo>
                <a:cubicBezTo>
                  <a:pt x="92" y="318"/>
                  <a:pt x="92" y="318"/>
                  <a:pt x="93" y="318"/>
                </a:cubicBezTo>
                <a:cubicBezTo>
                  <a:pt x="93" y="319"/>
                  <a:pt x="93" y="319"/>
                  <a:pt x="93" y="319"/>
                </a:cubicBezTo>
                <a:cubicBezTo>
                  <a:pt x="93" y="319"/>
                  <a:pt x="92" y="319"/>
                  <a:pt x="92" y="320"/>
                </a:cubicBezTo>
                <a:cubicBezTo>
                  <a:pt x="92" y="320"/>
                  <a:pt x="91" y="320"/>
                  <a:pt x="91" y="320"/>
                </a:cubicBezTo>
                <a:cubicBezTo>
                  <a:pt x="91" y="320"/>
                  <a:pt x="91" y="319"/>
                  <a:pt x="91" y="319"/>
                </a:cubicBezTo>
                <a:cubicBezTo>
                  <a:pt x="91" y="319"/>
                  <a:pt x="91" y="319"/>
                  <a:pt x="90" y="319"/>
                </a:cubicBezTo>
                <a:cubicBezTo>
                  <a:pt x="90" y="319"/>
                  <a:pt x="90" y="320"/>
                  <a:pt x="89" y="320"/>
                </a:cubicBezTo>
                <a:cubicBezTo>
                  <a:pt x="89" y="320"/>
                  <a:pt x="89" y="319"/>
                  <a:pt x="89" y="319"/>
                </a:cubicBezTo>
                <a:cubicBezTo>
                  <a:pt x="88" y="320"/>
                  <a:pt x="88" y="320"/>
                  <a:pt x="87" y="320"/>
                </a:cubicBezTo>
                <a:cubicBezTo>
                  <a:pt x="87" y="320"/>
                  <a:pt x="87" y="320"/>
                  <a:pt x="86" y="320"/>
                </a:cubicBezTo>
                <a:cubicBezTo>
                  <a:pt x="86" y="320"/>
                  <a:pt x="86" y="320"/>
                  <a:pt x="86" y="321"/>
                </a:cubicBezTo>
                <a:cubicBezTo>
                  <a:pt x="85" y="321"/>
                  <a:pt x="85" y="321"/>
                  <a:pt x="85" y="321"/>
                </a:cubicBezTo>
                <a:cubicBezTo>
                  <a:pt x="85" y="321"/>
                  <a:pt x="85" y="322"/>
                  <a:pt x="85" y="322"/>
                </a:cubicBezTo>
                <a:cubicBezTo>
                  <a:pt x="85" y="322"/>
                  <a:pt x="84" y="322"/>
                  <a:pt x="84" y="323"/>
                </a:cubicBezTo>
                <a:cubicBezTo>
                  <a:pt x="84" y="323"/>
                  <a:pt x="83" y="323"/>
                  <a:pt x="83" y="323"/>
                </a:cubicBezTo>
                <a:cubicBezTo>
                  <a:pt x="83" y="323"/>
                  <a:pt x="83" y="323"/>
                  <a:pt x="83" y="323"/>
                </a:cubicBezTo>
                <a:cubicBezTo>
                  <a:pt x="83" y="324"/>
                  <a:pt x="84" y="324"/>
                  <a:pt x="84" y="324"/>
                </a:cubicBezTo>
                <a:cubicBezTo>
                  <a:pt x="84" y="324"/>
                  <a:pt x="84" y="324"/>
                  <a:pt x="84" y="323"/>
                </a:cubicBezTo>
                <a:cubicBezTo>
                  <a:pt x="84" y="324"/>
                  <a:pt x="84" y="324"/>
                  <a:pt x="84" y="324"/>
                </a:cubicBezTo>
                <a:cubicBezTo>
                  <a:pt x="84" y="325"/>
                  <a:pt x="84" y="325"/>
                  <a:pt x="84" y="325"/>
                </a:cubicBezTo>
                <a:cubicBezTo>
                  <a:pt x="85" y="325"/>
                  <a:pt x="85" y="326"/>
                  <a:pt x="85" y="326"/>
                </a:cubicBezTo>
                <a:cubicBezTo>
                  <a:pt x="85" y="326"/>
                  <a:pt x="85" y="326"/>
                  <a:pt x="86" y="325"/>
                </a:cubicBezTo>
                <a:cubicBezTo>
                  <a:pt x="86" y="326"/>
                  <a:pt x="86" y="326"/>
                  <a:pt x="86" y="326"/>
                </a:cubicBezTo>
                <a:cubicBezTo>
                  <a:pt x="86" y="327"/>
                  <a:pt x="87" y="327"/>
                  <a:pt x="87" y="327"/>
                </a:cubicBezTo>
                <a:cubicBezTo>
                  <a:pt x="87" y="327"/>
                  <a:pt x="87" y="327"/>
                  <a:pt x="87" y="327"/>
                </a:cubicBezTo>
                <a:cubicBezTo>
                  <a:pt x="87" y="327"/>
                  <a:pt x="88" y="327"/>
                  <a:pt x="88" y="327"/>
                </a:cubicBezTo>
                <a:cubicBezTo>
                  <a:pt x="88" y="327"/>
                  <a:pt x="88" y="327"/>
                  <a:pt x="88" y="328"/>
                </a:cubicBezTo>
                <a:cubicBezTo>
                  <a:pt x="88" y="328"/>
                  <a:pt x="88" y="328"/>
                  <a:pt x="87" y="328"/>
                </a:cubicBezTo>
                <a:cubicBezTo>
                  <a:pt x="87" y="328"/>
                  <a:pt x="87" y="329"/>
                  <a:pt x="87" y="329"/>
                </a:cubicBezTo>
                <a:cubicBezTo>
                  <a:pt x="88" y="328"/>
                  <a:pt x="90" y="328"/>
                  <a:pt x="91" y="328"/>
                </a:cubicBezTo>
                <a:cubicBezTo>
                  <a:pt x="92" y="328"/>
                  <a:pt x="92" y="328"/>
                  <a:pt x="93" y="327"/>
                </a:cubicBezTo>
                <a:cubicBezTo>
                  <a:pt x="93" y="327"/>
                  <a:pt x="93" y="327"/>
                  <a:pt x="94" y="326"/>
                </a:cubicBezTo>
                <a:cubicBezTo>
                  <a:pt x="94" y="326"/>
                  <a:pt x="94" y="326"/>
                  <a:pt x="95" y="326"/>
                </a:cubicBezTo>
                <a:cubicBezTo>
                  <a:pt x="95" y="326"/>
                  <a:pt x="95" y="326"/>
                  <a:pt x="95" y="326"/>
                </a:cubicBezTo>
                <a:cubicBezTo>
                  <a:pt x="96" y="325"/>
                  <a:pt x="96" y="325"/>
                  <a:pt x="96" y="325"/>
                </a:cubicBezTo>
                <a:cubicBezTo>
                  <a:pt x="96" y="325"/>
                  <a:pt x="97" y="324"/>
                  <a:pt x="97" y="323"/>
                </a:cubicBezTo>
                <a:cubicBezTo>
                  <a:pt x="97" y="323"/>
                  <a:pt x="97" y="323"/>
                  <a:pt x="97" y="323"/>
                </a:cubicBezTo>
                <a:cubicBezTo>
                  <a:pt x="96" y="323"/>
                  <a:pt x="96" y="323"/>
                  <a:pt x="96" y="322"/>
                </a:cubicBezTo>
                <a:cubicBezTo>
                  <a:pt x="96" y="322"/>
                  <a:pt x="96" y="322"/>
                  <a:pt x="96" y="322"/>
                </a:cubicBezTo>
                <a:cubicBezTo>
                  <a:pt x="96" y="322"/>
                  <a:pt x="96" y="321"/>
                  <a:pt x="97" y="321"/>
                </a:cubicBezTo>
                <a:cubicBezTo>
                  <a:pt x="97" y="321"/>
                  <a:pt x="98" y="320"/>
                  <a:pt x="98" y="320"/>
                </a:cubicBezTo>
                <a:cubicBezTo>
                  <a:pt x="99" y="319"/>
                  <a:pt x="99" y="318"/>
                  <a:pt x="100" y="317"/>
                </a:cubicBezTo>
                <a:cubicBezTo>
                  <a:pt x="100" y="317"/>
                  <a:pt x="101" y="317"/>
                  <a:pt x="101" y="317"/>
                </a:cubicBezTo>
                <a:cubicBezTo>
                  <a:pt x="101" y="317"/>
                  <a:pt x="100" y="318"/>
                  <a:pt x="100" y="318"/>
                </a:cubicBezTo>
                <a:cubicBezTo>
                  <a:pt x="99" y="319"/>
                  <a:pt x="99" y="319"/>
                  <a:pt x="98" y="320"/>
                </a:cubicBezTo>
                <a:cubicBezTo>
                  <a:pt x="98" y="321"/>
                  <a:pt x="98" y="321"/>
                  <a:pt x="97" y="321"/>
                </a:cubicBezTo>
                <a:cubicBezTo>
                  <a:pt x="97" y="321"/>
                  <a:pt x="97" y="322"/>
                  <a:pt x="97" y="322"/>
                </a:cubicBezTo>
                <a:cubicBezTo>
                  <a:pt x="98" y="322"/>
                  <a:pt x="98" y="322"/>
                  <a:pt x="98" y="322"/>
                </a:cubicBezTo>
                <a:cubicBezTo>
                  <a:pt x="99" y="322"/>
                  <a:pt x="99" y="322"/>
                  <a:pt x="99" y="322"/>
                </a:cubicBezTo>
                <a:cubicBezTo>
                  <a:pt x="99" y="323"/>
                  <a:pt x="98" y="323"/>
                  <a:pt x="98" y="324"/>
                </a:cubicBezTo>
                <a:cubicBezTo>
                  <a:pt x="98" y="324"/>
                  <a:pt x="98" y="324"/>
                  <a:pt x="97" y="325"/>
                </a:cubicBezTo>
                <a:cubicBezTo>
                  <a:pt x="97" y="325"/>
                  <a:pt x="97" y="325"/>
                  <a:pt x="98" y="325"/>
                </a:cubicBezTo>
                <a:cubicBezTo>
                  <a:pt x="98" y="326"/>
                  <a:pt x="98" y="326"/>
                  <a:pt x="98" y="326"/>
                </a:cubicBezTo>
                <a:cubicBezTo>
                  <a:pt x="98" y="326"/>
                  <a:pt x="98" y="327"/>
                  <a:pt x="98" y="327"/>
                </a:cubicBezTo>
                <a:cubicBezTo>
                  <a:pt x="98" y="327"/>
                  <a:pt x="98" y="327"/>
                  <a:pt x="98" y="327"/>
                </a:cubicBezTo>
                <a:cubicBezTo>
                  <a:pt x="99" y="327"/>
                  <a:pt x="99" y="328"/>
                  <a:pt x="99" y="328"/>
                </a:cubicBezTo>
                <a:cubicBezTo>
                  <a:pt x="99" y="328"/>
                  <a:pt x="99" y="328"/>
                  <a:pt x="99" y="328"/>
                </a:cubicBezTo>
                <a:cubicBezTo>
                  <a:pt x="99" y="329"/>
                  <a:pt x="98" y="329"/>
                  <a:pt x="98" y="329"/>
                </a:cubicBezTo>
                <a:cubicBezTo>
                  <a:pt x="98" y="330"/>
                  <a:pt x="98" y="330"/>
                  <a:pt x="97" y="330"/>
                </a:cubicBezTo>
                <a:cubicBezTo>
                  <a:pt x="97" y="330"/>
                  <a:pt x="97" y="330"/>
                  <a:pt x="97" y="331"/>
                </a:cubicBezTo>
                <a:cubicBezTo>
                  <a:pt x="97" y="331"/>
                  <a:pt x="97" y="331"/>
                  <a:pt x="97" y="331"/>
                </a:cubicBezTo>
                <a:cubicBezTo>
                  <a:pt x="97" y="331"/>
                  <a:pt x="97" y="331"/>
                  <a:pt x="97" y="331"/>
                </a:cubicBezTo>
                <a:cubicBezTo>
                  <a:pt x="97" y="331"/>
                  <a:pt x="97" y="332"/>
                  <a:pt x="97" y="332"/>
                </a:cubicBezTo>
                <a:cubicBezTo>
                  <a:pt x="97" y="332"/>
                  <a:pt x="98" y="332"/>
                  <a:pt x="98" y="332"/>
                </a:cubicBezTo>
                <a:cubicBezTo>
                  <a:pt x="98" y="332"/>
                  <a:pt x="98" y="332"/>
                  <a:pt x="98" y="332"/>
                </a:cubicBezTo>
                <a:cubicBezTo>
                  <a:pt x="98" y="332"/>
                  <a:pt x="99" y="332"/>
                  <a:pt x="99" y="332"/>
                </a:cubicBezTo>
                <a:cubicBezTo>
                  <a:pt x="99" y="331"/>
                  <a:pt x="100" y="331"/>
                  <a:pt x="100" y="331"/>
                </a:cubicBezTo>
                <a:cubicBezTo>
                  <a:pt x="100" y="331"/>
                  <a:pt x="100" y="331"/>
                  <a:pt x="100" y="331"/>
                </a:cubicBezTo>
                <a:cubicBezTo>
                  <a:pt x="100" y="332"/>
                  <a:pt x="100" y="332"/>
                  <a:pt x="100" y="332"/>
                </a:cubicBezTo>
                <a:cubicBezTo>
                  <a:pt x="99" y="332"/>
                  <a:pt x="99" y="333"/>
                  <a:pt x="99" y="333"/>
                </a:cubicBezTo>
                <a:cubicBezTo>
                  <a:pt x="98" y="333"/>
                  <a:pt x="98" y="333"/>
                  <a:pt x="98" y="333"/>
                </a:cubicBezTo>
                <a:cubicBezTo>
                  <a:pt x="98" y="333"/>
                  <a:pt x="99" y="333"/>
                  <a:pt x="99" y="333"/>
                </a:cubicBezTo>
                <a:cubicBezTo>
                  <a:pt x="99" y="334"/>
                  <a:pt x="99" y="334"/>
                  <a:pt x="99" y="334"/>
                </a:cubicBezTo>
                <a:cubicBezTo>
                  <a:pt x="99" y="334"/>
                  <a:pt x="99" y="334"/>
                  <a:pt x="99" y="334"/>
                </a:cubicBezTo>
                <a:cubicBezTo>
                  <a:pt x="99" y="334"/>
                  <a:pt x="99" y="335"/>
                  <a:pt x="99" y="335"/>
                </a:cubicBezTo>
                <a:cubicBezTo>
                  <a:pt x="99" y="335"/>
                  <a:pt x="98" y="335"/>
                  <a:pt x="98" y="335"/>
                </a:cubicBezTo>
                <a:cubicBezTo>
                  <a:pt x="98" y="336"/>
                  <a:pt x="97" y="336"/>
                  <a:pt x="97" y="336"/>
                </a:cubicBezTo>
                <a:cubicBezTo>
                  <a:pt x="97" y="336"/>
                  <a:pt x="97" y="336"/>
                  <a:pt x="96" y="336"/>
                </a:cubicBezTo>
                <a:cubicBezTo>
                  <a:pt x="96" y="336"/>
                  <a:pt x="96" y="337"/>
                  <a:pt x="96" y="337"/>
                </a:cubicBezTo>
                <a:cubicBezTo>
                  <a:pt x="96" y="337"/>
                  <a:pt x="97" y="337"/>
                  <a:pt x="97" y="337"/>
                </a:cubicBezTo>
                <a:cubicBezTo>
                  <a:pt x="97" y="337"/>
                  <a:pt x="98" y="336"/>
                  <a:pt x="98" y="336"/>
                </a:cubicBezTo>
                <a:cubicBezTo>
                  <a:pt x="98" y="336"/>
                  <a:pt x="99" y="336"/>
                  <a:pt x="99" y="336"/>
                </a:cubicBezTo>
                <a:cubicBezTo>
                  <a:pt x="99" y="336"/>
                  <a:pt x="99" y="335"/>
                  <a:pt x="100" y="335"/>
                </a:cubicBezTo>
                <a:cubicBezTo>
                  <a:pt x="100" y="334"/>
                  <a:pt x="101" y="334"/>
                  <a:pt x="101" y="333"/>
                </a:cubicBezTo>
                <a:cubicBezTo>
                  <a:pt x="101" y="333"/>
                  <a:pt x="102" y="333"/>
                  <a:pt x="102" y="333"/>
                </a:cubicBezTo>
                <a:cubicBezTo>
                  <a:pt x="102" y="333"/>
                  <a:pt x="102" y="333"/>
                  <a:pt x="103" y="333"/>
                </a:cubicBezTo>
                <a:cubicBezTo>
                  <a:pt x="103" y="332"/>
                  <a:pt x="103" y="332"/>
                  <a:pt x="103" y="332"/>
                </a:cubicBezTo>
                <a:cubicBezTo>
                  <a:pt x="104" y="331"/>
                  <a:pt x="104" y="331"/>
                  <a:pt x="105" y="331"/>
                </a:cubicBezTo>
                <a:cubicBezTo>
                  <a:pt x="105" y="331"/>
                  <a:pt x="105" y="331"/>
                  <a:pt x="105" y="331"/>
                </a:cubicBezTo>
                <a:cubicBezTo>
                  <a:pt x="104" y="331"/>
                  <a:pt x="104" y="332"/>
                  <a:pt x="104" y="332"/>
                </a:cubicBezTo>
                <a:cubicBezTo>
                  <a:pt x="104" y="332"/>
                  <a:pt x="104" y="332"/>
                  <a:pt x="104" y="332"/>
                </a:cubicBezTo>
                <a:cubicBezTo>
                  <a:pt x="105" y="332"/>
                  <a:pt x="105" y="332"/>
                  <a:pt x="105" y="332"/>
                </a:cubicBezTo>
                <a:cubicBezTo>
                  <a:pt x="105" y="332"/>
                  <a:pt x="105" y="332"/>
                  <a:pt x="106" y="332"/>
                </a:cubicBezTo>
                <a:cubicBezTo>
                  <a:pt x="106" y="332"/>
                  <a:pt x="106" y="333"/>
                  <a:pt x="106" y="333"/>
                </a:cubicBezTo>
                <a:cubicBezTo>
                  <a:pt x="106" y="333"/>
                  <a:pt x="106" y="333"/>
                  <a:pt x="107" y="333"/>
                </a:cubicBezTo>
                <a:cubicBezTo>
                  <a:pt x="107" y="332"/>
                  <a:pt x="107" y="332"/>
                  <a:pt x="107" y="332"/>
                </a:cubicBezTo>
                <a:cubicBezTo>
                  <a:pt x="107" y="332"/>
                  <a:pt x="107" y="331"/>
                  <a:pt x="108" y="331"/>
                </a:cubicBezTo>
                <a:cubicBezTo>
                  <a:pt x="108" y="331"/>
                  <a:pt x="108" y="331"/>
                  <a:pt x="108" y="331"/>
                </a:cubicBezTo>
                <a:cubicBezTo>
                  <a:pt x="108" y="331"/>
                  <a:pt x="108" y="332"/>
                  <a:pt x="108" y="332"/>
                </a:cubicBezTo>
                <a:cubicBezTo>
                  <a:pt x="108" y="332"/>
                  <a:pt x="109" y="332"/>
                  <a:pt x="109" y="332"/>
                </a:cubicBezTo>
                <a:cubicBezTo>
                  <a:pt x="109" y="332"/>
                  <a:pt x="110" y="333"/>
                  <a:pt x="110" y="333"/>
                </a:cubicBezTo>
                <a:cubicBezTo>
                  <a:pt x="110" y="333"/>
                  <a:pt x="110" y="334"/>
                  <a:pt x="110" y="334"/>
                </a:cubicBezTo>
                <a:cubicBezTo>
                  <a:pt x="110" y="334"/>
                  <a:pt x="110" y="334"/>
                  <a:pt x="111" y="334"/>
                </a:cubicBezTo>
                <a:cubicBezTo>
                  <a:pt x="111" y="334"/>
                  <a:pt x="111" y="334"/>
                  <a:pt x="111" y="334"/>
                </a:cubicBezTo>
                <a:cubicBezTo>
                  <a:pt x="111" y="334"/>
                  <a:pt x="112" y="333"/>
                  <a:pt x="112" y="333"/>
                </a:cubicBezTo>
                <a:cubicBezTo>
                  <a:pt x="111" y="333"/>
                  <a:pt x="111" y="333"/>
                  <a:pt x="111" y="333"/>
                </a:cubicBezTo>
                <a:cubicBezTo>
                  <a:pt x="111" y="332"/>
                  <a:pt x="111" y="332"/>
                  <a:pt x="112" y="331"/>
                </a:cubicBezTo>
                <a:cubicBezTo>
                  <a:pt x="112" y="331"/>
                  <a:pt x="111" y="331"/>
                  <a:pt x="111" y="330"/>
                </a:cubicBezTo>
                <a:cubicBezTo>
                  <a:pt x="112" y="330"/>
                  <a:pt x="112" y="330"/>
                  <a:pt x="112" y="329"/>
                </a:cubicBezTo>
                <a:cubicBezTo>
                  <a:pt x="112" y="329"/>
                  <a:pt x="113" y="329"/>
                  <a:pt x="113" y="329"/>
                </a:cubicBezTo>
                <a:cubicBezTo>
                  <a:pt x="113" y="329"/>
                  <a:pt x="113" y="328"/>
                  <a:pt x="113" y="328"/>
                </a:cubicBezTo>
                <a:cubicBezTo>
                  <a:pt x="114" y="328"/>
                  <a:pt x="114" y="328"/>
                  <a:pt x="115" y="327"/>
                </a:cubicBezTo>
                <a:cubicBezTo>
                  <a:pt x="115" y="328"/>
                  <a:pt x="114" y="328"/>
                  <a:pt x="114" y="328"/>
                </a:cubicBezTo>
                <a:cubicBezTo>
                  <a:pt x="114" y="329"/>
                  <a:pt x="113" y="330"/>
                  <a:pt x="113" y="330"/>
                </a:cubicBezTo>
                <a:cubicBezTo>
                  <a:pt x="113" y="330"/>
                  <a:pt x="113" y="330"/>
                  <a:pt x="113" y="330"/>
                </a:cubicBezTo>
                <a:cubicBezTo>
                  <a:pt x="114" y="331"/>
                  <a:pt x="114" y="331"/>
                  <a:pt x="115" y="331"/>
                </a:cubicBezTo>
                <a:cubicBezTo>
                  <a:pt x="115" y="331"/>
                  <a:pt x="115" y="331"/>
                  <a:pt x="116" y="331"/>
                </a:cubicBezTo>
                <a:cubicBezTo>
                  <a:pt x="116" y="330"/>
                  <a:pt x="116" y="330"/>
                  <a:pt x="117" y="329"/>
                </a:cubicBezTo>
                <a:cubicBezTo>
                  <a:pt x="117" y="329"/>
                  <a:pt x="118" y="329"/>
                  <a:pt x="119" y="328"/>
                </a:cubicBezTo>
                <a:cubicBezTo>
                  <a:pt x="119" y="328"/>
                  <a:pt x="119" y="328"/>
                  <a:pt x="120" y="327"/>
                </a:cubicBezTo>
                <a:cubicBezTo>
                  <a:pt x="120" y="327"/>
                  <a:pt x="120" y="327"/>
                  <a:pt x="120" y="327"/>
                </a:cubicBezTo>
                <a:cubicBezTo>
                  <a:pt x="121" y="326"/>
                  <a:pt x="121" y="326"/>
                  <a:pt x="122" y="326"/>
                </a:cubicBezTo>
                <a:cubicBezTo>
                  <a:pt x="122" y="325"/>
                  <a:pt x="122" y="325"/>
                  <a:pt x="122" y="325"/>
                </a:cubicBezTo>
                <a:cubicBezTo>
                  <a:pt x="122" y="325"/>
                  <a:pt x="122" y="326"/>
                  <a:pt x="122" y="326"/>
                </a:cubicBezTo>
                <a:cubicBezTo>
                  <a:pt x="122" y="326"/>
                  <a:pt x="121" y="327"/>
                  <a:pt x="121" y="327"/>
                </a:cubicBezTo>
                <a:cubicBezTo>
                  <a:pt x="121" y="327"/>
                  <a:pt x="121" y="327"/>
                  <a:pt x="121" y="327"/>
                </a:cubicBezTo>
                <a:cubicBezTo>
                  <a:pt x="121" y="328"/>
                  <a:pt x="121" y="328"/>
                  <a:pt x="121" y="328"/>
                </a:cubicBezTo>
                <a:cubicBezTo>
                  <a:pt x="120" y="329"/>
                  <a:pt x="119" y="330"/>
                  <a:pt x="118" y="331"/>
                </a:cubicBezTo>
                <a:cubicBezTo>
                  <a:pt x="118" y="331"/>
                  <a:pt x="118" y="331"/>
                  <a:pt x="117" y="332"/>
                </a:cubicBezTo>
                <a:cubicBezTo>
                  <a:pt x="117" y="332"/>
                  <a:pt x="117" y="333"/>
                  <a:pt x="117" y="333"/>
                </a:cubicBezTo>
                <a:cubicBezTo>
                  <a:pt x="117" y="334"/>
                  <a:pt x="117" y="334"/>
                  <a:pt x="117" y="334"/>
                </a:cubicBezTo>
                <a:cubicBezTo>
                  <a:pt x="117" y="334"/>
                  <a:pt x="118" y="334"/>
                  <a:pt x="118" y="334"/>
                </a:cubicBezTo>
                <a:cubicBezTo>
                  <a:pt x="118" y="334"/>
                  <a:pt x="119" y="334"/>
                  <a:pt x="119" y="334"/>
                </a:cubicBezTo>
                <a:cubicBezTo>
                  <a:pt x="118" y="335"/>
                  <a:pt x="118" y="335"/>
                  <a:pt x="117" y="335"/>
                </a:cubicBezTo>
                <a:cubicBezTo>
                  <a:pt x="117" y="335"/>
                  <a:pt x="117" y="335"/>
                  <a:pt x="117" y="336"/>
                </a:cubicBezTo>
                <a:cubicBezTo>
                  <a:pt x="116" y="336"/>
                  <a:pt x="116" y="336"/>
                  <a:pt x="116" y="337"/>
                </a:cubicBezTo>
                <a:cubicBezTo>
                  <a:pt x="116" y="337"/>
                  <a:pt x="116" y="337"/>
                  <a:pt x="116" y="338"/>
                </a:cubicBezTo>
                <a:cubicBezTo>
                  <a:pt x="116" y="338"/>
                  <a:pt x="116" y="339"/>
                  <a:pt x="115" y="339"/>
                </a:cubicBezTo>
                <a:cubicBezTo>
                  <a:pt x="115" y="340"/>
                  <a:pt x="115" y="340"/>
                  <a:pt x="115" y="340"/>
                </a:cubicBezTo>
                <a:cubicBezTo>
                  <a:pt x="115" y="340"/>
                  <a:pt x="115" y="340"/>
                  <a:pt x="115" y="340"/>
                </a:cubicBezTo>
                <a:cubicBezTo>
                  <a:pt x="116" y="340"/>
                  <a:pt x="116" y="340"/>
                  <a:pt x="116" y="341"/>
                </a:cubicBezTo>
                <a:cubicBezTo>
                  <a:pt x="116" y="341"/>
                  <a:pt x="116" y="341"/>
                  <a:pt x="116" y="341"/>
                </a:cubicBezTo>
                <a:cubicBezTo>
                  <a:pt x="116" y="341"/>
                  <a:pt x="115" y="341"/>
                  <a:pt x="115" y="341"/>
                </a:cubicBezTo>
                <a:cubicBezTo>
                  <a:pt x="115" y="341"/>
                  <a:pt x="115" y="341"/>
                  <a:pt x="115" y="341"/>
                </a:cubicBezTo>
                <a:cubicBezTo>
                  <a:pt x="114" y="341"/>
                  <a:pt x="114" y="341"/>
                  <a:pt x="114" y="341"/>
                </a:cubicBezTo>
                <a:cubicBezTo>
                  <a:pt x="114" y="342"/>
                  <a:pt x="114" y="342"/>
                  <a:pt x="113" y="342"/>
                </a:cubicBezTo>
                <a:cubicBezTo>
                  <a:pt x="113" y="343"/>
                  <a:pt x="113" y="343"/>
                  <a:pt x="112" y="343"/>
                </a:cubicBezTo>
                <a:cubicBezTo>
                  <a:pt x="113" y="343"/>
                  <a:pt x="113" y="344"/>
                  <a:pt x="113" y="344"/>
                </a:cubicBezTo>
                <a:cubicBezTo>
                  <a:pt x="113" y="344"/>
                  <a:pt x="113" y="344"/>
                  <a:pt x="113" y="344"/>
                </a:cubicBezTo>
                <a:cubicBezTo>
                  <a:pt x="112" y="344"/>
                  <a:pt x="112" y="344"/>
                  <a:pt x="112" y="345"/>
                </a:cubicBezTo>
                <a:cubicBezTo>
                  <a:pt x="112" y="344"/>
                  <a:pt x="112" y="344"/>
                  <a:pt x="112" y="344"/>
                </a:cubicBezTo>
                <a:cubicBezTo>
                  <a:pt x="111" y="344"/>
                  <a:pt x="111" y="345"/>
                  <a:pt x="111" y="345"/>
                </a:cubicBezTo>
                <a:cubicBezTo>
                  <a:pt x="110" y="346"/>
                  <a:pt x="110" y="346"/>
                  <a:pt x="109" y="347"/>
                </a:cubicBezTo>
                <a:cubicBezTo>
                  <a:pt x="109" y="347"/>
                  <a:pt x="109" y="348"/>
                  <a:pt x="109" y="348"/>
                </a:cubicBezTo>
                <a:cubicBezTo>
                  <a:pt x="109" y="348"/>
                  <a:pt x="109" y="348"/>
                  <a:pt x="109" y="348"/>
                </a:cubicBezTo>
                <a:cubicBezTo>
                  <a:pt x="109" y="349"/>
                  <a:pt x="109" y="349"/>
                  <a:pt x="109" y="349"/>
                </a:cubicBezTo>
                <a:cubicBezTo>
                  <a:pt x="109" y="349"/>
                  <a:pt x="109" y="349"/>
                  <a:pt x="108" y="349"/>
                </a:cubicBezTo>
                <a:cubicBezTo>
                  <a:pt x="108" y="349"/>
                  <a:pt x="108" y="349"/>
                  <a:pt x="108" y="348"/>
                </a:cubicBezTo>
                <a:cubicBezTo>
                  <a:pt x="108" y="349"/>
                  <a:pt x="107" y="349"/>
                  <a:pt x="107" y="350"/>
                </a:cubicBezTo>
                <a:cubicBezTo>
                  <a:pt x="106" y="350"/>
                  <a:pt x="106" y="350"/>
                  <a:pt x="106" y="351"/>
                </a:cubicBezTo>
                <a:cubicBezTo>
                  <a:pt x="105" y="351"/>
                  <a:pt x="105" y="351"/>
                  <a:pt x="105" y="351"/>
                </a:cubicBezTo>
                <a:cubicBezTo>
                  <a:pt x="105" y="352"/>
                  <a:pt x="105" y="352"/>
                  <a:pt x="105" y="352"/>
                </a:cubicBezTo>
                <a:cubicBezTo>
                  <a:pt x="105" y="352"/>
                  <a:pt x="104" y="352"/>
                  <a:pt x="104" y="353"/>
                </a:cubicBezTo>
                <a:cubicBezTo>
                  <a:pt x="104" y="353"/>
                  <a:pt x="103" y="353"/>
                  <a:pt x="103" y="353"/>
                </a:cubicBezTo>
                <a:cubicBezTo>
                  <a:pt x="102" y="354"/>
                  <a:pt x="102" y="354"/>
                  <a:pt x="102" y="355"/>
                </a:cubicBezTo>
                <a:cubicBezTo>
                  <a:pt x="101" y="355"/>
                  <a:pt x="100" y="356"/>
                  <a:pt x="100" y="357"/>
                </a:cubicBezTo>
                <a:cubicBezTo>
                  <a:pt x="99" y="357"/>
                  <a:pt x="99" y="358"/>
                  <a:pt x="98" y="358"/>
                </a:cubicBezTo>
                <a:cubicBezTo>
                  <a:pt x="98" y="359"/>
                  <a:pt x="98" y="359"/>
                  <a:pt x="98" y="359"/>
                </a:cubicBezTo>
                <a:cubicBezTo>
                  <a:pt x="98" y="360"/>
                  <a:pt x="98" y="360"/>
                  <a:pt x="98" y="360"/>
                </a:cubicBezTo>
                <a:cubicBezTo>
                  <a:pt x="99" y="360"/>
                  <a:pt x="99" y="360"/>
                  <a:pt x="99" y="360"/>
                </a:cubicBezTo>
                <a:cubicBezTo>
                  <a:pt x="99" y="360"/>
                  <a:pt x="99" y="360"/>
                  <a:pt x="99" y="361"/>
                </a:cubicBezTo>
                <a:cubicBezTo>
                  <a:pt x="99" y="361"/>
                  <a:pt x="99" y="361"/>
                  <a:pt x="99" y="361"/>
                </a:cubicBezTo>
                <a:cubicBezTo>
                  <a:pt x="99" y="361"/>
                  <a:pt x="98" y="361"/>
                  <a:pt x="98" y="361"/>
                </a:cubicBezTo>
                <a:cubicBezTo>
                  <a:pt x="98" y="361"/>
                  <a:pt x="98" y="361"/>
                  <a:pt x="97" y="361"/>
                </a:cubicBezTo>
                <a:cubicBezTo>
                  <a:pt x="97" y="361"/>
                  <a:pt x="97" y="361"/>
                  <a:pt x="97" y="361"/>
                </a:cubicBezTo>
                <a:cubicBezTo>
                  <a:pt x="98" y="361"/>
                  <a:pt x="98" y="362"/>
                  <a:pt x="98" y="362"/>
                </a:cubicBezTo>
                <a:cubicBezTo>
                  <a:pt x="98" y="362"/>
                  <a:pt x="98" y="362"/>
                  <a:pt x="97" y="362"/>
                </a:cubicBezTo>
                <a:cubicBezTo>
                  <a:pt x="97" y="362"/>
                  <a:pt x="97" y="362"/>
                  <a:pt x="97" y="362"/>
                </a:cubicBezTo>
                <a:cubicBezTo>
                  <a:pt x="97" y="362"/>
                  <a:pt x="96" y="362"/>
                  <a:pt x="96" y="361"/>
                </a:cubicBezTo>
                <a:cubicBezTo>
                  <a:pt x="96" y="361"/>
                  <a:pt x="96" y="361"/>
                  <a:pt x="96" y="361"/>
                </a:cubicBezTo>
                <a:cubicBezTo>
                  <a:pt x="96" y="361"/>
                  <a:pt x="96" y="361"/>
                  <a:pt x="96" y="361"/>
                </a:cubicBezTo>
                <a:cubicBezTo>
                  <a:pt x="95" y="361"/>
                  <a:pt x="95" y="361"/>
                  <a:pt x="95" y="361"/>
                </a:cubicBezTo>
                <a:cubicBezTo>
                  <a:pt x="94" y="361"/>
                  <a:pt x="94" y="362"/>
                  <a:pt x="94" y="362"/>
                </a:cubicBezTo>
                <a:cubicBezTo>
                  <a:pt x="94" y="362"/>
                  <a:pt x="93" y="362"/>
                  <a:pt x="93" y="362"/>
                </a:cubicBezTo>
                <a:cubicBezTo>
                  <a:pt x="93" y="363"/>
                  <a:pt x="92" y="363"/>
                  <a:pt x="92" y="363"/>
                </a:cubicBezTo>
                <a:cubicBezTo>
                  <a:pt x="91" y="363"/>
                  <a:pt x="91" y="364"/>
                  <a:pt x="91" y="364"/>
                </a:cubicBezTo>
                <a:cubicBezTo>
                  <a:pt x="91" y="364"/>
                  <a:pt x="91" y="364"/>
                  <a:pt x="90" y="365"/>
                </a:cubicBezTo>
                <a:cubicBezTo>
                  <a:pt x="90" y="365"/>
                  <a:pt x="90" y="365"/>
                  <a:pt x="89" y="366"/>
                </a:cubicBezTo>
                <a:cubicBezTo>
                  <a:pt x="89" y="366"/>
                  <a:pt x="89" y="366"/>
                  <a:pt x="88" y="367"/>
                </a:cubicBezTo>
                <a:cubicBezTo>
                  <a:pt x="88" y="367"/>
                  <a:pt x="88" y="368"/>
                  <a:pt x="87" y="368"/>
                </a:cubicBezTo>
                <a:cubicBezTo>
                  <a:pt x="88" y="368"/>
                  <a:pt x="88" y="368"/>
                  <a:pt x="88" y="368"/>
                </a:cubicBezTo>
                <a:cubicBezTo>
                  <a:pt x="88" y="369"/>
                  <a:pt x="88" y="369"/>
                  <a:pt x="88" y="369"/>
                </a:cubicBezTo>
                <a:cubicBezTo>
                  <a:pt x="87" y="369"/>
                  <a:pt x="87" y="369"/>
                  <a:pt x="87" y="369"/>
                </a:cubicBezTo>
                <a:cubicBezTo>
                  <a:pt x="87" y="369"/>
                  <a:pt x="86" y="370"/>
                  <a:pt x="86" y="370"/>
                </a:cubicBezTo>
                <a:cubicBezTo>
                  <a:pt x="86" y="370"/>
                  <a:pt x="86" y="371"/>
                  <a:pt x="85" y="371"/>
                </a:cubicBezTo>
                <a:cubicBezTo>
                  <a:pt x="86" y="371"/>
                  <a:pt x="86" y="371"/>
                  <a:pt x="86" y="371"/>
                </a:cubicBezTo>
                <a:cubicBezTo>
                  <a:pt x="85" y="371"/>
                  <a:pt x="85" y="371"/>
                  <a:pt x="85" y="371"/>
                </a:cubicBezTo>
                <a:cubicBezTo>
                  <a:pt x="85" y="372"/>
                  <a:pt x="85" y="372"/>
                  <a:pt x="84" y="372"/>
                </a:cubicBezTo>
                <a:cubicBezTo>
                  <a:pt x="84" y="372"/>
                  <a:pt x="84" y="372"/>
                  <a:pt x="83" y="372"/>
                </a:cubicBezTo>
                <a:cubicBezTo>
                  <a:pt x="83" y="373"/>
                  <a:pt x="83" y="373"/>
                  <a:pt x="83" y="373"/>
                </a:cubicBezTo>
                <a:cubicBezTo>
                  <a:pt x="83" y="373"/>
                  <a:pt x="83" y="374"/>
                  <a:pt x="83" y="374"/>
                </a:cubicBezTo>
                <a:cubicBezTo>
                  <a:pt x="83" y="374"/>
                  <a:pt x="84" y="374"/>
                  <a:pt x="84" y="374"/>
                </a:cubicBezTo>
                <a:cubicBezTo>
                  <a:pt x="84" y="374"/>
                  <a:pt x="84" y="374"/>
                  <a:pt x="84" y="374"/>
                </a:cubicBezTo>
                <a:cubicBezTo>
                  <a:pt x="84" y="373"/>
                  <a:pt x="84" y="373"/>
                  <a:pt x="84" y="373"/>
                </a:cubicBezTo>
                <a:cubicBezTo>
                  <a:pt x="84" y="373"/>
                  <a:pt x="84" y="373"/>
                  <a:pt x="84" y="373"/>
                </a:cubicBezTo>
                <a:cubicBezTo>
                  <a:pt x="84" y="372"/>
                  <a:pt x="84" y="372"/>
                  <a:pt x="85" y="372"/>
                </a:cubicBezTo>
                <a:cubicBezTo>
                  <a:pt x="85" y="372"/>
                  <a:pt x="85" y="372"/>
                  <a:pt x="85" y="372"/>
                </a:cubicBezTo>
                <a:cubicBezTo>
                  <a:pt x="85" y="372"/>
                  <a:pt x="85" y="372"/>
                  <a:pt x="85" y="373"/>
                </a:cubicBezTo>
                <a:cubicBezTo>
                  <a:pt x="85" y="373"/>
                  <a:pt x="85" y="373"/>
                  <a:pt x="85" y="373"/>
                </a:cubicBezTo>
                <a:cubicBezTo>
                  <a:pt x="86" y="373"/>
                  <a:pt x="86" y="372"/>
                  <a:pt x="86" y="372"/>
                </a:cubicBezTo>
                <a:cubicBezTo>
                  <a:pt x="86" y="372"/>
                  <a:pt x="87" y="371"/>
                  <a:pt x="87" y="371"/>
                </a:cubicBezTo>
                <a:cubicBezTo>
                  <a:pt x="87" y="371"/>
                  <a:pt x="87" y="371"/>
                  <a:pt x="87" y="371"/>
                </a:cubicBezTo>
                <a:cubicBezTo>
                  <a:pt x="87" y="371"/>
                  <a:pt x="87" y="371"/>
                  <a:pt x="88" y="371"/>
                </a:cubicBezTo>
                <a:cubicBezTo>
                  <a:pt x="88" y="371"/>
                  <a:pt x="88" y="371"/>
                  <a:pt x="88" y="371"/>
                </a:cubicBezTo>
                <a:cubicBezTo>
                  <a:pt x="88" y="371"/>
                  <a:pt x="88" y="371"/>
                  <a:pt x="88" y="371"/>
                </a:cubicBezTo>
                <a:cubicBezTo>
                  <a:pt x="88" y="371"/>
                  <a:pt x="89" y="371"/>
                  <a:pt x="89" y="371"/>
                </a:cubicBezTo>
                <a:cubicBezTo>
                  <a:pt x="89" y="371"/>
                  <a:pt x="89" y="370"/>
                  <a:pt x="89" y="370"/>
                </a:cubicBezTo>
                <a:cubicBezTo>
                  <a:pt x="89" y="370"/>
                  <a:pt x="89" y="370"/>
                  <a:pt x="89" y="370"/>
                </a:cubicBezTo>
                <a:cubicBezTo>
                  <a:pt x="90" y="370"/>
                  <a:pt x="90" y="370"/>
                  <a:pt x="90" y="370"/>
                </a:cubicBezTo>
                <a:cubicBezTo>
                  <a:pt x="90" y="370"/>
                  <a:pt x="90" y="370"/>
                  <a:pt x="90" y="370"/>
                </a:cubicBezTo>
                <a:cubicBezTo>
                  <a:pt x="90" y="370"/>
                  <a:pt x="90" y="369"/>
                  <a:pt x="90" y="369"/>
                </a:cubicBezTo>
                <a:cubicBezTo>
                  <a:pt x="91" y="369"/>
                  <a:pt x="91" y="369"/>
                  <a:pt x="91" y="369"/>
                </a:cubicBezTo>
                <a:cubicBezTo>
                  <a:pt x="92" y="368"/>
                  <a:pt x="92" y="368"/>
                  <a:pt x="92" y="368"/>
                </a:cubicBezTo>
                <a:cubicBezTo>
                  <a:pt x="92" y="367"/>
                  <a:pt x="92" y="367"/>
                  <a:pt x="92" y="367"/>
                </a:cubicBezTo>
                <a:cubicBezTo>
                  <a:pt x="92" y="367"/>
                  <a:pt x="92" y="366"/>
                  <a:pt x="92" y="366"/>
                </a:cubicBezTo>
                <a:cubicBezTo>
                  <a:pt x="92" y="366"/>
                  <a:pt x="92" y="366"/>
                  <a:pt x="92" y="366"/>
                </a:cubicBezTo>
                <a:cubicBezTo>
                  <a:pt x="93" y="365"/>
                  <a:pt x="93" y="365"/>
                  <a:pt x="93" y="365"/>
                </a:cubicBezTo>
                <a:cubicBezTo>
                  <a:pt x="93" y="364"/>
                  <a:pt x="93" y="364"/>
                  <a:pt x="94" y="364"/>
                </a:cubicBezTo>
                <a:cubicBezTo>
                  <a:pt x="94" y="364"/>
                  <a:pt x="94" y="364"/>
                  <a:pt x="95" y="364"/>
                </a:cubicBezTo>
                <a:cubicBezTo>
                  <a:pt x="95" y="364"/>
                  <a:pt x="95" y="365"/>
                  <a:pt x="95" y="365"/>
                </a:cubicBezTo>
                <a:cubicBezTo>
                  <a:pt x="94" y="365"/>
                  <a:pt x="94" y="365"/>
                  <a:pt x="94" y="365"/>
                </a:cubicBezTo>
                <a:cubicBezTo>
                  <a:pt x="94" y="365"/>
                  <a:pt x="94" y="366"/>
                  <a:pt x="94" y="366"/>
                </a:cubicBezTo>
                <a:cubicBezTo>
                  <a:pt x="94" y="366"/>
                  <a:pt x="94" y="366"/>
                  <a:pt x="94" y="367"/>
                </a:cubicBezTo>
                <a:cubicBezTo>
                  <a:pt x="94" y="367"/>
                  <a:pt x="94" y="367"/>
                  <a:pt x="94" y="367"/>
                </a:cubicBezTo>
                <a:cubicBezTo>
                  <a:pt x="95" y="366"/>
                  <a:pt x="95" y="366"/>
                  <a:pt x="96" y="365"/>
                </a:cubicBezTo>
                <a:cubicBezTo>
                  <a:pt x="96" y="365"/>
                  <a:pt x="96" y="365"/>
                  <a:pt x="96" y="365"/>
                </a:cubicBezTo>
                <a:cubicBezTo>
                  <a:pt x="96" y="364"/>
                  <a:pt x="96" y="364"/>
                  <a:pt x="96" y="364"/>
                </a:cubicBezTo>
                <a:cubicBezTo>
                  <a:pt x="96" y="364"/>
                  <a:pt x="96" y="364"/>
                  <a:pt x="96" y="364"/>
                </a:cubicBezTo>
                <a:cubicBezTo>
                  <a:pt x="96" y="364"/>
                  <a:pt x="97" y="364"/>
                  <a:pt x="97" y="364"/>
                </a:cubicBezTo>
                <a:cubicBezTo>
                  <a:pt x="97" y="364"/>
                  <a:pt x="97" y="364"/>
                  <a:pt x="97" y="364"/>
                </a:cubicBezTo>
                <a:cubicBezTo>
                  <a:pt x="97" y="364"/>
                  <a:pt x="97" y="364"/>
                  <a:pt x="98" y="364"/>
                </a:cubicBezTo>
                <a:cubicBezTo>
                  <a:pt x="97" y="364"/>
                  <a:pt x="97" y="364"/>
                  <a:pt x="97" y="364"/>
                </a:cubicBezTo>
                <a:cubicBezTo>
                  <a:pt x="98" y="364"/>
                  <a:pt x="98" y="364"/>
                  <a:pt x="98" y="364"/>
                </a:cubicBezTo>
                <a:cubicBezTo>
                  <a:pt x="98" y="364"/>
                  <a:pt x="98" y="364"/>
                  <a:pt x="98" y="363"/>
                </a:cubicBezTo>
                <a:cubicBezTo>
                  <a:pt x="98" y="363"/>
                  <a:pt x="99" y="363"/>
                  <a:pt x="99" y="363"/>
                </a:cubicBezTo>
                <a:cubicBezTo>
                  <a:pt x="99" y="363"/>
                  <a:pt x="99" y="362"/>
                  <a:pt x="100" y="362"/>
                </a:cubicBezTo>
                <a:cubicBezTo>
                  <a:pt x="100" y="362"/>
                  <a:pt x="100" y="362"/>
                  <a:pt x="100" y="362"/>
                </a:cubicBezTo>
                <a:cubicBezTo>
                  <a:pt x="101" y="361"/>
                  <a:pt x="101" y="361"/>
                  <a:pt x="101" y="360"/>
                </a:cubicBezTo>
                <a:cubicBezTo>
                  <a:pt x="101" y="360"/>
                  <a:pt x="102" y="360"/>
                  <a:pt x="102" y="360"/>
                </a:cubicBezTo>
                <a:cubicBezTo>
                  <a:pt x="102" y="360"/>
                  <a:pt x="102" y="360"/>
                  <a:pt x="103" y="359"/>
                </a:cubicBezTo>
                <a:cubicBezTo>
                  <a:pt x="103" y="360"/>
                  <a:pt x="103" y="360"/>
                  <a:pt x="103" y="360"/>
                </a:cubicBezTo>
                <a:cubicBezTo>
                  <a:pt x="103" y="360"/>
                  <a:pt x="102" y="360"/>
                  <a:pt x="102" y="361"/>
                </a:cubicBezTo>
                <a:cubicBezTo>
                  <a:pt x="102" y="361"/>
                  <a:pt x="102" y="361"/>
                  <a:pt x="102" y="362"/>
                </a:cubicBezTo>
                <a:cubicBezTo>
                  <a:pt x="102" y="362"/>
                  <a:pt x="102" y="362"/>
                  <a:pt x="102" y="362"/>
                </a:cubicBezTo>
                <a:cubicBezTo>
                  <a:pt x="102" y="362"/>
                  <a:pt x="103" y="362"/>
                  <a:pt x="103" y="362"/>
                </a:cubicBezTo>
                <a:cubicBezTo>
                  <a:pt x="103" y="361"/>
                  <a:pt x="103" y="361"/>
                  <a:pt x="104" y="360"/>
                </a:cubicBezTo>
                <a:cubicBezTo>
                  <a:pt x="104" y="360"/>
                  <a:pt x="103" y="359"/>
                  <a:pt x="103" y="359"/>
                </a:cubicBezTo>
                <a:cubicBezTo>
                  <a:pt x="103" y="359"/>
                  <a:pt x="103" y="359"/>
                  <a:pt x="103" y="359"/>
                </a:cubicBezTo>
                <a:cubicBezTo>
                  <a:pt x="104" y="359"/>
                  <a:pt x="104" y="359"/>
                  <a:pt x="104" y="359"/>
                </a:cubicBezTo>
                <a:cubicBezTo>
                  <a:pt x="104" y="359"/>
                  <a:pt x="104" y="359"/>
                  <a:pt x="105" y="358"/>
                </a:cubicBezTo>
                <a:cubicBezTo>
                  <a:pt x="105" y="358"/>
                  <a:pt x="105" y="358"/>
                  <a:pt x="105" y="358"/>
                </a:cubicBezTo>
                <a:cubicBezTo>
                  <a:pt x="106" y="358"/>
                  <a:pt x="106" y="358"/>
                  <a:pt x="106" y="358"/>
                </a:cubicBezTo>
                <a:cubicBezTo>
                  <a:pt x="107" y="357"/>
                  <a:pt x="107" y="357"/>
                  <a:pt x="107" y="356"/>
                </a:cubicBezTo>
                <a:cubicBezTo>
                  <a:pt x="107" y="356"/>
                  <a:pt x="107" y="356"/>
                  <a:pt x="107" y="356"/>
                </a:cubicBezTo>
                <a:cubicBezTo>
                  <a:pt x="107" y="356"/>
                  <a:pt x="108" y="356"/>
                  <a:pt x="108" y="356"/>
                </a:cubicBezTo>
                <a:cubicBezTo>
                  <a:pt x="108" y="356"/>
                  <a:pt x="108" y="356"/>
                  <a:pt x="108" y="355"/>
                </a:cubicBezTo>
                <a:cubicBezTo>
                  <a:pt x="108" y="355"/>
                  <a:pt x="108" y="355"/>
                  <a:pt x="108" y="355"/>
                </a:cubicBezTo>
                <a:cubicBezTo>
                  <a:pt x="108" y="355"/>
                  <a:pt x="108" y="355"/>
                  <a:pt x="109" y="355"/>
                </a:cubicBezTo>
                <a:cubicBezTo>
                  <a:pt x="109" y="355"/>
                  <a:pt x="109" y="355"/>
                  <a:pt x="109" y="355"/>
                </a:cubicBezTo>
                <a:cubicBezTo>
                  <a:pt x="109" y="356"/>
                  <a:pt x="109" y="356"/>
                  <a:pt x="109" y="356"/>
                </a:cubicBezTo>
                <a:cubicBezTo>
                  <a:pt x="109" y="356"/>
                  <a:pt x="109" y="356"/>
                  <a:pt x="109" y="355"/>
                </a:cubicBezTo>
                <a:cubicBezTo>
                  <a:pt x="110" y="355"/>
                  <a:pt x="110" y="355"/>
                  <a:pt x="110" y="355"/>
                </a:cubicBezTo>
                <a:cubicBezTo>
                  <a:pt x="110" y="355"/>
                  <a:pt x="110" y="355"/>
                  <a:pt x="109" y="355"/>
                </a:cubicBezTo>
                <a:cubicBezTo>
                  <a:pt x="110" y="354"/>
                  <a:pt x="110" y="354"/>
                  <a:pt x="110" y="354"/>
                </a:cubicBezTo>
                <a:cubicBezTo>
                  <a:pt x="110" y="354"/>
                  <a:pt x="110" y="354"/>
                  <a:pt x="110" y="354"/>
                </a:cubicBezTo>
                <a:cubicBezTo>
                  <a:pt x="109" y="354"/>
                  <a:pt x="109" y="354"/>
                  <a:pt x="108" y="354"/>
                </a:cubicBezTo>
                <a:cubicBezTo>
                  <a:pt x="108" y="354"/>
                  <a:pt x="108" y="354"/>
                  <a:pt x="108" y="354"/>
                </a:cubicBezTo>
                <a:cubicBezTo>
                  <a:pt x="108" y="354"/>
                  <a:pt x="109" y="354"/>
                  <a:pt x="109" y="353"/>
                </a:cubicBezTo>
                <a:cubicBezTo>
                  <a:pt x="109" y="353"/>
                  <a:pt x="110" y="353"/>
                  <a:pt x="110" y="352"/>
                </a:cubicBezTo>
                <a:cubicBezTo>
                  <a:pt x="111" y="352"/>
                  <a:pt x="112" y="351"/>
                  <a:pt x="112" y="351"/>
                </a:cubicBezTo>
                <a:cubicBezTo>
                  <a:pt x="113" y="351"/>
                  <a:pt x="113" y="351"/>
                  <a:pt x="113" y="351"/>
                </a:cubicBezTo>
                <a:cubicBezTo>
                  <a:pt x="113" y="350"/>
                  <a:pt x="113" y="350"/>
                  <a:pt x="112" y="350"/>
                </a:cubicBezTo>
                <a:cubicBezTo>
                  <a:pt x="112" y="350"/>
                  <a:pt x="112" y="350"/>
                  <a:pt x="112" y="350"/>
                </a:cubicBezTo>
                <a:cubicBezTo>
                  <a:pt x="112" y="350"/>
                  <a:pt x="112" y="350"/>
                  <a:pt x="112" y="350"/>
                </a:cubicBezTo>
                <a:cubicBezTo>
                  <a:pt x="113" y="350"/>
                  <a:pt x="113" y="350"/>
                  <a:pt x="113" y="349"/>
                </a:cubicBezTo>
                <a:cubicBezTo>
                  <a:pt x="113" y="349"/>
                  <a:pt x="113" y="349"/>
                  <a:pt x="114" y="349"/>
                </a:cubicBezTo>
                <a:cubicBezTo>
                  <a:pt x="114" y="349"/>
                  <a:pt x="114" y="349"/>
                  <a:pt x="114" y="349"/>
                </a:cubicBezTo>
                <a:cubicBezTo>
                  <a:pt x="114" y="349"/>
                  <a:pt x="115" y="349"/>
                  <a:pt x="115" y="349"/>
                </a:cubicBezTo>
                <a:cubicBezTo>
                  <a:pt x="115" y="349"/>
                  <a:pt x="115" y="349"/>
                  <a:pt x="115" y="349"/>
                </a:cubicBezTo>
                <a:cubicBezTo>
                  <a:pt x="115" y="349"/>
                  <a:pt x="115" y="348"/>
                  <a:pt x="115" y="348"/>
                </a:cubicBezTo>
                <a:cubicBezTo>
                  <a:pt x="115" y="348"/>
                  <a:pt x="115" y="348"/>
                  <a:pt x="115" y="348"/>
                </a:cubicBezTo>
                <a:cubicBezTo>
                  <a:pt x="115" y="348"/>
                  <a:pt x="115" y="348"/>
                  <a:pt x="116" y="347"/>
                </a:cubicBezTo>
                <a:cubicBezTo>
                  <a:pt x="116" y="347"/>
                  <a:pt x="115" y="347"/>
                  <a:pt x="115" y="347"/>
                </a:cubicBezTo>
                <a:cubicBezTo>
                  <a:pt x="116" y="347"/>
                  <a:pt x="116" y="346"/>
                  <a:pt x="116" y="346"/>
                </a:cubicBezTo>
                <a:cubicBezTo>
                  <a:pt x="116" y="346"/>
                  <a:pt x="116" y="346"/>
                  <a:pt x="116" y="346"/>
                </a:cubicBezTo>
                <a:cubicBezTo>
                  <a:pt x="116" y="346"/>
                  <a:pt x="116" y="347"/>
                  <a:pt x="116" y="347"/>
                </a:cubicBezTo>
                <a:cubicBezTo>
                  <a:pt x="117" y="347"/>
                  <a:pt x="117" y="347"/>
                  <a:pt x="117" y="347"/>
                </a:cubicBezTo>
                <a:cubicBezTo>
                  <a:pt x="117" y="346"/>
                  <a:pt x="118" y="346"/>
                  <a:pt x="118" y="346"/>
                </a:cubicBezTo>
                <a:cubicBezTo>
                  <a:pt x="118" y="345"/>
                  <a:pt x="118" y="345"/>
                  <a:pt x="118" y="345"/>
                </a:cubicBezTo>
                <a:cubicBezTo>
                  <a:pt x="119" y="345"/>
                  <a:pt x="119" y="345"/>
                  <a:pt x="119" y="345"/>
                </a:cubicBezTo>
                <a:cubicBezTo>
                  <a:pt x="119" y="344"/>
                  <a:pt x="119" y="344"/>
                  <a:pt x="119" y="344"/>
                </a:cubicBezTo>
                <a:cubicBezTo>
                  <a:pt x="120" y="344"/>
                  <a:pt x="120" y="344"/>
                  <a:pt x="120" y="343"/>
                </a:cubicBezTo>
                <a:cubicBezTo>
                  <a:pt x="120" y="344"/>
                  <a:pt x="120" y="344"/>
                  <a:pt x="120" y="344"/>
                </a:cubicBezTo>
                <a:cubicBezTo>
                  <a:pt x="121" y="343"/>
                  <a:pt x="121" y="343"/>
                  <a:pt x="121" y="343"/>
                </a:cubicBezTo>
                <a:cubicBezTo>
                  <a:pt x="121" y="343"/>
                  <a:pt x="122" y="342"/>
                  <a:pt x="122" y="342"/>
                </a:cubicBezTo>
                <a:cubicBezTo>
                  <a:pt x="122" y="342"/>
                  <a:pt x="122" y="341"/>
                  <a:pt x="122" y="341"/>
                </a:cubicBezTo>
                <a:cubicBezTo>
                  <a:pt x="122" y="341"/>
                  <a:pt x="121" y="341"/>
                  <a:pt x="121" y="341"/>
                </a:cubicBezTo>
                <a:cubicBezTo>
                  <a:pt x="121" y="341"/>
                  <a:pt x="121" y="342"/>
                  <a:pt x="121" y="342"/>
                </a:cubicBezTo>
                <a:cubicBezTo>
                  <a:pt x="121" y="342"/>
                  <a:pt x="120" y="342"/>
                  <a:pt x="120" y="342"/>
                </a:cubicBezTo>
                <a:cubicBezTo>
                  <a:pt x="121" y="341"/>
                  <a:pt x="121" y="341"/>
                  <a:pt x="121" y="340"/>
                </a:cubicBezTo>
                <a:cubicBezTo>
                  <a:pt x="122" y="340"/>
                  <a:pt x="122" y="340"/>
                  <a:pt x="122" y="340"/>
                </a:cubicBezTo>
                <a:cubicBezTo>
                  <a:pt x="123" y="339"/>
                  <a:pt x="123" y="339"/>
                  <a:pt x="123" y="339"/>
                </a:cubicBezTo>
                <a:cubicBezTo>
                  <a:pt x="123" y="339"/>
                  <a:pt x="123" y="339"/>
                  <a:pt x="123" y="339"/>
                </a:cubicBezTo>
                <a:cubicBezTo>
                  <a:pt x="123" y="339"/>
                  <a:pt x="124" y="339"/>
                  <a:pt x="124" y="339"/>
                </a:cubicBezTo>
                <a:cubicBezTo>
                  <a:pt x="124" y="338"/>
                  <a:pt x="124" y="338"/>
                  <a:pt x="124" y="337"/>
                </a:cubicBezTo>
                <a:cubicBezTo>
                  <a:pt x="125" y="337"/>
                  <a:pt x="125" y="337"/>
                  <a:pt x="125" y="337"/>
                </a:cubicBezTo>
                <a:cubicBezTo>
                  <a:pt x="125" y="336"/>
                  <a:pt x="125" y="336"/>
                  <a:pt x="125" y="336"/>
                </a:cubicBezTo>
                <a:cubicBezTo>
                  <a:pt x="126" y="336"/>
                  <a:pt x="126" y="336"/>
                  <a:pt x="126" y="336"/>
                </a:cubicBezTo>
                <a:cubicBezTo>
                  <a:pt x="126" y="335"/>
                  <a:pt x="126" y="335"/>
                  <a:pt x="126" y="335"/>
                </a:cubicBezTo>
                <a:cubicBezTo>
                  <a:pt x="126" y="335"/>
                  <a:pt x="127" y="335"/>
                  <a:pt x="127" y="335"/>
                </a:cubicBezTo>
                <a:cubicBezTo>
                  <a:pt x="127" y="335"/>
                  <a:pt x="127" y="335"/>
                  <a:pt x="127" y="335"/>
                </a:cubicBezTo>
                <a:cubicBezTo>
                  <a:pt x="127" y="335"/>
                  <a:pt x="128" y="335"/>
                  <a:pt x="128" y="335"/>
                </a:cubicBezTo>
                <a:cubicBezTo>
                  <a:pt x="128" y="335"/>
                  <a:pt x="128" y="334"/>
                  <a:pt x="128" y="334"/>
                </a:cubicBezTo>
                <a:cubicBezTo>
                  <a:pt x="128" y="334"/>
                  <a:pt x="128" y="334"/>
                  <a:pt x="129" y="334"/>
                </a:cubicBezTo>
                <a:cubicBezTo>
                  <a:pt x="129" y="334"/>
                  <a:pt x="129" y="334"/>
                  <a:pt x="129" y="333"/>
                </a:cubicBezTo>
                <a:cubicBezTo>
                  <a:pt x="129" y="333"/>
                  <a:pt x="129" y="333"/>
                  <a:pt x="129" y="333"/>
                </a:cubicBezTo>
                <a:cubicBezTo>
                  <a:pt x="129" y="333"/>
                  <a:pt x="129" y="333"/>
                  <a:pt x="130" y="333"/>
                </a:cubicBezTo>
                <a:cubicBezTo>
                  <a:pt x="130" y="332"/>
                  <a:pt x="130" y="332"/>
                  <a:pt x="130" y="332"/>
                </a:cubicBezTo>
                <a:cubicBezTo>
                  <a:pt x="130" y="332"/>
                  <a:pt x="130" y="332"/>
                  <a:pt x="130" y="332"/>
                </a:cubicBezTo>
                <a:cubicBezTo>
                  <a:pt x="131" y="332"/>
                  <a:pt x="131" y="332"/>
                  <a:pt x="132" y="332"/>
                </a:cubicBezTo>
                <a:cubicBezTo>
                  <a:pt x="132" y="331"/>
                  <a:pt x="132" y="331"/>
                  <a:pt x="132" y="331"/>
                </a:cubicBezTo>
                <a:cubicBezTo>
                  <a:pt x="132" y="331"/>
                  <a:pt x="132" y="331"/>
                  <a:pt x="132" y="331"/>
                </a:cubicBezTo>
                <a:cubicBezTo>
                  <a:pt x="132" y="331"/>
                  <a:pt x="132" y="331"/>
                  <a:pt x="133" y="331"/>
                </a:cubicBezTo>
                <a:cubicBezTo>
                  <a:pt x="133" y="331"/>
                  <a:pt x="133" y="331"/>
                  <a:pt x="133" y="331"/>
                </a:cubicBezTo>
                <a:cubicBezTo>
                  <a:pt x="133" y="331"/>
                  <a:pt x="133" y="330"/>
                  <a:pt x="133" y="330"/>
                </a:cubicBezTo>
                <a:cubicBezTo>
                  <a:pt x="134" y="330"/>
                  <a:pt x="134" y="330"/>
                  <a:pt x="134" y="330"/>
                </a:cubicBezTo>
                <a:cubicBezTo>
                  <a:pt x="134" y="330"/>
                  <a:pt x="134" y="330"/>
                  <a:pt x="134" y="330"/>
                </a:cubicBezTo>
                <a:cubicBezTo>
                  <a:pt x="134" y="329"/>
                  <a:pt x="134" y="329"/>
                  <a:pt x="134" y="329"/>
                </a:cubicBezTo>
                <a:cubicBezTo>
                  <a:pt x="134" y="329"/>
                  <a:pt x="134" y="329"/>
                  <a:pt x="134" y="329"/>
                </a:cubicBezTo>
                <a:cubicBezTo>
                  <a:pt x="134" y="329"/>
                  <a:pt x="133" y="329"/>
                  <a:pt x="133" y="329"/>
                </a:cubicBezTo>
                <a:cubicBezTo>
                  <a:pt x="133" y="329"/>
                  <a:pt x="133" y="329"/>
                  <a:pt x="133" y="329"/>
                </a:cubicBezTo>
                <a:cubicBezTo>
                  <a:pt x="134" y="328"/>
                  <a:pt x="134" y="328"/>
                  <a:pt x="134" y="328"/>
                </a:cubicBezTo>
                <a:cubicBezTo>
                  <a:pt x="134" y="328"/>
                  <a:pt x="135" y="327"/>
                  <a:pt x="135" y="327"/>
                </a:cubicBezTo>
                <a:cubicBezTo>
                  <a:pt x="135" y="327"/>
                  <a:pt x="135" y="327"/>
                  <a:pt x="135" y="327"/>
                </a:cubicBezTo>
                <a:cubicBezTo>
                  <a:pt x="135" y="327"/>
                  <a:pt x="135" y="327"/>
                  <a:pt x="135" y="327"/>
                </a:cubicBezTo>
                <a:cubicBezTo>
                  <a:pt x="135" y="327"/>
                  <a:pt x="135" y="327"/>
                  <a:pt x="135" y="327"/>
                </a:cubicBezTo>
                <a:cubicBezTo>
                  <a:pt x="135" y="327"/>
                  <a:pt x="134" y="327"/>
                  <a:pt x="134" y="327"/>
                </a:cubicBezTo>
                <a:cubicBezTo>
                  <a:pt x="134" y="327"/>
                  <a:pt x="134" y="327"/>
                  <a:pt x="134" y="327"/>
                </a:cubicBezTo>
                <a:cubicBezTo>
                  <a:pt x="135" y="327"/>
                  <a:pt x="135" y="326"/>
                  <a:pt x="136" y="326"/>
                </a:cubicBezTo>
                <a:cubicBezTo>
                  <a:pt x="136" y="326"/>
                  <a:pt x="136" y="326"/>
                  <a:pt x="136" y="325"/>
                </a:cubicBezTo>
                <a:cubicBezTo>
                  <a:pt x="137" y="325"/>
                  <a:pt x="137" y="325"/>
                  <a:pt x="138" y="325"/>
                </a:cubicBezTo>
                <a:cubicBezTo>
                  <a:pt x="138" y="324"/>
                  <a:pt x="138" y="324"/>
                  <a:pt x="138" y="324"/>
                </a:cubicBezTo>
                <a:cubicBezTo>
                  <a:pt x="139" y="323"/>
                  <a:pt x="139" y="323"/>
                  <a:pt x="139" y="323"/>
                </a:cubicBezTo>
                <a:cubicBezTo>
                  <a:pt x="139" y="323"/>
                  <a:pt x="140" y="322"/>
                  <a:pt x="140" y="322"/>
                </a:cubicBezTo>
                <a:cubicBezTo>
                  <a:pt x="140" y="321"/>
                  <a:pt x="140" y="321"/>
                  <a:pt x="140" y="321"/>
                </a:cubicBezTo>
                <a:cubicBezTo>
                  <a:pt x="139" y="321"/>
                  <a:pt x="139" y="321"/>
                  <a:pt x="139" y="321"/>
                </a:cubicBezTo>
                <a:cubicBezTo>
                  <a:pt x="139" y="321"/>
                  <a:pt x="139" y="321"/>
                  <a:pt x="139" y="321"/>
                </a:cubicBezTo>
                <a:cubicBezTo>
                  <a:pt x="138" y="321"/>
                  <a:pt x="138" y="320"/>
                  <a:pt x="138" y="320"/>
                </a:cubicBezTo>
                <a:cubicBezTo>
                  <a:pt x="138" y="320"/>
                  <a:pt x="138" y="320"/>
                  <a:pt x="137" y="320"/>
                </a:cubicBezTo>
                <a:cubicBezTo>
                  <a:pt x="137" y="321"/>
                  <a:pt x="136" y="321"/>
                  <a:pt x="136" y="321"/>
                </a:cubicBezTo>
                <a:cubicBezTo>
                  <a:pt x="136" y="321"/>
                  <a:pt x="136" y="321"/>
                  <a:pt x="136" y="320"/>
                </a:cubicBezTo>
                <a:cubicBezTo>
                  <a:pt x="136" y="320"/>
                  <a:pt x="136" y="320"/>
                  <a:pt x="135" y="320"/>
                </a:cubicBezTo>
                <a:cubicBezTo>
                  <a:pt x="136" y="319"/>
                  <a:pt x="136" y="319"/>
                  <a:pt x="137" y="319"/>
                </a:cubicBezTo>
                <a:cubicBezTo>
                  <a:pt x="137" y="319"/>
                  <a:pt x="137" y="318"/>
                  <a:pt x="137" y="318"/>
                </a:cubicBezTo>
                <a:cubicBezTo>
                  <a:pt x="137" y="318"/>
                  <a:pt x="137" y="318"/>
                  <a:pt x="138" y="318"/>
                </a:cubicBezTo>
                <a:cubicBezTo>
                  <a:pt x="138" y="318"/>
                  <a:pt x="138" y="317"/>
                  <a:pt x="138" y="317"/>
                </a:cubicBezTo>
                <a:cubicBezTo>
                  <a:pt x="137" y="317"/>
                  <a:pt x="137" y="317"/>
                  <a:pt x="137" y="317"/>
                </a:cubicBezTo>
                <a:cubicBezTo>
                  <a:pt x="137" y="317"/>
                  <a:pt x="138" y="317"/>
                  <a:pt x="138" y="317"/>
                </a:cubicBezTo>
                <a:cubicBezTo>
                  <a:pt x="138" y="317"/>
                  <a:pt x="139" y="317"/>
                  <a:pt x="139" y="316"/>
                </a:cubicBezTo>
                <a:cubicBezTo>
                  <a:pt x="139" y="316"/>
                  <a:pt x="140" y="316"/>
                  <a:pt x="140" y="315"/>
                </a:cubicBezTo>
                <a:cubicBezTo>
                  <a:pt x="140" y="315"/>
                  <a:pt x="141" y="315"/>
                  <a:pt x="141" y="315"/>
                </a:cubicBezTo>
                <a:cubicBezTo>
                  <a:pt x="142" y="315"/>
                  <a:pt x="142" y="315"/>
                  <a:pt x="142" y="314"/>
                </a:cubicBezTo>
                <a:cubicBezTo>
                  <a:pt x="142" y="314"/>
                  <a:pt x="142" y="315"/>
                  <a:pt x="142" y="315"/>
                </a:cubicBezTo>
                <a:cubicBezTo>
                  <a:pt x="143" y="315"/>
                  <a:pt x="143" y="315"/>
                  <a:pt x="143" y="315"/>
                </a:cubicBezTo>
                <a:cubicBezTo>
                  <a:pt x="143" y="315"/>
                  <a:pt x="143" y="315"/>
                  <a:pt x="143" y="315"/>
                </a:cubicBezTo>
                <a:cubicBezTo>
                  <a:pt x="144" y="314"/>
                  <a:pt x="144" y="314"/>
                  <a:pt x="144" y="313"/>
                </a:cubicBezTo>
                <a:cubicBezTo>
                  <a:pt x="144" y="313"/>
                  <a:pt x="144" y="313"/>
                  <a:pt x="144" y="313"/>
                </a:cubicBezTo>
                <a:cubicBezTo>
                  <a:pt x="144" y="313"/>
                  <a:pt x="143" y="313"/>
                  <a:pt x="143" y="313"/>
                </a:cubicBezTo>
                <a:cubicBezTo>
                  <a:pt x="143" y="313"/>
                  <a:pt x="143" y="313"/>
                  <a:pt x="143" y="313"/>
                </a:cubicBezTo>
                <a:cubicBezTo>
                  <a:pt x="143" y="313"/>
                  <a:pt x="143" y="313"/>
                  <a:pt x="143" y="313"/>
                </a:cubicBezTo>
                <a:cubicBezTo>
                  <a:pt x="144" y="313"/>
                  <a:pt x="144" y="313"/>
                  <a:pt x="144" y="313"/>
                </a:cubicBezTo>
                <a:cubicBezTo>
                  <a:pt x="145" y="312"/>
                  <a:pt x="146" y="312"/>
                  <a:pt x="146" y="311"/>
                </a:cubicBezTo>
                <a:cubicBezTo>
                  <a:pt x="146" y="311"/>
                  <a:pt x="146" y="311"/>
                  <a:pt x="146" y="310"/>
                </a:cubicBezTo>
                <a:cubicBezTo>
                  <a:pt x="146" y="310"/>
                  <a:pt x="146" y="310"/>
                  <a:pt x="145" y="310"/>
                </a:cubicBezTo>
                <a:cubicBezTo>
                  <a:pt x="145" y="310"/>
                  <a:pt x="144" y="310"/>
                  <a:pt x="143" y="310"/>
                </a:cubicBezTo>
                <a:cubicBezTo>
                  <a:pt x="143" y="310"/>
                  <a:pt x="143" y="310"/>
                  <a:pt x="143" y="310"/>
                </a:cubicBezTo>
                <a:cubicBezTo>
                  <a:pt x="143" y="310"/>
                  <a:pt x="143" y="310"/>
                  <a:pt x="142" y="311"/>
                </a:cubicBezTo>
                <a:cubicBezTo>
                  <a:pt x="142" y="311"/>
                  <a:pt x="142" y="311"/>
                  <a:pt x="142" y="310"/>
                </a:cubicBezTo>
                <a:cubicBezTo>
                  <a:pt x="142" y="310"/>
                  <a:pt x="143" y="310"/>
                  <a:pt x="143" y="310"/>
                </a:cubicBezTo>
                <a:cubicBezTo>
                  <a:pt x="143" y="310"/>
                  <a:pt x="144" y="309"/>
                  <a:pt x="144" y="309"/>
                </a:cubicBezTo>
                <a:cubicBezTo>
                  <a:pt x="145" y="309"/>
                  <a:pt x="145" y="309"/>
                  <a:pt x="145" y="309"/>
                </a:cubicBezTo>
                <a:cubicBezTo>
                  <a:pt x="146" y="309"/>
                  <a:pt x="146" y="309"/>
                  <a:pt x="147" y="308"/>
                </a:cubicBezTo>
                <a:cubicBezTo>
                  <a:pt x="147" y="308"/>
                  <a:pt x="147" y="308"/>
                  <a:pt x="147" y="307"/>
                </a:cubicBezTo>
                <a:cubicBezTo>
                  <a:pt x="147" y="307"/>
                  <a:pt x="147" y="307"/>
                  <a:pt x="147" y="307"/>
                </a:cubicBezTo>
                <a:cubicBezTo>
                  <a:pt x="148" y="306"/>
                  <a:pt x="149" y="306"/>
                  <a:pt x="149" y="305"/>
                </a:cubicBezTo>
                <a:cubicBezTo>
                  <a:pt x="150" y="305"/>
                  <a:pt x="150" y="304"/>
                  <a:pt x="150" y="304"/>
                </a:cubicBezTo>
                <a:cubicBezTo>
                  <a:pt x="151" y="304"/>
                  <a:pt x="151" y="304"/>
                  <a:pt x="151" y="303"/>
                </a:cubicBezTo>
                <a:cubicBezTo>
                  <a:pt x="151" y="303"/>
                  <a:pt x="152" y="303"/>
                  <a:pt x="152" y="303"/>
                </a:cubicBezTo>
                <a:cubicBezTo>
                  <a:pt x="152" y="303"/>
                  <a:pt x="152" y="303"/>
                  <a:pt x="151" y="302"/>
                </a:cubicBezTo>
                <a:cubicBezTo>
                  <a:pt x="152" y="302"/>
                  <a:pt x="153" y="301"/>
                  <a:pt x="153" y="300"/>
                </a:cubicBezTo>
                <a:cubicBezTo>
                  <a:pt x="154" y="300"/>
                  <a:pt x="155" y="300"/>
                  <a:pt x="155" y="299"/>
                </a:cubicBezTo>
                <a:cubicBezTo>
                  <a:pt x="156" y="299"/>
                  <a:pt x="156" y="298"/>
                  <a:pt x="157" y="297"/>
                </a:cubicBezTo>
                <a:cubicBezTo>
                  <a:pt x="157" y="297"/>
                  <a:pt x="158" y="297"/>
                  <a:pt x="158" y="296"/>
                </a:cubicBezTo>
                <a:cubicBezTo>
                  <a:pt x="159" y="296"/>
                  <a:pt x="159" y="295"/>
                  <a:pt x="160" y="294"/>
                </a:cubicBezTo>
                <a:cubicBezTo>
                  <a:pt x="159" y="294"/>
                  <a:pt x="159" y="295"/>
                  <a:pt x="159" y="295"/>
                </a:cubicBezTo>
                <a:cubicBezTo>
                  <a:pt x="159" y="296"/>
                  <a:pt x="160" y="296"/>
                  <a:pt x="160" y="296"/>
                </a:cubicBezTo>
                <a:cubicBezTo>
                  <a:pt x="160" y="296"/>
                  <a:pt x="160" y="296"/>
                  <a:pt x="160" y="296"/>
                </a:cubicBezTo>
                <a:cubicBezTo>
                  <a:pt x="161" y="296"/>
                  <a:pt x="161" y="296"/>
                  <a:pt x="161" y="296"/>
                </a:cubicBezTo>
                <a:cubicBezTo>
                  <a:pt x="161" y="296"/>
                  <a:pt x="162" y="296"/>
                  <a:pt x="162" y="296"/>
                </a:cubicBezTo>
                <a:cubicBezTo>
                  <a:pt x="162" y="295"/>
                  <a:pt x="162" y="295"/>
                  <a:pt x="163" y="294"/>
                </a:cubicBezTo>
                <a:cubicBezTo>
                  <a:pt x="163" y="294"/>
                  <a:pt x="163" y="294"/>
                  <a:pt x="164" y="294"/>
                </a:cubicBezTo>
                <a:cubicBezTo>
                  <a:pt x="164" y="293"/>
                  <a:pt x="165" y="293"/>
                  <a:pt x="166" y="292"/>
                </a:cubicBezTo>
                <a:cubicBezTo>
                  <a:pt x="166" y="292"/>
                  <a:pt x="166" y="292"/>
                  <a:pt x="166" y="291"/>
                </a:cubicBezTo>
                <a:cubicBezTo>
                  <a:pt x="166" y="292"/>
                  <a:pt x="166" y="292"/>
                  <a:pt x="166" y="292"/>
                </a:cubicBezTo>
                <a:cubicBezTo>
                  <a:pt x="166" y="293"/>
                  <a:pt x="165" y="293"/>
                  <a:pt x="165" y="294"/>
                </a:cubicBezTo>
                <a:cubicBezTo>
                  <a:pt x="164" y="294"/>
                  <a:pt x="164" y="294"/>
                  <a:pt x="163" y="294"/>
                </a:cubicBezTo>
                <a:cubicBezTo>
                  <a:pt x="163" y="295"/>
                  <a:pt x="162" y="296"/>
                  <a:pt x="162" y="297"/>
                </a:cubicBezTo>
                <a:cubicBezTo>
                  <a:pt x="162" y="297"/>
                  <a:pt x="162" y="297"/>
                  <a:pt x="162" y="297"/>
                </a:cubicBezTo>
                <a:cubicBezTo>
                  <a:pt x="162" y="298"/>
                  <a:pt x="163" y="298"/>
                  <a:pt x="163" y="298"/>
                </a:cubicBezTo>
                <a:cubicBezTo>
                  <a:pt x="164" y="298"/>
                  <a:pt x="164" y="298"/>
                  <a:pt x="164" y="299"/>
                </a:cubicBezTo>
                <a:cubicBezTo>
                  <a:pt x="164" y="299"/>
                  <a:pt x="163" y="299"/>
                  <a:pt x="163" y="299"/>
                </a:cubicBezTo>
                <a:cubicBezTo>
                  <a:pt x="162" y="299"/>
                  <a:pt x="162" y="299"/>
                  <a:pt x="162" y="299"/>
                </a:cubicBezTo>
                <a:cubicBezTo>
                  <a:pt x="162" y="299"/>
                  <a:pt x="162" y="299"/>
                  <a:pt x="161" y="299"/>
                </a:cubicBezTo>
                <a:cubicBezTo>
                  <a:pt x="161" y="299"/>
                  <a:pt x="161" y="300"/>
                  <a:pt x="161" y="300"/>
                </a:cubicBezTo>
                <a:cubicBezTo>
                  <a:pt x="160" y="300"/>
                  <a:pt x="160" y="300"/>
                  <a:pt x="159" y="300"/>
                </a:cubicBezTo>
                <a:cubicBezTo>
                  <a:pt x="159" y="299"/>
                  <a:pt x="159" y="299"/>
                  <a:pt x="159" y="299"/>
                </a:cubicBezTo>
                <a:cubicBezTo>
                  <a:pt x="158" y="299"/>
                  <a:pt x="158" y="300"/>
                  <a:pt x="157" y="300"/>
                </a:cubicBezTo>
                <a:cubicBezTo>
                  <a:pt x="157" y="300"/>
                  <a:pt x="157" y="300"/>
                  <a:pt x="156" y="301"/>
                </a:cubicBezTo>
                <a:cubicBezTo>
                  <a:pt x="156" y="301"/>
                  <a:pt x="155" y="302"/>
                  <a:pt x="155" y="302"/>
                </a:cubicBezTo>
                <a:cubicBezTo>
                  <a:pt x="155" y="302"/>
                  <a:pt x="154" y="302"/>
                  <a:pt x="154" y="303"/>
                </a:cubicBezTo>
                <a:cubicBezTo>
                  <a:pt x="153" y="303"/>
                  <a:pt x="153" y="303"/>
                  <a:pt x="153" y="304"/>
                </a:cubicBezTo>
                <a:cubicBezTo>
                  <a:pt x="153" y="304"/>
                  <a:pt x="153" y="304"/>
                  <a:pt x="153" y="304"/>
                </a:cubicBezTo>
                <a:cubicBezTo>
                  <a:pt x="153" y="304"/>
                  <a:pt x="153" y="305"/>
                  <a:pt x="153" y="305"/>
                </a:cubicBezTo>
                <a:cubicBezTo>
                  <a:pt x="153" y="305"/>
                  <a:pt x="153" y="306"/>
                  <a:pt x="153" y="306"/>
                </a:cubicBezTo>
                <a:cubicBezTo>
                  <a:pt x="153" y="306"/>
                  <a:pt x="152" y="307"/>
                  <a:pt x="152" y="307"/>
                </a:cubicBezTo>
                <a:cubicBezTo>
                  <a:pt x="152" y="307"/>
                  <a:pt x="152" y="308"/>
                  <a:pt x="152" y="308"/>
                </a:cubicBezTo>
                <a:cubicBezTo>
                  <a:pt x="151" y="309"/>
                  <a:pt x="150" y="310"/>
                  <a:pt x="150" y="311"/>
                </a:cubicBezTo>
                <a:cubicBezTo>
                  <a:pt x="149" y="312"/>
                  <a:pt x="149" y="312"/>
                  <a:pt x="149" y="312"/>
                </a:cubicBezTo>
                <a:cubicBezTo>
                  <a:pt x="149" y="312"/>
                  <a:pt x="149" y="313"/>
                  <a:pt x="149" y="313"/>
                </a:cubicBezTo>
                <a:cubicBezTo>
                  <a:pt x="150" y="313"/>
                  <a:pt x="150" y="313"/>
                  <a:pt x="151" y="313"/>
                </a:cubicBezTo>
                <a:cubicBezTo>
                  <a:pt x="151" y="313"/>
                  <a:pt x="151" y="313"/>
                  <a:pt x="151" y="312"/>
                </a:cubicBezTo>
                <a:cubicBezTo>
                  <a:pt x="151" y="312"/>
                  <a:pt x="152" y="312"/>
                  <a:pt x="152" y="312"/>
                </a:cubicBezTo>
                <a:cubicBezTo>
                  <a:pt x="152" y="312"/>
                  <a:pt x="152" y="312"/>
                  <a:pt x="153" y="311"/>
                </a:cubicBezTo>
                <a:cubicBezTo>
                  <a:pt x="153" y="311"/>
                  <a:pt x="153" y="311"/>
                  <a:pt x="153" y="311"/>
                </a:cubicBezTo>
                <a:cubicBezTo>
                  <a:pt x="153" y="311"/>
                  <a:pt x="154" y="311"/>
                  <a:pt x="154" y="311"/>
                </a:cubicBezTo>
                <a:cubicBezTo>
                  <a:pt x="153" y="312"/>
                  <a:pt x="153" y="313"/>
                  <a:pt x="152" y="313"/>
                </a:cubicBezTo>
                <a:cubicBezTo>
                  <a:pt x="152" y="313"/>
                  <a:pt x="152" y="313"/>
                  <a:pt x="151" y="314"/>
                </a:cubicBezTo>
                <a:cubicBezTo>
                  <a:pt x="151" y="314"/>
                  <a:pt x="151" y="314"/>
                  <a:pt x="151" y="314"/>
                </a:cubicBezTo>
                <a:cubicBezTo>
                  <a:pt x="151" y="314"/>
                  <a:pt x="150" y="315"/>
                  <a:pt x="150" y="315"/>
                </a:cubicBezTo>
                <a:cubicBezTo>
                  <a:pt x="150" y="315"/>
                  <a:pt x="149" y="315"/>
                  <a:pt x="149" y="315"/>
                </a:cubicBezTo>
                <a:cubicBezTo>
                  <a:pt x="149" y="315"/>
                  <a:pt x="149" y="315"/>
                  <a:pt x="148" y="316"/>
                </a:cubicBezTo>
                <a:cubicBezTo>
                  <a:pt x="149" y="316"/>
                  <a:pt x="149" y="316"/>
                  <a:pt x="149" y="316"/>
                </a:cubicBezTo>
                <a:cubicBezTo>
                  <a:pt x="148" y="316"/>
                  <a:pt x="148" y="316"/>
                  <a:pt x="148" y="316"/>
                </a:cubicBezTo>
                <a:cubicBezTo>
                  <a:pt x="148" y="316"/>
                  <a:pt x="147" y="317"/>
                  <a:pt x="147" y="317"/>
                </a:cubicBezTo>
                <a:cubicBezTo>
                  <a:pt x="147" y="317"/>
                  <a:pt x="147" y="317"/>
                  <a:pt x="148" y="318"/>
                </a:cubicBezTo>
                <a:cubicBezTo>
                  <a:pt x="148" y="318"/>
                  <a:pt x="149" y="318"/>
                  <a:pt x="150" y="318"/>
                </a:cubicBezTo>
                <a:cubicBezTo>
                  <a:pt x="150" y="318"/>
                  <a:pt x="150" y="318"/>
                  <a:pt x="150" y="318"/>
                </a:cubicBezTo>
                <a:cubicBezTo>
                  <a:pt x="150" y="317"/>
                  <a:pt x="150" y="317"/>
                  <a:pt x="150" y="317"/>
                </a:cubicBezTo>
                <a:cubicBezTo>
                  <a:pt x="150" y="317"/>
                  <a:pt x="151" y="317"/>
                  <a:pt x="151" y="317"/>
                </a:cubicBezTo>
                <a:cubicBezTo>
                  <a:pt x="151" y="317"/>
                  <a:pt x="151" y="316"/>
                  <a:pt x="151" y="316"/>
                </a:cubicBezTo>
                <a:cubicBezTo>
                  <a:pt x="151" y="316"/>
                  <a:pt x="152" y="316"/>
                  <a:pt x="152" y="316"/>
                </a:cubicBezTo>
                <a:cubicBezTo>
                  <a:pt x="152" y="316"/>
                  <a:pt x="152" y="316"/>
                  <a:pt x="152" y="316"/>
                </a:cubicBezTo>
                <a:cubicBezTo>
                  <a:pt x="152" y="316"/>
                  <a:pt x="152" y="316"/>
                  <a:pt x="153" y="316"/>
                </a:cubicBezTo>
                <a:cubicBezTo>
                  <a:pt x="153" y="316"/>
                  <a:pt x="153" y="316"/>
                  <a:pt x="153" y="315"/>
                </a:cubicBezTo>
                <a:cubicBezTo>
                  <a:pt x="153" y="315"/>
                  <a:pt x="153" y="315"/>
                  <a:pt x="153" y="315"/>
                </a:cubicBezTo>
                <a:cubicBezTo>
                  <a:pt x="154" y="314"/>
                  <a:pt x="154" y="314"/>
                  <a:pt x="154" y="314"/>
                </a:cubicBezTo>
                <a:cubicBezTo>
                  <a:pt x="154" y="314"/>
                  <a:pt x="154" y="313"/>
                  <a:pt x="154" y="313"/>
                </a:cubicBezTo>
                <a:cubicBezTo>
                  <a:pt x="154" y="313"/>
                  <a:pt x="154" y="313"/>
                  <a:pt x="154" y="312"/>
                </a:cubicBezTo>
                <a:cubicBezTo>
                  <a:pt x="155" y="312"/>
                  <a:pt x="155" y="312"/>
                  <a:pt x="155" y="313"/>
                </a:cubicBezTo>
                <a:cubicBezTo>
                  <a:pt x="155" y="313"/>
                  <a:pt x="155" y="313"/>
                  <a:pt x="154" y="313"/>
                </a:cubicBezTo>
                <a:cubicBezTo>
                  <a:pt x="155" y="313"/>
                  <a:pt x="155" y="313"/>
                  <a:pt x="155" y="313"/>
                </a:cubicBezTo>
                <a:cubicBezTo>
                  <a:pt x="156" y="313"/>
                  <a:pt x="156" y="313"/>
                  <a:pt x="156" y="313"/>
                </a:cubicBezTo>
                <a:cubicBezTo>
                  <a:pt x="157" y="312"/>
                  <a:pt x="157" y="312"/>
                  <a:pt x="158" y="311"/>
                </a:cubicBezTo>
                <a:cubicBezTo>
                  <a:pt x="158" y="311"/>
                  <a:pt x="158" y="311"/>
                  <a:pt x="159" y="311"/>
                </a:cubicBezTo>
                <a:cubicBezTo>
                  <a:pt x="159" y="311"/>
                  <a:pt x="159" y="311"/>
                  <a:pt x="159" y="311"/>
                </a:cubicBezTo>
                <a:cubicBezTo>
                  <a:pt x="159" y="311"/>
                  <a:pt x="160" y="310"/>
                  <a:pt x="160" y="310"/>
                </a:cubicBezTo>
                <a:cubicBezTo>
                  <a:pt x="160" y="310"/>
                  <a:pt x="160" y="309"/>
                  <a:pt x="160" y="309"/>
                </a:cubicBezTo>
                <a:cubicBezTo>
                  <a:pt x="160" y="309"/>
                  <a:pt x="160" y="308"/>
                  <a:pt x="161" y="308"/>
                </a:cubicBezTo>
                <a:cubicBezTo>
                  <a:pt x="161" y="308"/>
                  <a:pt x="161" y="308"/>
                  <a:pt x="161" y="308"/>
                </a:cubicBezTo>
                <a:cubicBezTo>
                  <a:pt x="161" y="308"/>
                  <a:pt x="161" y="309"/>
                  <a:pt x="160" y="309"/>
                </a:cubicBezTo>
                <a:cubicBezTo>
                  <a:pt x="160" y="309"/>
                  <a:pt x="160" y="309"/>
                  <a:pt x="161" y="310"/>
                </a:cubicBezTo>
                <a:cubicBezTo>
                  <a:pt x="161" y="309"/>
                  <a:pt x="161" y="309"/>
                  <a:pt x="161" y="309"/>
                </a:cubicBezTo>
                <a:cubicBezTo>
                  <a:pt x="161" y="309"/>
                  <a:pt x="162" y="308"/>
                  <a:pt x="162" y="308"/>
                </a:cubicBezTo>
                <a:cubicBezTo>
                  <a:pt x="162" y="307"/>
                  <a:pt x="162" y="307"/>
                  <a:pt x="162" y="306"/>
                </a:cubicBezTo>
                <a:cubicBezTo>
                  <a:pt x="162" y="306"/>
                  <a:pt x="162" y="306"/>
                  <a:pt x="163" y="306"/>
                </a:cubicBezTo>
                <a:cubicBezTo>
                  <a:pt x="163" y="306"/>
                  <a:pt x="163" y="306"/>
                  <a:pt x="163" y="306"/>
                </a:cubicBezTo>
                <a:cubicBezTo>
                  <a:pt x="163" y="306"/>
                  <a:pt x="163" y="307"/>
                  <a:pt x="162" y="307"/>
                </a:cubicBezTo>
                <a:cubicBezTo>
                  <a:pt x="162" y="307"/>
                  <a:pt x="163" y="307"/>
                  <a:pt x="163" y="307"/>
                </a:cubicBezTo>
                <a:cubicBezTo>
                  <a:pt x="163" y="307"/>
                  <a:pt x="163" y="306"/>
                  <a:pt x="164" y="306"/>
                </a:cubicBezTo>
                <a:cubicBezTo>
                  <a:pt x="164" y="306"/>
                  <a:pt x="164" y="306"/>
                  <a:pt x="164" y="306"/>
                </a:cubicBezTo>
                <a:cubicBezTo>
                  <a:pt x="164" y="306"/>
                  <a:pt x="164" y="307"/>
                  <a:pt x="164" y="307"/>
                </a:cubicBezTo>
                <a:cubicBezTo>
                  <a:pt x="165" y="307"/>
                  <a:pt x="165" y="306"/>
                  <a:pt x="165" y="306"/>
                </a:cubicBezTo>
                <a:cubicBezTo>
                  <a:pt x="166" y="306"/>
                  <a:pt x="166" y="306"/>
                  <a:pt x="166" y="306"/>
                </a:cubicBezTo>
                <a:cubicBezTo>
                  <a:pt x="166" y="306"/>
                  <a:pt x="167" y="306"/>
                  <a:pt x="167" y="306"/>
                </a:cubicBezTo>
                <a:cubicBezTo>
                  <a:pt x="167" y="305"/>
                  <a:pt x="167" y="305"/>
                  <a:pt x="167" y="305"/>
                </a:cubicBezTo>
                <a:cubicBezTo>
                  <a:pt x="167" y="304"/>
                  <a:pt x="168" y="304"/>
                  <a:pt x="168" y="304"/>
                </a:cubicBezTo>
                <a:cubicBezTo>
                  <a:pt x="168" y="304"/>
                  <a:pt x="169" y="303"/>
                  <a:pt x="169" y="303"/>
                </a:cubicBezTo>
                <a:cubicBezTo>
                  <a:pt x="169" y="303"/>
                  <a:pt x="168" y="303"/>
                  <a:pt x="168" y="303"/>
                </a:cubicBezTo>
                <a:cubicBezTo>
                  <a:pt x="168" y="303"/>
                  <a:pt x="168" y="303"/>
                  <a:pt x="168" y="302"/>
                </a:cubicBezTo>
                <a:cubicBezTo>
                  <a:pt x="169" y="302"/>
                  <a:pt x="169" y="301"/>
                  <a:pt x="170" y="301"/>
                </a:cubicBezTo>
                <a:cubicBezTo>
                  <a:pt x="170" y="301"/>
                  <a:pt x="170" y="301"/>
                  <a:pt x="170" y="300"/>
                </a:cubicBezTo>
                <a:cubicBezTo>
                  <a:pt x="170" y="300"/>
                  <a:pt x="170" y="300"/>
                  <a:pt x="170" y="300"/>
                </a:cubicBezTo>
                <a:cubicBezTo>
                  <a:pt x="170" y="300"/>
                  <a:pt x="169" y="300"/>
                  <a:pt x="169" y="300"/>
                </a:cubicBezTo>
                <a:cubicBezTo>
                  <a:pt x="169" y="300"/>
                  <a:pt x="168" y="300"/>
                  <a:pt x="168" y="300"/>
                </a:cubicBezTo>
                <a:cubicBezTo>
                  <a:pt x="168" y="300"/>
                  <a:pt x="167" y="301"/>
                  <a:pt x="167" y="301"/>
                </a:cubicBezTo>
                <a:cubicBezTo>
                  <a:pt x="167" y="300"/>
                  <a:pt x="167" y="300"/>
                  <a:pt x="167" y="300"/>
                </a:cubicBezTo>
                <a:cubicBezTo>
                  <a:pt x="167" y="300"/>
                  <a:pt x="168" y="300"/>
                  <a:pt x="168" y="300"/>
                </a:cubicBezTo>
                <a:cubicBezTo>
                  <a:pt x="168" y="300"/>
                  <a:pt x="169" y="300"/>
                  <a:pt x="169" y="299"/>
                </a:cubicBezTo>
                <a:cubicBezTo>
                  <a:pt x="169" y="299"/>
                  <a:pt x="169" y="299"/>
                  <a:pt x="169" y="299"/>
                </a:cubicBezTo>
                <a:cubicBezTo>
                  <a:pt x="169" y="299"/>
                  <a:pt x="169" y="299"/>
                  <a:pt x="169" y="298"/>
                </a:cubicBezTo>
                <a:cubicBezTo>
                  <a:pt x="169" y="299"/>
                  <a:pt x="168" y="299"/>
                  <a:pt x="168" y="299"/>
                </a:cubicBezTo>
                <a:cubicBezTo>
                  <a:pt x="168" y="299"/>
                  <a:pt x="167" y="299"/>
                  <a:pt x="167" y="299"/>
                </a:cubicBezTo>
                <a:cubicBezTo>
                  <a:pt x="167" y="299"/>
                  <a:pt x="167" y="299"/>
                  <a:pt x="167" y="298"/>
                </a:cubicBezTo>
                <a:cubicBezTo>
                  <a:pt x="167" y="298"/>
                  <a:pt x="167" y="298"/>
                  <a:pt x="168" y="298"/>
                </a:cubicBezTo>
                <a:cubicBezTo>
                  <a:pt x="168" y="298"/>
                  <a:pt x="168" y="297"/>
                  <a:pt x="168" y="297"/>
                </a:cubicBezTo>
                <a:cubicBezTo>
                  <a:pt x="169" y="297"/>
                  <a:pt x="169" y="297"/>
                  <a:pt x="169" y="297"/>
                </a:cubicBezTo>
                <a:cubicBezTo>
                  <a:pt x="169" y="297"/>
                  <a:pt x="169" y="297"/>
                  <a:pt x="169" y="297"/>
                </a:cubicBezTo>
                <a:cubicBezTo>
                  <a:pt x="169" y="297"/>
                  <a:pt x="168" y="296"/>
                  <a:pt x="168" y="296"/>
                </a:cubicBezTo>
                <a:cubicBezTo>
                  <a:pt x="169" y="296"/>
                  <a:pt x="169" y="295"/>
                  <a:pt x="170" y="295"/>
                </a:cubicBezTo>
                <a:cubicBezTo>
                  <a:pt x="170" y="295"/>
                  <a:pt x="171" y="295"/>
                  <a:pt x="171" y="295"/>
                </a:cubicBezTo>
                <a:cubicBezTo>
                  <a:pt x="171" y="295"/>
                  <a:pt x="171" y="295"/>
                  <a:pt x="172" y="295"/>
                </a:cubicBezTo>
                <a:cubicBezTo>
                  <a:pt x="172" y="294"/>
                  <a:pt x="173" y="294"/>
                  <a:pt x="173" y="294"/>
                </a:cubicBezTo>
                <a:cubicBezTo>
                  <a:pt x="173" y="295"/>
                  <a:pt x="172" y="295"/>
                  <a:pt x="171" y="296"/>
                </a:cubicBezTo>
                <a:cubicBezTo>
                  <a:pt x="172" y="296"/>
                  <a:pt x="172" y="296"/>
                  <a:pt x="172" y="296"/>
                </a:cubicBezTo>
                <a:cubicBezTo>
                  <a:pt x="172" y="297"/>
                  <a:pt x="172" y="297"/>
                  <a:pt x="173" y="297"/>
                </a:cubicBezTo>
                <a:cubicBezTo>
                  <a:pt x="173" y="297"/>
                  <a:pt x="173" y="297"/>
                  <a:pt x="173" y="297"/>
                </a:cubicBezTo>
                <a:cubicBezTo>
                  <a:pt x="173" y="296"/>
                  <a:pt x="173" y="296"/>
                  <a:pt x="173" y="295"/>
                </a:cubicBezTo>
                <a:cubicBezTo>
                  <a:pt x="173" y="295"/>
                  <a:pt x="174" y="295"/>
                  <a:pt x="174" y="295"/>
                </a:cubicBezTo>
                <a:cubicBezTo>
                  <a:pt x="174" y="295"/>
                  <a:pt x="174" y="295"/>
                  <a:pt x="174" y="294"/>
                </a:cubicBezTo>
                <a:cubicBezTo>
                  <a:pt x="174" y="295"/>
                  <a:pt x="174" y="295"/>
                  <a:pt x="174" y="295"/>
                </a:cubicBezTo>
                <a:cubicBezTo>
                  <a:pt x="174" y="295"/>
                  <a:pt x="174" y="295"/>
                  <a:pt x="174" y="296"/>
                </a:cubicBezTo>
                <a:cubicBezTo>
                  <a:pt x="174" y="296"/>
                  <a:pt x="174" y="296"/>
                  <a:pt x="174" y="296"/>
                </a:cubicBezTo>
                <a:cubicBezTo>
                  <a:pt x="175" y="296"/>
                  <a:pt x="175" y="295"/>
                  <a:pt x="175" y="295"/>
                </a:cubicBezTo>
                <a:cubicBezTo>
                  <a:pt x="175" y="295"/>
                  <a:pt x="175" y="295"/>
                  <a:pt x="175" y="294"/>
                </a:cubicBezTo>
                <a:cubicBezTo>
                  <a:pt x="176" y="294"/>
                  <a:pt x="176" y="294"/>
                  <a:pt x="176" y="294"/>
                </a:cubicBezTo>
                <a:cubicBezTo>
                  <a:pt x="177" y="294"/>
                  <a:pt x="177" y="294"/>
                  <a:pt x="177" y="294"/>
                </a:cubicBezTo>
                <a:cubicBezTo>
                  <a:pt x="177" y="293"/>
                  <a:pt x="178" y="293"/>
                  <a:pt x="178" y="293"/>
                </a:cubicBezTo>
                <a:cubicBezTo>
                  <a:pt x="178" y="293"/>
                  <a:pt x="178" y="293"/>
                  <a:pt x="179" y="292"/>
                </a:cubicBezTo>
                <a:cubicBezTo>
                  <a:pt x="179" y="292"/>
                  <a:pt x="179" y="292"/>
                  <a:pt x="180" y="292"/>
                </a:cubicBezTo>
                <a:cubicBezTo>
                  <a:pt x="180" y="292"/>
                  <a:pt x="180" y="292"/>
                  <a:pt x="181" y="292"/>
                </a:cubicBezTo>
                <a:cubicBezTo>
                  <a:pt x="181" y="292"/>
                  <a:pt x="181" y="292"/>
                  <a:pt x="181" y="292"/>
                </a:cubicBezTo>
                <a:cubicBezTo>
                  <a:pt x="180" y="292"/>
                  <a:pt x="180" y="292"/>
                  <a:pt x="179" y="292"/>
                </a:cubicBezTo>
                <a:cubicBezTo>
                  <a:pt x="179" y="293"/>
                  <a:pt x="179" y="293"/>
                  <a:pt x="179" y="294"/>
                </a:cubicBezTo>
                <a:cubicBezTo>
                  <a:pt x="178" y="294"/>
                  <a:pt x="178" y="294"/>
                  <a:pt x="178" y="294"/>
                </a:cubicBezTo>
                <a:cubicBezTo>
                  <a:pt x="178" y="294"/>
                  <a:pt x="178" y="294"/>
                  <a:pt x="178" y="295"/>
                </a:cubicBezTo>
                <a:cubicBezTo>
                  <a:pt x="178" y="295"/>
                  <a:pt x="178" y="295"/>
                  <a:pt x="178" y="295"/>
                </a:cubicBezTo>
                <a:cubicBezTo>
                  <a:pt x="179" y="295"/>
                  <a:pt x="180" y="294"/>
                  <a:pt x="180" y="294"/>
                </a:cubicBezTo>
                <a:cubicBezTo>
                  <a:pt x="181" y="294"/>
                  <a:pt x="181" y="294"/>
                  <a:pt x="181" y="294"/>
                </a:cubicBezTo>
                <a:cubicBezTo>
                  <a:pt x="181" y="295"/>
                  <a:pt x="181" y="295"/>
                  <a:pt x="181" y="295"/>
                </a:cubicBezTo>
                <a:cubicBezTo>
                  <a:pt x="181" y="295"/>
                  <a:pt x="180" y="295"/>
                  <a:pt x="180" y="295"/>
                </a:cubicBezTo>
                <a:cubicBezTo>
                  <a:pt x="179" y="295"/>
                  <a:pt x="179" y="295"/>
                  <a:pt x="178" y="295"/>
                </a:cubicBezTo>
                <a:cubicBezTo>
                  <a:pt x="178" y="295"/>
                  <a:pt x="178" y="296"/>
                  <a:pt x="178" y="296"/>
                </a:cubicBezTo>
                <a:cubicBezTo>
                  <a:pt x="178" y="296"/>
                  <a:pt x="178" y="296"/>
                  <a:pt x="178" y="296"/>
                </a:cubicBezTo>
                <a:cubicBezTo>
                  <a:pt x="178" y="296"/>
                  <a:pt x="178" y="296"/>
                  <a:pt x="179" y="296"/>
                </a:cubicBezTo>
                <a:cubicBezTo>
                  <a:pt x="179" y="296"/>
                  <a:pt x="179" y="296"/>
                  <a:pt x="179" y="296"/>
                </a:cubicBezTo>
                <a:cubicBezTo>
                  <a:pt x="180" y="296"/>
                  <a:pt x="180" y="296"/>
                  <a:pt x="180" y="296"/>
                </a:cubicBezTo>
                <a:cubicBezTo>
                  <a:pt x="180" y="296"/>
                  <a:pt x="180" y="296"/>
                  <a:pt x="180" y="296"/>
                </a:cubicBezTo>
                <a:cubicBezTo>
                  <a:pt x="180" y="296"/>
                  <a:pt x="179" y="296"/>
                  <a:pt x="179" y="296"/>
                </a:cubicBezTo>
                <a:cubicBezTo>
                  <a:pt x="179" y="297"/>
                  <a:pt x="179" y="297"/>
                  <a:pt x="179" y="297"/>
                </a:cubicBezTo>
                <a:cubicBezTo>
                  <a:pt x="180" y="297"/>
                  <a:pt x="180" y="297"/>
                  <a:pt x="181" y="297"/>
                </a:cubicBezTo>
                <a:cubicBezTo>
                  <a:pt x="181" y="297"/>
                  <a:pt x="181" y="297"/>
                  <a:pt x="181" y="297"/>
                </a:cubicBezTo>
                <a:cubicBezTo>
                  <a:pt x="181" y="297"/>
                  <a:pt x="181" y="297"/>
                  <a:pt x="181" y="297"/>
                </a:cubicBezTo>
                <a:cubicBezTo>
                  <a:pt x="180" y="297"/>
                  <a:pt x="180" y="298"/>
                  <a:pt x="180" y="298"/>
                </a:cubicBezTo>
                <a:cubicBezTo>
                  <a:pt x="180" y="298"/>
                  <a:pt x="180" y="298"/>
                  <a:pt x="180" y="298"/>
                </a:cubicBezTo>
                <a:cubicBezTo>
                  <a:pt x="181" y="298"/>
                  <a:pt x="181" y="298"/>
                  <a:pt x="181" y="298"/>
                </a:cubicBezTo>
                <a:cubicBezTo>
                  <a:pt x="182" y="297"/>
                  <a:pt x="182" y="297"/>
                  <a:pt x="182" y="297"/>
                </a:cubicBezTo>
                <a:cubicBezTo>
                  <a:pt x="183" y="297"/>
                  <a:pt x="183" y="297"/>
                  <a:pt x="183" y="297"/>
                </a:cubicBezTo>
                <a:cubicBezTo>
                  <a:pt x="184" y="297"/>
                  <a:pt x="184" y="297"/>
                  <a:pt x="184" y="297"/>
                </a:cubicBezTo>
                <a:cubicBezTo>
                  <a:pt x="185" y="297"/>
                  <a:pt x="185" y="296"/>
                  <a:pt x="186" y="296"/>
                </a:cubicBezTo>
                <a:cubicBezTo>
                  <a:pt x="186" y="296"/>
                  <a:pt x="186" y="296"/>
                  <a:pt x="186" y="296"/>
                </a:cubicBezTo>
                <a:cubicBezTo>
                  <a:pt x="187" y="296"/>
                  <a:pt x="187" y="296"/>
                  <a:pt x="187" y="296"/>
                </a:cubicBezTo>
                <a:cubicBezTo>
                  <a:pt x="186" y="297"/>
                  <a:pt x="186" y="297"/>
                  <a:pt x="186" y="297"/>
                </a:cubicBezTo>
                <a:cubicBezTo>
                  <a:pt x="186" y="297"/>
                  <a:pt x="186" y="297"/>
                  <a:pt x="186" y="297"/>
                </a:cubicBezTo>
                <a:cubicBezTo>
                  <a:pt x="187" y="297"/>
                  <a:pt x="187" y="297"/>
                  <a:pt x="187" y="297"/>
                </a:cubicBezTo>
                <a:cubicBezTo>
                  <a:pt x="187" y="297"/>
                  <a:pt x="187" y="298"/>
                  <a:pt x="187" y="298"/>
                </a:cubicBezTo>
                <a:cubicBezTo>
                  <a:pt x="188" y="298"/>
                  <a:pt x="188" y="298"/>
                  <a:pt x="188" y="297"/>
                </a:cubicBezTo>
                <a:cubicBezTo>
                  <a:pt x="188" y="297"/>
                  <a:pt x="188" y="297"/>
                  <a:pt x="189" y="296"/>
                </a:cubicBezTo>
                <a:cubicBezTo>
                  <a:pt x="188" y="296"/>
                  <a:pt x="188" y="296"/>
                  <a:pt x="188" y="296"/>
                </a:cubicBezTo>
                <a:cubicBezTo>
                  <a:pt x="188" y="296"/>
                  <a:pt x="188" y="296"/>
                  <a:pt x="188" y="296"/>
                </a:cubicBezTo>
                <a:cubicBezTo>
                  <a:pt x="189" y="296"/>
                  <a:pt x="189" y="296"/>
                  <a:pt x="190" y="295"/>
                </a:cubicBezTo>
                <a:cubicBezTo>
                  <a:pt x="189" y="296"/>
                  <a:pt x="189" y="296"/>
                  <a:pt x="189" y="296"/>
                </a:cubicBezTo>
                <a:cubicBezTo>
                  <a:pt x="189" y="296"/>
                  <a:pt x="189" y="297"/>
                  <a:pt x="189" y="297"/>
                </a:cubicBezTo>
                <a:cubicBezTo>
                  <a:pt x="189" y="297"/>
                  <a:pt x="189" y="298"/>
                  <a:pt x="188" y="298"/>
                </a:cubicBezTo>
                <a:cubicBezTo>
                  <a:pt x="189" y="298"/>
                  <a:pt x="189" y="298"/>
                  <a:pt x="190" y="298"/>
                </a:cubicBezTo>
                <a:cubicBezTo>
                  <a:pt x="190" y="298"/>
                  <a:pt x="190" y="299"/>
                  <a:pt x="189" y="299"/>
                </a:cubicBezTo>
                <a:cubicBezTo>
                  <a:pt x="189" y="299"/>
                  <a:pt x="189" y="299"/>
                  <a:pt x="189" y="299"/>
                </a:cubicBezTo>
                <a:cubicBezTo>
                  <a:pt x="189" y="299"/>
                  <a:pt x="188" y="299"/>
                  <a:pt x="188" y="299"/>
                </a:cubicBezTo>
                <a:cubicBezTo>
                  <a:pt x="188" y="299"/>
                  <a:pt x="189" y="299"/>
                  <a:pt x="189" y="299"/>
                </a:cubicBezTo>
                <a:cubicBezTo>
                  <a:pt x="190" y="299"/>
                  <a:pt x="191" y="299"/>
                  <a:pt x="191" y="299"/>
                </a:cubicBezTo>
                <a:cubicBezTo>
                  <a:pt x="192" y="299"/>
                  <a:pt x="192" y="298"/>
                  <a:pt x="192" y="298"/>
                </a:cubicBezTo>
                <a:cubicBezTo>
                  <a:pt x="192" y="298"/>
                  <a:pt x="193" y="298"/>
                  <a:pt x="193" y="298"/>
                </a:cubicBezTo>
                <a:cubicBezTo>
                  <a:pt x="193" y="298"/>
                  <a:pt x="194" y="298"/>
                  <a:pt x="194" y="297"/>
                </a:cubicBezTo>
                <a:cubicBezTo>
                  <a:pt x="194" y="297"/>
                  <a:pt x="195" y="297"/>
                  <a:pt x="195" y="297"/>
                </a:cubicBezTo>
                <a:cubicBezTo>
                  <a:pt x="196" y="297"/>
                  <a:pt x="196" y="297"/>
                  <a:pt x="197" y="296"/>
                </a:cubicBezTo>
                <a:cubicBezTo>
                  <a:pt x="197" y="296"/>
                  <a:pt x="197" y="296"/>
                  <a:pt x="197" y="296"/>
                </a:cubicBezTo>
                <a:cubicBezTo>
                  <a:pt x="197" y="296"/>
                  <a:pt x="197" y="297"/>
                  <a:pt x="197" y="297"/>
                </a:cubicBezTo>
                <a:cubicBezTo>
                  <a:pt x="198" y="297"/>
                  <a:pt x="198" y="297"/>
                  <a:pt x="198" y="296"/>
                </a:cubicBezTo>
                <a:cubicBezTo>
                  <a:pt x="198" y="297"/>
                  <a:pt x="199" y="297"/>
                  <a:pt x="199" y="297"/>
                </a:cubicBezTo>
                <a:cubicBezTo>
                  <a:pt x="199" y="297"/>
                  <a:pt x="200" y="297"/>
                  <a:pt x="200" y="297"/>
                </a:cubicBezTo>
                <a:cubicBezTo>
                  <a:pt x="200" y="297"/>
                  <a:pt x="200" y="297"/>
                  <a:pt x="200" y="297"/>
                </a:cubicBezTo>
                <a:cubicBezTo>
                  <a:pt x="201" y="297"/>
                  <a:pt x="201" y="297"/>
                  <a:pt x="201" y="297"/>
                </a:cubicBezTo>
                <a:cubicBezTo>
                  <a:pt x="202" y="296"/>
                  <a:pt x="202" y="296"/>
                  <a:pt x="203" y="296"/>
                </a:cubicBezTo>
                <a:cubicBezTo>
                  <a:pt x="203" y="295"/>
                  <a:pt x="203" y="295"/>
                  <a:pt x="203" y="295"/>
                </a:cubicBezTo>
                <a:cubicBezTo>
                  <a:pt x="203" y="295"/>
                  <a:pt x="203" y="295"/>
                  <a:pt x="203" y="295"/>
                </a:cubicBezTo>
                <a:cubicBezTo>
                  <a:pt x="203" y="295"/>
                  <a:pt x="204" y="296"/>
                  <a:pt x="204" y="296"/>
                </a:cubicBezTo>
                <a:cubicBezTo>
                  <a:pt x="203" y="296"/>
                  <a:pt x="203" y="296"/>
                  <a:pt x="203" y="296"/>
                </a:cubicBezTo>
                <a:cubicBezTo>
                  <a:pt x="203" y="297"/>
                  <a:pt x="202" y="297"/>
                  <a:pt x="202" y="297"/>
                </a:cubicBezTo>
                <a:cubicBezTo>
                  <a:pt x="202" y="297"/>
                  <a:pt x="202" y="297"/>
                  <a:pt x="202" y="297"/>
                </a:cubicBezTo>
                <a:cubicBezTo>
                  <a:pt x="203" y="297"/>
                  <a:pt x="203" y="297"/>
                  <a:pt x="204" y="297"/>
                </a:cubicBezTo>
                <a:cubicBezTo>
                  <a:pt x="204" y="297"/>
                  <a:pt x="204" y="297"/>
                  <a:pt x="205" y="297"/>
                </a:cubicBezTo>
                <a:cubicBezTo>
                  <a:pt x="205" y="297"/>
                  <a:pt x="205" y="297"/>
                  <a:pt x="205" y="297"/>
                </a:cubicBezTo>
                <a:cubicBezTo>
                  <a:pt x="206" y="297"/>
                  <a:pt x="207" y="297"/>
                  <a:pt x="207" y="297"/>
                </a:cubicBezTo>
                <a:cubicBezTo>
                  <a:pt x="208" y="297"/>
                  <a:pt x="208" y="296"/>
                  <a:pt x="209" y="296"/>
                </a:cubicBezTo>
                <a:cubicBezTo>
                  <a:pt x="209" y="296"/>
                  <a:pt x="210" y="296"/>
                  <a:pt x="210" y="296"/>
                </a:cubicBezTo>
                <a:cubicBezTo>
                  <a:pt x="210" y="296"/>
                  <a:pt x="210" y="296"/>
                  <a:pt x="210" y="296"/>
                </a:cubicBezTo>
                <a:cubicBezTo>
                  <a:pt x="210" y="295"/>
                  <a:pt x="210" y="295"/>
                  <a:pt x="211" y="295"/>
                </a:cubicBezTo>
                <a:cubicBezTo>
                  <a:pt x="211" y="295"/>
                  <a:pt x="211" y="294"/>
                  <a:pt x="212" y="294"/>
                </a:cubicBezTo>
                <a:cubicBezTo>
                  <a:pt x="212" y="294"/>
                  <a:pt x="212" y="294"/>
                  <a:pt x="212" y="294"/>
                </a:cubicBezTo>
                <a:cubicBezTo>
                  <a:pt x="212" y="294"/>
                  <a:pt x="212" y="294"/>
                  <a:pt x="212" y="294"/>
                </a:cubicBezTo>
                <a:cubicBezTo>
                  <a:pt x="212" y="294"/>
                  <a:pt x="212" y="295"/>
                  <a:pt x="211" y="295"/>
                </a:cubicBezTo>
                <a:cubicBezTo>
                  <a:pt x="211" y="295"/>
                  <a:pt x="211" y="296"/>
                  <a:pt x="212" y="296"/>
                </a:cubicBezTo>
                <a:cubicBezTo>
                  <a:pt x="212" y="297"/>
                  <a:pt x="211" y="297"/>
                  <a:pt x="211" y="297"/>
                </a:cubicBezTo>
                <a:cubicBezTo>
                  <a:pt x="211" y="297"/>
                  <a:pt x="211" y="297"/>
                  <a:pt x="211" y="298"/>
                </a:cubicBezTo>
                <a:cubicBezTo>
                  <a:pt x="210" y="298"/>
                  <a:pt x="210" y="298"/>
                  <a:pt x="209" y="298"/>
                </a:cubicBezTo>
                <a:cubicBezTo>
                  <a:pt x="209" y="298"/>
                  <a:pt x="209" y="298"/>
                  <a:pt x="209" y="298"/>
                </a:cubicBezTo>
                <a:cubicBezTo>
                  <a:pt x="209" y="298"/>
                  <a:pt x="210" y="298"/>
                  <a:pt x="210" y="298"/>
                </a:cubicBezTo>
                <a:cubicBezTo>
                  <a:pt x="210" y="299"/>
                  <a:pt x="211" y="299"/>
                  <a:pt x="211" y="299"/>
                </a:cubicBezTo>
                <a:cubicBezTo>
                  <a:pt x="211" y="299"/>
                  <a:pt x="211" y="299"/>
                  <a:pt x="212" y="299"/>
                </a:cubicBezTo>
                <a:cubicBezTo>
                  <a:pt x="212" y="299"/>
                  <a:pt x="212" y="299"/>
                  <a:pt x="212" y="298"/>
                </a:cubicBezTo>
                <a:cubicBezTo>
                  <a:pt x="213" y="298"/>
                  <a:pt x="213" y="298"/>
                  <a:pt x="213" y="298"/>
                </a:cubicBezTo>
                <a:cubicBezTo>
                  <a:pt x="213" y="299"/>
                  <a:pt x="213" y="299"/>
                  <a:pt x="213" y="299"/>
                </a:cubicBezTo>
                <a:cubicBezTo>
                  <a:pt x="213" y="299"/>
                  <a:pt x="213" y="299"/>
                  <a:pt x="212" y="299"/>
                </a:cubicBezTo>
                <a:cubicBezTo>
                  <a:pt x="212" y="299"/>
                  <a:pt x="212" y="299"/>
                  <a:pt x="212" y="299"/>
                </a:cubicBezTo>
                <a:cubicBezTo>
                  <a:pt x="213" y="300"/>
                  <a:pt x="214" y="300"/>
                  <a:pt x="214" y="300"/>
                </a:cubicBezTo>
                <a:cubicBezTo>
                  <a:pt x="215" y="300"/>
                  <a:pt x="215" y="300"/>
                  <a:pt x="215" y="299"/>
                </a:cubicBezTo>
                <a:cubicBezTo>
                  <a:pt x="215" y="299"/>
                  <a:pt x="216" y="299"/>
                  <a:pt x="216" y="299"/>
                </a:cubicBezTo>
                <a:cubicBezTo>
                  <a:pt x="216" y="299"/>
                  <a:pt x="216" y="298"/>
                  <a:pt x="216" y="298"/>
                </a:cubicBezTo>
                <a:cubicBezTo>
                  <a:pt x="217" y="297"/>
                  <a:pt x="217" y="297"/>
                  <a:pt x="217" y="296"/>
                </a:cubicBezTo>
                <a:cubicBezTo>
                  <a:pt x="217" y="297"/>
                  <a:pt x="217" y="297"/>
                  <a:pt x="217" y="298"/>
                </a:cubicBezTo>
                <a:cubicBezTo>
                  <a:pt x="217" y="298"/>
                  <a:pt x="217" y="298"/>
                  <a:pt x="217" y="298"/>
                </a:cubicBezTo>
                <a:cubicBezTo>
                  <a:pt x="217" y="299"/>
                  <a:pt x="217" y="299"/>
                  <a:pt x="217" y="299"/>
                </a:cubicBezTo>
                <a:cubicBezTo>
                  <a:pt x="217" y="299"/>
                  <a:pt x="217" y="299"/>
                  <a:pt x="217" y="299"/>
                </a:cubicBezTo>
                <a:cubicBezTo>
                  <a:pt x="216" y="300"/>
                  <a:pt x="216" y="300"/>
                  <a:pt x="216" y="300"/>
                </a:cubicBezTo>
                <a:cubicBezTo>
                  <a:pt x="216" y="300"/>
                  <a:pt x="216" y="300"/>
                  <a:pt x="216" y="301"/>
                </a:cubicBezTo>
                <a:cubicBezTo>
                  <a:pt x="217" y="301"/>
                  <a:pt x="217" y="301"/>
                  <a:pt x="217" y="301"/>
                </a:cubicBezTo>
                <a:cubicBezTo>
                  <a:pt x="217" y="301"/>
                  <a:pt x="217" y="301"/>
                  <a:pt x="217" y="301"/>
                </a:cubicBezTo>
                <a:cubicBezTo>
                  <a:pt x="217" y="302"/>
                  <a:pt x="218" y="302"/>
                  <a:pt x="218" y="303"/>
                </a:cubicBezTo>
                <a:cubicBezTo>
                  <a:pt x="218" y="303"/>
                  <a:pt x="218" y="303"/>
                  <a:pt x="219" y="303"/>
                </a:cubicBezTo>
                <a:cubicBezTo>
                  <a:pt x="219" y="303"/>
                  <a:pt x="219" y="303"/>
                  <a:pt x="219" y="303"/>
                </a:cubicBezTo>
                <a:cubicBezTo>
                  <a:pt x="219" y="303"/>
                  <a:pt x="219" y="303"/>
                  <a:pt x="219" y="303"/>
                </a:cubicBezTo>
                <a:cubicBezTo>
                  <a:pt x="219" y="303"/>
                  <a:pt x="220" y="303"/>
                  <a:pt x="220" y="304"/>
                </a:cubicBezTo>
                <a:cubicBezTo>
                  <a:pt x="221" y="304"/>
                  <a:pt x="221" y="304"/>
                  <a:pt x="222" y="304"/>
                </a:cubicBezTo>
                <a:cubicBezTo>
                  <a:pt x="222" y="304"/>
                  <a:pt x="222" y="304"/>
                  <a:pt x="223" y="304"/>
                </a:cubicBezTo>
                <a:cubicBezTo>
                  <a:pt x="223" y="304"/>
                  <a:pt x="223" y="304"/>
                  <a:pt x="223" y="304"/>
                </a:cubicBezTo>
                <a:cubicBezTo>
                  <a:pt x="223" y="304"/>
                  <a:pt x="223" y="304"/>
                  <a:pt x="223" y="304"/>
                </a:cubicBezTo>
                <a:cubicBezTo>
                  <a:pt x="224" y="304"/>
                  <a:pt x="224" y="304"/>
                  <a:pt x="224" y="304"/>
                </a:cubicBezTo>
                <a:cubicBezTo>
                  <a:pt x="224" y="304"/>
                  <a:pt x="225" y="304"/>
                  <a:pt x="225" y="304"/>
                </a:cubicBezTo>
                <a:cubicBezTo>
                  <a:pt x="225" y="304"/>
                  <a:pt x="224" y="304"/>
                  <a:pt x="224" y="303"/>
                </a:cubicBezTo>
                <a:cubicBezTo>
                  <a:pt x="224" y="303"/>
                  <a:pt x="224" y="303"/>
                  <a:pt x="225" y="303"/>
                </a:cubicBezTo>
                <a:cubicBezTo>
                  <a:pt x="225" y="303"/>
                  <a:pt x="225" y="303"/>
                  <a:pt x="225" y="303"/>
                </a:cubicBezTo>
                <a:cubicBezTo>
                  <a:pt x="225" y="303"/>
                  <a:pt x="226" y="303"/>
                  <a:pt x="226" y="303"/>
                </a:cubicBezTo>
                <a:cubicBezTo>
                  <a:pt x="226" y="303"/>
                  <a:pt x="226" y="303"/>
                  <a:pt x="226" y="302"/>
                </a:cubicBezTo>
                <a:cubicBezTo>
                  <a:pt x="226" y="302"/>
                  <a:pt x="225" y="302"/>
                  <a:pt x="225" y="302"/>
                </a:cubicBezTo>
                <a:cubicBezTo>
                  <a:pt x="225" y="302"/>
                  <a:pt x="224" y="302"/>
                  <a:pt x="224" y="302"/>
                </a:cubicBezTo>
                <a:cubicBezTo>
                  <a:pt x="224" y="302"/>
                  <a:pt x="224" y="302"/>
                  <a:pt x="224" y="302"/>
                </a:cubicBezTo>
                <a:cubicBezTo>
                  <a:pt x="224" y="302"/>
                  <a:pt x="224" y="302"/>
                  <a:pt x="224" y="302"/>
                </a:cubicBezTo>
                <a:cubicBezTo>
                  <a:pt x="224" y="302"/>
                  <a:pt x="224" y="302"/>
                  <a:pt x="224" y="301"/>
                </a:cubicBezTo>
                <a:cubicBezTo>
                  <a:pt x="224" y="301"/>
                  <a:pt x="224" y="301"/>
                  <a:pt x="224" y="301"/>
                </a:cubicBezTo>
                <a:cubicBezTo>
                  <a:pt x="224" y="301"/>
                  <a:pt x="223" y="301"/>
                  <a:pt x="223" y="300"/>
                </a:cubicBezTo>
                <a:cubicBezTo>
                  <a:pt x="223" y="301"/>
                  <a:pt x="223" y="301"/>
                  <a:pt x="222" y="301"/>
                </a:cubicBezTo>
                <a:cubicBezTo>
                  <a:pt x="222" y="300"/>
                  <a:pt x="222" y="300"/>
                  <a:pt x="222" y="300"/>
                </a:cubicBezTo>
                <a:cubicBezTo>
                  <a:pt x="222" y="300"/>
                  <a:pt x="222" y="300"/>
                  <a:pt x="222" y="300"/>
                </a:cubicBezTo>
                <a:cubicBezTo>
                  <a:pt x="222" y="299"/>
                  <a:pt x="222" y="299"/>
                  <a:pt x="222" y="299"/>
                </a:cubicBezTo>
                <a:cubicBezTo>
                  <a:pt x="222" y="299"/>
                  <a:pt x="223" y="299"/>
                  <a:pt x="223" y="299"/>
                </a:cubicBezTo>
                <a:cubicBezTo>
                  <a:pt x="223" y="299"/>
                  <a:pt x="223" y="299"/>
                  <a:pt x="223" y="299"/>
                </a:cubicBezTo>
                <a:cubicBezTo>
                  <a:pt x="223" y="299"/>
                  <a:pt x="224" y="300"/>
                  <a:pt x="224" y="300"/>
                </a:cubicBezTo>
                <a:cubicBezTo>
                  <a:pt x="224" y="299"/>
                  <a:pt x="224" y="299"/>
                  <a:pt x="224" y="299"/>
                </a:cubicBezTo>
                <a:cubicBezTo>
                  <a:pt x="224" y="299"/>
                  <a:pt x="225" y="299"/>
                  <a:pt x="225" y="299"/>
                </a:cubicBezTo>
                <a:cubicBezTo>
                  <a:pt x="225" y="299"/>
                  <a:pt x="225" y="299"/>
                  <a:pt x="225" y="299"/>
                </a:cubicBezTo>
                <a:cubicBezTo>
                  <a:pt x="225" y="300"/>
                  <a:pt x="225" y="300"/>
                  <a:pt x="225" y="300"/>
                </a:cubicBezTo>
                <a:cubicBezTo>
                  <a:pt x="225" y="300"/>
                  <a:pt x="225" y="300"/>
                  <a:pt x="226" y="301"/>
                </a:cubicBezTo>
                <a:cubicBezTo>
                  <a:pt x="226" y="301"/>
                  <a:pt x="226" y="301"/>
                  <a:pt x="226" y="300"/>
                </a:cubicBezTo>
                <a:cubicBezTo>
                  <a:pt x="226" y="300"/>
                  <a:pt x="227" y="300"/>
                  <a:pt x="227" y="300"/>
                </a:cubicBezTo>
                <a:cubicBezTo>
                  <a:pt x="227" y="299"/>
                  <a:pt x="227" y="299"/>
                  <a:pt x="227" y="299"/>
                </a:cubicBezTo>
                <a:cubicBezTo>
                  <a:pt x="227" y="300"/>
                  <a:pt x="227" y="300"/>
                  <a:pt x="227" y="300"/>
                </a:cubicBezTo>
                <a:cubicBezTo>
                  <a:pt x="227" y="300"/>
                  <a:pt x="227" y="300"/>
                  <a:pt x="227" y="301"/>
                </a:cubicBezTo>
                <a:cubicBezTo>
                  <a:pt x="227" y="301"/>
                  <a:pt x="227" y="301"/>
                  <a:pt x="227" y="301"/>
                </a:cubicBezTo>
                <a:cubicBezTo>
                  <a:pt x="227" y="301"/>
                  <a:pt x="227" y="302"/>
                  <a:pt x="228" y="302"/>
                </a:cubicBezTo>
                <a:cubicBezTo>
                  <a:pt x="227" y="302"/>
                  <a:pt x="227" y="302"/>
                  <a:pt x="227" y="303"/>
                </a:cubicBezTo>
                <a:cubicBezTo>
                  <a:pt x="228" y="303"/>
                  <a:pt x="228" y="303"/>
                  <a:pt x="228" y="303"/>
                </a:cubicBezTo>
                <a:cubicBezTo>
                  <a:pt x="228" y="303"/>
                  <a:pt x="229" y="303"/>
                  <a:pt x="229" y="303"/>
                </a:cubicBezTo>
                <a:cubicBezTo>
                  <a:pt x="229" y="302"/>
                  <a:pt x="229" y="302"/>
                  <a:pt x="229" y="302"/>
                </a:cubicBezTo>
                <a:cubicBezTo>
                  <a:pt x="229" y="302"/>
                  <a:pt x="229" y="302"/>
                  <a:pt x="229" y="301"/>
                </a:cubicBezTo>
                <a:cubicBezTo>
                  <a:pt x="230" y="302"/>
                  <a:pt x="230" y="302"/>
                  <a:pt x="230" y="302"/>
                </a:cubicBezTo>
                <a:cubicBezTo>
                  <a:pt x="230" y="302"/>
                  <a:pt x="230" y="302"/>
                  <a:pt x="230" y="302"/>
                </a:cubicBezTo>
                <a:cubicBezTo>
                  <a:pt x="230" y="303"/>
                  <a:pt x="230" y="303"/>
                  <a:pt x="230" y="303"/>
                </a:cubicBezTo>
                <a:cubicBezTo>
                  <a:pt x="231" y="303"/>
                  <a:pt x="231" y="303"/>
                  <a:pt x="231" y="303"/>
                </a:cubicBezTo>
                <a:cubicBezTo>
                  <a:pt x="231" y="303"/>
                  <a:pt x="231" y="302"/>
                  <a:pt x="232" y="302"/>
                </a:cubicBezTo>
                <a:cubicBezTo>
                  <a:pt x="231" y="301"/>
                  <a:pt x="231" y="301"/>
                  <a:pt x="231" y="301"/>
                </a:cubicBezTo>
                <a:cubicBezTo>
                  <a:pt x="231" y="300"/>
                  <a:pt x="231" y="300"/>
                  <a:pt x="231" y="300"/>
                </a:cubicBezTo>
                <a:cubicBezTo>
                  <a:pt x="231" y="299"/>
                  <a:pt x="231" y="299"/>
                  <a:pt x="231" y="298"/>
                </a:cubicBezTo>
                <a:cubicBezTo>
                  <a:pt x="231" y="298"/>
                  <a:pt x="231" y="297"/>
                  <a:pt x="231" y="296"/>
                </a:cubicBezTo>
                <a:cubicBezTo>
                  <a:pt x="231" y="296"/>
                  <a:pt x="231" y="296"/>
                  <a:pt x="231" y="295"/>
                </a:cubicBezTo>
                <a:cubicBezTo>
                  <a:pt x="230" y="295"/>
                  <a:pt x="230" y="294"/>
                  <a:pt x="230" y="294"/>
                </a:cubicBezTo>
                <a:cubicBezTo>
                  <a:pt x="230" y="294"/>
                  <a:pt x="229" y="294"/>
                  <a:pt x="229" y="294"/>
                </a:cubicBezTo>
                <a:cubicBezTo>
                  <a:pt x="229" y="294"/>
                  <a:pt x="229" y="294"/>
                  <a:pt x="229" y="294"/>
                </a:cubicBezTo>
                <a:cubicBezTo>
                  <a:pt x="229" y="294"/>
                  <a:pt x="230" y="294"/>
                  <a:pt x="230" y="294"/>
                </a:cubicBezTo>
                <a:cubicBezTo>
                  <a:pt x="230" y="294"/>
                  <a:pt x="230" y="294"/>
                  <a:pt x="231" y="294"/>
                </a:cubicBezTo>
                <a:cubicBezTo>
                  <a:pt x="231" y="294"/>
                  <a:pt x="231" y="294"/>
                  <a:pt x="231" y="294"/>
                </a:cubicBezTo>
                <a:cubicBezTo>
                  <a:pt x="231" y="294"/>
                  <a:pt x="231" y="293"/>
                  <a:pt x="231" y="293"/>
                </a:cubicBezTo>
                <a:cubicBezTo>
                  <a:pt x="232" y="293"/>
                  <a:pt x="232" y="292"/>
                  <a:pt x="232" y="292"/>
                </a:cubicBezTo>
                <a:cubicBezTo>
                  <a:pt x="232" y="293"/>
                  <a:pt x="232" y="293"/>
                  <a:pt x="232" y="293"/>
                </a:cubicBezTo>
                <a:cubicBezTo>
                  <a:pt x="232" y="294"/>
                  <a:pt x="232" y="294"/>
                  <a:pt x="232" y="295"/>
                </a:cubicBezTo>
                <a:cubicBezTo>
                  <a:pt x="232" y="295"/>
                  <a:pt x="233" y="295"/>
                  <a:pt x="233" y="296"/>
                </a:cubicBezTo>
                <a:cubicBezTo>
                  <a:pt x="233" y="296"/>
                  <a:pt x="232" y="297"/>
                  <a:pt x="232" y="297"/>
                </a:cubicBezTo>
                <a:cubicBezTo>
                  <a:pt x="232" y="298"/>
                  <a:pt x="232" y="298"/>
                  <a:pt x="233" y="298"/>
                </a:cubicBezTo>
                <a:cubicBezTo>
                  <a:pt x="233" y="298"/>
                  <a:pt x="233" y="298"/>
                  <a:pt x="233" y="298"/>
                </a:cubicBezTo>
                <a:cubicBezTo>
                  <a:pt x="233" y="299"/>
                  <a:pt x="233" y="299"/>
                  <a:pt x="233" y="299"/>
                </a:cubicBezTo>
                <a:cubicBezTo>
                  <a:pt x="233" y="299"/>
                  <a:pt x="233" y="300"/>
                  <a:pt x="233" y="300"/>
                </a:cubicBezTo>
                <a:cubicBezTo>
                  <a:pt x="233" y="300"/>
                  <a:pt x="233" y="300"/>
                  <a:pt x="233" y="301"/>
                </a:cubicBezTo>
                <a:cubicBezTo>
                  <a:pt x="233" y="301"/>
                  <a:pt x="234" y="301"/>
                  <a:pt x="234" y="301"/>
                </a:cubicBezTo>
                <a:cubicBezTo>
                  <a:pt x="234" y="301"/>
                  <a:pt x="235" y="301"/>
                  <a:pt x="235" y="301"/>
                </a:cubicBezTo>
                <a:cubicBezTo>
                  <a:pt x="235" y="302"/>
                  <a:pt x="235" y="302"/>
                  <a:pt x="236" y="302"/>
                </a:cubicBezTo>
                <a:cubicBezTo>
                  <a:pt x="236" y="302"/>
                  <a:pt x="236" y="302"/>
                  <a:pt x="236" y="302"/>
                </a:cubicBezTo>
                <a:cubicBezTo>
                  <a:pt x="236" y="302"/>
                  <a:pt x="236" y="302"/>
                  <a:pt x="236" y="303"/>
                </a:cubicBezTo>
                <a:cubicBezTo>
                  <a:pt x="237" y="303"/>
                  <a:pt x="237" y="303"/>
                  <a:pt x="237" y="303"/>
                </a:cubicBezTo>
                <a:cubicBezTo>
                  <a:pt x="238" y="303"/>
                  <a:pt x="238" y="302"/>
                  <a:pt x="238" y="302"/>
                </a:cubicBezTo>
                <a:cubicBezTo>
                  <a:pt x="238" y="302"/>
                  <a:pt x="238" y="302"/>
                  <a:pt x="239" y="302"/>
                </a:cubicBezTo>
                <a:cubicBezTo>
                  <a:pt x="239" y="302"/>
                  <a:pt x="239" y="302"/>
                  <a:pt x="239" y="302"/>
                </a:cubicBezTo>
                <a:cubicBezTo>
                  <a:pt x="240" y="301"/>
                  <a:pt x="240" y="301"/>
                  <a:pt x="241" y="301"/>
                </a:cubicBezTo>
                <a:cubicBezTo>
                  <a:pt x="241" y="301"/>
                  <a:pt x="241" y="301"/>
                  <a:pt x="241" y="301"/>
                </a:cubicBezTo>
                <a:cubicBezTo>
                  <a:pt x="240" y="302"/>
                  <a:pt x="240" y="302"/>
                  <a:pt x="239" y="302"/>
                </a:cubicBezTo>
                <a:cubicBezTo>
                  <a:pt x="239" y="303"/>
                  <a:pt x="239" y="303"/>
                  <a:pt x="239" y="303"/>
                </a:cubicBezTo>
                <a:cubicBezTo>
                  <a:pt x="239" y="303"/>
                  <a:pt x="239" y="303"/>
                  <a:pt x="239" y="303"/>
                </a:cubicBezTo>
                <a:cubicBezTo>
                  <a:pt x="239" y="303"/>
                  <a:pt x="240" y="303"/>
                  <a:pt x="240" y="303"/>
                </a:cubicBezTo>
                <a:cubicBezTo>
                  <a:pt x="240" y="303"/>
                  <a:pt x="240" y="303"/>
                  <a:pt x="240" y="304"/>
                </a:cubicBezTo>
                <a:cubicBezTo>
                  <a:pt x="239" y="304"/>
                  <a:pt x="239" y="304"/>
                  <a:pt x="239" y="304"/>
                </a:cubicBezTo>
                <a:cubicBezTo>
                  <a:pt x="239" y="304"/>
                  <a:pt x="239" y="304"/>
                  <a:pt x="239" y="304"/>
                </a:cubicBezTo>
                <a:cubicBezTo>
                  <a:pt x="239" y="304"/>
                  <a:pt x="240" y="305"/>
                  <a:pt x="240" y="305"/>
                </a:cubicBezTo>
                <a:cubicBezTo>
                  <a:pt x="240" y="305"/>
                  <a:pt x="240" y="305"/>
                  <a:pt x="240" y="305"/>
                </a:cubicBezTo>
                <a:cubicBezTo>
                  <a:pt x="240" y="306"/>
                  <a:pt x="240" y="306"/>
                  <a:pt x="240" y="306"/>
                </a:cubicBezTo>
                <a:cubicBezTo>
                  <a:pt x="240" y="306"/>
                  <a:pt x="239" y="306"/>
                  <a:pt x="239" y="306"/>
                </a:cubicBezTo>
                <a:cubicBezTo>
                  <a:pt x="239" y="306"/>
                  <a:pt x="239" y="305"/>
                  <a:pt x="238" y="305"/>
                </a:cubicBezTo>
                <a:cubicBezTo>
                  <a:pt x="238" y="305"/>
                  <a:pt x="238" y="306"/>
                  <a:pt x="238" y="306"/>
                </a:cubicBezTo>
                <a:cubicBezTo>
                  <a:pt x="238" y="306"/>
                  <a:pt x="239" y="306"/>
                  <a:pt x="239" y="306"/>
                </a:cubicBezTo>
                <a:cubicBezTo>
                  <a:pt x="239" y="306"/>
                  <a:pt x="238" y="306"/>
                  <a:pt x="238" y="307"/>
                </a:cubicBezTo>
                <a:cubicBezTo>
                  <a:pt x="238" y="307"/>
                  <a:pt x="239" y="307"/>
                  <a:pt x="239" y="307"/>
                </a:cubicBezTo>
                <a:cubicBezTo>
                  <a:pt x="239" y="307"/>
                  <a:pt x="239" y="308"/>
                  <a:pt x="239" y="308"/>
                </a:cubicBezTo>
                <a:cubicBezTo>
                  <a:pt x="239" y="308"/>
                  <a:pt x="239" y="308"/>
                  <a:pt x="239" y="308"/>
                </a:cubicBezTo>
                <a:cubicBezTo>
                  <a:pt x="239" y="308"/>
                  <a:pt x="238" y="308"/>
                  <a:pt x="238" y="308"/>
                </a:cubicBezTo>
                <a:cubicBezTo>
                  <a:pt x="238" y="309"/>
                  <a:pt x="238" y="309"/>
                  <a:pt x="238" y="309"/>
                </a:cubicBezTo>
                <a:cubicBezTo>
                  <a:pt x="238" y="309"/>
                  <a:pt x="238" y="309"/>
                  <a:pt x="238" y="309"/>
                </a:cubicBezTo>
                <a:cubicBezTo>
                  <a:pt x="238" y="309"/>
                  <a:pt x="239" y="309"/>
                  <a:pt x="239" y="309"/>
                </a:cubicBezTo>
                <a:cubicBezTo>
                  <a:pt x="239" y="309"/>
                  <a:pt x="239" y="309"/>
                  <a:pt x="239" y="309"/>
                </a:cubicBezTo>
                <a:cubicBezTo>
                  <a:pt x="240" y="309"/>
                  <a:pt x="240" y="309"/>
                  <a:pt x="240" y="309"/>
                </a:cubicBezTo>
                <a:cubicBezTo>
                  <a:pt x="240" y="309"/>
                  <a:pt x="241" y="309"/>
                  <a:pt x="241" y="309"/>
                </a:cubicBezTo>
                <a:cubicBezTo>
                  <a:pt x="241" y="309"/>
                  <a:pt x="241" y="309"/>
                  <a:pt x="241" y="309"/>
                </a:cubicBezTo>
                <a:cubicBezTo>
                  <a:pt x="242" y="309"/>
                  <a:pt x="242" y="309"/>
                  <a:pt x="242" y="309"/>
                </a:cubicBezTo>
                <a:cubicBezTo>
                  <a:pt x="242" y="309"/>
                  <a:pt x="242" y="309"/>
                  <a:pt x="242" y="309"/>
                </a:cubicBezTo>
                <a:cubicBezTo>
                  <a:pt x="242" y="309"/>
                  <a:pt x="242" y="310"/>
                  <a:pt x="241" y="310"/>
                </a:cubicBezTo>
                <a:cubicBezTo>
                  <a:pt x="241" y="310"/>
                  <a:pt x="241" y="310"/>
                  <a:pt x="241" y="310"/>
                </a:cubicBezTo>
                <a:cubicBezTo>
                  <a:pt x="241" y="310"/>
                  <a:pt x="241" y="310"/>
                  <a:pt x="241" y="310"/>
                </a:cubicBezTo>
                <a:cubicBezTo>
                  <a:pt x="242" y="310"/>
                  <a:pt x="242" y="310"/>
                  <a:pt x="242" y="310"/>
                </a:cubicBezTo>
                <a:cubicBezTo>
                  <a:pt x="243" y="310"/>
                  <a:pt x="243" y="311"/>
                  <a:pt x="243" y="311"/>
                </a:cubicBezTo>
                <a:cubicBezTo>
                  <a:pt x="243" y="311"/>
                  <a:pt x="244" y="311"/>
                  <a:pt x="244" y="311"/>
                </a:cubicBezTo>
                <a:cubicBezTo>
                  <a:pt x="244" y="311"/>
                  <a:pt x="244" y="311"/>
                  <a:pt x="245" y="311"/>
                </a:cubicBezTo>
                <a:cubicBezTo>
                  <a:pt x="244" y="311"/>
                  <a:pt x="244" y="311"/>
                  <a:pt x="244" y="311"/>
                </a:cubicBezTo>
                <a:cubicBezTo>
                  <a:pt x="244" y="311"/>
                  <a:pt x="244" y="311"/>
                  <a:pt x="243" y="311"/>
                </a:cubicBezTo>
                <a:cubicBezTo>
                  <a:pt x="243" y="312"/>
                  <a:pt x="243" y="312"/>
                  <a:pt x="243" y="312"/>
                </a:cubicBezTo>
                <a:cubicBezTo>
                  <a:pt x="243" y="312"/>
                  <a:pt x="243" y="313"/>
                  <a:pt x="243" y="313"/>
                </a:cubicBezTo>
                <a:cubicBezTo>
                  <a:pt x="244" y="313"/>
                  <a:pt x="244" y="313"/>
                  <a:pt x="245" y="314"/>
                </a:cubicBezTo>
                <a:cubicBezTo>
                  <a:pt x="245" y="314"/>
                  <a:pt x="245" y="314"/>
                  <a:pt x="246" y="314"/>
                </a:cubicBezTo>
                <a:cubicBezTo>
                  <a:pt x="246" y="313"/>
                  <a:pt x="246" y="313"/>
                  <a:pt x="247" y="313"/>
                </a:cubicBezTo>
                <a:cubicBezTo>
                  <a:pt x="247" y="313"/>
                  <a:pt x="247" y="313"/>
                  <a:pt x="248" y="313"/>
                </a:cubicBezTo>
                <a:cubicBezTo>
                  <a:pt x="247" y="313"/>
                  <a:pt x="247" y="314"/>
                  <a:pt x="247" y="314"/>
                </a:cubicBezTo>
                <a:cubicBezTo>
                  <a:pt x="246" y="314"/>
                  <a:pt x="246" y="314"/>
                  <a:pt x="245" y="314"/>
                </a:cubicBezTo>
                <a:cubicBezTo>
                  <a:pt x="245" y="314"/>
                  <a:pt x="245" y="314"/>
                  <a:pt x="245" y="315"/>
                </a:cubicBezTo>
                <a:cubicBezTo>
                  <a:pt x="245" y="315"/>
                  <a:pt x="244" y="315"/>
                  <a:pt x="244" y="316"/>
                </a:cubicBezTo>
                <a:cubicBezTo>
                  <a:pt x="244" y="316"/>
                  <a:pt x="244" y="317"/>
                  <a:pt x="243" y="318"/>
                </a:cubicBezTo>
                <a:cubicBezTo>
                  <a:pt x="243" y="318"/>
                  <a:pt x="243" y="318"/>
                  <a:pt x="242" y="319"/>
                </a:cubicBezTo>
                <a:cubicBezTo>
                  <a:pt x="242" y="319"/>
                  <a:pt x="242" y="319"/>
                  <a:pt x="243" y="319"/>
                </a:cubicBezTo>
                <a:cubicBezTo>
                  <a:pt x="243" y="319"/>
                  <a:pt x="243" y="320"/>
                  <a:pt x="243" y="320"/>
                </a:cubicBezTo>
                <a:cubicBezTo>
                  <a:pt x="244" y="319"/>
                  <a:pt x="244" y="319"/>
                  <a:pt x="244" y="319"/>
                </a:cubicBezTo>
                <a:cubicBezTo>
                  <a:pt x="244" y="318"/>
                  <a:pt x="244" y="318"/>
                  <a:pt x="244" y="317"/>
                </a:cubicBezTo>
                <a:cubicBezTo>
                  <a:pt x="244" y="317"/>
                  <a:pt x="244" y="317"/>
                  <a:pt x="244" y="317"/>
                </a:cubicBezTo>
                <a:cubicBezTo>
                  <a:pt x="245" y="317"/>
                  <a:pt x="245" y="317"/>
                  <a:pt x="245" y="317"/>
                </a:cubicBezTo>
                <a:cubicBezTo>
                  <a:pt x="245" y="316"/>
                  <a:pt x="246" y="316"/>
                  <a:pt x="246" y="315"/>
                </a:cubicBezTo>
                <a:cubicBezTo>
                  <a:pt x="246" y="315"/>
                  <a:pt x="246" y="316"/>
                  <a:pt x="246" y="316"/>
                </a:cubicBezTo>
                <a:cubicBezTo>
                  <a:pt x="247" y="315"/>
                  <a:pt x="247" y="315"/>
                  <a:pt x="247" y="315"/>
                </a:cubicBezTo>
                <a:cubicBezTo>
                  <a:pt x="248" y="315"/>
                  <a:pt x="248" y="315"/>
                  <a:pt x="248" y="315"/>
                </a:cubicBezTo>
                <a:cubicBezTo>
                  <a:pt x="248" y="315"/>
                  <a:pt x="248" y="315"/>
                  <a:pt x="248" y="316"/>
                </a:cubicBezTo>
                <a:cubicBezTo>
                  <a:pt x="248" y="316"/>
                  <a:pt x="248" y="316"/>
                  <a:pt x="248" y="316"/>
                </a:cubicBezTo>
                <a:cubicBezTo>
                  <a:pt x="249" y="316"/>
                  <a:pt x="249" y="315"/>
                  <a:pt x="249" y="315"/>
                </a:cubicBezTo>
                <a:cubicBezTo>
                  <a:pt x="249" y="315"/>
                  <a:pt x="249" y="315"/>
                  <a:pt x="250" y="316"/>
                </a:cubicBezTo>
                <a:cubicBezTo>
                  <a:pt x="249" y="316"/>
                  <a:pt x="249" y="316"/>
                  <a:pt x="249" y="317"/>
                </a:cubicBezTo>
                <a:cubicBezTo>
                  <a:pt x="249" y="317"/>
                  <a:pt x="249" y="317"/>
                  <a:pt x="249" y="317"/>
                </a:cubicBezTo>
                <a:cubicBezTo>
                  <a:pt x="249" y="317"/>
                  <a:pt x="249" y="317"/>
                  <a:pt x="249" y="318"/>
                </a:cubicBezTo>
                <a:cubicBezTo>
                  <a:pt x="249" y="318"/>
                  <a:pt x="249" y="318"/>
                  <a:pt x="249" y="319"/>
                </a:cubicBezTo>
                <a:cubicBezTo>
                  <a:pt x="249" y="319"/>
                  <a:pt x="249" y="319"/>
                  <a:pt x="249" y="319"/>
                </a:cubicBezTo>
                <a:cubicBezTo>
                  <a:pt x="249" y="319"/>
                  <a:pt x="249" y="319"/>
                  <a:pt x="249" y="319"/>
                </a:cubicBezTo>
                <a:cubicBezTo>
                  <a:pt x="249" y="320"/>
                  <a:pt x="249" y="320"/>
                  <a:pt x="250" y="320"/>
                </a:cubicBezTo>
                <a:cubicBezTo>
                  <a:pt x="249" y="320"/>
                  <a:pt x="249" y="320"/>
                  <a:pt x="249" y="320"/>
                </a:cubicBezTo>
                <a:cubicBezTo>
                  <a:pt x="249" y="320"/>
                  <a:pt x="248" y="320"/>
                  <a:pt x="248" y="320"/>
                </a:cubicBezTo>
                <a:cubicBezTo>
                  <a:pt x="248" y="321"/>
                  <a:pt x="248" y="321"/>
                  <a:pt x="247" y="321"/>
                </a:cubicBezTo>
                <a:cubicBezTo>
                  <a:pt x="247" y="321"/>
                  <a:pt x="247" y="321"/>
                  <a:pt x="247" y="321"/>
                </a:cubicBezTo>
                <a:cubicBezTo>
                  <a:pt x="248" y="321"/>
                  <a:pt x="248" y="321"/>
                  <a:pt x="248" y="321"/>
                </a:cubicBezTo>
                <a:cubicBezTo>
                  <a:pt x="248" y="321"/>
                  <a:pt x="249" y="321"/>
                  <a:pt x="249" y="321"/>
                </a:cubicBezTo>
                <a:cubicBezTo>
                  <a:pt x="249" y="321"/>
                  <a:pt x="249" y="321"/>
                  <a:pt x="250" y="320"/>
                </a:cubicBezTo>
                <a:cubicBezTo>
                  <a:pt x="250" y="321"/>
                  <a:pt x="250" y="321"/>
                  <a:pt x="250" y="321"/>
                </a:cubicBezTo>
                <a:cubicBezTo>
                  <a:pt x="250" y="321"/>
                  <a:pt x="250" y="321"/>
                  <a:pt x="249" y="321"/>
                </a:cubicBezTo>
                <a:cubicBezTo>
                  <a:pt x="249" y="322"/>
                  <a:pt x="249" y="322"/>
                  <a:pt x="249" y="322"/>
                </a:cubicBezTo>
                <a:cubicBezTo>
                  <a:pt x="248" y="322"/>
                  <a:pt x="248" y="322"/>
                  <a:pt x="248" y="322"/>
                </a:cubicBezTo>
                <a:cubicBezTo>
                  <a:pt x="248" y="322"/>
                  <a:pt x="248" y="322"/>
                  <a:pt x="248" y="322"/>
                </a:cubicBezTo>
                <a:cubicBezTo>
                  <a:pt x="248" y="323"/>
                  <a:pt x="248" y="323"/>
                  <a:pt x="248" y="323"/>
                </a:cubicBezTo>
                <a:cubicBezTo>
                  <a:pt x="248" y="323"/>
                  <a:pt x="248" y="324"/>
                  <a:pt x="249" y="324"/>
                </a:cubicBezTo>
                <a:cubicBezTo>
                  <a:pt x="249" y="324"/>
                  <a:pt x="249" y="323"/>
                  <a:pt x="249" y="323"/>
                </a:cubicBezTo>
                <a:cubicBezTo>
                  <a:pt x="249" y="323"/>
                  <a:pt x="249" y="323"/>
                  <a:pt x="249" y="323"/>
                </a:cubicBezTo>
                <a:cubicBezTo>
                  <a:pt x="249" y="323"/>
                  <a:pt x="250" y="323"/>
                  <a:pt x="250" y="323"/>
                </a:cubicBezTo>
                <a:cubicBezTo>
                  <a:pt x="250" y="322"/>
                  <a:pt x="250" y="322"/>
                  <a:pt x="251" y="322"/>
                </a:cubicBezTo>
                <a:cubicBezTo>
                  <a:pt x="251" y="321"/>
                  <a:pt x="251" y="321"/>
                  <a:pt x="252" y="320"/>
                </a:cubicBezTo>
                <a:cubicBezTo>
                  <a:pt x="252" y="320"/>
                  <a:pt x="252" y="319"/>
                  <a:pt x="252" y="319"/>
                </a:cubicBezTo>
                <a:cubicBezTo>
                  <a:pt x="252" y="318"/>
                  <a:pt x="252" y="318"/>
                  <a:pt x="252" y="317"/>
                </a:cubicBezTo>
                <a:cubicBezTo>
                  <a:pt x="252" y="317"/>
                  <a:pt x="252" y="316"/>
                  <a:pt x="253" y="315"/>
                </a:cubicBezTo>
                <a:cubicBezTo>
                  <a:pt x="253" y="315"/>
                  <a:pt x="253" y="315"/>
                  <a:pt x="253" y="315"/>
                </a:cubicBezTo>
                <a:cubicBezTo>
                  <a:pt x="253" y="315"/>
                  <a:pt x="253" y="315"/>
                  <a:pt x="253" y="315"/>
                </a:cubicBezTo>
                <a:cubicBezTo>
                  <a:pt x="253" y="315"/>
                  <a:pt x="253" y="315"/>
                  <a:pt x="253" y="315"/>
                </a:cubicBezTo>
                <a:cubicBezTo>
                  <a:pt x="253" y="315"/>
                  <a:pt x="253" y="315"/>
                  <a:pt x="253" y="316"/>
                </a:cubicBezTo>
                <a:cubicBezTo>
                  <a:pt x="253" y="317"/>
                  <a:pt x="253" y="317"/>
                  <a:pt x="252" y="318"/>
                </a:cubicBezTo>
                <a:cubicBezTo>
                  <a:pt x="252" y="318"/>
                  <a:pt x="253" y="319"/>
                  <a:pt x="253" y="319"/>
                </a:cubicBezTo>
                <a:cubicBezTo>
                  <a:pt x="252" y="320"/>
                  <a:pt x="252" y="320"/>
                  <a:pt x="252" y="321"/>
                </a:cubicBezTo>
                <a:cubicBezTo>
                  <a:pt x="252" y="321"/>
                  <a:pt x="252" y="321"/>
                  <a:pt x="252" y="321"/>
                </a:cubicBezTo>
                <a:cubicBezTo>
                  <a:pt x="252" y="321"/>
                  <a:pt x="252" y="321"/>
                  <a:pt x="252" y="321"/>
                </a:cubicBezTo>
                <a:cubicBezTo>
                  <a:pt x="253" y="320"/>
                  <a:pt x="253" y="320"/>
                  <a:pt x="254" y="319"/>
                </a:cubicBezTo>
                <a:cubicBezTo>
                  <a:pt x="254" y="319"/>
                  <a:pt x="254" y="318"/>
                  <a:pt x="253" y="318"/>
                </a:cubicBezTo>
                <a:cubicBezTo>
                  <a:pt x="254" y="318"/>
                  <a:pt x="254" y="317"/>
                  <a:pt x="254" y="317"/>
                </a:cubicBezTo>
                <a:cubicBezTo>
                  <a:pt x="255" y="317"/>
                  <a:pt x="255" y="317"/>
                  <a:pt x="255" y="317"/>
                </a:cubicBezTo>
                <a:cubicBezTo>
                  <a:pt x="255" y="317"/>
                  <a:pt x="255" y="317"/>
                  <a:pt x="256" y="317"/>
                </a:cubicBezTo>
                <a:cubicBezTo>
                  <a:pt x="256" y="317"/>
                  <a:pt x="256" y="317"/>
                  <a:pt x="256" y="317"/>
                </a:cubicBezTo>
                <a:cubicBezTo>
                  <a:pt x="255" y="318"/>
                  <a:pt x="255" y="318"/>
                  <a:pt x="254" y="319"/>
                </a:cubicBezTo>
                <a:cubicBezTo>
                  <a:pt x="254" y="319"/>
                  <a:pt x="254" y="319"/>
                  <a:pt x="254" y="319"/>
                </a:cubicBezTo>
                <a:cubicBezTo>
                  <a:pt x="254" y="320"/>
                  <a:pt x="253" y="320"/>
                  <a:pt x="253" y="321"/>
                </a:cubicBezTo>
                <a:cubicBezTo>
                  <a:pt x="253" y="321"/>
                  <a:pt x="253" y="321"/>
                  <a:pt x="253" y="321"/>
                </a:cubicBezTo>
                <a:cubicBezTo>
                  <a:pt x="253" y="321"/>
                  <a:pt x="254" y="321"/>
                  <a:pt x="254" y="321"/>
                </a:cubicBezTo>
                <a:cubicBezTo>
                  <a:pt x="254" y="321"/>
                  <a:pt x="254" y="321"/>
                  <a:pt x="253" y="322"/>
                </a:cubicBezTo>
                <a:cubicBezTo>
                  <a:pt x="253" y="322"/>
                  <a:pt x="253" y="322"/>
                  <a:pt x="252" y="322"/>
                </a:cubicBezTo>
                <a:cubicBezTo>
                  <a:pt x="252" y="322"/>
                  <a:pt x="252" y="322"/>
                  <a:pt x="251" y="322"/>
                </a:cubicBezTo>
                <a:cubicBezTo>
                  <a:pt x="251" y="323"/>
                  <a:pt x="251" y="323"/>
                  <a:pt x="251" y="323"/>
                </a:cubicBezTo>
                <a:cubicBezTo>
                  <a:pt x="251" y="324"/>
                  <a:pt x="251" y="324"/>
                  <a:pt x="251" y="324"/>
                </a:cubicBezTo>
                <a:cubicBezTo>
                  <a:pt x="251" y="325"/>
                  <a:pt x="251" y="325"/>
                  <a:pt x="251" y="325"/>
                </a:cubicBezTo>
                <a:cubicBezTo>
                  <a:pt x="251" y="325"/>
                  <a:pt x="251" y="325"/>
                  <a:pt x="250" y="325"/>
                </a:cubicBezTo>
                <a:cubicBezTo>
                  <a:pt x="250" y="325"/>
                  <a:pt x="250" y="325"/>
                  <a:pt x="250" y="325"/>
                </a:cubicBezTo>
                <a:cubicBezTo>
                  <a:pt x="250" y="325"/>
                  <a:pt x="249" y="325"/>
                  <a:pt x="249" y="326"/>
                </a:cubicBezTo>
                <a:cubicBezTo>
                  <a:pt x="249" y="326"/>
                  <a:pt x="249" y="326"/>
                  <a:pt x="250" y="327"/>
                </a:cubicBezTo>
                <a:cubicBezTo>
                  <a:pt x="250" y="326"/>
                  <a:pt x="250" y="326"/>
                  <a:pt x="251" y="326"/>
                </a:cubicBezTo>
                <a:cubicBezTo>
                  <a:pt x="251" y="326"/>
                  <a:pt x="251" y="327"/>
                  <a:pt x="251" y="327"/>
                </a:cubicBezTo>
                <a:cubicBezTo>
                  <a:pt x="251" y="327"/>
                  <a:pt x="251" y="327"/>
                  <a:pt x="251" y="328"/>
                </a:cubicBezTo>
                <a:cubicBezTo>
                  <a:pt x="251" y="329"/>
                  <a:pt x="251" y="329"/>
                  <a:pt x="251" y="330"/>
                </a:cubicBezTo>
                <a:cubicBezTo>
                  <a:pt x="252" y="330"/>
                  <a:pt x="252" y="330"/>
                  <a:pt x="252" y="331"/>
                </a:cubicBezTo>
                <a:cubicBezTo>
                  <a:pt x="253" y="331"/>
                  <a:pt x="253" y="331"/>
                  <a:pt x="254" y="331"/>
                </a:cubicBezTo>
                <a:cubicBezTo>
                  <a:pt x="254" y="331"/>
                  <a:pt x="254" y="331"/>
                  <a:pt x="254" y="331"/>
                </a:cubicBezTo>
                <a:cubicBezTo>
                  <a:pt x="254" y="331"/>
                  <a:pt x="254" y="331"/>
                  <a:pt x="254" y="331"/>
                </a:cubicBezTo>
                <a:cubicBezTo>
                  <a:pt x="254" y="330"/>
                  <a:pt x="255" y="330"/>
                  <a:pt x="255" y="330"/>
                </a:cubicBezTo>
                <a:cubicBezTo>
                  <a:pt x="255" y="329"/>
                  <a:pt x="256" y="329"/>
                  <a:pt x="256" y="329"/>
                </a:cubicBezTo>
                <a:cubicBezTo>
                  <a:pt x="256" y="328"/>
                  <a:pt x="257" y="328"/>
                  <a:pt x="257" y="328"/>
                </a:cubicBezTo>
                <a:cubicBezTo>
                  <a:pt x="257" y="328"/>
                  <a:pt x="257" y="327"/>
                  <a:pt x="258" y="327"/>
                </a:cubicBezTo>
                <a:cubicBezTo>
                  <a:pt x="258" y="327"/>
                  <a:pt x="258" y="327"/>
                  <a:pt x="258" y="327"/>
                </a:cubicBezTo>
                <a:cubicBezTo>
                  <a:pt x="258" y="327"/>
                  <a:pt x="258" y="327"/>
                  <a:pt x="258" y="327"/>
                </a:cubicBezTo>
                <a:cubicBezTo>
                  <a:pt x="258" y="328"/>
                  <a:pt x="258" y="328"/>
                  <a:pt x="258" y="328"/>
                </a:cubicBezTo>
                <a:cubicBezTo>
                  <a:pt x="258" y="328"/>
                  <a:pt x="258" y="328"/>
                  <a:pt x="258" y="328"/>
                </a:cubicBezTo>
                <a:cubicBezTo>
                  <a:pt x="258" y="329"/>
                  <a:pt x="257" y="329"/>
                  <a:pt x="257" y="329"/>
                </a:cubicBezTo>
                <a:cubicBezTo>
                  <a:pt x="257" y="330"/>
                  <a:pt x="257" y="330"/>
                  <a:pt x="257" y="330"/>
                </a:cubicBezTo>
                <a:cubicBezTo>
                  <a:pt x="258" y="330"/>
                  <a:pt x="258" y="330"/>
                  <a:pt x="259" y="330"/>
                </a:cubicBezTo>
                <a:cubicBezTo>
                  <a:pt x="259" y="330"/>
                  <a:pt x="259" y="330"/>
                  <a:pt x="259" y="330"/>
                </a:cubicBezTo>
                <a:cubicBezTo>
                  <a:pt x="260" y="330"/>
                  <a:pt x="260" y="330"/>
                  <a:pt x="260" y="330"/>
                </a:cubicBezTo>
                <a:cubicBezTo>
                  <a:pt x="261" y="330"/>
                  <a:pt x="261" y="330"/>
                  <a:pt x="261" y="330"/>
                </a:cubicBezTo>
                <a:cubicBezTo>
                  <a:pt x="262" y="330"/>
                  <a:pt x="262" y="330"/>
                  <a:pt x="262" y="330"/>
                </a:cubicBezTo>
                <a:cubicBezTo>
                  <a:pt x="261" y="330"/>
                  <a:pt x="261" y="330"/>
                  <a:pt x="261" y="330"/>
                </a:cubicBezTo>
                <a:cubicBezTo>
                  <a:pt x="260" y="330"/>
                  <a:pt x="260" y="330"/>
                  <a:pt x="259" y="330"/>
                </a:cubicBezTo>
                <a:cubicBezTo>
                  <a:pt x="259" y="330"/>
                  <a:pt x="259" y="330"/>
                  <a:pt x="258" y="330"/>
                </a:cubicBezTo>
                <a:cubicBezTo>
                  <a:pt x="258" y="331"/>
                  <a:pt x="257" y="331"/>
                  <a:pt x="257" y="331"/>
                </a:cubicBezTo>
                <a:cubicBezTo>
                  <a:pt x="257" y="331"/>
                  <a:pt x="257" y="331"/>
                  <a:pt x="257" y="332"/>
                </a:cubicBezTo>
                <a:cubicBezTo>
                  <a:pt x="257" y="332"/>
                  <a:pt x="257" y="332"/>
                  <a:pt x="257" y="332"/>
                </a:cubicBezTo>
                <a:cubicBezTo>
                  <a:pt x="257" y="332"/>
                  <a:pt x="257" y="332"/>
                  <a:pt x="258" y="332"/>
                </a:cubicBezTo>
                <a:cubicBezTo>
                  <a:pt x="258" y="333"/>
                  <a:pt x="258" y="333"/>
                  <a:pt x="258" y="334"/>
                </a:cubicBezTo>
                <a:cubicBezTo>
                  <a:pt x="259" y="334"/>
                  <a:pt x="259" y="334"/>
                  <a:pt x="259" y="334"/>
                </a:cubicBezTo>
                <a:cubicBezTo>
                  <a:pt x="259" y="334"/>
                  <a:pt x="259" y="334"/>
                  <a:pt x="259" y="334"/>
                </a:cubicBezTo>
                <a:cubicBezTo>
                  <a:pt x="260" y="334"/>
                  <a:pt x="260" y="333"/>
                  <a:pt x="260" y="333"/>
                </a:cubicBezTo>
                <a:cubicBezTo>
                  <a:pt x="260" y="333"/>
                  <a:pt x="261" y="333"/>
                  <a:pt x="261" y="333"/>
                </a:cubicBezTo>
                <a:cubicBezTo>
                  <a:pt x="261" y="334"/>
                  <a:pt x="260" y="334"/>
                  <a:pt x="260" y="334"/>
                </a:cubicBezTo>
                <a:cubicBezTo>
                  <a:pt x="260" y="334"/>
                  <a:pt x="260" y="334"/>
                  <a:pt x="260" y="334"/>
                </a:cubicBezTo>
                <a:cubicBezTo>
                  <a:pt x="261" y="334"/>
                  <a:pt x="261" y="334"/>
                  <a:pt x="261" y="334"/>
                </a:cubicBezTo>
                <a:cubicBezTo>
                  <a:pt x="261" y="334"/>
                  <a:pt x="261" y="335"/>
                  <a:pt x="261" y="335"/>
                </a:cubicBezTo>
                <a:cubicBezTo>
                  <a:pt x="261" y="335"/>
                  <a:pt x="261" y="335"/>
                  <a:pt x="261" y="335"/>
                </a:cubicBezTo>
                <a:cubicBezTo>
                  <a:pt x="261" y="335"/>
                  <a:pt x="260" y="335"/>
                  <a:pt x="260" y="335"/>
                </a:cubicBezTo>
                <a:cubicBezTo>
                  <a:pt x="260" y="335"/>
                  <a:pt x="259" y="336"/>
                  <a:pt x="259" y="336"/>
                </a:cubicBezTo>
                <a:cubicBezTo>
                  <a:pt x="259" y="336"/>
                  <a:pt x="258" y="337"/>
                  <a:pt x="258" y="337"/>
                </a:cubicBezTo>
                <a:cubicBezTo>
                  <a:pt x="258" y="337"/>
                  <a:pt x="258" y="337"/>
                  <a:pt x="258" y="337"/>
                </a:cubicBezTo>
                <a:cubicBezTo>
                  <a:pt x="258" y="337"/>
                  <a:pt x="258" y="337"/>
                  <a:pt x="259" y="337"/>
                </a:cubicBezTo>
                <a:cubicBezTo>
                  <a:pt x="259" y="337"/>
                  <a:pt x="260" y="337"/>
                  <a:pt x="260" y="337"/>
                </a:cubicBezTo>
                <a:cubicBezTo>
                  <a:pt x="260" y="336"/>
                  <a:pt x="261" y="336"/>
                  <a:pt x="261" y="336"/>
                </a:cubicBezTo>
                <a:cubicBezTo>
                  <a:pt x="261" y="337"/>
                  <a:pt x="260" y="337"/>
                  <a:pt x="260" y="337"/>
                </a:cubicBezTo>
                <a:cubicBezTo>
                  <a:pt x="260" y="337"/>
                  <a:pt x="260" y="337"/>
                  <a:pt x="260" y="337"/>
                </a:cubicBezTo>
                <a:cubicBezTo>
                  <a:pt x="260" y="337"/>
                  <a:pt x="261" y="337"/>
                  <a:pt x="261" y="338"/>
                </a:cubicBezTo>
                <a:cubicBezTo>
                  <a:pt x="261" y="337"/>
                  <a:pt x="262" y="337"/>
                  <a:pt x="262" y="337"/>
                </a:cubicBezTo>
                <a:cubicBezTo>
                  <a:pt x="263" y="336"/>
                  <a:pt x="263" y="336"/>
                  <a:pt x="264" y="335"/>
                </a:cubicBezTo>
                <a:cubicBezTo>
                  <a:pt x="264" y="335"/>
                  <a:pt x="264" y="335"/>
                  <a:pt x="264" y="334"/>
                </a:cubicBezTo>
                <a:cubicBezTo>
                  <a:pt x="265" y="334"/>
                  <a:pt x="265" y="334"/>
                  <a:pt x="265" y="334"/>
                </a:cubicBezTo>
                <a:cubicBezTo>
                  <a:pt x="265" y="333"/>
                  <a:pt x="266" y="333"/>
                  <a:pt x="266" y="333"/>
                </a:cubicBezTo>
                <a:cubicBezTo>
                  <a:pt x="266" y="333"/>
                  <a:pt x="266" y="332"/>
                  <a:pt x="266" y="332"/>
                </a:cubicBezTo>
                <a:cubicBezTo>
                  <a:pt x="266" y="332"/>
                  <a:pt x="266" y="332"/>
                  <a:pt x="266" y="332"/>
                </a:cubicBezTo>
                <a:cubicBezTo>
                  <a:pt x="266" y="332"/>
                  <a:pt x="267" y="332"/>
                  <a:pt x="267" y="332"/>
                </a:cubicBezTo>
                <a:cubicBezTo>
                  <a:pt x="267" y="333"/>
                  <a:pt x="266" y="333"/>
                  <a:pt x="266" y="333"/>
                </a:cubicBezTo>
                <a:cubicBezTo>
                  <a:pt x="266" y="334"/>
                  <a:pt x="266" y="334"/>
                  <a:pt x="265" y="334"/>
                </a:cubicBezTo>
                <a:cubicBezTo>
                  <a:pt x="265" y="335"/>
                  <a:pt x="265" y="335"/>
                  <a:pt x="264" y="335"/>
                </a:cubicBezTo>
                <a:cubicBezTo>
                  <a:pt x="264" y="335"/>
                  <a:pt x="264" y="335"/>
                  <a:pt x="264" y="336"/>
                </a:cubicBezTo>
                <a:cubicBezTo>
                  <a:pt x="265" y="336"/>
                  <a:pt x="265" y="336"/>
                  <a:pt x="265" y="336"/>
                </a:cubicBezTo>
                <a:cubicBezTo>
                  <a:pt x="265" y="336"/>
                  <a:pt x="265" y="335"/>
                  <a:pt x="266" y="335"/>
                </a:cubicBezTo>
                <a:cubicBezTo>
                  <a:pt x="266" y="335"/>
                  <a:pt x="266" y="335"/>
                  <a:pt x="267" y="335"/>
                </a:cubicBezTo>
                <a:cubicBezTo>
                  <a:pt x="267" y="335"/>
                  <a:pt x="268" y="335"/>
                  <a:pt x="268" y="335"/>
                </a:cubicBezTo>
                <a:cubicBezTo>
                  <a:pt x="268" y="335"/>
                  <a:pt x="267" y="335"/>
                  <a:pt x="267" y="335"/>
                </a:cubicBezTo>
                <a:cubicBezTo>
                  <a:pt x="266" y="335"/>
                  <a:pt x="266" y="336"/>
                  <a:pt x="266" y="336"/>
                </a:cubicBezTo>
                <a:cubicBezTo>
                  <a:pt x="266" y="336"/>
                  <a:pt x="266" y="336"/>
                  <a:pt x="266" y="337"/>
                </a:cubicBezTo>
                <a:cubicBezTo>
                  <a:pt x="266" y="337"/>
                  <a:pt x="267" y="337"/>
                  <a:pt x="267" y="337"/>
                </a:cubicBezTo>
                <a:cubicBezTo>
                  <a:pt x="267" y="338"/>
                  <a:pt x="267" y="338"/>
                  <a:pt x="267" y="338"/>
                </a:cubicBezTo>
                <a:cubicBezTo>
                  <a:pt x="266" y="338"/>
                  <a:pt x="266" y="338"/>
                  <a:pt x="266" y="337"/>
                </a:cubicBezTo>
                <a:cubicBezTo>
                  <a:pt x="266" y="337"/>
                  <a:pt x="266" y="337"/>
                  <a:pt x="265" y="337"/>
                </a:cubicBezTo>
                <a:cubicBezTo>
                  <a:pt x="265" y="336"/>
                  <a:pt x="265" y="336"/>
                  <a:pt x="265" y="336"/>
                </a:cubicBezTo>
                <a:cubicBezTo>
                  <a:pt x="265" y="336"/>
                  <a:pt x="264" y="337"/>
                  <a:pt x="264" y="337"/>
                </a:cubicBezTo>
                <a:cubicBezTo>
                  <a:pt x="264" y="338"/>
                  <a:pt x="263" y="338"/>
                  <a:pt x="262" y="339"/>
                </a:cubicBezTo>
                <a:cubicBezTo>
                  <a:pt x="262" y="339"/>
                  <a:pt x="262" y="339"/>
                  <a:pt x="262" y="340"/>
                </a:cubicBezTo>
                <a:cubicBezTo>
                  <a:pt x="261" y="340"/>
                  <a:pt x="261" y="340"/>
                  <a:pt x="261" y="341"/>
                </a:cubicBezTo>
                <a:cubicBezTo>
                  <a:pt x="261" y="341"/>
                  <a:pt x="261" y="341"/>
                  <a:pt x="261" y="341"/>
                </a:cubicBezTo>
                <a:cubicBezTo>
                  <a:pt x="261" y="341"/>
                  <a:pt x="261" y="342"/>
                  <a:pt x="261" y="342"/>
                </a:cubicBezTo>
                <a:cubicBezTo>
                  <a:pt x="261" y="342"/>
                  <a:pt x="261" y="342"/>
                  <a:pt x="261" y="342"/>
                </a:cubicBezTo>
                <a:cubicBezTo>
                  <a:pt x="261" y="342"/>
                  <a:pt x="261" y="342"/>
                  <a:pt x="261" y="342"/>
                </a:cubicBezTo>
                <a:cubicBezTo>
                  <a:pt x="262" y="342"/>
                  <a:pt x="262" y="342"/>
                  <a:pt x="262" y="342"/>
                </a:cubicBezTo>
                <a:cubicBezTo>
                  <a:pt x="262" y="341"/>
                  <a:pt x="263" y="341"/>
                  <a:pt x="263" y="341"/>
                </a:cubicBezTo>
                <a:cubicBezTo>
                  <a:pt x="263" y="341"/>
                  <a:pt x="263" y="341"/>
                  <a:pt x="263" y="340"/>
                </a:cubicBezTo>
                <a:cubicBezTo>
                  <a:pt x="263" y="340"/>
                  <a:pt x="264" y="340"/>
                  <a:pt x="264" y="340"/>
                </a:cubicBezTo>
                <a:cubicBezTo>
                  <a:pt x="264" y="340"/>
                  <a:pt x="264" y="340"/>
                  <a:pt x="264" y="340"/>
                </a:cubicBezTo>
                <a:cubicBezTo>
                  <a:pt x="265" y="340"/>
                  <a:pt x="265" y="340"/>
                  <a:pt x="266" y="340"/>
                </a:cubicBezTo>
                <a:cubicBezTo>
                  <a:pt x="266" y="340"/>
                  <a:pt x="266" y="340"/>
                  <a:pt x="266" y="340"/>
                </a:cubicBezTo>
                <a:cubicBezTo>
                  <a:pt x="265" y="340"/>
                  <a:pt x="265" y="340"/>
                  <a:pt x="265" y="340"/>
                </a:cubicBezTo>
                <a:cubicBezTo>
                  <a:pt x="264" y="341"/>
                  <a:pt x="264" y="341"/>
                  <a:pt x="264" y="341"/>
                </a:cubicBezTo>
                <a:cubicBezTo>
                  <a:pt x="263" y="341"/>
                  <a:pt x="263" y="341"/>
                  <a:pt x="263" y="342"/>
                </a:cubicBezTo>
                <a:cubicBezTo>
                  <a:pt x="263" y="342"/>
                  <a:pt x="263" y="342"/>
                  <a:pt x="263" y="342"/>
                </a:cubicBezTo>
                <a:cubicBezTo>
                  <a:pt x="263" y="342"/>
                  <a:pt x="263" y="342"/>
                  <a:pt x="264" y="342"/>
                </a:cubicBezTo>
                <a:cubicBezTo>
                  <a:pt x="263" y="342"/>
                  <a:pt x="263" y="342"/>
                  <a:pt x="263" y="342"/>
                </a:cubicBezTo>
                <a:cubicBezTo>
                  <a:pt x="263" y="342"/>
                  <a:pt x="263" y="343"/>
                  <a:pt x="262" y="343"/>
                </a:cubicBezTo>
                <a:cubicBezTo>
                  <a:pt x="262" y="343"/>
                  <a:pt x="261" y="343"/>
                  <a:pt x="261" y="343"/>
                </a:cubicBezTo>
                <a:cubicBezTo>
                  <a:pt x="261" y="343"/>
                  <a:pt x="261" y="344"/>
                  <a:pt x="261" y="344"/>
                </a:cubicBezTo>
                <a:cubicBezTo>
                  <a:pt x="261" y="343"/>
                  <a:pt x="262" y="343"/>
                  <a:pt x="262" y="343"/>
                </a:cubicBezTo>
                <a:cubicBezTo>
                  <a:pt x="262" y="343"/>
                  <a:pt x="263" y="343"/>
                  <a:pt x="263" y="343"/>
                </a:cubicBezTo>
                <a:cubicBezTo>
                  <a:pt x="263" y="343"/>
                  <a:pt x="264" y="343"/>
                  <a:pt x="264" y="343"/>
                </a:cubicBezTo>
                <a:cubicBezTo>
                  <a:pt x="264" y="343"/>
                  <a:pt x="264" y="343"/>
                  <a:pt x="264" y="343"/>
                </a:cubicBezTo>
                <a:cubicBezTo>
                  <a:pt x="263" y="343"/>
                  <a:pt x="263" y="344"/>
                  <a:pt x="263" y="344"/>
                </a:cubicBezTo>
                <a:cubicBezTo>
                  <a:pt x="262" y="344"/>
                  <a:pt x="262" y="344"/>
                  <a:pt x="262" y="344"/>
                </a:cubicBezTo>
                <a:cubicBezTo>
                  <a:pt x="261" y="344"/>
                  <a:pt x="261" y="344"/>
                  <a:pt x="261" y="344"/>
                </a:cubicBezTo>
                <a:cubicBezTo>
                  <a:pt x="261" y="344"/>
                  <a:pt x="261" y="345"/>
                  <a:pt x="261" y="345"/>
                </a:cubicBezTo>
                <a:cubicBezTo>
                  <a:pt x="261" y="345"/>
                  <a:pt x="261" y="345"/>
                  <a:pt x="262" y="345"/>
                </a:cubicBezTo>
                <a:cubicBezTo>
                  <a:pt x="262" y="345"/>
                  <a:pt x="262" y="345"/>
                  <a:pt x="262" y="345"/>
                </a:cubicBezTo>
                <a:cubicBezTo>
                  <a:pt x="263" y="344"/>
                  <a:pt x="263" y="344"/>
                  <a:pt x="263" y="344"/>
                </a:cubicBezTo>
                <a:cubicBezTo>
                  <a:pt x="264" y="344"/>
                  <a:pt x="264" y="344"/>
                  <a:pt x="264" y="344"/>
                </a:cubicBezTo>
                <a:cubicBezTo>
                  <a:pt x="265" y="344"/>
                  <a:pt x="265" y="344"/>
                  <a:pt x="265" y="344"/>
                </a:cubicBezTo>
                <a:cubicBezTo>
                  <a:pt x="265" y="344"/>
                  <a:pt x="265" y="344"/>
                  <a:pt x="265" y="344"/>
                </a:cubicBezTo>
                <a:cubicBezTo>
                  <a:pt x="265" y="344"/>
                  <a:pt x="265" y="344"/>
                  <a:pt x="264" y="344"/>
                </a:cubicBezTo>
                <a:cubicBezTo>
                  <a:pt x="264" y="344"/>
                  <a:pt x="264" y="345"/>
                  <a:pt x="263" y="345"/>
                </a:cubicBezTo>
                <a:cubicBezTo>
                  <a:pt x="263" y="345"/>
                  <a:pt x="263" y="345"/>
                  <a:pt x="263" y="345"/>
                </a:cubicBezTo>
                <a:cubicBezTo>
                  <a:pt x="263" y="345"/>
                  <a:pt x="264" y="345"/>
                  <a:pt x="264" y="345"/>
                </a:cubicBezTo>
                <a:cubicBezTo>
                  <a:pt x="264" y="345"/>
                  <a:pt x="265" y="345"/>
                  <a:pt x="265" y="344"/>
                </a:cubicBezTo>
                <a:cubicBezTo>
                  <a:pt x="265" y="344"/>
                  <a:pt x="266" y="344"/>
                  <a:pt x="266" y="344"/>
                </a:cubicBezTo>
                <a:cubicBezTo>
                  <a:pt x="266" y="344"/>
                  <a:pt x="266" y="344"/>
                  <a:pt x="266" y="345"/>
                </a:cubicBezTo>
                <a:cubicBezTo>
                  <a:pt x="265" y="345"/>
                  <a:pt x="265" y="345"/>
                  <a:pt x="265" y="345"/>
                </a:cubicBezTo>
                <a:cubicBezTo>
                  <a:pt x="264" y="345"/>
                  <a:pt x="264" y="345"/>
                  <a:pt x="263" y="345"/>
                </a:cubicBezTo>
                <a:cubicBezTo>
                  <a:pt x="263" y="345"/>
                  <a:pt x="263" y="345"/>
                  <a:pt x="263" y="345"/>
                </a:cubicBezTo>
                <a:cubicBezTo>
                  <a:pt x="262" y="345"/>
                  <a:pt x="262" y="346"/>
                  <a:pt x="262" y="346"/>
                </a:cubicBezTo>
                <a:cubicBezTo>
                  <a:pt x="263" y="346"/>
                  <a:pt x="263" y="346"/>
                  <a:pt x="263" y="346"/>
                </a:cubicBezTo>
                <a:cubicBezTo>
                  <a:pt x="264" y="346"/>
                  <a:pt x="264" y="346"/>
                  <a:pt x="265" y="346"/>
                </a:cubicBezTo>
                <a:cubicBezTo>
                  <a:pt x="265" y="346"/>
                  <a:pt x="264" y="346"/>
                  <a:pt x="264" y="346"/>
                </a:cubicBezTo>
                <a:cubicBezTo>
                  <a:pt x="265" y="346"/>
                  <a:pt x="265" y="345"/>
                  <a:pt x="265" y="345"/>
                </a:cubicBezTo>
                <a:cubicBezTo>
                  <a:pt x="266" y="345"/>
                  <a:pt x="266" y="345"/>
                  <a:pt x="266" y="345"/>
                </a:cubicBezTo>
                <a:cubicBezTo>
                  <a:pt x="267" y="345"/>
                  <a:pt x="267" y="345"/>
                  <a:pt x="267" y="345"/>
                </a:cubicBezTo>
                <a:cubicBezTo>
                  <a:pt x="268" y="345"/>
                  <a:pt x="268" y="345"/>
                  <a:pt x="268" y="345"/>
                </a:cubicBezTo>
                <a:cubicBezTo>
                  <a:pt x="268" y="345"/>
                  <a:pt x="267" y="345"/>
                  <a:pt x="267" y="345"/>
                </a:cubicBezTo>
                <a:cubicBezTo>
                  <a:pt x="267" y="345"/>
                  <a:pt x="267" y="345"/>
                  <a:pt x="267" y="345"/>
                </a:cubicBezTo>
                <a:cubicBezTo>
                  <a:pt x="268" y="345"/>
                  <a:pt x="268" y="345"/>
                  <a:pt x="268" y="345"/>
                </a:cubicBezTo>
                <a:cubicBezTo>
                  <a:pt x="268" y="345"/>
                  <a:pt x="269" y="345"/>
                  <a:pt x="269" y="346"/>
                </a:cubicBezTo>
                <a:cubicBezTo>
                  <a:pt x="269" y="345"/>
                  <a:pt x="270" y="345"/>
                  <a:pt x="270" y="345"/>
                </a:cubicBezTo>
                <a:cubicBezTo>
                  <a:pt x="271" y="345"/>
                  <a:pt x="271" y="345"/>
                  <a:pt x="271" y="345"/>
                </a:cubicBezTo>
                <a:cubicBezTo>
                  <a:pt x="271" y="345"/>
                  <a:pt x="271" y="344"/>
                  <a:pt x="271" y="344"/>
                </a:cubicBezTo>
                <a:cubicBezTo>
                  <a:pt x="271" y="344"/>
                  <a:pt x="272" y="343"/>
                  <a:pt x="272" y="343"/>
                </a:cubicBezTo>
                <a:cubicBezTo>
                  <a:pt x="272" y="343"/>
                  <a:pt x="272" y="343"/>
                  <a:pt x="272" y="342"/>
                </a:cubicBezTo>
                <a:cubicBezTo>
                  <a:pt x="272" y="343"/>
                  <a:pt x="272" y="343"/>
                  <a:pt x="272" y="343"/>
                </a:cubicBezTo>
                <a:cubicBezTo>
                  <a:pt x="272" y="343"/>
                  <a:pt x="272" y="344"/>
                  <a:pt x="272" y="344"/>
                </a:cubicBezTo>
                <a:cubicBezTo>
                  <a:pt x="272" y="344"/>
                  <a:pt x="271" y="345"/>
                  <a:pt x="271" y="345"/>
                </a:cubicBezTo>
                <a:cubicBezTo>
                  <a:pt x="270" y="345"/>
                  <a:pt x="270" y="346"/>
                  <a:pt x="270" y="346"/>
                </a:cubicBezTo>
                <a:cubicBezTo>
                  <a:pt x="269" y="346"/>
                  <a:pt x="269" y="346"/>
                  <a:pt x="269" y="346"/>
                </a:cubicBezTo>
                <a:cubicBezTo>
                  <a:pt x="269" y="346"/>
                  <a:pt x="268" y="347"/>
                  <a:pt x="268" y="347"/>
                </a:cubicBezTo>
                <a:cubicBezTo>
                  <a:pt x="268" y="347"/>
                  <a:pt x="268" y="347"/>
                  <a:pt x="268" y="347"/>
                </a:cubicBezTo>
                <a:cubicBezTo>
                  <a:pt x="269" y="347"/>
                  <a:pt x="269" y="347"/>
                  <a:pt x="269" y="347"/>
                </a:cubicBezTo>
                <a:cubicBezTo>
                  <a:pt x="269" y="347"/>
                  <a:pt x="270" y="347"/>
                  <a:pt x="270" y="347"/>
                </a:cubicBezTo>
                <a:cubicBezTo>
                  <a:pt x="270" y="347"/>
                  <a:pt x="270" y="347"/>
                  <a:pt x="270" y="346"/>
                </a:cubicBezTo>
                <a:cubicBezTo>
                  <a:pt x="270" y="347"/>
                  <a:pt x="271" y="347"/>
                  <a:pt x="271" y="347"/>
                </a:cubicBezTo>
                <a:cubicBezTo>
                  <a:pt x="271" y="347"/>
                  <a:pt x="271" y="347"/>
                  <a:pt x="271" y="347"/>
                </a:cubicBezTo>
                <a:cubicBezTo>
                  <a:pt x="271" y="346"/>
                  <a:pt x="271" y="346"/>
                  <a:pt x="271" y="346"/>
                </a:cubicBezTo>
                <a:cubicBezTo>
                  <a:pt x="271" y="346"/>
                  <a:pt x="272" y="346"/>
                  <a:pt x="272" y="345"/>
                </a:cubicBezTo>
                <a:cubicBezTo>
                  <a:pt x="272" y="345"/>
                  <a:pt x="272" y="345"/>
                  <a:pt x="272" y="346"/>
                </a:cubicBezTo>
                <a:cubicBezTo>
                  <a:pt x="272" y="346"/>
                  <a:pt x="272" y="346"/>
                  <a:pt x="272" y="346"/>
                </a:cubicBezTo>
                <a:cubicBezTo>
                  <a:pt x="272" y="346"/>
                  <a:pt x="272" y="346"/>
                  <a:pt x="272" y="346"/>
                </a:cubicBezTo>
                <a:cubicBezTo>
                  <a:pt x="272" y="346"/>
                  <a:pt x="272" y="346"/>
                  <a:pt x="273" y="346"/>
                </a:cubicBezTo>
                <a:cubicBezTo>
                  <a:pt x="273" y="346"/>
                  <a:pt x="273" y="346"/>
                  <a:pt x="273" y="346"/>
                </a:cubicBezTo>
                <a:cubicBezTo>
                  <a:pt x="274" y="346"/>
                  <a:pt x="274" y="346"/>
                  <a:pt x="274" y="346"/>
                </a:cubicBezTo>
                <a:cubicBezTo>
                  <a:pt x="274" y="346"/>
                  <a:pt x="274" y="345"/>
                  <a:pt x="275" y="345"/>
                </a:cubicBezTo>
                <a:cubicBezTo>
                  <a:pt x="275" y="344"/>
                  <a:pt x="274" y="344"/>
                  <a:pt x="274" y="343"/>
                </a:cubicBezTo>
                <a:cubicBezTo>
                  <a:pt x="274" y="343"/>
                  <a:pt x="274" y="343"/>
                  <a:pt x="275" y="343"/>
                </a:cubicBezTo>
                <a:cubicBezTo>
                  <a:pt x="275" y="342"/>
                  <a:pt x="275" y="342"/>
                  <a:pt x="275" y="342"/>
                </a:cubicBezTo>
                <a:cubicBezTo>
                  <a:pt x="275" y="342"/>
                  <a:pt x="275" y="342"/>
                  <a:pt x="275" y="343"/>
                </a:cubicBezTo>
                <a:cubicBezTo>
                  <a:pt x="275" y="343"/>
                  <a:pt x="275" y="343"/>
                  <a:pt x="275" y="343"/>
                </a:cubicBezTo>
                <a:cubicBezTo>
                  <a:pt x="275" y="343"/>
                  <a:pt x="275" y="344"/>
                  <a:pt x="275" y="344"/>
                </a:cubicBezTo>
                <a:cubicBezTo>
                  <a:pt x="275" y="345"/>
                  <a:pt x="275" y="345"/>
                  <a:pt x="275" y="345"/>
                </a:cubicBezTo>
                <a:cubicBezTo>
                  <a:pt x="275" y="346"/>
                  <a:pt x="275" y="346"/>
                  <a:pt x="274" y="346"/>
                </a:cubicBezTo>
                <a:cubicBezTo>
                  <a:pt x="274" y="346"/>
                  <a:pt x="275" y="346"/>
                  <a:pt x="275" y="346"/>
                </a:cubicBezTo>
                <a:cubicBezTo>
                  <a:pt x="275" y="346"/>
                  <a:pt x="275" y="346"/>
                  <a:pt x="276" y="346"/>
                </a:cubicBezTo>
                <a:cubicBezTo>
                  <a:pt x="276" y="346"/>
                  <a:pt x="276" y="346"/>
                  <a:pt x="277" y="345"/>
                </a:cubicBezTo>
                <a:cubicBezTo>
                  <a:pt x="277" y="345"/>
                  <a:pt x="277" y="345"/>
                  <a:pt x="277" y="345"/>
                </a:cubicBezTo>
                <a:cubicBezTo>
                  <a:pt x="277" y="346"/>
                  <a:pt x="277" y="346"/>
                  <a:pt x="277" y="346"/>
                </a:cubicBezTo>
                <a:cubicBezTo>
                  <a:pt x="277" y="346"/>
                  <a:pt x="276" y="347"/>
                  <a:pt x="276" y="347"/>
                </a:cubicBezTo>
                <a:cubicBezTo>
                  <a:pt x="276" y="348"/>
                  <a:pt x="276" y="348"/>
                  <a:pt x="275" y="348"/>
                </a:cubicBezTo>
                <a:cubicBezTo>
                  <a:pt x="275" y="348"/>
                  <a:pt x="275" y="348"/>
                  <a:pt x="275" y="349"/>
                </a:cubicBezTo>
                <a:cubicBezTo>
                  <a:pt x="276" y="349"/>
                  <a:pt x="276" y="349"/>
                  <a:pt x="277" y="349"/>
                </a:cubicBezTo>
                <a:cubicBezTo>
                  <a:pt x="277" y="349"/>
                  <a:pt x="277" y="349"/>
                  <a:pt x="278" y="349"/>
                </a:cubicBezTo>
                <a:cubicBezTo>
                  <a:pt x="278" y="349"/>
                  <a:pt x="278" y="349"/>
                  <a:pt x="278" y="349"/>
                </a:cubicBezTo>
                <a:cubicBezTo>
                  <a:pt x="279" y="348"/>
                  <a:pt x="279" y="348"/>
                  <a:pt x="279" y="348"/>
                </a:cubicBezTo>
                <a:cubicBezTo>
                  <a:pt x="279" y="348"/>
                  <a:pt x="279" y="349"/>
                  <a:pt x="280" y="349"/>
                </a:cubicBezTo>
                <a:cubicBezTo>
                  <a:pt x="280" y="349"/>
                  <a:pt x="280" y="349"/>
                  <a:pt x="280" y="349"/>
                </a:cubicBezTo>
                <a:cubicBezTo>
                  <a:pt x="280" y="349"/>
                  <a:pt x="280" y="349"/>
                  <a:pt x="280" y="350"/>
                </a:cubicBezTo>
                <a:cubicBezTo>
                  <a:pt x="280" y="350"/>
                  <a:pt x="280" y="350"/>
                  <a:pt x="280" y="350"/>
                </a:cubicBezTo>
                <a:cubicBezTo>
                  <a:pt x="280" y="350"/>
                  <a:pt x="279" y="349"/>
                  <a:pt x="279" y="349"/>
                </a:cubicBezTo>
                <a:cubicBezTo>
                  <a:pt x="279" y="349"/>
                  <a:pt x="279" y="349"/>
                  <a:pt x="279" y="349"/>
                </a:cubicBezTo>
                <a:cubicBezTo>
                  <a:pt x="279" y="350"/>
                  <a:pt x="279" y="350"/>
                  <a:pt x="279" y="350"/>
                </a:cubicBezTo>
                <a:cubicBezTo>
                  <a:pt x="279" y="350"/>
                  <a:pt x="280" y="350"/>
                  <a:pt x="280" y="351"/>
                </a:cubicBezTo>
                <a:cubicBezTo>
                  <a:pt x="281" y="350"/>
                  <a:pt x="281" y="350"/>
                  <a:pt x="281" y="350"/>
                </a:cubicBezTo>
                <a:cubicBezTo>
                  <a:pt x="282" y="349"/>
                  <a:pt x="282" y="349"/>
                  <a:pt x="282" y="349"/>
                </a:cubicBezTo>
                <a:cubicBezTo>
                  <a:pt x="283" y="349"/>
                  <a:pt x="283" y="349"/>
                  <a:pt x="283" y="348"/>
                </a:cubicBezTo>
                <a:cubicBezTo>
                  <a:pt x="283" y="349"/>
                  <a:pt x="283" y="349"/>
                  <a:pt x="283" y="349"/>
                </a:cubicBezTo>
                <a:cubicBezTo>
                  <a:pt x="283" y="350"/>
                  <a:pt x="283" y="350"/>
                  <a:pt x="283" y="351"/>
                </a:cubicBezTo>
                <a:cubicBezTo>
                  <a:pt x="283" y="351"/>
                  <a:pt x="283" y="352"/>
                  <a:pt x="283" y="352"/>
                </a:cubicBezTo>
                <a:cubicBezTo>
                  <a:pt x="284" y="352"/>
                  <a:pt x="284" y="352"/>
                  <a:pt x="284" y="352"/>
                </a:cubicBezTo>
                <a:cubicBezTo>
                  <a:pt x="284" y="352"/>
                  <a:pt x="284" y="352"/>
                  <a:pt x="284" y="352"/>
                </a:cubicBezTo>
                <a:cubicBezTo>
                  <a:pt x="284" y="352"/>
                  <a:pt x="285" y="353"/>
                  <a:pt x="285" y="353"/>
                </a:cubicBezTo>
                <a:cubicBezTo>
                  <a:pt x="286" y="353"/>
                  <a:pt x="286" y="353"/>
                  <a:pt x="286" y="353"/>
                </a:cubicBezTo>
                <a:cubicBezTo>
                  <a:pt x="286" y="353"/>
                  <a:pt x="287" y="353"/>
                  <a:pt x="287" y="354"/>
                </a:cubicBezTo>
                <a:cubicBezTo>
                  <a:pt x="286" y="354"/>
                  <a:pt x="286" y="354"/>
                  <a:pt x="286" y="354"/>
                </a:cubicBezTo>
                <a:cubicBezTo>
                  <a:pt x="286" y="355"/>
                  <a:pt x="286" y="355"/>
                  <a:pt x="286" y="355"/>
                </a:cubicBezTo>
                <a:cubicBezTo>
                  <a:pt x="286" y="355"/>
                  <a:pt x="287" y="355"/>
                  <a:pt x="287" y="355"/>
                </a:cubicBezTo>
                <a:cubicBezTo>
                  <a:pt x="287" y="355"/>
                  <a:pt x="287" y="355"/>
                  <a:pt x="287" y="355"/>
                </a:cubicBezTo>
                <a:cubicBezTo>
                  <a:pt x="287" y="356"/>
                  <a:pt x="287" y="356"/>
                  <a:pt x="286" y="356"/>
                </a:cubicBezTo>
                <a:cubicBezTo>
                  <a:pt x="287" y="356"/>
                  <a:pt x="287" y="356"/>
                  <a:pt x="287" y="356"/>
                </a:cubicBezTo>
                <a:cubicBezTo>
                  <a:pt x="287" y="356"/>
                  <a:pt x="287" y="356"/>
                  <a:pt x="287" y="357"/>
                </a:cubicBezTo>
                <a:cubicBezTo>
                  <a:pt x="287" y="357"/>
                  <a:pt x="288" y="357"/>
                  <a:pt x="288" y="357"/>
                </a:cubicBezTo>
                <a:cubicBezTo>
                  <a:pt x="288" y="357"/>
                  <a:pt x="287" y="358"/>
                  <a:pt x="287" y="358"/>
                </a:cubicBezTo>
                <a:cubicBezTo>
                  <a:pt x="287" y="358"/>
                  <a:pt x="287" y="358"/>
                  <a:pt x="287" y="359"/>
                </a:cubicBezTo>
                <a:cubicBezTo>
                  <a:pt x="287" y="359"/>
                  <a:pt x="287" y="359"/>
                  <a:pt x="287" y="360"/>
                </a:cubicBezTo>
                <a:cubicBezTo>
                  <a:pt x="286" y="360"/>
                  <a:pt x="286" y="360"/>
                  <a:pt x="286" y="360"/>
                </a:cubicBezTo>
                <a:cubicBezTo>
                  <a:pt x="286" y="360"/>
                  <a:pt x="286" y="361"/>
                  <a:pt x="286" y="361"/>
                </a:cubicBezTo>
                <a:cubicBezTo>
                  <a:pt x="286" y="361"/>
                  <a:pt x="286" y="361"/>
                  <a:pt x="286" y="362"/>
                </a:cubicBezTo>
                <a:cubicBezTo>
                  <a:pt x="286" y="362"/>
                  <a:pt x="286" y="362"/>
                  <a:pt x="286" y="362"/>
                </a:cubicBezTo>
                <a:cubicBezTo>
                  <a:pt x="286" y="363"/>
                  <a:pt x="285" y="363"/>
                  <a:pt x="285" y="363"/>
                </a:cubicBezTo>
                <a:cubicBezTo>
                  <a:pt x="285" y="363"/>
                  <a:pt x="284" y="363"/>
                  <a:pt x="284" y="363"/>
                </a:cubicBezTo>
                <a:cubicBezTo>
                  <a:pt x="284" y="363"/>
                  <a:pt x="284" y="363"/>
                  <a:pt x="284" y="363"/>
                </a:cubicBezTo>
                <a:cubicBezTo>
                  <a:pt x="284" y="363"/>
                  <a:pt x="284" y="362"/>
                  <a:pt x="284" y="362"/>
                </a:cubicBezTo>
                <a:cubicBezTo>
                  <a:pt x="284" y="362"/>
                  <a:pt x="284" y="362"/>
                  <a:pt x="284" y="362"/>
                </a:cubicBezTo>
                <a:cubicBezTo>
                  <a:pt x="285" y="362"/>
                  <a:pt x="285" y="362"/>
                  <a:pt x="285" y="362"/>
                </a:cubicBezTo>
                <a:cubicBezTo>
                  <a:pt x="285" y="362"/>
                  <a:pt x="285" y="362"/>
                  <a:pt x="285" y="362"/>
                </a:cubicBezTo>
                <a:cubicBezTo>
                  <a:pt x="285" y="362"/>
                  <a:pt x="285" y="362"/>
                  <a:pt x="286" y="362"/>
                </a:cubicBezTo>
                <a:cubicBezTo>
                  <a:pt x="285" y="361"/>
                  <a:pt x="285" y="361"/>
                  <a:pt x="285" y="361"/>
                </a:cubicBezTo>
                <a:cubicBezTo>
                  <a:pt x="285" y="361"/>
                  <a:pt x="285" y="360"/>
                  <a:pt x="285" y="360"/>
                </a:cubicBezTo>
                <a:cubicBezTo>
                  <a:pt x="286" y="360"/>
                  <a:pt x="286" y="359"/>
                  <a:pt x="286" y="359"/>
                </a:cubicBezTo>
                <a:cubicBezTo>
                  <a:pt x="286" y="359"/>
                  <a:pt x="286" y="359"/>
                  <a:pt x="286" y="359"/>
                </a:cubicBezTo>
                <a:cubicBezTo>
                  <a:pt x="286" y="359"/>
                  <a:pt x="285" y="359"/>
                  <a:pt x="285" y="359"/>
                </a:cubicBezTo>
                <a:cubicBezTo>
                  <a:pt x="285" y="359"/>
                  <a:pt x="285" y="360"/>
                  <a:pt x="284" y="360"/>
                </a:cubicBezTo>
                <a:cubicBezTo>
                  <a:pt x="284" y="360"/>
                  <a:pt x="284" y="360"/>
                  <a:pt x="284" y="360"/>
                </a:cubicBezTo>
                <a:cubicBezTo>
                  <a:pt x="284" y="361"/>
                  <a:pt x="284" y="361"/>
                  <a:pt x="283" y="361"/>
                </a:cubicBezTo>
                <a:cubicBezTo>
                  <a:pt x="283" y="361"/>
                  <a:pt x="283" y="361"/>
                  <a:pt x="283" y="360"/>
                </a:cubicBezTo>
                <a:cubicBezTo>
                  <a:pt x="283" y="360"/>
                  <a:pt x="284" y="360"/>
                  <a:pt x="284" y="359"/>
                </a:cubicBezTo>
                <a:cubicBezTo>
                  <a:pt x="284" y="359"/>
                  <a:pt x="285" y="359"/>
                  <a:pt x="285" y="359"/>
                </a:cubicBezTo>
                <a:cubicBezTo>
                  <a:pt x="285" y="359"/>
                  <a:pt x="285" y="358"/>
                  <a:pt x="285" y="358"/>
                </a:cubicBezTo>
                <a:cubicBezTo>
                  <a:pt x="285" y="358"/>
                  <a:pt x="285" y="358"/>
                  <a:pt x="285" y="358"/>
                </a:cubicBezTo>
                <a:cubicBezTo>
                  <a:pt x="284" y="358"/>
                  <a:pt x="284" y="358"/>
                  <a:pt x="284" y="358"/>
                </a:cubicBezTo>
                <a:cubicBezTo>
                  <a:pt x="284" y="358"/>
                  <a:pt x="284" y="358"/>
                  <a:pt x="284" y="358"/>
                </a:cubicBezTo>
                <a:cubicBezTo>
                  <a:pt x="283" y="358"/>
                  <a:pt x="283" y="358"/>
                  <a:pt x="283" y="358"/>
                </a:cubicBezTo>
                <a:cubicBezTo>
                  <a:pt x="283" y="358"/>
                  <a:pt x="282" y="358"/>
                  <a:pt x="282" y="358"/>
                </a:cubicBezTo>
                <a:cubicBezTo>
                  <a:pt x="281" y="358"/>
                  <a:pt x="280" y="359"/>
                  <a:pt x="280" y="359"/>
                </a:cubicBezTo>
                <a:cubicBezTo>
                  <a:pt x="279" y="359"/>
                  <a:pt x="279" y="359"/>
                  <a:pt x="278" y="359"/>
                </a:cubicBezTo>
                <a:cubicBezTo>
                  <a:pt x="277" y="359"/>
                  <a:pt x="276" y="358"/>
                  <a:pt x="275" y="358"/>
                </a:cubicBezTo>
                <a:cubicBezTo>
                  <a:pt x="275" y="358"/>
                  <a:pt x="275" y="358"/>
                  <a:pt x="275" y="358"/>
                </a:cubicBezTo>
                <a:cubicBezTo>
                  <a:pt x="275" y="359"/>
                  <a:pt x="275" y="359"/>
                  <a:pt x="275" y="359"/>
                </a:cubicBezTo>
                <a:cubicBezTo>
                  <a:pt x="275" y="360"/>
                  <a:pt x="275" y="360"/>
                  <a:pt x="275" y="361"/>
                </a:cubicBezTo>
                <a:cubicBezTo>
                  <a:pt x="275" y="361"/>
                  <a:pt x="275" y="361"/>
                  <a:pt x="275" y="361"/>
                </a:cubicBezTo>
                <a:cubicBezTo>
                  <a:pt x="275" y="362"/>
                  <a:pt x="276" y="362"/>
                  <a:pt x="276" y="362"/>
                </a:cubicBezTo>
                <a:cubicBezTo>
                  <a:pt x="276" y="363"/>
                  <a:pt x="276" y="364"/>
                  <a:pt x="276" y="364"/>
                </a:cubicBezTo>
                <a:cubicBezTo>
                  <a:pt x="276" y="365"/>
                  <a:pt x="277" y="365"/>
                  <a:pt x="277" y="365"/>
                </a:cubicBezTo>
                <a:cubicBezTo>
                  <a:pt x="277" y="366"/>
                  <a:pt x="277" y="366"/>
                  <a:pt x="277" y="366"/>
                </a:cubicBezTo>
                <a:cubicBezTo>
                  <a:pt x="277" y="366"/>
                  <a:pt x="277" y="366"/>
                  <a:pt x="277" y="367"/>
                </a:cubicBezTo>
                <a:cubicBezTo>
                  <a:pt x="277" y="367"/>
                  <a:pt x="278" y="366"/>
                  <a:pt x="278" y="366"/>
                </a:cubicBezTo>
                <a:cubicBezTo>
                  <a:pt x="278" y="367"/>
                  <a:pt x="278" y="367"/>
                  <a:pt x="278" y="367"/>
                </a:cubicBezTo>
                <a:cubicBezTo>
                  <a:pt x="278" y="367"/>
                  <a:pt x="278" y="367"/>
                  <a:pt x="278" y="367"/>
                </a:cubicBezTo>
                <a:cubicBezTo>
                  <a:pt x="278" y="367"/>
                  <a:pt x="278" y="367"/>
                  <a:pt x="277" y="367"/>
                </a:cubicBezTo>
                <a:cubicBezTo>
                  <a:pt x="277" y="368"/>
                  <a:pt x="277" y="368"/>
                  <a:pt x="277" y="368"/>
                </a:cubicBezTo>
                <a:cubicBezTo>
                  <a:pt x="277" y="368"/>
                  <a:pt x="278" y="368"/>
                  <a:pt x="278" y="368"/>
                </a:cubicBezTo>
                <a:cubicBezTo>
                  <a:pt x="278" y="368"/>
                  <a:pt x="278" y="368"/>
                  <a:pt x="279" y="368"/>
                </a:cubicBezTo>
                <a:cubicBezTo>
                  <a:pt x="279" y="368"/>
                  <a:pt x="279" y="369"/>
                  <a:pt x="279" y="369"/>
                </a:cubicBezTo>
                <a:cubicBezTo>
                  <a:pt x="279" y="369"/>
                  <a:pt x="279" y="369"/>
                  <a:pt x="279" y="369"/>
                </a:cubicBezTo>
                <a:cubicBezTo>
                  <a:pt x="279" y="370"/>
                  <a:pt x="279" y="370"/>
                  <a:pt x="278" y="370"/>
                </a:cubicBezTo>
                <a:cubicBezTo>
                  <a:pt x="278" y="370"/>
                  <a:pt x="278" y="370"/>
                  <a:pt x="278" y="370"/>
                </a:cubicBezTo>
                <a:cubicBezTo>
                  <a:pt x="278" y="370"/>
                  <a:pt x="278" y="370"/>
                  <a:pt x="278" y="371"/>
                </a:cubicBezTo>
                <a:cubicBezTo>
                  <a:pt x="278" y="371"/>
                  <a:pt x="278" y="371"/>
                  <a:pt x="278" y="371"/>
                </a:cubicBezTo>
                <a:cubicBezTo>
                  <a:pt x="279" y="371"/>
                  <a:pt x="279" y="371"/>
                  <a:pt x="280" y="371"/>
                </a:cubicBezTo>
                <a:cubicBezTo>
                  <a:pt x="280" y="370"/>
                  <a:pt x="281" y="370"/>
                  <a:pt x="281" y="370"/>
                </a:cubicBezTo>
                <a:cubicBezTo>
                  <a:pt x="281" y="370"/>
                  <a:pt x="282" y="370"/>
                  <a:pt x="282" y="370"/>
                </a:cubicBezTo>
                <a:cubicBezTo>
                  <a:pt x="282" y="370"/>
                  <a:pt x="283" y="370"/>
                  <a:pt x="283" y="370"/>
                </a:cubicBezTo>
                <a:cubicBezTo>
                  <a:pt x="283" y="370"/>
                  <a:pt x="284" y="370"/>
                  <a:pt x="284" y="370"/>
                </a:cubicBezTo>
                <a:cubicBezTo>
                  <a:pt x="284" y="370"/>
                  <a:pt x="284" y="371"/>
                  <a:pt x="284" y="371"/>
                </a:cubicBezTo>
                <a:cubicBezTo>
                  <a:pt x="284" y="371"/>
                  <a:pt x="284" y="371"/>
                  <a:pt x="284" y="370"/>
                </a:cubicBezTo>
                <a:cubicBezTo>
                  <a:pt x="283" y="370"/>
                  <a:pt x="283" y="370"/>
                  <a:pt x="283" y="370"/>
                </a:cubicBezTo>
                <a:cubicBezTo>
                  <a:pt x="282" y="371"/>
                  <a:pt x="282" y="371"/>
                  <a:pt x="282" y="371"/>
                </a:cubicBezTo>
                <a:cubicBezTo>
                  <a:pt x="282" y="371"/>
                  <a:pt x="281" y="371"/>
                  <a:pt x="281" y="371"/>
                </a:cubicBezTo>
                <a:cubicBezTo>
                  <a:pt x="281" y="371"/>
                  <a:pt x="280" y="371"/>
                  <a:pt x="279" y="371"/>
                </a:cubicBezTo>
                <a:cubicBezTo>
                  <a:pt x="279" y="371"/>
                  <a:pt x="279" y="371"/>
                  <a:pt x="279" y="371"/>
                </a:cubicBezTo>
                <a:cubicBezTo>
                  <a:pt x="279" y="371"/>
                  <a:pt x="278" y="371"/>
                  <a:pt x="278" y="372"/>
                </a:cubicBezTo>
                <a:cubicBezTo>
                  <a:pt x="278" y="372"/>
                  <a:pt x="279" y="372"/>
                  <a:pt x="279" y="372"/>
                </a:cubicBezTo>
                <a:cubicBezTo>
                  <a:pt x="278" y="372"/>
                  <a:pt x="278" y="373"/>
                  <a:pt x="278" y="373"/>
                </a:cubicBezTo>
                <a:cubicBezTo>
                  <a:pt x="278" y="374"/>
                  <a:pt x="278" y="374"/>
                  <a:pt x="278" y="374"/>
                </a:cubicBezTo>
                <a:cubicBezTo>
                  <a:pt x="278" y="374"/>
                  <a:pt x="278" y="374"/>
                  <a:pt x="278" y="374"/>
                </a:cubicBezTo>
                <a:cubicBezTo>
                  <a:pt x="278" y="375"/>
                  <a:pt x="278" y="375"/>
                  <a:pt x="278" y="376"/>
                </a:cubicBezTo>
                <a:cubicBezTo>
                  <a:pt x="278" y="376"/>
                  <a:pt x="278" y="376"/>
                  <a:pt x="278" y="377"/>
                </a:cubicBezTo>
                <a:cubicBezTo>
                  <a:pt x="278" y="377"/>
                  <a:pt x="277" y="378"/>
                  <a:pt x="277" y="379"/>
                </a:cubicBezTo>
                <a:cubicBezTo>
                  <a:pt x="277" y="380"/>
                  <a:pt x="278" y="380"/>
                  <a:pt x="278" y="381"/>
                </a:cubicBezTo>
                <a:cubicBezTo>
                  <a:pt x="278" y="381"/>
                  <a:pt x="277" y="382"/>
                  <a:pt x="277" y="383"/>
                </a:cubicBezTo>
                <a:cubicBezTo>
                  <a:pt x="277" y="384"/>
                  <a:pt x="277" y="384"/>
                  <a:pt x="278" y="385"/>
                </a:cubicBezTo>
                <a:cubicBezTo>
                  <a:pt x="277" y="385"/>
                  <a:pt x="277" y="386"/>
                  <a:pt x="277" y="386"/>
                </a:cubicBezTo>
                <a:cubicBezTo>
                  <a:pt x="277" y="386"/>
                  <a:pt x="277" y="387"/>
                  <a:pt x="277" y="387"/>
                </a:cubicBezTo>
                <a:cubicBezTo>
                  <a:pt x="277" y="388"/>
                  <a:pt x="277" y="388"/>
                  <a:pt x="276" y="389"/>
                </a:cubicBezTo>
                <a:cubicBezTo>
                  <a:pt x="276" y="389"/>
                  <a:pt x="276" y="389"/>
                  <a:pt x="276" y="389"/>
                </a:cubicBezTo>
                <a:cubicBezTo>
                  <a:pt x="276" y="389"/>
                  <a:pt x="276" y="390"/>
                  <a:pt x="276" y="390"/>
                </a:cubicBezTo>
                <a:cubicBezTo>
                  <a:pt x="276" y="390"/>
                  <a:pt x="276" y="391"/>
                  <a:pt x="275" y="392"/>
                </a:cubicBezTo>
                <a:cubicBezTo>
                  <a:pt x="275" y="392"/>
                  <a:pt x="275" y="392"/>
                  <a:pt x="275" y="392"/>
                </a:cubicBezTo>
                <a:cubicBezTo>
                  <a:pt x="275" y="393"/>
                  <a:pt x="276" y="393"/>
                  <a:pt x="276" y="394"/>
                </a:cubicBezTo>
                <a:cubicBezTo>
                  <a:pt x="276" y="394"/>
                  <a:pt x="276" y="395"/>
                  <a:pt x="276" y="395"/>
                </a:cubicBezTo>
                <a:cubicBezTo>
                  <a:pt x="276" y="395"/>
                  <a:pt x="276" y="396"/>
                  <a:pt x="276" y="396"/>
                </a:cubicBezTo>
                <a:cubicBezTo>
                  <a:pt x="277" y="396"/>
                  <a:pt x="277" y="396"/>
                  <a:pt x="277" y="396"/>
                </a:cubicBezTo>
                <a:cubicBezTo>
                  <a:pt x="277" y="397"/>
                  <a:pt x="277" y="397"/>
                  <a:pt x="277" y="397"/>
                </a:cubicBezTo>
                <a:cubicBezTo>
                  <a:pt x="277" y="397"/>
                  <a:pt x="277" y="397"/>
                  <a:pt x="277" y="398"/>
                </a:cubicBezTo>
                <a:cubicBezTo>
                  <a:pt x="277" y="398"/>
                  <a:pt x="278" y="398"/>
                  <a:pt x="278" y="398"/>
                </a:cubicBezTo>
                <a:cubicBezTo>
                  <a:pt x="278" y="399"/>
                  <a:pt x="278" y="399"/>
                  <a:pt x="278" y="400"/>
                </a:cubicBezTo>
                <a:cubicBezTo>
                  <a:pt x="278" y="400"/>
                  <a:pt x="278" y="400"/>
                  <a:pt x="278" y="401"/>
                </a:cubicBezTo>
                <a:cubicBezTo>
                  <a:pt x="278" y="401"/>
                  <a:pt x="278" y="401"/>
                  <a:pt x="278" y="401"/>
                </a:cubicBezTo>
                <a:cubicBezTo>
                  <a:pt x="278" y="401"/>
                  <a:pt x="278" y="402"/>
                  <a:pt x="278" y="402"/>
                </a:cubicBezTo>
                <a:cubicBezTo>
                  <a:pt x="278" y="402"/>
                  <a:pt x="278" y="402"/>
                  <a:pt x="278" y="402"/>
                </a:cubicBezTo>
                <a:cubicBezTo>
                  <a:pt x="278" y="402"/>
                  <a:pt x="278" y="402"/>
                  <a:pt x="278" y="403"/>
                </a:cubicBezTo>
                <a:cubicBezTo>
                  <a:pt x="278" y="403"/>
                  <a:pt x="277" y="404"/>
                  <a:pt x="277" y="404"/>
                </a:cubicBezTo>
                <a:cubicBezTo>
                  <a:pt x="277" y="404"/>
                  <a:pt x="277" y="405"/>
                  <a:pt x="277" y="405"/>
                </a:cubicBezTo>
                <a:cubicBezTo>
                  <a:pt x="277" y="405"/>
                  <a:pt x="277" y="406"/>
                  <a:pt x="277" y="406"/>
                </a:cubicBezTo>
                <a:cubicBezTo>
                  <a:pt x="277" y="406"/>
                  <a:pt x="278" y="406"/>
                  <a:pt x="278" y="406"/>
                </a:cubicBezTo>
                <a:cubicBezTo>
                  <a:pt x="279" y="407"/>
                  <a:pt x="279" y="407"/>
                  <a:pt x="280" y="407"/>
                </a:cubicBezTo>
                <a:cubicBezTo>
                  <a:pt x="280" y="408"/>
                  <a:pt x="280" y="408"/>
                  <a:pt x="280" y="409"/>
                </a:cubicBezTo>
                <a:cubicBezTo>
                  <a:pt x="280" y="409"/>
                  <a:pt x="280" y="409"/>
                  <a:pt x="280" y="409"/>
                </a:cubicBezTo>
                <a:cubicBezTo>
                  <a:pt x="280" y="410"/>
                  <a:pt x="280" y="410"/>
                  <a:pt x="280" y="410"/>
                </a:cubicBezTo>
                <a:cubicBezTo>
                  <a:pt x="280" y="410"/>
                  <a:pt x="280" y="411"/>
                  <a:pt x="280" y="411"/>
                </a:cubicBezTo>
                <a:cubicBezTo>
                  <a:pt x="280" y="411"/>
                  <a:pt x="281" y="411"/>
                  <a:pt x="281" y="411"/>
                </a:cubicBezTo>
                <a:cubicBezTo>
                  <a:pt x="281" y="411"/>
                  <a:pt x="281" y="411"/>
                  <a:pt x="281" y="412"/>
                </a:cubicBezTo>
                <a:cubicBezTo>
                  <a:pt x="281" y="412"/>
                  <a:pt x="281" y="412"/>
                  <a:pt x="281" y="412"/>
                </a:cubicBezTo>
                <a:cubicBezTo>
                  <a:pt x="281" y="413"/>
                  <a:pt x="281" y="413"/>
                  <a:pt x="281" y="413"/>
                </a:cubicBezTo>
                <a:cubicBezTo>
                  <a:pt x="281" y="413"/>
                  <a:pt x="281" y="413"/>
                  <a:pt x="282" y="413"/>
                </a:cubicBezTo>
                <a:cubicBezTo>
                  <a:pt x="283" y="414"/>
                  <a:pt x="284" y="414"/>
                  <a:pt x="285" y="415"/>
                </a:cubicBezTo>
                <a:cubicBezTo>
                  <a:pt x="285" y="415"/>
                  <a:pt x="285" y="415"/>
                  <a:pt x="285" y="415"/>
                </a:cubicBezTo>
                <a:cubicBezTo>
                  <a:pt x="285" y="415"/>
                  <a:pt x="285" y="416"/>
                  <a:pt x="285" y="416"/>
                </a:cubicBezTo>
                <a:cubicBezTo>
                  <a:pt x="285" y="416"/>
                  <a:pt x="285" y="416"/>
                  <a:pt x="285" y="416"/>
                </a:cubicBezTo>
                <a:cubicBezTo>
                  <a:pt x="286" y="416"/>
                  <a:pt x="286" y="416"/>
                  <a:pt x="287" y="416"/>
                </a:cubicBezTo>
                <a:cubicBezTo>
                  <a:pt x="287" y="417"/>
                  <a:pt x="287" y="417"/>
                  <a:pt x="287" y="417"/>
                </a:cubicBezTo>
                <a:cubicBezTo>
                  <a:pt x="287" y="417"/>
                  <a:pt x="287" y="417"/>
                  <a:pt x="288" y="417"/>
                </a:cubicBezTo>
                <a:cubicBezTo>
                  <a:pt x="288" y="417"/>
                  <a:pt x="288" y="417"/>
                  <a:pt x="288" y="417"/>
                </a:cubicBezTo>
                <a:cubicBezTo>
                  <a:pt x="288" y="416"/>
                  <a:pt x="288" y="416"/>
                  <a:pt x="288" y="416"/>
                </a:cubicBezTo>
                <a:cubicBezTo>
                  <a:pt x="287" y="416"/>
                  <a:pt x="287" y="415"/>
                  <a:pt x="287" y="415"/>
                </a:cubicBezTo>
                <a:cubicBezTo>
                  <a:pt x="287" y="415"/>
                  <a:pt x="288" y="415"/>
                  <a:pt x="288" y="415"/>
                </a:cubicBezTo>
                <a:cubicBezTo>
                  <a:pt x="288" y="415"/>
                  <a:pt x="288" y="415"/>
                  <a:pt x="288" y="415"/>
                </a:cubicBezTo>
                <a:cubicBezTo>
                  <a:pt x="288" y="415"/>
                  <a:pt x="288" y="415"/>
                  <a:pt x="288" y="415"/>
                </a:cubicBezTo>
                <a:cubicBezTo>
                  <a:pt x="289" y="415"/>
                  <a:pt x="289" y="415"/>
                  <a:pt x="289" y="415"/>
                </a:cubicBezTo>
                <a:cubicBezTo>
                  <a:pt x="289" y="415"/>
                  <a:pt x="289" y="415"/>
                  <a:pt x="290" y="415"/>
                </a:cubicBezTo>
                <a:cubicBezTo>
                  <a:pt x="290" y="415"/>
                  <a:pt x="290" y="415"/>
                  <a:pt x="291" y="414"/>
                </a:cubicBezTo>
                <a:cubicBezTo>
                  <a:pt x="291" y="415"/>
                  <a:pt x="290" y="415"/>
                  <a:pt x="290" y="415"/>
                </a:cubicBezTo>
                <a:cubicBezTo>
                  <a:pt x="290" y="415"/>
                  <a:pt x="290" y="415"/>
                  <a:pt x="289" y="415"/>
                </a:cubicBezTo>
                <a:cubicBezTo>
                  <a:pt x="289" y="415"/>
                  <a:pt x="289" y="415"/>
                  <a:pt x="289" y="415"/>
                </a:cubicBezTo>
                <a:cubicBezTo>
                  <a:pt x="289" y="415"/>
                  <a:pt x="288" y="415"/>
                  <a:pt x="288" y="416"/>
                </a:cubicBezTo>
                <a:cubicBezTo>
                  <a:pt x="288" y="416"/>
                  <a:pt x="288" y="416"/>
                  <a:pt x="288" y="416"/>
                </a:cubicBezTo>
                <a:cubicBezTo>
                  <a:pt x="289" y="416"/>
                  <a:pt x="289" y="416"/>
                  <a:pt x="289" y="416"/>
                </a:cubicBezTo>
                <a:cubicBezTo>
                  <a:pt x="289" y="416"/>
                  <a:pt x="289" y="417"/>
                  <a:pt x="289" y="417"/>
                </a:cubicBezTo>
                <a:cubicBezTo>
                  <a:pt x="290" y="417"/>
                  <a:pt x="290" y="417"/>
                  <a:pt x="290" y="417"/>
                </a:cubicBezTo>
                <a:cubicBezTo>
                  <a:pt x="290" y="417"/>
                  <a:pt x="290" y="417"/>
                  <a:pt x="290" y="417"/>
                </a:cubicBezTo>
                <a:cubicBezTo>
                  <a:pt x="290" y="417"/>
                  <a:pt x="290" y="417"/>
                  <a:pt x="290" y="418"/>
                </a:cubicBezTo>
                <a:cubicBezTo>
                  <a:pt x="289" y="417"/>
                  <a:pt x="289" y="417"/>
                  <a:pt x="289" y="417"/>
                </a:cubicBezTo>
                <a:cubicBezTo>
                  <a:pt x="289" y="417"/>
                  <a:pt x="288" y="417"/>
                  <a:pt x="288" y="417"/>
                </a:cubicBezTo>
                <a:cubicBezTo>
                  <a:pt x="288" y="417"/>
                  <a:pt x="288" y="417"/>
                  <a:pt x="288" y="418"/>
                </a:cubicBezTo>
                <a:cubicBezTo>
                  <a:pt x="288" y="418"/>
                  <a:pt x="288" y="418"/>
                  <a:pt x="288" y="418"/>
                </a:cubicBezTo>
                <a:cubicBezTo>
                  <a:pt x="288" y="418"/>
                  <a:pt x="288" y="418"/>
                  <a:pt x="288" y="418"/>
                </a:cubicBezTo>
                <a:cubicBezTo>
                  <a:pt x="288" y="418"/>
                  <a:pt x="288" y="419"/>
                  <a:pt x="288" y="419"/>
                </a:cubicBezTo>
                <a:cubicBezTo>
                  <a:pt x="288" y="419"/>
                  <a:pt x="288" y="419"/>
                  <a:pt x="288" y="419"/>
                </a:cubicBezTo>
                <a:cubicBezTo>
                  <a:pt x="288" y="420"/>
                  <a:pt x="289" y="420"/>
                  <a:pt x="289" y="420"/>
                </a:cubicBezTo>
                <a:cubicBezTo>
                  <a:pt x="289" y="420"/>
                  <a:pt x="289" y="420"/>
                  <a:pt x="289" y="420"/>
                </a:cubicBezTo>
                <a:cubicBezTo>
                  <a:pt x="289" y="420"/>
                  <a:pt x="290" y="420"/>
                  <a:pt x="290" y="420"/>
                </a:cubicBezTo>
                <a:cubicBezTo>
                  <a:pt x="290" y="420"/>
                  <a:pt x="290" y="420"/>
                  <a:pt x="291" y="420"/>
                </a:cubicBezTo>
                <a:cubicBezTo>
                  <a:pt x="291" y="421"/>
                  <a:pt x="291" y="421"/>
                  <a:pt x="291" y="421"/>
                </a:cubicBezTo>
                <a:cubicBezTo>
                  <a:pt x="291" y="421"/>
                  <a:pt x="291" y="421"/>
                  <a:pt x="292" y="421"/>
                </a:cubicBezTo>
                <a:cubicBezTo>
                  <a:pt x="291" y="421"/>
                  <a:pt x="291" y="422"/>
                  <a:pt x="291" y="422"/>
                </a:cubicBezTo>
                <a:cubicBezTo>
                  <a:pt x="291" y="422"/>
                  <a:pt x="291" y="422"/>
                  <a:pt x="291" y="422"/>
                </a:cubicBezTo>
                <a:cubicBezTo>
                  <a:pt x="291" y="422"/>
                  <a:pt x="291" y="422"/>
                  <a:pt x="291" y="422"/>
                </a:cubicBezTo>
                <a:cubicBezTo>
                  <a:pt x="291" y="423"/>
                  <a:pt x="291" y="423"/>
                  <a:pt x="291" y="423"/>
                </a:cubicBezTo>
                <a:cubicBezTo>
                  <a:pt x="291" y="423"/>
                  <a:pt x="291" y="423"/>
                  <a:pt x="291" y="424"/>
                </a:cubicBezTo>
                <a:cubicBezTo>
                  <a:pt x="292" y="424"/>
                  <a:pt x="292" y="424"/>
                  <a:pt x="292" y="424"/>
                </a:cubicBezTo>
                <a:cubicBezTo>
                  <a:pt x="292" y="424"/>
                  <a:pt x="292" y="424"/>
                  <a:pt x="293" y="424"/>
                </a:cubicBezTo>
                <a:cubicBezTo>
                  <a:pt x="293" y="424"/>
                  <a:pt x="293" y="425"/>
                  <a:pt x="293" y="425"/>
                </a:cubicBezTo>
                <a:cubicBezTo>
                  <a:pt x="294" y="426"/>
                  <a:pt x="295" y="426"/>
                  <a:pt x="295" y="426"/>
                </a:cubicBezTo>
                <a:cubicBezTo>
                  <a:pt x="296" y="426"/>
                  <a:pt x="296" y="427"/>
                  <a:pt x="296" y="427"/>
                </a:cubicBezTo>
                <a:cubicBezTo>
                  <a:pt x="296" y="427"/>
                  <a:pt x="297" y="427"/>
                  <a:pt x="297" y="427"/>
                </a:cubicBezTo>
                <a:cubicBezTo>
                  <a:pt x="297" y="427"/>
                  <a:pt x="297" y="427"/>
                  <a:pt x="297" y="427"/>
                </a:cubicBezTo>
                <a:cubicBezTo>
                  <a:pt x="297" y="427"/>
                  <a:pt x="297" y="427"/>
                  <a:pt x="297" y="427"/>
                </a:cubicBezTo>
                <a:cubicBezTo>
                  <a:pt x="297" y="427"/>
                  <a:pt x="297" y="427"/>
                  <a:pt x="298" y="428"/>
                </a:cubicBezTo>
                <a:cubicBezTo>
                  <a:pt x="298" y="428"/>
                  <a:pt x="298" y="428"/>
                  <a:pt x="298" y="428"/>
                </a:cubicBezTo>
                <a:cubicBezTo>
                  <a:pt x="298" y="429"/>
                  <a:pt x="299" y="429"/>
                  <a:pt x="299" y="429"/>
                </a:cubicBezTo>
                <a:cubicBezTo>
                  <a:pt x="299" y="430"/>
                  <a:pt x="299" y="430"/>
                  <a:pt x="299" y="430"/>
                </a:cubicBezTo>
                <a:cubicBezTo>
                  <a:pt x="298" y="430"/>
                  <a:pt x="298" y="430"/>
                  <a:pt x="298" y="430"/>
                </a:cubicBezTo>
                <a:cubicBezTo>
                  <a:pt x="299" y="430"/>
                  <a:pt x="299" y="431"/>
                  <a:pt x="299" y="431"/>
                </a:cubicBezTo>
                <a:cubicBezTo>
                  <a:pt x="299" y="431"/>
                  <a:pt x="299" y="431"/>
                  <a:pt x="299" y="431"/>
                </a:cubicBezTo>
                <a:cubicBezTo>
                  <a:pt x="300" y="430"/>
                  <a:pt x="301" y="430"/>
                  <a:pt x="301" y="430"/>
                </a:cubicBezTo>
                <a:cubicBezTo>
                  <a:pt x="302" y="430"/>
                  <a:pt x="302" y="430"/>
                  <a:pt x="302" y="430"/>
                </a:cubicBezTo>
                <a:cubicBezTo>
                  <a:pt x="303" y="430"/>
                  <a:pt x="303" y="430"/>
                  <a:pt x="303" y="430"/>
                </a:cubicBezTo>
                <a:cubicBezTo>
                  <a:pt x="303" y="430"/>
                  <a:pt x="304" y="430"/>
                  <a:pt x="304" y="430"/>
                </a:cubicBezTo>
                <a:cubicBezTo>
                  <a:pt x="304" y="430"/>
                  <a:pt x="305" y="429"/>
                  <a:pt x="305" y="429"/>
                </a:cubicBezTo>
                <a:cubicBezTo>
                  <a:pt x="306" y="429"/>
                  <a:pt x="306" y="429"/>
                  <a:pt x="306" y="429"/>
                </a:cubicBezTo>
                <a:cubicBezTo>
                  <a:pt x="306" y="430"/>
                  <a:pt x="306" y="430"/>
                  <a:pt x="306" y="430"/>
                </a:cubicBezTo>
                <a:cubicBezTo>
                  <a:pt x="307" y="430"/>
                  <a:pt x="307" y="430"/>
                  <a:pt x="308" y="430"/>
                </a:cubicBezTo>
                <a:cubicBezTo>
                  <a:pt x="308" y="430"/>
                  <a:pt x="308" y="430"/>
                  <a:pt x="309" y="430"/>
                </a:cubicBezTo>
                <a:cubicBezTo>
                  <a:pt x="309" y="430"/>
                  <a:pt x="310" y="430"/>
                  <a:pt x="310" y="429"/>
                </a:cubicBezTo>
                <a:cubicBezTo>
                  <a:pt x="310" y="430"/>
                  <a:pt x="310" y="430"/>
                  <a:pt x="310" y="430"/>
                </a:cubicBezTo>
                <a:cubicBezTo>
                  <a:pt x="310" y="430"/>
                  <a:pt x="311" y="430"/>
                  <a:pt x="311" y="430"/>
                </a:cubicBezTo>
                <a:cubicBezTo>
                  <a:pt x="311" y="430"/>
                  <a:pt x="311" y="430"/>
                  <a:pt x="311" y="430"/>
                </a:cubicBezTo>
                <a:cubicBezTo>
                  <a:pt x="311" y="430"/>
                  <a:pt x="311" y="430"/>
                  <a:pt x="311" y="430"/>
                </a:cubicBezTo>
                <a:cubicBezTo>
                  <a:pt x="312" y="430"/>
                  <a:pt x="312" y="430"/>
                  <a:pt x="312" y="430"/>
                </a:cubicBezTo>
                <a:cubicBezTo>
                  <a:pt x="313" y="430"/>
                  <a:pt x="313" y="430"/>
                  <a:pt x="314" y="430"/>
                </a:cubicBezTo>
                <a:cubicBezTo>
                  <a:pt x="314" y="431"/>
                  <a:pt x="315" y="431"/>
                  <a:pt x="316" y="431"/>
                </a:cubicBezTo>
                <a:cubicBezTo>
                  <a:pt x="316" y="432"/>
                  <a:pt x="316" y="432"/>
                  <a:pt x="317" y="432"/>
                </a:cubicBezTo>
                <a:cubicBezTo>
                  <a:pt x="317" y="433"/>
                  <a:pt x="317" y="433"/>
                  <a:pt x="317" y="433"/>
                </a:cubicBezTo>
                <a:cubicBezTo>
                  <a:pt x="317" y="433"/>
                  <a:pt x="317" y="434"/>
                  <a:pt x="317" y="434"/>
                </a:cubicBezTo>
                <a:cubicBezTo>
                  <a:pt x="317" y="434"/>
                  <a:pt x="317" y="434"/>
                  <a:pt x="318" y="435"/>
                </a:cubicBezTo>
                <a:cubicBezTo>
                  <a:pt x="318" y="435"/>
                  <a:pt x="318" y="436"/>
                  <a:pt x="319" y="436"/>
                </a:cubicBezTo>
                <a:cubicBezTo>
                  <a:pt x="319" y="436"/>
                  <a:pt x="320" y="436"/>
                  <a:pt x="320" y="437"/>
                </a:cubicBezTo>
                <a:cubicBezTo>
                  <a:pt x="320" y="437"/>
                  <a:pt x="320" y="437"/>
                  <a:pt x="321" y="437"/>
                </a:cubicBezTo>
                <a:cubicBezTo>
                  <a:pt x="320" y="437"/>
                  <a:pt x="320" y="437"/>
                  <a:pt x="320" y="437"/>
                </a:cubicBezTo>
                <a:cubicBezTo>
                  <a:pt x="320" y="437"/>
                  <a:pt x="320" y="438"/>
                  <a:pt x="320" y="438"/>
                </a:cubicBezTo>
                <a:cubicBezTo>
                  <a:pt x="321" y="438"/>
                  <a:pt x="321" y="438"/>
                  <a:pt x="321" y="438"/>
                </a:cubicBezTo>
                <a:cubicBezTo>
                  <a:pt x="322" y="439"/>
                  <a:pt x="322" y="439"/>
                  <a:pt x="323" y="439"/>
                </a:cubicBezTo>
                <a:cubicBezTo>
                  <a:pt x="323" y="439"/>
                  <a:pt x="323" y="439"/>
                  <a:pt x="323" y="439"/>
                </a:cubicBezTo>
                <a:cubicBezTo>
                  <a:pt x="323" y="439"/>
                  <a:pt x="323" y="440"/>
                  <a:pt x="323" y="440"/>
                </a:cubicBezTo>
                <a:cubicBezTo>
                  <a:pt x="323" y="440"/>
                  <a:pt x="323" y="440"/>
                  <a:pt x="323" y="440"/>
                </a:cubicBezTo>
                <a:cubicBezTo>
                  <a:pt x="323" y="440"/>
                  <a:pt x="324" y="440"/>
                  <a:pt x="324" y="440"/>
                </a:cubicBezTo>
                <a:cubicBezTo>
                  <a:pt x="324" y="440"/>
                  <a:pt x="325" y="441"/>
                  <a:pt x="325" y="441"/>
                </a:cubicBezTo>
                <a:cubicBezTo>
                  <a:pt x="325" y="441"/>
                  <a:pt x="325" y="441"/>
                  <a:pt x="324" y="441"/>
                </a:cubicBezTo>
                <a:cubicBezTo>
                  <a:pt x="325" y="442"/>
                  <a:pt x="325" y="442"/>
                  <a:pt x="325" y="442"/>
                </a:cubicBezTo>
                <a:cubicBezTo>
                  <a:pt x="325" y="442"/>
                  <a:pt x="325" y="442"/>
                  <a:pt x="325" y="442"/>
                </a:cubicBezTo>
                <a:cubicBezTo>
                  <a:pt x="326" y="442"/>
                  <a:pt x="326" y="442"/>
                  <a:pt x="326" y="442"/>
                </a:cubicBezTo>
                <a:cubicBezTo>
                  <a:pt x="326" y="443"/>
                  <a:pt x="326" y="443"/>
                  <a:pt x="326" y="444"/>
                </a:cubicBezTo>
                <a:cubicBezTo>
                  <a:pt x="327" y="444"/>
                  <a:pt x="327" y="444"/>
                  <a:pt x="327" y="444"/>
                </a:cubicBezTo>
                <a:cubicBezTo>
                  <a:pt x="328" y="445"/>
                  <a:pt x="328" y="445"/>
                  <a:pt x="328" y="445"/>
                </a:cubicBezTo>
                <a:cubicBezTo>
                  <a:pt x="329" y="445"/>
                  <a:pt x="329" y="445"/>
                  <a:pt x="329" y="444"/>
                </a:cubicBezTo>
                <a:cubicBezTo>
                  <a:pt x="329" y="445"/>
                  <a:pt x="330" y="445"/>
                  <a:pt x="331" y="445"/>
                </a:cubicBezTo>
                <a:cubicBezTo>
                  <a:pt x="331" y="445"/>
                  <a:pt x="331" y="445"/>
                  <a:pt x="332" y="445"/>
                </a:cubicBezTo>
                <a:cubicBezTo>
                  <a:pt x="332" y="445"/>
                  <a:pt x="332" y="446"/>
                  <a:pt x="332" y="446"/>
                </a:cubicBezTo>
                <a:cubicBezTo>
                  <a:pt x="333" y="446"/>
                  <a:pt x="333" y="446"/>
                  <a:pt x="334" y="446"/>
                </a:cubicBezTo>
                <a:cubicBezTo>
                  <a:pt x="334" y="446"/>
                  <a:pt x="334" y="447"/>
                  <a:pt x="335" y="447"/>
                </a:cubicBezTo>
                <a:cubicBezTo>
                  <a:pt x="335" y="447"/>
                  <a:pt x="335" y="447"/>
                  <a:pt x="335" y="447"/>
                </a:cubicBezTo>
                <a:cubicBezTo>
                  <a:pt x="335" y="447"/>
                  <a:pt x="336" y="447"/>
                  <a:pt x="336" y="448"/>
                </a:cubicBezTo>
                <a:cubicBezTo>
                  <a:pt x="336" y="448"/>
                  <a:pt x="336" y="448"/>
                  <a:pt x="336" y="448"/>
                </a:cubicBezTo>
                <a:cubicBezTo>
                  <a:pt x="336" y="448"/>
                  <a:pt x="336" y="449"/>
                  <a:pt x="336" y="449"/>
                </a:cubicBezTo>
                <a:cubicBezTo>
                  <a:pt x="336" y="449"/>
                  <a:pt x="336" y="449"/>
                  <a:pt x="336" y="449"/>
                </a:cubicBezTo>
                <a:cubicBezTo>
                  <a:pt x="336" y="449"/>
                  <a:pt x="336" y="449"/>
                  <a:pt x="336" y="450"/>
                </a:cubicBezTo>
                <a:cubicBezTo>
                  <a:pt x="336" y="450"/>
                  <a:pt x="336" y="450"/>
                  <a:pt x="336" y="450"/>
                </a:cubicBezTo>
                <a:cubicBezTo>
                  <a:pt x="335" y="450"/>
                  <a:pt x="335" y="450"/>
                  <a:pt x="335" y="450"/>
                </a:cubicBezTo>
                <a:cubicBezTo>
                  <a:pt x="335" y="450"/>
                  <a:pt x="335" y="450"/>
                  <a:pt x="335" y="450"/>
                </a:cubicBezTo>
                <a:cubicBezTo>
                  <a:pt x="336" y="450"/>
                  <a:pt x="336" y="450"/>
                  <a:pt x="336" y="450"/>
                </a:cubicBezTo>
                <a:cubicBezTo>
                  <a:pt x="336" y="450"/>
                  <a:pt x="336" y="450"/>
                  <a:pt x="336" y="451"/>
                </a:cubicBezTo>
                <a:cubicBezTo>
                  <a:pt x="336" y="451"/>
                  <a:pt x="336" y="451"/>
                  <a:pt x="336" y="451"/>
                </a:cubicBezTo>
                <a:cubicBezTo>
                  <a:pt x="336" y="451"/>
                  <a:pt x="336" y="451"/>
                  <a:pt x="335" y="451"/>
                </a:cubicBezTo>
                <a:cubicBezTo>
                  <a:pt x="335" y="451"/>
                  <a:pt x="334" y="451"/>
                  <a:pt x="334" y="451"/>
                </a:cubicBezTo>
                <a:cubicBezTo>
                  <a:pt x="334" y="451"/>
                  <a:pt x="333" y="451"/>
                  <a:pt x="333" y="451"/>
                </a:cubicBezTo>
                <a:cubicBezTo>
                  <a:pt x="333" y="452"/>
                  <a:pt x="332" y="452"/>
                  <a:pt x="332" y="452"/>
                </a:cubicBezTo>
                <a:cubicBezTo>
                  <a:pt x="332" y="452"/>
                  <a:pt x="332" y="452"/>
                  <a:pt x="332" y="452"/>
                </a:cubicBezTo>
                <a:cubicBezTo>
                  <a:pt x="332" y="452"/>
                  <a:pt x="333" y="453"/>
                  <a:pt x="333" y="453"/>
                </a:cubicBezTo>
                <a:cubicBezTo>
                  <a:pt x="333" y="453"/>
                  <a:pt x="334" y="453"/>
                  <a:pt x="334" y="453"/>
                </a:cubicBezTo>
                <a:cubicBezTo>
                  <a:pt x="334" y="453"/>
                  <a:pt x="334" y="453"/>
                  <a:pt x="334" y="453"/>
                </a:cubicBezTo>
                <a:cubicBezTo>
                  <a:pt x="335" y="453"/>
                  <a:pt x="335" y="454"/>
                  <a:pt x="335" y="454"/>
                </a:cubicBezTo>
                <a:cubicBezTo>
                  <a:pt x="336" y="454"/>
                  <a:pt x="336" y="454"/>
                  <a:pt x="336" y="454"/>
                </a:cubicBezTo>
                <a:cubicBezTo>
                  <a:pt x="337" y="454"/>
                  <a:pt x="337" y="454"/>
                  <a:pt x="337" y="454"/>
                </a:cubicBezTo>
                <a:cubicBezTo>
                  <a:pt x="337" y="454"/>
                  <a:pt x="338" y="454"/>
                  <a:pt x="338" y="454"/>
                </a:cubicBezTo>
                <a:cubicBezTo>
                  <a:pt x="338" y="454"/>
                  <a:pt x="338" y="454"/>
                  <a:pt x="338" y="454"/>
                </a:cubicBezTo>
                <a:cubicBezTo>
                  <a:pt x="338" y="454"/>
                  <a:pt x="339" y="454"/>
                  <a:pt x="339" y="454"/>
                </a:cubicBezTo>
                <a:cubicBezTo>
                  <a:pt x="339" y="454"/>
                  <a:pt x="339" y="454"/>
                  <a:pt x="339" y="454"/>
                </a:cubicBezTo>
                <a:cubicBezTo>
                  <a:pt x="339" y="454"/>
                  <a:pt x="339" y="454"/>
                  <a:pt x="339" y="454"/>
                </a:cubicBezTo>
                <a:cubicBezTo>
                  <a:pt x="340" y="454"/>
                  <a:pt x="340" y="454"/>
                  <a:pt x="340" y="454"/>
                </a:cubicBezTo>
                <a:cubicBezTo>
                  <a:pt x="340" y="454"/>
                  <a:pt x="340" y="454"/>
                  <a:pt x="341" y="454"/>
                </a:cubicBezTo>
                <a:cubicBezTo>
                  <a:pt x="341" y="453"/>
                  <a:pt x="341" y="453"/>
                  <a:pt x="341" y="453"/>
                </a:cubicBezTo>
                <a:cubicBezTo>
                  <a:pt x="341" y="453"/>
                  <a:pt x="341" y="453"/>
                  <a:pt x="342" y="453"/>
                </a:cubicBezTo>
                <a:cubicBezTo>
                  <a:pt x="342" y="453"/>
                  <a:pt x="342" y="453"/>
                  <a:pt x="341" y="453"/>
                </a:cubicBezTo>
                <a:cubicBezTo>
                  <a:pt x="342" y="454"/>
                  <a:pt x="342" y="454"/>
                  <a:pt x="342" y="454"/>
                </a:cubicBezTo>
                <a:cubicBezTo>
                  <a:pt x="343" y="454"/>
                  <a:pt x="344" y="455"/>
                  <a:pt x="344" y="455"/>
                </a:cubicBezTo>
                <a:cubicBezTo>
                  <a:pt x="345" y="455"/>
                  <a:pt x="345" y="455"/>
                  <a:pt x="345" y="455"/>
                </a:cubicBezTo>
                <a:cubicBezTo>
                  <a:pt x="345" y="455"/>
                  <a:pt x="345" y="455"/>
                  <a:pt x="346" y="454"/>
                </a:cubicBezTo>
                <a:cubicBezTo>
                  <a:pt x="346" y="455"/>
                  <a:pt x="346" y="455"/>
                  <a:pt x="346" y="455"/>
                </a:cubicBezTo>
                <a:cubicBezTo>
                  <a:pt x="347" y="455"/>
                  <a:pt x="347" y="455"/>
                  <a:pt x="347" y="456"/>
                </a:cubicBezTo>
                <a:cubicBezTo>
                  <a:pt x="348" y="456"/>
                  <a:pt x="348" y="457"/>
                  <a:pt x="348" y="457"/>
                </a:cubicBezTo>
                <a:cubicBezTo>
                  <a:pt x="348" y="458"/>
                  <a:pt x="348" y="458"/>
                  <a:pt x="348" y="458"/>
                </a:cubicBezTo>
                <a:cubicBezTo>
                  <a:pt x="348" y="459"/>
                  <a:pt x="348" y="459"/>
                  <a:pt x="348" y="460"/>
                </a:cubicBezTo>
                <a:cubicBezTo>
                  <a:pt x="348" y="460"/>
                  <a:pt x="348" y="460"/>
                  <a:pt x="348" y="460"/>
                </a:cubicBezTo>
                <a:cubicBezTo>
                  <a:pt x="349" y="460"/>
                  <a:pt x="349" y="460"/>
                  <a:pt x="349" y="460"/>
                </a:cubicBezTo>
                <a:cubicBezTo>
                  <a:pt x="349" y="460"/>
                  <a:pt x="350" y="460"/>
                  <a:pt x="350" y="460"/>
                </a:cubicBezTo>
                <a:cubicBezTo>
                  <a:pt x="350" y="460"/>
                  <a:pt x="350" y="460"/>
                  <a:pt x="350" y="461"/>
                </a:cubicBezTo>
                <a:cubicBezTo>
                  <a:pt x="350" y="461"/>
                  <a:pt x="351" y="460"/>
                  <a:pt x="351" y="460"/>
                </a:cubicBezTo>
                <a:cubicBezTo>
                  <a:pt x="351" y="461"/>
                  <a:pt x="352" y="461"/>
                  <a:pt x="352" y="461"/>
                </a:cubicBezTo>
                <a:cubicBezTo>
                  <a:pt x="353" y="461"/>
                  <a:pt x="354" y="461"/>
                  <a:pt x="355" y="462"/>
                </a:cubicBezTo>
                <a:cubicBezTo>
                  <a:pt x="355" y="462"/>
                  <a:pt x="355" y="462"/>
                  <a:pt x="355" y="462"/>
                </a:cubicBezTo>
                <a:cubicBezTo>
                  <a:pt x="356" y="462"/>
                  <a:pt x="356" y="462"/>
                  <a:pt x="356" y="462"/>
                </a:cubicBezTo>
                <a:cubicBezTo>
                  <a:pt x="356" y="462"/>
                  <a:pt x="357" y="462"/>
                  <a:pt x="357" y="462"/>
                </a:cubicBezTo>
                <a:cubicBezTo>
                  <a:pt x="357" y="462"/>
                  <a:pt x="358" y="462"/>
                  <a:pt x="358" y="462"/>
                </a:cubicBezTo>
                <a:cubicBezTo>
                  <a:pt x="358" y="462"/>
                  <a:pt x="358" y="462"/>
                  <a:pt x="359" y="462"/>
                </a:cubicBezTo>
                <a:cubicBezTo>
                  <a:pt x="359" y="463"/>
                  <a:pt x="359" y="463"/>
                  <a:pt x="359" y="463"/>
                </a:cubicBezTo>
                <a:cubicBezTo>
                  <a:pt x="359" y="463"/>
                  <a:pt x="359" y="463"/>
                  <a:pt x="360" y="463"/>
                </a:cubicBezTo>
                <a:cubicBezTo>
                  <a:pt x="360" y="464"/>
                  <a:pt x="360" y="464"/>
                  <a:pt x="360" y="464"/>
                </a:cubicBezTo>
                <a:cubicBezTo>
                  <a:pt x="360" y="464"/>
                  <a:pt x="360" y="464"/>
                  <a:pt x="361" y="464"/>
                </a:cubicBezTo>
                <a:cubicBezTo>
                  <a:pt x="361" y="464"/>
                  <a:pt x="361" y="464"/>
                  <a:pt x="361" y="464"/>
                </a:cubicBezTo>
                <a:cubicBezTo>
                  <a:pt x="362" y="464"/>
                  <a:pt x="362" y="464"/>
                  <a:pt x="363" y="463"/>
                </a:cubicBezTo>
                <a:cubicBezTo>
                  <a:pt x="363" y="463"/>
                  <a:pt x="363" y="463"/>
                  <a:pt x="363" y="462"/>
                </a:cubicBezTo>
                <a:cubicBezTo>
                  <a:pt x="363" y="462"/>
                  <a:pt x="363" y="462"/>
                  <a:pt x="363" y="461"/>
                </a:cubicBezTo>
                <a:cubicBezTo>
                  <a:pt x="363" y="461"/>
                  <a:pt x="362" y="461"/>
                  <a:pt x="362" y="461"/>
                </a:cubicBezTo>
                <a:cubicBezTo>
                  <a:pt x="362" y="461"/>
                  <a:pt x="362" y="461"/>
                  <a:pt x="362" y="461"/>
                </a:cubicBezTo>
                <a:cubicBezTo>
                  <a:pt x="361" y="461"/>
                  <a:pt x="361" y="461"/>
                  <a:pt x="361" y="460"/>
                </a:cubicBezTo>
                <a:cubicBezTo>
                  <a:pt x="361" y="460"/>
                  <a:pt x="361" y="460"/>
                  <a:pt x="361" y="460"/>
                </a:cubicBezTo>
                <a:cubicBezTo>
                  <a:pt x="360" y="460"/>
                  <a:pt x="360" y="460"/>
                  <a:pt x="360" y="460"/>
                </a:cubicBezTo>
                <a:cubicBezTo>
                  <a:pt x="360" y="460"/>
                  <a:pt x="359" y="460"/>
                  <a:pt x="359" y="460"/>
                </a:cubicBezTo>
                <a:cubicBezTo>
                  <a:pt x="359" y="459"/>
                  <a:pt x="359" y="459"/>
                  <a:pt x="359" y="459"/>
                </a:cubicBezTo>
                <a:cubicBezTo>
                  <a:pt x="358" y="459"/>
                  <a:pt x="358" y="459"/>
                  <a:pt x="358" y="459"/>
                </a:cubicBezTo>
                <a:cubicBezTo>
                  <a:pt x="358" y="459"/>
                  <a:pt x="358" y="459"/>
                  <a:pt x="358" y="460"/>
                </a:cubicBezTo>
                <a:cubicBezTo>
                  <a:pt x="358" y="460"/>
                  <a:pt x="358" y="460"/>
                  <a:pt x="358" y="460"/>
                </a:cubicBezTo>
                <a:cubicBezTo>
                  <a:pt x="358" y="460"/>
                  <a:pt x="358" y="460"/>
                  <a:pt x="358" y="460"/>
                </a:cubicBezTo>
                <a:cubicBezTo>
                  <a:pt x="358" y="460"/>
                  <a:pt x="357" y="460"/>
                  <a:pt x="357" y="460"/>
                </a:cubicBezTo>
                <a:cubicBezTo>
                  <a:pt x="357" y="460"/>
                  <a:pt x="357" y="460"/>
                  <a:pt x="356" y="460"/>
                </a:cubicBezTo>
                <a:cubicBezTo>
                  <a:pt x="356" y="460"/>
                  <a:pt x="356" y="459"/>
                  <a:pt x="355" y="459"/>
                </a:cubicBezTo>
                <a:cubicBezTo>
                  <a:pt x="355" y="459"/>
                  <a:pt x="355" y="459"/>
                  <a:pt x="355" y="459"/>
                </a:cubicBezTo>
                <a:cubicBezTo>
                  <a:pt x="355" y="459"/>
                  <a:pt x="355" y="458"/>
                  <a:pt x="355" y="458"/>
                </a:cubicBezTo>
                <a:cubicBezTo>
                  <a:pt x="355" y="458"/>
                  <a:pt x="355" y="458"/>
                  <a:pt x="355" y="457"/>
                </a:cubicBezTo>
                <a:cubicBezTo>
                  <a:pt x="355" y="457"/>
                  <a:pt x="354" y="457"/>
                  <a:pt x="354" y="457"/>
                </a:cubicBezTo>
                <a:cubicBezTo>
                  <a:pt x="354" y="457"/>
                  <a:pt x="354" y="457"/>
                  <a:pt x="354" y="456"/>
                </a:cubicBezTo>
                <a:cubicBezTo>
                  <a:pt x="354" y="456"/>
                  <a:pt x="354" y="456"/>
                  <a:pt x="354" y="456"/>
                </a:cubicBezTo>
                <a:cubicBezTo>
                  <a:pt x="354" y="456"/>
                  <a:pt x="353" y="456"/>
                  <a:pt x="353" y="456"/>
                </a:cubicBezTo>
                <a:cubicBezTo>
                  <a:pt x="353" y="456"/>
                  <a:pt x="353" y="455"/>
                  <a:pt x="353" y="455"/>
                </a:cubicBezTo>
                <a:cubicBezTo>
                  <a:pt x="353" y="455"/>
                  <a:pt x="352" y="455"/>
                  <a:pt x="352" y="455"/>
                </a:cubicBezTo>
                <a:cubicBezTo>
                  <a:pt x="352" y="455"/>
                  <a:pt x="352" y="455"/>
                  <a:pt x="352" y="454"/>
                </a:cubicBezTo>
                <a:cubicBezTo>
                  <a:pt x="352" y="454"/>
                  <a:pt x="352" y="454"/>
                  <a:pt x="352" y="454"/>
                </a:cubicBezTo>
                <a:cubicBezTo>
                  <a:pt x="351" y="454"/>
                  <a:pt x="351" y="454"/>
                  <a:pt x="351" y="453"/>
                </a:cubicBezTo>
                <a:cubicBezTo>
                  <a:pt x="351" y="453"/>
                  <a:pt x="351" y="453"/>
                  <a:pt x="351" y="453"/>
                </a:cubicBezTo>
                <a:cubicBezTo>
                  <a:pt x="351" y="452"/>
                  <a:pt x="351" y="452"/>
                  <a:pt x="350" y="451"/>
                </a:cubicBezTo>
                <a:cubicBezTo>
                  <a:pt x="350" y="451"/>
                  <a:pt x="350" y="451"/>
                  <a:pt x="349" y="451"/>
                </a:cubicBezTo>
                <a:cubicBezTo>
                  <a:pt x="349" y="451"/>
                  <a:pt x="349" y="451"/>
                  <a:pt x="349" y="451"/>
                </a:cubicBezTo>
                <a:cubicBezTo>
                  <a:pt x="349" y="451"/>
                  <a:pt x="349" y="451"/>
                  <a:pt x="349" y="451"/>
                </a:cubicBezTo>
                <a:cubicBezTo>
                  <a:pt x="349" y="451"/>
                  <a:pt x="349" y="451"/>
                  <a:pt x="349" y="451"/>
                </a:cubicBezTo>
                <a:cubicBezTo>
                  <a:pt x="349" y="451"/>
                  <a:pt x="349" y="451"/>
                  <a:pt x="349" y="451"/>
                </a:cubicBezTo>
                <a:cubicBezTo>
                  <a:pt x="349" y="451"/>
                  <a:pt x="349" y="452"/>
                  <a:pt x="349" y="452"/>
                </a:cubicBezTo>
                <a:cubicBezTo>
                  <a:pt x="348" y="452"/>
                  <a:pt x="348" y="451"/>
                  <a:pt x="347" y="451"/>
                </a:cubicBezTo>
                <a:cubicBezTo>
                  <a:pt x="347" y="451"/>
                  <a:pt x="347" y="451"/>
                  <a:pt x="347" y="451"/>
                </a:cubicBezTo>
                <a:cubicBezTo>
                  <a:pt x="347" y="450"/>
                  <a:pt x="347" y="450"/>
                  <a:pt x="347" y="450"/>
                </a:cubicBezTo>
                <a:cubicBezTo>
                  <a:pt x="347" y="450"/>
                  <a:pt x="347" y="450"/>
                  <a:pt x="347" y="450"/>
                </a:cubicBezTo>
                <a:cubicBezTo>
                  <a:pt x="347" y="450"/>
                  <a:pt x="347" y="450"/>
                  <a:pt x="346" y="450"/>
                </a:cubicBezTo>
                <a:cubicBezTo>
                  <a:pt x="346" y="449"/>
                  <a:pt x="346" y="449"/>
                  <a:pt x="346" y="449"/>
                </a:cubicBezTo>
                <a:cubicBezTo>
                  <a:pt x="345" y="448"/>
                  <a:pt x="345" y="448"/>
                  <a:pt x="344" y="448"/>
                </a:cubicBezTo>
                <a:cubicBezTo>
                  <a:pt x="344" y="448"/>
                  <a:pt x="344" y="448"/>
                  <a:pt x="344" y="448"/>
                </a:cubicBezTo>
                <a:cubicBezTo>
                  <a:pt x="344" y="448"/>
                  <a:pt x="343" y="448"/>
                  <a:pt x="343" y="448"/>
                </a:cubicBezTo>
                <a:cubicBezTo>
                  <a:pt x="343" y="448"/>
                  <a:pt x="343" y="447"/>
                  <a:pt x="342" y="447"/>
                </a:cubicBezTo>
                <a:cubicBezTo>
                  <a:pt x="342" y="447"/>
                  <a:pt x="342" y="446"/>
                  <a:pt x="342" y="446"/>
                </a:cubicBezTo>
                <a:cubicBezTo>
                  <a:pt x="342" y="446"/>
                  <a:pt x="341" y="446"/>
                  <a:pt x="341" y="446"/>
                </a:cubicBezTo>
                <a:cubicBezTo>
                  <a:pt x="341" y="446"/>
                  <a:pt x="341" y="446"/>
                  <a:pt x="340" y="446"/>
                </a:cubicBezTo>
                <a:cubicBezTo>
                  <a:pt x="340" y="446"/>
                  <a:pt x="340" y="446"/>
                  <a:pt x="340" y="446"/>
                </a:cubicBezTo>
                <a:cubicBezTo>
                  <a:pt x="340" y="445"/>
                  <a:pt x="340" y="445"/>
                  <a:pt x="339" y="445"/>
                </a:cubicBezTo>
                <a:cubicBezTo>
                  <a:pt x="339" y="445"/>
                  <a:pt x="339" y="445"/>
                  <a:pt x="339" y="445"/>
                </a:cubicBezTo>
                <a:cubicBezTo>
                  <a:pt x="338" y="445"/>
                  <a:pt x="338" y="445"/>
                  <a:pt x="338" y="445"/>
                </a:cubicBezTo>
                <a:cubicBezTo>
                  <a:pt x="338" y="445"/>
                  <a:pt x="337" y="444"/>
                  <a:pt x="337" y="444"/>
                </a:cubicBezTo>
                <a:cubicBezTo>
                  <a:pt x="337" y="444"/>
                  <a:pt x="337" y="444"/>
                  <a:pt x="337" y="444"/>
                </a:cubicBezTo>
                <a:cubicBezTo>
                  <a:pt x="337" y="443"/>
                  <a:pt x="337" y="443"/>
                  <a:pt x="337" y="443"/>
                </a:cubicBezTo>
                <a:cubicBezTo>
                  <a:pt x="336" y="443"/>
                  <a:pt x="336" y="443"/>
                  <a:pt x="335" y="443"/>
                </a:cubicBezTo>
                <a:cubicBezTo>
                  <a:pt x="335" y="443"/>
                  <a:pt x="335" y="442"/>
                  <a:pt x="334" y="442"/>
                </a:cubicBezTo>
                <a:cubicBezTo>
                  <a:pt x="334" y="442"/>
                  <a:pt x="334" y="442"/>
                  <a:pt x="334" y="443"/>
                </a:cubicBezTo>
                <a:cubicBezTo>
                  <a:pt x="334" y="442"/>
                  <a:pt x="334" y="442"/>
                  <a:pt x="334" y="442"/>
                </a:cubicBezTo>
                <a:cubicBezTo>
                  <a:pt x="333" y="442"/>
                  <a:pt x="333" y="441"/>
                  <a:pt x="332" y="441"/>
                </a:cubicBezTo>
                <a:cubicBezTo>
                  <a:pt x="332" y="441"/>
                  <a:pt x="332" y="441"/>
                  <a:pt x="332" y="441"/>
                </a:cubicBezTo>
                <a:cubicBezTo>
                  <a:pt x="332" y="441"/>
                  <a:pt x="332" y="440"/>
                  <a:pt x="332" y="440"/>
                </a:cubicBezTo>
                <a:cubicBezTo>
                  <a:pt x="332" y="439"/>
                  <a:pt x="331" y="439"/>
                  <a:pt x="331" y="438"/>
                </a:cubicBezTo>
                <a:cubicBezTo>
                  <a:pt x="331" y="437"/>
                  <a:pt x="330" y="437"/>
                  <a:pt x="330" y="436"/>
                </a:cubicBezTo>
                <a:cubicBezTo>
                  <a:pt x="330" y="436"/>
                  <a:pt x="330" y="436"/>
                  <a:pt x="330" y="436"/>
                </a:cubicBezTo>
                <a:cubicBezTo>
                  <a:pt x="330" y="435"/>
                  <a:pt x="330" y="435"/>
                  <a:pt x="330" y="434"/>
                </a:cubicBezTo>
                <a:cubicBezTo>
                  <a:pt x="330" y="434"/>
                  <a:pt x="330" y="434"/>
                  <a:pt x="330" y="434"/>
                </a:cubicBezTo>
                <a:cubicBezTo>
                  <a:pt x="329" y="433"/>
                  <a:pt x="329" y="433"/>
                  <a:pt x="329" y="433"/>
                </a:cubicBezTo>
                <a:cubicBezTo>
                  <a:pt x="329" y="433"/>
                  <a:pt x="330" y="433"/>
                  <a:pt x="330" y="433"/>
                </a:cubicBezTo>
                <a:cubicBezTo>
                  <a:pt x="330" y="433"/>
                  <a:pt x="331" y="433"/>
                  <a:pt x="331" y="433"/>
                </a:cubicBezTo>
                <a:cubicBezTo>
                  <a:pt x="332" y="434"/>
                  <a:pt x="332" y="434"/>
                  <a:pt x="333" y="434"/>
                </a:cubicBezTo>
                <a:cubicBezTo>
                  <a:pt x="333" y="434"/>
                  <a:pt x="333" y="434"/>
                  <a:pt x="333" y="434"/>
                </a:cubicBezTo>
                <a:cubicBezTo>
                  <a:pt x="334" y="434"/>
                  <a:pt x="334" y="434"/>
                  <a:pt x="334" y="434"/>
                </a:cubicBezTo>
                <a:cubicBezTo>
                  <a:pt x="334" y="434"/>
                  <a:pt x="335" y="433"/>
                  <a:pt x="335" y="433"/>
                </a:cubicBezTo>
                <a:cubicBezTo>
                  <a:pt x="335" y="433"/>
                  <a:pt x="335" y="434"/>
                  <a:pt x="336" y="434"/>
                </a:cubicBezTo>
                <a:cubicBezTo>
                  <a:pt x="336" y="434"/>
                  <a:pt x="336" y="434"/>
                  <a:pt x="336" y="434"/>
                </a:cubicBezTo>
                <a:cubicBezTo>
                  <a:pt x="336" y="434"/>
                  <a:pt x="337" y="434"/>
                  <a:pt x="337" y="434"/>
                </a:cubicBezTo>
                <a:cubicBezTo>
                  <a:pt x="337" y="434"/>
                  <a:pt x="338" y="434"/>
                  <a:pt x="338" y="434"/>
                </a:cubicBezTo>
                <a:cubicBezTo>
                  <a:pt x="338" y="434"/>
                  <a:pt x="338" y="434"/>
                  <a:pt x="338" y="434"/>
                </a:cubicBezTo>
                <a:cubicBezTo>
                  <a:pt x="338" y="434"/>
                  <a:pt x="338" y="434"/>
                  <a:pt x="338" y="435"/>
                </a:cubicBezTo>
                <a:cubicBezTo>
                  <a:pt x="338" y="435"/>
                  <a:pt x="338" y="435"/>
                  <a:pt x="338" y="435"/>
                </a:cubicBezTo>
                <a:cubicBezTo>
                  <a:pt x="339" y="435"/>
                  <a:pt x="339" y="436"/>
                  <a:pt x="339" y="436"/>
                </a:cubicBezTo>
                <a:cubicBezTo>
                  <a:pt x="339" y="436"/>
                  <a:pt x="340" y="437"/>
                  <a:pt x="340" y="437"/>
                </a:cubicBezTo>
                <a:cubicBezTo>
                  <a:pt x="340" y="437"/>
                  <a:pt x="340" y="437"/>
                  <a:pt x="340" y="437"/>
                </a:cubicBezTo>
                <a:cubicBezTo>
                  <a:pt x="341" y="438"/>
                  <a:pt x="341" y="438"/>
                  <a:pt x="341" y="438"/>
                </a:cubicBezTo>
                <a:cubicBezTo>
                  <a:pt x="341" y="438"/>
                  <a:pt x="341" y="439"/>
                  <a:pt x="341" y="439"/>
                </a:cubicBezTo>
                <a:cubicBezTo>
                  <a:pt x="341" y="439"/>
                  <a:pt x="341" y="439"/>
                  <a:pt x="341" y="439"/>
                </a:cubicBezTo>
                <a:cubicBezTo>
                  <a:pt x="342" y="439"/>
                  <a:pt x="343" y="440"/>
                  <a:pt x="343" y="440"/>
                </a:cubicBezTo>
                <a:cubicBezTo>
                  <a:pt x="343" y="440"/>
                  <a:pt x="343" y="440"/>
                  <a:pt x="343" y="440"/>
                </a:cubicBezTo>
                <a:cubicBezTo>
                  <a:pt x="343" y="440"/>
                  <a:pt x="343" y="441"/>
                  <a:pt x="343" y="441"/>
                </a:cubicBezTo>
                <a:cubicBezTo>
                  <a:pt x="343" y="441"/>
                  <a:pt x="343" y="441"/>
                  <a:pt x="344" y="441"/>
                </a:cubicBezTo>
                <a:cubicBezTo>
                  <a:pt x="344" y="441"/>
                  <a:pt x="344" y="441"/>
                  <a:pt x="344" y="441"/>
                </a:cubicBezTo>
                <a:cubicBezTo>
                  <a:pt x="344" y="441"/>
                  <a:pt x="344" y="441"/>
                  <a:pt x="344" y="441"/>
                </a:cubicBezTo>
                <a:cubicBezTo>
                  <a:pt x="345" y="442"/>
                  <a:pt x="345" y="442"/>
                  <a:pt x="345" y="442"/>
                </a:cubicBezTo>
                <a:cubicBezTo>
                  <a:pt x="346" y="442"/>
                  <a:pt x="346" y="442"/>
                  <a:pt x="346" y="442"/>
                </a:cubicBezTo>
                <a:cubicBezTo>
                  <a:pt x="346" y="442"/>
                  <a:pt x="347" y="442"/>
                  <a:pt x="347" y="443"/>
                </a:cubicBezTo>
                <a:cubicBezTo>
                  <a:pt x="347" y="443"/>
                  <a:pt x="347" y="443"/>
                  <a:pt x="347" y="443"/>
                </a:cubicBezTo>
                <a:cubicBezTo>
                  <a:pt x="347" y="443"/>
                  <a:pt x="347" y="443"/>
                  <a:pt x="348" y="443"/>
                </a:cubicBezTo>
                <a:cubicBezTo>
                  <a:pt x="348" y="443"/>
                  <a:pt x="348" y="443"/>
                  <a:pt x="348" y="443"/>
                </a:cubicBezTo>
                <a:cubicBezTo>
                  <a:pt x="349" y="444"/>
                  <a:pt x="349" y="444"/>
                  <a:pt x="349" y="444"/>
                </a:cubicBezTo>
                <a:cubicBezTo>
                  <a:pt x="349" y="444"/>
                  <a:pt x="350" y="444"/>
                  <a:pt x="350" y="444"/>
                </a:cubicBezTo>
                <a:cubicBezTo>
                  <a:pt x="350" y="445"/>
                  <a:pt x="350" y="445"/>
                  <a:pt x="350" y="445"/>
                </a:cubicBezTo>
                <a:cubicBezTo>
                  <a:pt x="351" y="445"/>
                  <a:pt x="351" y="445"/>
                  <a:pt x="351" y="445"/>
                </a:cubicBezTo>
                <a:cubicBezTo>
                  <a:pt x="351" y="445"/>
                  <a:pt x="351" y="445"/>
                  <a:pt x="351" y="445"/>
                </a:cubicBezTo>
                <a:cubicBezTo>
                  <a:pt x="352" y="445"/>
                  <a:pt x="352" y="445"/>
                  <a:pt x="352" y="445"/>
                </a:cubicBezTo>
                <a:cubicBezTo>
                  <a:pt x="352" y="445"/>
                  <a:pt x="352" y="444"/>
                  <a:pt x="352" y="444"/>
                </a:cubicBezTo>
                <a:cubicBezTo>
                  <a:pt x="353" y="444"/>
                  <a:pt x="353" y="444"/>
                  <a:pt x="353" y="444"/>
                </a:cubicBezTo>
                <a:cubicBezTo>
                  <a:pt x="353" y="445"/>
                  <a:pt x="353" y="445"/>
                  <a:pt x="353" y="445"/>
                </a:cubicBezTo>
                <a:cubicBezTo>
                  <a:pt x="353" y="445"/>
                  <a:pt x="353" y="446"/>
                  <a:pt x="353" y="446"/>
                </a:cubicBezTo>
                <a:cubicBezTo>
                  <a:pt x="353" y="446"/>
                  <a:pt x="354" y="446"/>
                  <a:pt x="354" y="447"/>
                </a:cubicBezTo>
                <a:cubicBezTo>
                  <a:pt x="354" y="447"/>
                  <a:pt x="355" y="447"/>
                  <a:pt x="356" y="447"/>
                </a:cubicBezTo>
                <a:cubicBezTo>
                  <a:pt x="356" y="447"/>
                  <a:pt x="356" y="447"/>
                  <a:pt x="356" y="447"/>
                </a:cubicBezTo>
                <a:cubicBezTo>
                  <a:pt x="357" y="447"/>
                  <a:pt x="357" y="447"/>
                  <a:pt x="357" y="447"/>
                </a:cubicBezTo>
                <a:cubicBezTo>
                  <a:pt x="357" y="447"/>
                  <a:pt x="357" y="447"/>
                  <a:pt x="357" y="447"/>
                </a:cubicBezTo>
                <a:cubicBezTo>
                  <a:pt x="357" y="448"/>
                  <a:pt x="358" y="448"/>
                  <a:pt x="358" y="448"/>
                </a:cubicBezTo>
                <a:cubicBezTo>
                  <a:pt x="358" y="448"/>
                  <a:pt x="358" y="448"/>
                  <a:pt x="359" y="448"/>
                </a:cubicBezTo>
                <a:cubicBezTo>
                  <a:pt x="359" y="448"/>
                  <a:pt x="359" y="448"/>
                  <a:pt x="359" y="447"/>
                </a:cubicBezTo>
                <a:cubicBezTo>
                  <a:pt x="360" y="448"/>
                  <a:pt x="360" y="448"/>
                  <a:pt x="361" y="448"/>
                </a:cubicBezTo>
                <a:cubicBezTo>
                  <a:pt x="361" y="448"/>
                  <a:pt x="361" y="448"/>
                  <a:pt x="361" y="448"/>
                </a:cubicBezTo>
                <a:cubicBezTo>
                  <a:pt x="361" y="448"/>
                  <a:pt x="361" y="448"/>
                  <a:pt x="362" y="448"/>
                </a:cubicBezTo>
                <a:cubicBezTo>
                  <a:pt x="362" y="448"/>
                  <a:pt x="362" y="448"/>
                  <a:pt x="362" y="448"/>
                </a:cubicBezTo>
                <a:cubicBezTo>
                  <a:pt x="362" y="448"/>
                  <a:pt x="362" y="448"/>
                  <a:pt x="362" y="448"/>
                </a:cubicBezTo>
                <a:cubicBezTo>
                  <a:pt x="362" y="448"/>
                  <a:pt x="362" y="448"/>
                  <a:pt x="363" y="449"/>
                </a:cubicBezTo>
                <a:cubicBezTo>
                  <a:pt x="362" y="449"/>
                  <a:pt x="362" y="449"/>
                  <a:pt x="362" y="449"/>
                </a:cubicBezTo>
                <a:cubicBezTo>
                  <a:pt x="362" y="449"/>
                  <a:pt x="362" y="449"/>
                  <a:pt x="362" y="449"/>
                </a:cubicBezTo>
                <a:cubicBezTo>
                  <a:pt x="361" y="449"/>
                  <a:pt x="361" y="449"/>
                  <a:pt x="361" y="449"/>
                </a:cubicBezTo>
                <a:cubicBezTo>
                  <a:pt x="361" y="449"/>
                  <a:pt x="361" y="450"/>
                  <a:pt x="360" y="450"/>
                </a:cubicBezTo>
                <a:cubicBezTo>
                  <a:pt x="360" y="451"/>
                  <a:pt x="360" y="451"/>
                  <a:pt x="360" y="451"/>
                </a:cubicBezTo>
                <a:cubicBezTo>
                  <a:pt x="360" y="451"/>
                  <a:pt x="361" y="452"/>
                  <a:pt x="361" y="452"/>
                </a:cubicBezTo>
                <a:cubicBezTo>
                  <a:pt x="361" y="452"/>
                  <a:pt x="361" y="452"/>
                  <a:pt x="362" y="452"/>
                </a:cubicBezTo>
                <a:cubicBezTo>
                  <a:pt x="362" y="452"/>
                  <a:pt x="362" y="452"/>
                  <a:pt x="363" y="452"/>
                </a:cubicBezTo>
                <a:cubicBezTo>
                  <a:pt x="363" y="452"/>
                  <a:pt x="363" y="452"/>
                  <a:pt x="363" y="452"/>
                </a:cubicBezTo>
                <a:cubicBezTo>
                  <a:pt x="364" y="452"/>
                  <a:pt x="365" y="452"/>
                  <a:pt x="366" y="452"/>
                </a:cubicBezTo>
                <a:cubicBezTo>
                  <a:pt x="366" y="452"/>
                  <a:pt x="366" y="452"/>
                  <a:pt x="367" y="452"/>
                </a:cubicBezTo>
                <a:cubicBezTo>
                  <a:pt x="367" y="452"/>
                  <a:pt x="367" y="452"/>
                  <a:pt x="367" y="452"/>
                </a:cubicBezTo>
                <a:cubicBezTo>
                  <a:pt x="368" y="452"/>
                  <a:pt x="368" y="452"/>
                  <a:pt x="368" y="452"/>
                </a:cubicBezTo>
                <a:cubicBezTo>
                  <a:pt x="368" y="452"/>
                  <a:pt x="368" y="453"/>
                  <a:pt x="368" y="453"/>
                </a:cubicBezTo>
                <a:cubicBezTo>
                  <a:pt x="369" y="453"/>
                  <a:pt x="369" y="453"/>
                  <a:pt x="369" y="453"/>
                </a:cubicBezTo>
                <a:cubicBezTo>
                  <a:pt x="369" y="453"/>
                  <a:pt x="369" y="454"/>
                  <a:pt x="369" y="454"/>
                </a:cubicBezTo>
                <a:cubicBezTo>
                  <a:pt x="369" y="454"/>
                  <a:pt x="369" y="454"/>
                  <a:pt x="368" y="454"/>
                </a:cubicBezTo>
                <a:cubicBezTo>
                  <a:pt x="368" y="454"/>
                  <a:pt x="368" y="454"/>
                  <a:pt x="369" y="454"/>
                </a:cubicBezTo>
                <a:cubicBezTo>
                  <a:pt x="369" y="454"/>
                  <a:pt x="369" y="454"/>
                  <a:pt x="369" y="454"/>
                </a:cubicBezTo>
                <a:cubicBezTo>
                  <a:pt x="370" y="454"/>
                  <a:pt x="371" y="454"/>
                  <a:pt x="371" y="454"/>
                </a:cubicBezTo>
                <a:cubicBezTo>
                  <a:pt x="371" y="454"/>
                  <a:pt x="371" y="455"/>
                  <a:pt x="371" y="455"/>
                </a:cubicBezTo>
                <a:cubicBezTo>
                  <a:pt x="371" y="455"/>
                  <a:pt x="372" y="455"/>
                  <a:pt x="372" y="455"/>
                </a:cubicBezTo>
                <a:cubicBezTo>
                  <a:pt x="372" y="455"/>
                  <a:pt x="373" y="455"/>
                  <a:pt x="373" y="455"/>
                </a:cubicBezTo>
                <a:cubicBezTo>
                  <a:pt x="374" y="455"/>
                  <a:pt x="375" y="456"/>
                  <a:pt x="375" y="456"/>
                </a:cubicBezTo>
                <a:cubicBezTo>
                  <a:pt x="376" y="456"/>
                  <a:pt x="377" y="457"/>
                  <a:pt x="377" y="457"/>
                </a:cubicBezTo>
                <a:cubicBezTo>
                  <a:pt x="378" y="457"/>
                  <a:pt x="378" y="457"/>
                  <a:pt x="379" y="458"/>
                </a:cubicBezTo>
                <a:cubicBezTo>
                  <a:pt x="379" y="458"/>
                  <a:pt x="379" y="458"/>
                  <a:pt x="379" y="458"/>
                </a:cubicBezTo>
                <a:cubicBezTo>
                  <a:pt x="380" y="459"/>
                  <a:pt x="381" y="459"/>
                  <a:pt x="382" y="459"/>
                </a:cubicBezTo>
                <a:cubicBezTo>
                  <a:pt x="382" y="460"/>
                  <a:pt x="382" y="460"/>
                  <a:pt x="382" y="460"/>
                </a:cubicBezTo>
                <a:cubicBezTo>
                  <a:pt x="382" y="460"/>
                  <a:pt x="382" y="460"/>
                  <a:pt x="382" y="461"/>
                </a:cubicBezTo>
                <a:cubicBezTo>
                  <a:pt x="382" y="461"/>
                  <a:pt x="382" y="461"/>
                  <a:pt x="383" y="461"/>
                </a:cubicBezTo>
                <a:cubicBezTo>
                  <a:pt x="383" y="461"/>
                  <a:pt x="383" y="462"/>
                  <a:pt x="384" y="462"/>
                </a:cubicBezTo>
                <a:cubicBezTo>
                  <a:pt x="384" y="462"/>
                  <a:pt x="385" y="463"/>
                  <a:pt x="385" y="463"/>
                </a:cubicBezTo>
                <a:cubicBezTo>
                  <a:pt x="385" y="464"/>
                  <a:pt x="386" y="464"/>
                  <a:pt x="386" y="464"/>
                </a:cubicBezTo>
                <a:cubicBezTo>
                  <a:pt x="386" y="464"/>
                  <a:pt x="385" y="465"/>
                  <a:pt x="385" y="465"/>
                </a:cubicBezTo>
                <a:cubicBezTo>
                  <a:pt x="385" y="465"/>
                  <a:pt x="385" y="466"/>
                  <a:pt x="384" y="466"/>
                </a:cubicBezTo>
                <a:cubicBezTo>
                  <a:pt x="384" y="466"/>
                  <a:pt x="384" y="466"/>
                  <a:pt x="384" y="467"/>
                </a:cubicBezTo>
                <a:cubicBezTo>
                  <a:pt x="385" y="467"/>
                  <a:pt x="385" y="466"/>
                  <a:pt x="385" y="466"/>
                </a:cubicBezTo>
                <a:cubicBezTo>
                  <a:pt x="385" y="466"/>
                  <a:pt x="385" y="467"/>
                  <a:pt x="386" y="467"/>
                </a:cubicBezTo>
                <a:cubicBezTo>
                  <a:pt x="386" y="467"/>
                  <a:pt x="386" y="467"/>
                  <a:pt x="385" y="467"/>
                </a:cubicBezTo>
                <a:cubicBezTo>
                  <a:pt x="385" y="467"/>
                  <a:pt x="385" y="467"/>
                  <a:pt x="384" y="467"/>
                </a:cubicBezTo>
                <a:cubicBezTo>
                  <a:pt x="384" y="468"/>
                  <a:pt x="384" y="468"/>
                  <a:pt x="384" y="468"/>
                </a:cubicBezTo>
                <a:cubicBezTo>
                  <a:pt x="384" y="468"/>
                  <a:pt x="384" y="468"/>
                  <a:pt x="384" y="468"/>
                </a:cubicBezTo>
                <a:cubicBezTo>
                  <a:pt x="384" y="469"/>
                  <a:pt x="385" y="469"/>
                  <a:pt x="385" y="469"/>
                </a:cubicBezTo>
                <a:cubicBezTo>
                  <a:pt x="385" y="469"/>
                  <a:pt x="386" y="469"/>
                  <a:pt x="386" y="469"/>
                </a:cubicBezTo>
                <a:cubicBezTo>
                  <a:pt x="386" y="470"/>
                  <a:pt x="386" y="470"/>
                  <a:pt x="386" y="470"/>
                </a:cubicBezTo>
                <a:cubicBezTo>
                  <a:pt x="386" y="470"/>
                  <a:pt x="387" y="470"/>
                  <a:pt x="387" y="471"/>
                </a:cubicBezTo>
                <a:cubicBezTo>
                  <a:pt x="387" y="471"/>
                  <a:pt x="388" y="471"/>
                  <a:pt x="388" y="471"/>
                </a:cubicBezTo>
                <a:cubicBezTo>
                  <a:pt x="388" y="471"/>
                  <a:pt x="388" y="471"/>
                  <a:pt x="388" y="471"/>
                </a:cubicBezTo>
                <a:cubicBezTo>
                  <a:pt x="389" y="471"/>
                  <a:pt x="389" y="471"/>
                  <a:pt x="389" y="471"/>
                </a:cubicBezTo>
                <a:cubicBezTo>
                  <a:pt x="389" y="471"/>
                  <a:pt x="389" y="471"/>
                  <a:pt x="390" y="471"/>
                </a:cubicBezTo>
                <a:cubicBezTo>
                  <a:pt x="390" y="471"/>
                  <a:pt x="391" y="471"/>
                  <a:pt x="391" y="471"/>
                </a:cubicBezTo>
                <a:cubicBezTo>
                  <a:pt x="392" y="471"/>
                  <a:pt x="392" y="471"/>
                  <a:pt x="392" y="471"/>
                </a:cubicBezTo>
                <a:cubicBezTo>
                  <a:pt x="392" y="471"/>
                  <a:pt x="393" y="471"/>
                  <a:pt x="393" y="471"/>
                </a:cubicBezTo>
                <a:cubicBezTo>
                  <a:pt x="393" y="471"/>
                  <a:pt x="393" y="471"/>
                  <a:pt x="393" y="471"/>
                </a:cubicBezTo>
                <a:cubicBezTo>
                  <a:pt x="393" y="471"/>
                  <a:pt x="393" y="471"/>
                  <a:pt x="393" y="471"/>
                </a:cubicBezTo>
                <a:cubicBezTo>
                  <a:pt x="393" y="471"/>
                  <a:pt x="394" y="471"/>
                  <a:pt x="394" y="471"/>
                </a:cubicBezTo>
                <a:cubicBezTo>
                  <a:pt x="394" y="471"/>
                  <a:pt x="395" y="472"/>
                  <a:pt x="395" y="472"/>
                </a:cubicBezTo>
                <a:cubicBezTo>
                  <a:pt x="396" y="472"/>
                  <a:pt x="396" y="472"/>
                  <a:pt x="397" y="472"/>
                </a:cubicBezTo>
                <a:cubicBezTo>
                  <a:pt x="397" y="473"/>
                  <a:pt x="397" y="473"/>
                  <a:pt x="398" y="473"/>
                </a:cubicBezTo>
                <a:cubicBezTo>
                  <a:pt x="398" y="473"/>
                  <a:pt x="398" y="473"/>
                  <a:pt x="399" y="473"/>
                </a:cubicBezTo>
                <a:cubicBezTo>
                  <a:pt x="399" y="473"/>
                  <a:pt x="399" y="473"/>
                  <a:pt x="399" y="473"/>
                </a:cubicBezTo>
                <a:cubicBezTo>
                  <a:pt x="399" y="473"/>
                  <a:pt x="400" y="473"/>
                  <a:pt x="400" y="473"/>
                </a:cubicBezTo>
                <a:cubicBezTo>
                  <a:pt x="400" y="473"/>
                  <a:pt x="401" y="473"/>
                  <a:pt x="401" y="472"/>
                </a:cubicBezTo>
                <a:cubicBezTo>
                  <a:pt x="401" y="472"/>
                  <a:pt x="402" y="472"/>
                  <a:pt x="403" y="472"/>
                </a:cubicBezTo>
                <a:cubicBezTo>
                  <a:pt x="403" y="472"/>
                  <a:pt x="403" y="472"/>
                  <a:pt x="404" y="472"/>
                </a:cubicBezTo>
                <a:cubicBezTo>
                  <a:pt x="404" y="472"/>
                  <a:pt x="404" y="472"/>
                  <a:pt x="404" y="472"/>
                </a:cubicBezTo>
                <a:cubicBezTo>
                  <a:pt x="404" y="472"/>
                  <a:pt x="404" y="472"/>
                  <a:pt x="404" y="472"/>
                </a:cubicBezTo>
                <a:cubicBezTo>
                  <a:pt x="404" y="472"/>
                  <a:pt x="405" y="472"/>
                  <a:pt x="405" y="472"/>
                </a:cubicBezTo>
                <a:cubicBezTo>
                  <a:pt x="406" y="472"/>
                  <a:pt x="407" y="472"/>
                  <a:pt x="408" y="473"/>
                </a:cubicBezTo>
                <a:cubicBezTo>
                  <a:pt x="408" y="473"/>
                  <a:pt x="408" y="473"/>
                  <a:pt x="408" y="473"/>
                </a:cubicBezTo>
                <a:cubicBezTo>
                  <a:pt x="409" y="473"/>
                  <a:pt x="410" y="473"/>
                  <a:pt x="410" y="473"/>
                </a:cubicBezTo>
                <a:cubicBezTo>
                  <a:pt x="411" y="473"/>
                  <a:pt x="412" y="473"/>
                  <a:pt x="413" y="473"/>
                </a:cubicBezTo>
                <a:cubicBezTo>
                  <a:pt x="413" y="473"/>
                  <a:pt x="414" y="473"/>
                  <a:pt x="415" y="473"/>
                </a:cubicBezTo>
                <a:cubicBezTo>
                  <a:pt x="415" y="473"/>
                  <a:pt x="416" y="473"/>
                  <a:pt x="416" y="473"/>
                </a:cubicBezTo>
                <a:cubicBezTo>
                  <a:pt x="417" y="473"/>
                  <a:pt x="417" y="473"/>
                  <a:pt x="417" y="473"/>
                </a:cubicBezTo>
                <a:cubicBezTo>
                  <a:pt x="418" y="473"/>
                  <a:pt x="418" y="473"/>
                  <a:pt x="419" y="473"/>
                </a:cubicBezTo>
                <a:cubicBezTo>
                  <a:pt x="419" y="473"/>
                  <a:pt x="419" y="473"/>
                  <a:pt x="420" y="473"/>
                </a:cubicBezTo>
                <a:cubicBezTo>
                  <a:pt x="420" y="473"/>
                  <a:pt x="420" y="472"/>
                  <a:pt x="421" y="472"/>
                </a:cubicBezTo>
                <a:cubicBezTo>
                  <a:pt x="421" y="472"/>
                  <a:pt x="421" y="472"/>
                  <a:pt x="421" y="472"/>
                </a:cubicBezTo>
                <a:cubicBezTo>
                  <a:pt x="421" y="473"/>
                  <a:pt x="422" y="473"/>
                  <a:pt x="422" y="473"/>
                </a:cubicBezTo>
                <a:cubicBezTo>
                  <a:pt x="422" y="473"/>
                  <a:pt x="423" y="473"/>
                  <a:pt x="423" y="473"/>
                </a:cubicBezTo>
                <a:cubicBezTo>
                  <a:pt x="423" y="473"/>
                  <a:pt x="424" y="473"/>
                  <a:pt x="424" y="473"/>
                </a:cubicBezTo>
                <a:cubicBezTo>
                  <a:pt x="424" y="473"/>
                  <a:pt x="424" y="473"/>
                  <a:pt x="424" y="473"/>
                </a:cubicBezTo>
                <a:cubicBezTo>
                  <a:pt x="425" y="473"/>
                  <a:pt x="425" y="473"/>
                  <a:pt x="425" y="473"/>
                </a:cubicBezTo>
                <a:cubicBezTo>
                  <a:pt x="426" y="473"/>
                  <a:pt x="427" y="473"/>
                  <a:pt x="427" y="473"/>
                </a:cubicBezTo>
                <a:cubicBezTo>
                  <a:pt x="428" y="472"/>
                  <a:pt x="428" y="472"/>
                  <a:pt x="429" y="472"/>
                </a:cubicBezTo>
                <a:cubicBezTo>
                  <a:pt x="430" y="472"/>
                  <a:pt x="430" y="472"/>
                  <a:pt x="431" y="472"/>
                </a:cubicBezTo>
                <a:cubicBezTo>
                  <a:pt x="431" y="472"/>
                  <a:pt x="432" y="472"/>
                  <a:pt x="433" y="472"/>
                </a:cubicBezTo>
                <a:cubicBezTo>
                  <a:pt x="433" y="472"/>
                  <a:pt x="434" y="472"/>
                  <a:pt x="434" y="472"/>
                </a:cubicBezTo>
                <a:cubicBezTo>
                  <a:pt x="435" y="471"/>
                  <a:pt x="436" y="471"/>
                  <a:pt x="436" y="470"/>
                </a:cubicBezTo>
                <a:cubicBezTo>
                  <a:pt x="437" y="470"/>
                  <a:pt x="437" y="470"/>
                  <a:pt x="437" y="470"/>
                </a:cubicBezTo>
                <a:cubicBezTo>
                  <a:pt x="438" y="469"/>
                  <a:pt x="438" y="469"/>
                  <a:pt x="438" y="469"/>
                </a:cubicBezTo>
                <a:cubicBezTo>
                  <a:pt x="439" y="469"/>
                  <a:pt x="439" y="468"/>
                  <a:pt x="439" y="468"/>
                </a:cubicBezTo>
                <a:cubicBezTo>
                  <a:pt x="440" y="468"/>
                  <a:pt x="440" y="468"/>
                  <a:pt x="441" y="468"/>
                </a:cubicBezTo>
                <a:cubicBezTo>
                  <a:pt x="441" y="468"/>
                  <a:pt x="441" y="468"/>
                  <a:pt x="441" y="468"/>
                </a:cubicBezTo>
                <a:cubicBezTo>
                  <a:pt x="441" y="468"/>
                  <a:pt x="441" y="468"/>
                  <a:pt x="441" y="468"/>
                </a:cubicBezTo>
                <a:cubicBezTo>
                  <a:pt x="441" y="468"/>
                  <a:pt x="440" y="468"/>
                  <a:pt x="440" y="468"/>
                </a:cubicBezTo>
                <a:cubicBezTo>
                  <a:pt x="440" y="468"/>
                  <a:pt x="439" y="468"/>
                  <a:pt x="439" y="468"/>
                </a:cubicBezTo>
                <a:cubicBezTo>
                  <a:pt x="439" y="468"/>
                  <a:pt x="439" y="468"/>
                  <a:pt x="439" y="468"/>
                </a:cubicBezTo>
                <a:cubicBezTo>
                  <a:pt x="439" y="467"/>
                  <a:pt x="440" y="467"/>
                  <a:pt x="440" y="467"/>
                </a:cubicBezTo>
                <a:cubicBezTo>
                  <a:pt x="440" y="467"/>
                  <a:pt x="440" y="467"/>
                  <a:pt x="440" y="467"/>
                </a:cubicBezTo>
                <a:cubicBezTo>
                  <a:pt x="441" y="467"/>
                  <a:pt x="441" y="467"/>
                  <a:pt x="441" y="467"/>
                </a:cubicBezTo>
                <a:cubicBezTo>
                  <a:pt x="441" y="467"/>
                  <a:pt x="441" y="467"/>
                  <a:pt x="441" y="467"/>
                </a:cubicBezTo>
                <a:cubicBezTo>
                  <a:pt x="441" y="467"/>
                  <a:pt x="442" y="467"/>
                  <a:pt x="442" y="467"/>
                </a:cubicBezTo>
                <a:cubicBezTo>
                  <a:pt x="442" y="467"/>
                  <a:pt x="442" y="467"/>
                  <a:pt x="442" y="467"/>
                </a:cubicBezTo>
                <a:cubicBezTo>
                  <a:pt x="442" y="467"/>
                  <a:pt x="442" y="467"/>
                  <a:pt x="441" y="467"/>
                </a:cubicBezTo>
                <a:cubicBezTo>
                  <a:pt x="441" y="467"/>
                  <a:pt x="441" y="467"/>
                  <a:pt x="441" y="467"/>
                </a:cubicBezTo>
                <a:cubicBezTo>
                  <a:pt x="441" y="467"/>
                  <a:pt x="441" y="467"/>
                  <a:pt x="442" y="467"/>
                </a:cubicBezTo>
                <a:cubicBezTo>
                  <a:pt x="442" y="467"/>
                  <a:pt x="442" y="467"/>
                  <a:pt x="442" y="467"/>
                </a:cubicBezTo>
                <a:cubicBezTo>
                  <a:pt x="443" y="467"/>
                  <a:pt x="443" y="467"/>
                  <a:pt x="443" y="467"/>
                </a:cubicBezTo>
                <a:cubicBezTo>
                  <a:pt x="444" y="467"/>
                  <a:pt x="444" y="467"/>
                  <a:pt x="445" y="467"/>
                </a:cubicBezTo>
                <a:cubicBezTo>
                  <a:pt x="445" y="467"/>
                  <a:pt x="445" y="467"/>
                  <a:pt x="446" y="468"/>
                </a:cubicBezTo>
                <a:cubicBezTo>
                  <a:pt x="446" y="467"/>
                  <a:pt x="446" y="467"/>
                  <a:pt x="446" y="467"/>
                </a:cubicBezTo>
                <a:cubicBezTo>
                  <a:pt x="445" y="467"/>
                  <a:pt x="445" y="467"/>
                  <a:pt x="444" y="467"/>
                </a:cubicBezTo>
                <a:cubicBezTo>
                  <a:pt x="444" y="467"/>
                  <a:pt x="443" y="467"/>
                  <a:pt x="443" y="467"/>
                </a:cubicBezTo>
                <a:cubicBezTo>
                  <a:pt x="442" y="467"/>
                  <a:pt x="442" y="467"/>
                  <a:pt x="442" y="467"/>
                </a:cubicBezTo>
                <a:cubicBezTo>
                  <a:pt x="443" y="467"/>
                  <a:pt x="443" y="467"/>
                  <a:pt x="443" y="467"/>
                </a:cubicBezTo>
                <a:cubicBezTo>
                  <a:pt x="443" y="467"/>
                  <a:pt x="443" y="467"/>
                  <a:pt x="443" y="467"/>
                </a:cubicBezTo>
                <a:cubicBezTo>
                  <a:pt x="443" y="467"/>
                  <a:pt x="444" y="466"/>
                  <a:pt x="444" y="466"/>
                </a:cubicBezTo>
                <a:cubicBezTo>
                  <a:pt x="444" y="467"/>
                  <a:pt x="445" y="467"/>
                  <a:pt x="445" y="467"/>
                </a:cubicBezTo>
                <a:cubicBezTo>
                  <a:pt x="445" y="467"/>
                  <a:pt x="446" y="467"/>
                  <a:pt x="446" y="467"/>
                </a:cubicBezTo>
                <a:cubicBezTo>
                  <a:pt x="446" y="467"/>
                  <a:pt x="446" y="467"/>
                  <a:pt x="446" y="468"/>
                </a:cubicBezTo>
                <a:cubicBezTo>
                  <a:pt x="446" y="468"/>
                  <a:pt x="447" y="468"/>
                  <a:pt x="447" y="468"/>
                </a:cubicBezTo>
                <a:cubicBezTo>
                  <a:pt x="448" y="468"/>
                  <a:pt x="449" y="468"/>
                  <a:pt x="451" y="469"/>
                </a:cubicBezTo>
                <a:cubicBezTo>
                  <a:pt x="451" y="469"/>
                  <a:pt x="451" y="469"/>
                  <a:pt x="452" y="469"/>
                </a:cubicBezTo>
                <a:cubicBezTo>
                  <a:pt x="452" y="469"/>
                  <a:pt x="452" y="469"/>
                  <a:pt x="452" y="469"/>
                </a:cubicBezTo>
                <a:cubicBezTo>
                  <a:pt x="453" y="469"/>
                  <a:pt x="453" y="469"/>
                  <a:pt x="454" y="469"/>
                </a:cubicBezTo>
                <a:cubicBezTo>
                  <a:pt x="454" y="470"/>
                  <a:pt x="454" y="470"/>
                  <a:pt x="455" y="470"/>
                </a:cubicBezTo>
                <a:cubicBezTo>
                  <a:pt x="455" y="470"/>
                  <a:pt x="455" y="470"/>
                  <a:pt x="456" y="470"/>
                </a:cubicBezTo>
                <a:cubicBezTo>
                  <a:pt x="456" y="471"/>
                  <a:pt x="456" y="471"/>
                  <a:pt x="457" y="471"/>
                </a:cubicBezTo>
                <a:cubicBezTo>
                  <a:pt x="457" y="471"/>
                  <a:pt x="457" y="471"/>
                  <a:pt x="457" y="471"/>
                </a:cubicBezTo>
                <a:cubicBezTo>
                  <a:pt x="458" y="471"/>
                  <a:pt x="458" y="471"/>
                  <a:pt x="458" y="471"/>
                </a:cubicBezTo>
                <a:cubicBezTo>
                  <a:pt x="459" y="471"/>
                  <a:pt x="460" y="471"/>
                  <a:pt x="461" y="471"/>
                </a:cubicBezTo>
                <a:cubicBezTo>
                  <a:pt x="461" y="471"/>
                  <a:pt x="462" y="471"/>
                  <a:pt x="462" y="471"/>
                </a:cubicBezTo>
                <a:cubicBezTo>
                  <a:pt x="463" y="470"/>
                  <a:pt x="463" y="470"/>
                  <a:pt x="464" y="470"/>
                </a:cubicBezTo>
                <a:cubicBezTo>
                  <a:pt x="464" y="470"/>
                  <a:pt x="465" y="470"/>
                  <a:pt x="466" y="470"/>
                </a:cubicBezTo>
                <a:cubicBezTo>
                  <a:pt x="466" y="470"/>
                  <a:pt x="466" y="470"/>
                  <a:pt x="466" y="470"/>
                </a:cubicBezTo>
                <a:cubicBezTo>
                  <a:pt x="466" y="470"/>
                  <a:pt x="467" y="470"/>
                  <a:pt x="467" y="470"/>
                </a:cubicBezTo>
                <a:cubicBezTo>
                  <a:pt x="467" y="470"/>
                  <a:pt x="468" y="470"/>
                  <a:pt x="468" y="470"/>
                </a:cubicBezTo>
                <a:cubicBezTo>
                  <a:pt x="468" y="470"/>
                  <a:pt x="469" y="470"/>
                  <a:pt x="469" y="470"/>
                </a:cubicBezTo>
                <a:cubicBezTo>
                  <a:pt x="469" y="470"/>
                  <a:pt x="469" y="470"/>
                  <a:pt x="469" y="470"/>
                </a:cubicBezTo>
                <a:cubicBezTo>
                  <a:pt x="469" y="470"/>
                  <a:pt x="469" y="470"/>
                  <a:pt x="470" y="470"/>
                </a:cubicBezTo>
                <a:cubicBezTo>
                  <a:pt x="470" y="470"/>
                  <a:pt x="471" y="470"/>
                  <a:pt x="471" y="470"/>
                </a:cubicBezTo>
                <a:cubicBezTo>
                  <a:pt x="472" y="470"/>
                  <a:pt x="473" y="470"/>
                  <a:pt x="473" y="470"/>
                </a:cubicBezTo>
                <a:cubicBezTo>
                  <a:pt x="473" y="470"/>
                  <a:pt x="473" y="470"/>
                  <a:pt x="473" y="470"/>
                </a:cubicBezTo>
                <a:cubicBezTo>
                  <a:pt x="473" y="470"/>
                  <a:pt x="473" y="470"/>
                  <a:pt x="472" y="470"/>
                </a:cubicBezTo>
                <a:cubicBezTo>
                  <a:pt x="473" y="469"/>
                  <a:pt x="473" y="469"/>
                  <a:pt x="473" y="469"/>
                </a:cubicBezTo>
                <a:cubicBezTo>
                  <a:pt x="473" y="469"/>
                  <a:pt x="473" y="469"/>
                  <a:pt x="474" y="469"/>
                </a:cubicBezTo>
                <a:cubicBezTo>
                  <a:pt x="474" y="469"/>
                  <a:pt x="474" y="469"/>
                  <a:pt x="475" y="470"/>
                </a:cubicBezTo>
                <a:cubicBezTo>
                  <a:pt x="475" y="470"/>
                  <a:pt x="475" y="470"/>
                  <a:pt x="475" y="470"/>
                </a:cubicBezTo>
                <a:cubicBezTo>
                  <a:pt x="476" y="470"/>
                  <a:pt x="477" y="469"/>
                  <a:pt x="477" y="469"/>
                </a:cubicBezTo>
                <a:cubicBezTo>
                  <a:pt x="478" y="469"/>
                  <a:pt x="478" y="469"/>
                  <a:pt x="478" y="468"/>
                </a:cubicBezTo>
                <a:cubicBezTo>
                  <a:pt x="478" y="468"/>
                  <a:pt x="478" y="468"/>
                  <a:pt x="477" y="468"/>
                </a:cubicBezTo>
                <a:cubicBezTo>
                  <a:pt x="478" y="468"/>
                  <a:pt x="478" y="468"/>
                  <a:pt x="478" y="468"/>
                </a:cubicBezTo>
                <a:cubicBezTo>
                  <a:pt x="478" y="468"/>
                  <a:pt x="478" y="468"/>
                  <a:pt x="478" y="468"/>
                </a:cubicBezTo>
                <a:cubicBezTo>
                  <a:pt x="478" y="468"/>
                  <a:pt x="478" y="468"/>
                  <a:pt x="478" y="468"/>
                </a:cubicBezTo>
                <a:cubicBezTo>
                  <a:pt x="478" y="468"/>
                  <a:pt x="479" y="468"/>
                  <a:pt x="479" y="468"/>
                </a:cubicBezTo>
                <a:cubicBezTo>
                  <a:pt x="479" y="468"/>
                  <a:pt x="479" y="468"/>
                  <a:pt x="479" y="468"/>
                </a:cubicBezTo>
                <a:cubicBezTo>
                  <a:pt x="479" y="468"/>
                  <a:pt x="479" y="468"/>
                  <a:pt x="479" y="468"/>
                </a:cubicBezTo>
                <a:cubicBezTo>
                  <a:pt x="479" y="468"/>
                  <a:pt x="479" y="468"/>
                  <a:pt x="480" y="468"/>
                </a:cubicBezTo>
                <a:cubicBezTo>
                  <a:pt x="480" y="468"/>
                  <a:pt x="480" y="468"/>
                  <a:pt x="480" y="468"/>
                </a:cubicBezTo>
                <a:cubicBezTo>
                  <a:pt x="480" y="468"/>
                  <a:pt x="480" y="468"/>
                  <a:pt x="480" y="468"/>
                </a:cubicBezTo>
                <a:cubicBezTo>
                  <a:pt x="480" y="468"/>
                  <a:pt x="480" y="468"/>
                  <a:pt x="480" y="468"/>
                </a:cubicBezTo>
                <a:cubicBezTo>
                  <a:pt x="480" y="469"/>
                  <a:pt x="480" y="469"/>
                  <a:pt x="480" y="469"/>
                </a:cubicBezTo>
                <a:cubicBezTo>
                  <a:pt x="480" y="469"/>
                  <a:pt x="480" y="469"/>
                  <a:pt x="480" y="469"/>
                </a:cubicBezTo>
                <a:cubicBezTo>
                  <a:pt x="479" y="469"/>
                  <a:pt x="479" y="469"/>
                  <a:pt x="479" y="469"/>
                </a:cubicBezTo>
                <a:cubicBezTo>
                  <a:pt x="479" y="469"/>
                  <a:pt x="479" y="469"/>
                  <a:pt x="479" y="469"/>
                </a:cubicBezTo>
                <a:cubicBezTo>
                  <a:pt x="480" y="470"/>
                  <a:pt x="480" y="470"/>
                  <a:pt x="481" y="470"/>
                </a:cubicBezTo>
                <a:cubicBezTo>
                  <a:pt x="481" y="470"/>
                  <a:pt x="482" y="470"/>
                  <a:pt x="482" y="470"/>
                </a:cubicBezTo>
                <a:cubicBezTo>
                  <a:pt x="482" y="471"/>
                  <a:pt x="482" y="471"/>
                  <a:pt x="482" y="471"/>
                </a:cubicBezTo>
                <a:cubicBezTo>
                  <a:pt x="483" y="471"/>
                  <a:pt x="483" y="471"/>
                  <a:pt x="484" y="471"/>
                </a:cubicBezTo>
                <a:cubicBezTo>
                  <a:pt x="484" y="472"/>
                  <a:pt x="485" y="472"/>
                  <a:pt x="485" y="472"/>
                </a:cubicBezTo>
                <a:cubicBezTo>
                  <a:pt x="486" y="473"/>
                  <a:pt x="487" y="473"/>
                  <a:pt x="488" y="473"/>
                </a:cubicBezTo>
                <a:cubicBezTo>
                  <a:pt x="488" y="473"/>
                  <a:pt x="489" y="473"/>
                  <a:pt x="489" y="473"/>
                </a:cubicBezTo>
                <a:cubicBezTo>
                  <a:pt x="489" y="473"/>
                  <a:pt x="489" y="473"/>
                  <a:pt x="489" y="473"/>
                </a:cubicBezTo>
                <a:cubicBezTo>
                  <a:pt x="489" y="473"/>
                  <a:pt x="489" y="473"/>
                  <a:pt x="489" y="473"/>
                </a:cubicBezTo>
                <a:cubicBezTo>
                  <a:pt x="489" y="474"/>
                  <a:pt x="489" y="474"/>
                  <a:pt x="489" y="474"/>
                </a:cubicBezTo>
                <a:cubicBezTo>
                  <a:pt x="489" y="474"/>
                  <a:pt x="489" y="475"/>
                  <a:pt x="489" y="475"/>
                </a:cubicBezTo>
                <a:cubicBezTo>
                  <a:pt x="489" y="475"/>
                  <a:pt x="489" y="475"/>
                  <a:pt x="489" y="475"/>
                </a:cubicBezTo>
                <a:cubicBezTo>
                  <a:pt x="490" y="475"/>
                  <a:pt x="490" y="475"/>
                  <a:pt x="490" y="475"/>
                </a:cubicBezTo>
                <a:cubicBezTo>
                  <a:pt x="490" y="475"/>
                  <a:pt x="490" y="475"/>
                  <a:pt x="490" y="475"/>
                </a:cubicBezTo>
                <a:cubicBezTo>
                  <a:pt x="490" y="475"/>
                  <a:pt x="490" y="476"/>
                  <a:pt x="490" y="476"/>
                </a:cubicBezTo>
                <a:cubicBezTo>
                  <a:pt x="490" y="476"/>
                  <a:pt x="490" y="477"/>
                  <a:pt x="490" y="477"/>
                </a:cubicBezTo>
                <a:cubicBezTo>
                  <a:pt x="490" y="477"/>
                  <a:pt x="490" y="477"/>
                  <a:pt x="490" y="477"/>
                </a:cubicBezTo>
                <a:cubicBezTo>
                  <a:pt x="490" y="478"/>
                  <a:pt x="491" y="478"/>
                  <a:pt x="491" y="478"/>
                </a:cubicBezTo>
                <a:cubicBezTo>
                  <a:pt x="492" y="478"/>
                  <a:pt x="492" y="478"/>
                  <a:pt x="493" y="478"/>
                </a:cubicBezTo>
                <a:cubicBezTo>
                  <a:pt x="493" y="478"/>
                  <a:pt x="493" y="478"/>
                  <a:pt x="494" y="478"/>
                </a:cubicBezTo>
                <a:cubicBezTo>
                  <a:pt x="494" y="478"/>
                  <a:pt x="494" y="478"/>
                  <a:pt x="494" y="478"/>
                </a:cubicBezTo>
                <a:cubicBezTo>
                  <a:pt x="494" y="478"/>
                  <a:pt x="495" y="478"/>
                  <a:pt x="495" y="478"/>
                </a:cubicBezTo>
                <a:cubicBezTo>
                  <a:pt x="495" y="478"/>
                  <a:pt x="495" y="477"/>
                  <a:pt x="495" y="477"/>
                </a:cubicBezTo>
                <a:cubicBezTo>
                  <a:pt x="495" y="477"/>
                  <a:pt x="495" y="477"/>
                  <a:pt x="495" y="477"/>
                </a:cubicBezTo>
                <a:cubicBezTo>
                  <a:pt x="494" y="477"/>
                  <a:pt x="494" y="476"/>
                  <a:pt x="493" y="476"/>
                </a:cubicBezTo>
                <a:cubicBezTo>
                  <a:pt x="493" y="476"/>
                  <a:pt x="493" y="476"/>
                  <a:pt x="493" y="476"/>
                </a:cubicBezTo>
                <a:cubicBezTo>
                  <a:pt x="493" y="476"/>
                  <a:pt x="493" y="476"/>
                  <a:pt x="493" y="476"/>
                </a:cubicBezTo>
                <a:cubicBezTo>
                  <a:pt x="493" y="476"/>
                  <a:pt x="494" y="476"/>
                  <a:pt x="494" y="476"/>
                </a:cubicBezTo>
                <a:cubicBezTo>
                  <a:pt x="494" y="476"/>
                  <a:pt x="495" y="476"/>
                  <a:pt x="495" y="476"/>
                </a:cubicBezTo>
                <a:cubicBezTo>
                  <a:pt x="495" y="476"/>
                  <a:pt x="495" y="476"/>
                  <a:pt x="495" y="477"/>
                </a:cubicBezTo>
                <a:cubicBezTo>
                  <a:pt x="496" y="477"/>
                  <a:pt x="496" y="477"/>
                  <a:pt x="496" y="477"/>
                </a:cubicBezTo>
                <a:cubicBezTo>
                  <a:pt x="497" y="477"/>
                  <a:pt x="497" y="477"/>
                  <a:pt x="497" y="477"/>
                </a:cubicBezTo>
                <a:cubicBezTo>
                  <a:pt x="497" y="477"/>
                  <a:pt x="498" y="478"/>
                  <a:pt x="498" y="478"/>
                </a:cubicBezTo>
                <a:cubicBezTo>
                  <a:pt x="498" y="478"/>
                  <a:pt x="499" y="478"/>
                  <a:pt x="499" y="478"/>
                </a:cubicBezTo>
                <a:cubicBezTo>
                  <a:pt x="499" y="478"/>
                  <a:pt x="500" y="478"/>
                  <a:pt x="500" y="478"/>
                </a:cubicBezTo>
                <a:cubicBezTo>
                  <a:pt x="500" y="478"/>
                  <a:pt x="501" y="478"/>
                  <a:pt x="501" y="479"/>
                </a:cubicBezTo>
                <a:cubicBezTo>
                  <a:pt x="501" y="479"/>
                  <a:pt x="501" y="479"/>
                  <a:pt x="501" y="479"/>
                </a:cubicBezTo>
                <a:cubicBezTo>
                  <a:pt x="501" y="479"/>
                  <a:pt x="501" y="479"/>
                  <a:pt x="501" y="480"/>
                </a:cubicBezTo>
                <a:cubicBezTo>
                  <a:pt x="501" y="480"/>
                  <a:pt x="501" y="480"/>
                  <a:pt x="501" y="480"/>
                </a:cubicBezTo>
                <a:cubicBezTo>
                  <a:pt x="501" y="480"/>
                  <a:pt x="501" y="480"/>
                  <a:pt x="502" y="481"/>
                </a:cubicBezTo>
                <a:cubicBezTo>
                  <a:pt x="502" y="481"/>
                  <a:pt x="502" y="481"/>
                  <a:pt x="503" y="481"/>
                </a:cubicBezTo>
                <a:cubicBezTo>
                  <a:pt x="503" y="481"/>
                  <a:pt x="503" y="481"/>
                  <a:pt x="504" y="481"/>
                </a:cubicBezTo>
                <a:cubicBezTo>
                  <a:pt x="504" y="481"/>
                  <a:pt x="504" y="481"/>
                  <a:pt x="504" y="480"/>
                </a:cubicBezTo>
                <a:cubicBezTo>
                  <a:pt x="504" y="480"/>
                  <a:pt x="504" y="480"/>
                  <a:pt x="504" y="480"/>
                </a:cubicBezTo>
                <a:cubicBezTo>
                  <a:pt x="504" y="480"/>
                  <a:pt x="504" y="480"/>
                  <a:pt x="503" y="479"/>
                </a:cubicBezTo>
                <a:cubicBezTo>
                  <a:pt x="503" y="479"/>
                  <a:pt x="503" y="479"/>
                  <a:pt x="503" y="479"/>
                </a:cubicBezTo>
                <a:cubicBezTo>
                  <a:pt x="503" y="479"/>
                  <a:pt x="503" y="479"/>
                  <a:pt x="502" y="479"/>
                </a:cubicBezTo>
                <a:cubicBezTo>
                  <a:pt x="503" y="479"/>
                  <a:pt x="503" y="479"/>
                  <a:pt x="503" y="479"/>
                </a:cubicBezTo>
                <a:cubicBezTo>
                  <a:pt x="503" y="479"/>
                  <a:pt x="503" y="479"/>
                  <a:pt x="503" y="479"/>
                </a:cubicBezTo>
                <a:cubicBezTo>
                  <a:pt x="504" y="479"/>
                  <a:pt x="504" y="479"/>
                  <a:pt x="504" y="480"/>
                </a:cubicBezTo>
                <a:cubicBezTo>
                  <a:pt x="504" y="480"/>
                  <a:pt x="505" y="480"/>
                  <a:pt x="505" y="480"/>
                </a:cubicBezTo>
                <a:cubicBezTo>
                  <a:pt x="505" y="480"/>
                  <a:pt x="505" y="480"/>
                  <a:pt x="505" y="480"/>
                </a:cubicBezTo>
                <a:cubicBezTo>
                  <a:pt x="505" y="480"/>
                  <a:pt x="505" y="480"/>
                  <a:pt x="505" y="480"/>
                </a:cubicBezTo>
                <a:cubicBezTo>
                  <a:pt x="505" y="480"/>
                  <a:pt x="506" y="481"/>
                  <a:pt x="506" y="481"/>
                </a:cubicBezTo>
                <a:cubicBezTo>
                  <a:pt x="506" y="481"/>
                  <a:pt x="506" y="481"/>
                  <a:pt x="506" y="480"/>
                </a:cubicBezTo>
                <a:cubicBezTo>
                  <a:pt x="506" y="480"/>
                  <a:pt x="506" y="480"/>
                  <a:pt x="506" y="480"/>
                </a:cubicBezTo>
                <a:cubicBezTo>
                  <a:pt x="506" y="480"/>
                  <a:pt x="506" y="480"/>
                  <a:pt x="506" y="480"/>
                </a:cubicBezTo>
                <a:cubicBezTo>
                  <a:pt x="506" y="480"/>
                  <a:pt x="506" y="480"/>
                  <a:pt x="506" y="480"/>
                </a:cubicBezTo>
                <a:cubicBezTo>
                  <a:pt x="507" y="480"/>
                  <a:pt x="507" y="479"/>
                  <a:pt x="507" y="479"/>
                </a:cubicBezTo>
                <a:cubicBezTo>
                  <a:pt x="507" y="479"/>
                  <a:pt x="508" y="479"/>
                  <a:pt x="508" y="479"/>
                </a:cubicBezTo>
                <a:cubicBezTo>
                  <a:pt x="508" y="479"/>
                  <a:pt x="508" y="479"/>
                  <a:pt x="509" y="479"/>
                </a:cubicBezTo>
                <a:cubicBezTo>
                  <a:pt x="509" y="479"/>
                  <a:pt x="509" y="479"/>
                  <a:pt x="509" y="479"/>
                </a:cubicBezTo>
                <a:cubicBezTo>
                  <a:pt x="509" y="479"/>
                  <a:pt x="509" y="479"/>
                  <a:pt x="510" y="479"/>
                </a:cubicBezTo>
                <a:cubicBezTo>
                  <a:pt x="510" y="479"/>
                  <a:pt x="510" y="479"/>
                  <a:pt x="510" y="479"/>
                </a:cubicBezTo>
                <a:cubicBezTo>
                  <a:pt x="510" y="479"/>
                  <a:pt x="510" y="479"/>
                  <a:pt x="510" y="479"/>
                </a:cubicBezTo>
                <a:cubicBezTo>
                  <a:pt x="511" y="479"/>
                  <a:pt x="511" y="479"/>
                  <a:pt x="512" y="479"/>
                </a:cubicBezTo>
                <a:cubicBezTo>
                  <a:pt x="512" y="479"/>
                  <a:pt x="512" y="479"/>
                  <a:pt x="512" y="480"/>
                </a:cubicBezTo>
                <a:cubicBezTo>
                  <a:pt x="513" y="480"/>
                  <a:pt x="513" y="480"/>
                  <a:pt x="513" y="480"/>
                </a:cubicBezTo>
                <a:cubicBezTo>
                  <a:pt x="514" y="480"/>
                  <a:pt x="514" y="480"/>
                  <a:pt x="514" y="480"/>
                </a:cubicBezTo>
                <a:cubicBezTo>
                  <a:pt x="514" y="480"/>
                  <a:pt x="515" y="480"/>
                  <a:pt x="515" y="480"/>
                </a:cubicBezTo>
                <a:cubicBezTo>
                  <a:pt x="515" y="480"/>
                  <a:pt x="515" y="480"/>
                  <a:pt x="515" y="480"/>
                </a:cubicBezTo>
                <a:cubicBezTo>
                  <a:pt x="515" y="480"/>
                  <a:pt x="515" y="480"/>
                  <a:pt x="515" y="480"/>
                </a:cubicBezTo>
                <a:cubicBezTo>
                  <a:pt x="515" y="479"/>
                  <a:pt x="515" y="479"/>
                  <a:pt x="515" y="479"/>
                </a:cubicBezTo>
                <a:cubicBezTo>
                  <a:pt x="515" y="479"/>
                  <a:pt x="515" y="479"/>
                  <a:pt x="516" y="479"/>
                </a:cubicBezTo>
                <a:cubicBezTo>
                  <a:pt x="516" y="479"/>
                  <a:pt x="516" y="479"/>
                  <a:pt x="516" y="479"/>
                </a:cubicBezTo>
                <a:cubicBezTo>
                  <a:pt x="516" y="479"/>
                  <a:pt x="516" y="479"/>
                  <a:pt x="516" y="480"/>
                </a:cubicBezTo>
                <a:cubicBezTo>
                  <a:pt x="516" y="480"/>
                  <a:pt x="516" y="480"/>
                  <a:pt x="516" y="480"/>
                </a:cubicBezTo>
                <a:cubicBezTo>
                  <a:pt x="516" y="480"/>
                  <a:pt x="516" y="481"/>
                  <a:pt x="516" y="481"/>
                </a:cubicBezTo>
                <a:cubicBezTo>
                  <a:pt x="516" y="481"/>
                  <a:pt x="517" y="481"/>
                  <a:pt x="517" y="481"/>
                </a:cubicBezTo>
                <a:cubicBezTo>
                  <a:pt x="517" y="481"/>
                  <a:pt x="518" y="481"/>
                  <a:pt x="518" y="481"/>
                </a:cubicBezTo>
                <a:cubicBezTo>
                  <a:pt x="518" y="481"/>
                  <a:pt x="518" y="480"/>
                  <a:pt x="519" y="480"/>
                </a:cubicBezTo>
                <a:cubicBezTo>
                  <a:pt x="519" y="480"/>
                  <a:pt x="519" y="480"/>
                  <a:pt x="519" y="479"/>
                </a:cubicBezTo>
                <a:cubicBezTo>
                  <a:pt x="519" y="479"/>
                  <a:pt x="520" y="479"/>
                  <a:pt x="520" y="479"/>
                </a:cubicBezTo>
                <a:cubicBezTo>
                  <a:pt x="520" y="479"/>
                  <a:pt x="520" y="479"/>
                  <a:pt x="520" y="479"/>
                </a:cubicBezTo>
                <a:cubicBezTo>
                  <a:pt x="520" y="479"/>
                  <a:pt x="520" y="479"/>
                  <a:pt x="520" y="478"/>
                </a:cubicBezTo>
                <a:cubicBezTo>
                  <a:pt x="520" y="478"/>
                  <a:pt x="520" y="478"/>
                  <a:pt x="519" y="478"/>
                </a:cubicBezTo>
                <a:cubicBezTo>
                  <a:pt x="519" y="478"/>
                  <a:pt x="519" y="478"/>
                  <a:pt x="518" y="478"/>
                </a:cubicBezTo>
                <a:cubicBezTo>
                  <a:pt x="518" y="478"/>
                  <a:pt x="518" y="478"/>
                  <a:pt x="518" y="477"/>
                </a:cubicBezTo>
                <a:cubicBezTo>
                  <a:pt x="518" y="477"/>
                  <a:pt x="518" y="477"/>
                  <a:pt x="518" y="477"/>
                </a:cubicBezTo>
                <a:cubicBezTo>
                  <a:pt x="518" y="477"/>
                  <a:pt x="518" y="477"/>
                  <a:pt x="519" y="476"/>
                </a:cubicBezTo>
                <a:cubicBezTo>
                  <a:pt x="519" y="476"/>
                  <a:pt x="520" y="476"/>
                  <a:pt x="520" y="476"/>
                </a:cubicBezTo>
                <a:cubicBezTo>
                  <a:pt x="520" y="475"/>
                  <a:pt x="521" y="475"/>
                  <a:pt x="521" y="474"/>
                </a:cubicBezTo>
                <a:cubicBezTo>
                  <a:pt x="521" y="474"/>
                  <a:pt x="521" y="474"/>
                  <a:pt x="521" y="474"/>
                </a:cubicBezTo>
                <a:cubicBezTo>
                  <a:pt x="521" y="474"/>
                  <a:pt x="521" y="474"/>
                  <a:pt x="521" y="474"/>
                </a:cubicBezTo>
                <a:cubicBezTo>
                  <a:pt x="521" y="474"/>
                  <a:pt x="521" y="474"/>
                  <a:pt x="521" y="473"/>
                </a:cubicBezTo>
                <a:cubicBezTo>
                  <a:pt x="521" y="473"/>
                  <a:pt x="521" y="473"/>
                  <a:pt x="522" y="472"/>
                </a:cubicBezTo>
                <a:cubicBezTo>
                  <a:pt x="522" y="472"/>
                  <a:pt x="523" y="472"/>
                  <a:pt x="523" y="472"/>
                </a:cubicBezTo>
                <a:cubicBezTo>
                  <a:pt x="523" y="472"/>
                  <a:pt x="524" y="472"/>
                  <a:pt x="524" y="472"/>
                </a:cubicBezTo>
                <a:cubicBezTo>
                  <a:pt x="524" y="472"/>
                  <a:pt x="524" y="472"/>
                  <a:pt x="525" y="473"/>
                </a:cubicBezTo>
                <a:cubicBezTo>
                  <a:pt x="525" y="473"/>
                  <a:pt x="525" y="472"/>
                  <a:pt x="525" y="472"/>
                </a:cubicBezTo>
                <a:cubicBezTo>
                  <a:pt x="526" y="473"/>
                  <a:pt x="526" y="473"/>
                  <a:pt x="527" y="473"/>
                </a:cubicBezTo>
                <a:cubicBezTo>
                  <a:pt x="527" y="473"/>
                  <a:pt x="527" y="473"/>
                  <a:pt x="527" y="474"/>
                </a:cubicBezTo>
                <a:cubicBezTo>
                  <a:pt x="527" y="474"/>
                  <a:pt x="527" y="474"/>
                  <a:pt x="528" y="474"/>
                </a:cubicBezTo>
                <a:cubicBezTo>
                  <a:pt x="528" y="474"/>
                  <a:pt x="528" y="474"/>
                  <a:pt x="528" y="474"/>
                </a:cubicBezTo>
                <a:cubicBezTo>
                  <a:pt x="528" y="473"/>
                  <a:pt x="528" y="473"/>
                  <a:pt x="528" y="473"/>
                </a:cubicBezTo>
                <a:cubicBezTo>
                  <a:pt x="529" y="473"/>
                  <a:pt x="529" y="473"/>
                  <a:pt x="529" y="473"/>
                </a:cubicBezTo>
                <a:cubicBezTo>
                  <a:pt x="529" y="473"/>
                  <a:pt x="529" y="473"/>
                  <a:pt x="529" y="473"/>
                </a:cubicBezTo>
                <a:cubicBezTo>
                  <a:pt x="529" y="473"/>
                  <a:pt x="529" y="473"/>
                  <a:pt x="529" y="474"/>
                </a:cubicBezTo>
                <a:cubicBezTo>
                  <a:pt x="529" y="474"/>
                  <a:pt x="529" y="474"/>
                  <a:pt x="528" y="474"/>
                </a:cubicBezTo>
                <a:cubicBezTo>
                  <a:pt x="528" y="474"/>
                  <a:pt x="528" y="474"/>
                  <a:pt x="528" y="475"/>
                </a:cubicBezTo>
                <a:cubicBezTo>
                  <a:pt x="528" y="475"/>
                  <a:pt x="528" y="475"/>
                  <a:pt x="528" y="475"/>
                </a:cubicBezTo>
                <a:cubicBezTo>
                  <a:pt x="528" y="475"/>
                  <a:pt x="528" y="476"/>
                  <a:pt x="528" y="476"/>
                </a:cubicBezTo>
                <a:cubicBezTo>
                  <a:pt x="529" y="476"/>
                  <a:pt x="529" y="477"/>
                  <a:pt x="530" y="477"/>
                </a:cubicBezTo>
                <a:cubicBezTo>
                  <a:pt x="530" y="477"/>
                  <a:pt x="530" y="477"/>
                  <a:pt x="531" y="477"/>
                </a:cubicBezTo>
                <a:cubicBezTo>
                  <a:pt x="531" y="477"/>
                  <a:pt x="531" y="477"/>
                  <a:pt x="531" y="477"/>
                </a:cubicBezTo>
                <a:cubicBezTo>
                  <a:pt x="531" y="478"/>
                  <a:pt x="531" y="478"/>
                  <a:pt x="531" y="478"/>
                </a:cubicBezTo>
                <a:cubicBezTo>
                  <a:pt x="532" y="478"/>
                  <a:pt x="532" y="479"/>
                  <a:pt x="532" y="479"/>
                </a:cubicBezTo>
                <a:cubicBezTo>
                  <a:pt x="532" y="479"/>
                  <a:pt x="533" y="479"/>
                  <a:pt x="533" y="480"/>
                </a:cubicBezTo>
                <a:cubicBezTo>
                  <a:pt x="533" y="479"/>
                  <a:pt x="533" y="479"/>
                  <a:pt x="533" y="479"/>
                </a:cubicBezTo>
                <a:cubicBezTo>
                  <a:pt x="533" y="479"/>
                  <a:pt x="534" y="479"/>
                  <a:pt x="534" y="479"/>
                </a:cubicBezTo>
                <a:cubicBezTo>
                  <a:pt x="534" y="479"/>
                  <a:pt x="534" y="479"/>
                  <a:pt x="534" y="479"/>
                </a:cubicBezTo>
                <a:cubicBezTo>
                  <a:pt x="534" y="480"/>
                  <a:pt x="534" y="480"/>
                  <a:pt x="534" y="480"/>
                </a:cubicBezTo>
                <a:cubicBezTo>
                  <a:pt x="534" y="480"/>
                  <a:pt x="534" y="481"/>
                  <a:pt x="534" y="481"/>
                </a:cubicBezTo>
                <a:cubicBezTo>
                  <a:pt x="534" y="481"/>
                  <a:pt x="534" y="481"/>
                  <a:pt x="534" y="481"/>
                </a:cubicBezTo>
                <a:cubicBezTo>
                  <a:pt x="534" y="481"/>
                  <a:pt x="535" y="481"/>
                  <a:pt x="535" y="481"/>
                </a:cubicBezTo>
                <a:cubicBezTo>
                  <a:pt x="535" y="482"/>
                  <a:pt x="535" y="482"/>
                  <a:pt x="535" y="482"/>
                </a:cubicBezTo>
                <a:cubicBezTo>
                  <a:pt x="535" y="483"/>
                  <a:pt x="535" y="483"/>
                  <a:pt x="534" y="483"/>
                </a:cubicBezTo>
                <a:cubicBezTo>
                  <a:pt x="534" y="483"/>
                  <a:pt x="534" y="483"/>
                  <a:pt x="534" y="484"/>
                </a:cubicBezTo>
                <a:cubicBezTo>
                  <a:pt x="534" y="484"/>
                  <a:pt x="535" y="484"/>
                  <a:pt x="535" y="484"/>
                </a:cubicBezTo>
                <a:cubicBezTo>
                  <a:pt x="535" y="484"/>
                  <a:pt x="535" y="484"/>
                  <a:pt x="535" y="484"/>
                </a:cubicBezTo>
                <a:cubicBezTo>
                  <a:pt x="535" y="485"/>
                  <a:pt x="535" y="485"/>
                  <a:pt x="535" y="485"/>
                </a:cubicBezTo>
                <a:cubicBezTo>
                  <a:pt x="536" y="486"/>
                  <a:pt x="536" y="486"/>
                  <a:pt x="536" y="487"/>
                </a:cubicBezTo>
                <a:cubicBezTo>
                  <a:pt x="536" y="487"/>
                  <a:pt x="536" y="487"/>
                  <a:pt x="535" y="488"/>
                </a:cubicBezTo>
                <a:cubicBezTo>
                  <a:pt x="535" y="488"/>
                  <a:pt x="535" y="488"/>
                  <a:pt x="535" y="488"/>
                </a:cubicBezTo>
                <a:cubicBezTo>
                  <a:pt x="536" y="488"/>
                  <a:pt x="536" y="489"/>
                  <a:pt x="536" y="489"/>
                </a:cubicBezTo>
                <a:cubicBezTo>
                  <a:pt x="536" y="489"/>
                  <a:pt x="537" y="488"/>
                  <a:pt x="537" y="488"/>
                </a:cubicBezTo>
                <a:cubicBezTo>
                  <a:pt x="537" y="488"/>
                  <a:pt x="537" y="489"/>
                  <a:pt x="537" y="489"/>
                </a:cubicBezTo>
                <a:cubicBezTo>
                  <a:pt x="537" y="489"/>
                  <a:pt x="537" y="489"/>
                  <a:pt x="538" y="489"/>
                </a:cubicBezTo>
                <a:cubicBezTo>
                  <a:pt x="538" y="489"/>
                  <a:pt x="538" y="489"/>
                  <a:pt x="538" y="489"/>
                </a:cubicBezTo>
                <a:cubicBezTo>
                  <a:pt x="538" y="489"/>
                  <a:pt x="538" y="489"/>
                  <a:pt x="538" y="489"/>
                </a:cubicBezTo>
                <a:cubicBezTo>
                  <a:pt x="538" y="489"/>
                  <a:pt x="538" y="490"/>
                  <a:pt x="538" y="490"/>
                </a:cubicBezTo>
                <a:cubicBezTo>
                  <a:pt x="538" y="490"/>
                  <a:pt x="538" y="490"/>
                  <a:pt x="538" y="491"/>
                </a:cubicBezTo>
                <a:cubicBezTo>
                  <a:pt x="537" y="491"/>
                  <a:pt x="537" y="492"/>
                  <a:pt x="536" y="492"/>
                </a:cubicBezTo>
                <a:cubicBezTo>
                  <a:pt x="536" y="493"/>
                  <a:pt x="536" y="493"/>
                  <a:pt x="536" y="493"/>
                </a:cubicBezTo>
                <a:cubicBezTo>
                  <a:pt x="536" y="494"/>
                  <a:pt x="535" y="494"/>
                  <a:pt x="535" y="495"/>
                </a:cubicBezTo>
                <a:cubicBezTo>
                  <a:pt x="534" y="495"/>
                  <a:pt x="534" y="495"/>
                  <a:pt x="533" y="495"/>
                </a:cubicBezTo>
                <a:cubicBezTo>
                  <a:pt x="533" y="496"/>
                  <a:pt x="532" y="496"/>
                  <a:pt x="532" y="497"/>
                </a:cubicBezTo>
                <a:cubicBezTo>
                  <a:pt x="532" y="497"/>
                  <a:pt x="531" y="498"/>
                  <a:pt x="531" y="498"/>
                </a:cubicBezTo>
                <a:cubicBezTo>
                  <a:pt x="531" y="499"/>
                  <a:pt x="531" y="499"/>
                  <a:pt x="531" y="500"/>
                </a:cubicBezTo>
                <a:cubicBezTo>
                  <a:pt x="531" y="500"/>
                  <a:pt x="531" y="500"/>
                  <a:pt x="531" y="500"/>
                </a:cubicBezTo>
                <a:cubicBezTo>
                  <a:pt x="531" y="501"/>
                  <a:pt x="531" y="501"/>
                  <a:pt x="531" y="501"/>
                </a:cubicBezTo>
                <a:cubicBezTo>
                  <a:pt x="531" y="501"/>
                  <a:pt x="530" y="502"/>
                  <a:pt x="530" y="502"/>
                </a:cubicBezTo>
                <a:cubicBezTo>
                  <a:pt x="529" y="502"/>
                  <a:pt x="529" y="503"/>
                  <a:pt x="528" y="503"/>
                </a:cubicBezTo>
                <a:cubicBezTo>
                  <a:pt x="528" y="504"/>
                  <a:pt x="527" y="504"/>
                  <a:pt x="527" y="504"/>
                </a:cubicBezTo>
                <a:cubicBezTo>
                  <a:pt x="527" y="504"/>
                  <a:pt x="526" y="504"/>
                  <a:pt x="526" y="505"/>
                </a:cubicBezTo>
                <a:cubicBezTo>
                  <a:pt x="526" y="505"/>
                  <a:pt x="526" y="505"/>
                  <a:pt x="527" y="505"/>
                </a:cubicBezTo>
                <a:cubicBezTo>
                  <a:pt x="527" y="505"/>
                  <a:pt x="527" y="506"/>
                  <a:pt x="527" y="506"/>
                </a:cubicBezTo>
                <a:cubicBezTo>
                  <a:pt x="527" y="506"/>
                  <a:pt x="527" y="506"/>
                  <a:pt x="527" y="506"/>
                </a:cubicBezTo>
                <a:cubicBezTo>
                  <a:pt x="527" y="506"/>
                  <a:pt x="527" y="507"/>
                  <a:pt x="527" y="507"/>
                </a:cubicBezTo>
                <a:cubicBezTo>
                  <a:pt x="527" y="508"/>
                  <a:pt x="526" y="508"/>
                  <a:pt x="526" y="509"/>
                </a:cubicBezTo>
                <a:cubicBezTo>
                  <a:pt x="526" y="509"/>
                  <a:pt x="526" y="510"/>
                  <a:pt x="526" y="510"/>
                </a:cubicBezTo>
                <a:cubicBezTo>
                  <a:pt x="526" y="510"/>
                  <a:pt x="526" y="510"/>
                  <a:pt x="527" y="510"/>
                </a:cubicBezTo>
                <a:cubicBezTo>
                  <a:pt x="526" y="510"/>
                  <a:pt x="526" y="511"/>
                  <a:pt x="526" y="511"/>
                </a:cubicBezTo>
                <a:cubicBezTo>
                  <a:pt x="526" y="511"/>
                  <a:pt x="525" y="512"/>
                  <a:pt x="525" y="512"/>
                </a:cubicBezTo>
                <a:cubicBezTo>
                  <a:pt x="525" y="512"/>
                  <a:pt x="525" y="512"/>
                  <a:pt x="524" y="513"/>
                </a:cubicBezTo>
                <a:cubicBezTo>
                  <a:pt x="525" y="513"/>
                  <a:pt x="525" y="513"/>
                  <a:pt x="525" y="513"/>
                </a:cubicBezTo>
                <a:cubicBezTo>
                  <a:pt x="525" y="513"/>
                  <a:pt x="525" y="514"/>
                  <a:pt x="526" y="514"/>
                </a:cubicBezTo>
                <a:cubicBezTo>
                  <a:pt x="526" y="514"/>
                  <a:pt x="526" y="514"/>
                  <a:pt x="526" y="514"/>
                </a:cubicBezTo>
                <a:cubicBezTo>
                  <a:pt x="526" y="515"/>
                  <a:pt x="526" y="515"/>
                  <a:pt x="526" y="515"/>
                </a:cubicBezTo>
                <a:cubicBezTo>
                  <a:pt x="526" y="516"/>
                  <a:pt x="526" y="516"/>
                  <a:pt x="526" y="516"/>
                </a:cubicBezTo>
                <a:cubicBezTo>
                  <a:pt x="526" y="516"/>
                  <a:pt x="525" y="517"/>
                  <a:pt x="525" y="517"/>
                </a:cubicBezTo>
                <a:cubicBezTo>
                  <a:pt x="526" y="517"/>
                  <a:pt x="526" y="517"/>
                  <a:pt x="526" y="517"/>
                </a:cubicBezTo>
                <a:cubicBezTo>
                  <a:pt x="526" y="517"/>
                  <a:pt x="527" y="517"/>
                  <a:pt x="527" y="517"/>
                </a:cubicBezTo>
                <a:cubicBezTo>
                  <a:pt x="528" y="517"/>
                  <a:pt x="528" y="517"/>
                  <a:pt x="528" y="518"/>
                </a:cubicBezTo>
                <a:cubicBezTo>
                  <a:pt x="529" y="518"/>
                  <a:pt x="529" y="518"/>
                  <a:pt x="529" y="518"/>
                </a:cubicBezTo>
                <a:cubicBezTo>
                  <a:pt x="529" y="518"/>
                  <a:pt x="529" y="518"/>
                  <a:pt x="530" y="518"/>
                </a:cubicBezTo>
                <a:cubicBezTo>
                  <a:pt x="530" y="517"/>
                  <a:pt x="530" y="517"/>
                  <a:pt x="530" y="517"/>
                </a:cubicBezTo>
                <a:cubicBezTo>
                  <a:pt x="530" y="516"/>
                  <a:pt x="530" y="516"/>
                  <a:pt x="530" y="516"/>
                </a:cubicBezTo>
                <a:cubicBezTo>
                  <a:pt x="530" y="516"/>
                  <a:pt x="530" y="516"/>
                  <a:pt x="530" y="515"/>
                </a:cubicBezTo>
                <a:cubicBezTo>
                  <a:pt x="530" y="516"/>
                  <a:pt x="531" y="516"/>
                  <a:pt x="531" y="516"/>
                </a:cubicBezTo>
                <a:cubicBezTo>
                  <a:pt x="531" y="516"/>
                  <a:pt x="531" y="516"/>
                  <a:pt x="531" y="516"/>
                </a:cubicBezTo>
                <a:cubicBezTo>
                  <a:pt x="531" y="516"/>
                  <a:pt x="531" y="516"/>
                  <a:pt x="531" y="516"/>
                </a:cubicBezTo>
                <a:cubicBezTo>
                  <a:pt x="531" y="516"/>
                  <a:pt x="531" y="516"/>
                  <a:pt x="531" y="516"/>
                </a:cubicBezTo>
                <a:cubicBezTo>
                  <a:pt x="531" y="516"/>
                  <a:pt x="531" y="516"/>
                  <a:pt x="531" y="516"/>
                </a:cubicBezTo>
                <a:cubicBezTo>
                  <a:pt x="531" y="516"/>
                  <a:pt x="531" y="516"/>
                  <a:pt x="532" y="516"/>
                </a:cubicBezTo>
                <a:cubicBezTo>
                  <a:pt x="532" y="517"/>
                  <a:pt x="532" y="517"/>
                  <a:pt x="532" y="517"/>
                </a:cubicBezTo>
                <a:cubicBezTo>
                  <a:pt x="532" y="518"/>
                  <a:pt x="532" y="518"/>
                  <a:pt x="532" y="518"/>
                </a:cubicBezTo>
                <a:cubicBezTo>
                  <a:pt x="532" y="518"/>
                  <a:pt x="532" y="519"/>
                  <a:pt x="532" y="519"/>
                </a:cubicBezTo>
                <a:cubicBezTo>
                  <a:pt x="531" y="519"/>
                  <a:pt x="531" y="520"/>
                  <a:pt x="531" y="520"/>
                </a:cubicBezTo>
                <a:cubicBezTo>
                  <a:pt x="531" y="520"/>
                  <a:pt x="531" y="520"/>
                  <a:pt x="531" y="520"/>
                </a:cubicBezTo>
                <a:cubicBezTo>
                  <a:pt x="530" y="521"/>
                  <a:pt x="529" y="521"/>
                  <a:pt x="529" y="522"/>
                </a:cubicBezTo>
                <a:cubicBezTo>
                  <a:pt x="528" y="522"/>
                  <a:pt x="528" y="522"/>
                  <a:pt x="528" y="522"/>
                </a:cubicBezTo>
                <a:cubicBezTo>
                  <a:pt x="527" y="523"/>
                  <a:pt x="527" y="523"/>
                  <a:pt x="527" y="524"/>
                </a:cubicBezTo>
                <a:cubicBezTo>
                  <a:pt x="527" y="524"/>
                  <a:pt x="527" y="525"/>
                  <a:pt x="527" y="525"/>
                </a:cubicBezTo>
                <a:cubicBezTo>
                  <a:pt x="527" y="525"/>
                  <a:pt x="526" y="525"/>
                  <a:pt x="526" y="526"/>
                </a:cubicBezTo>
                <a:cubicBezTo>
                  <a:pt x="526" y="526"/>
                  <a:pt x="527" y="526"/>
                  <a:pt x="527" y="526"/>
                </a:cubicBezTo>
                <a:cubicBezTo>
                  <a:pt x="527" y="526"/>
                  <a:pt x="527" y="526"/>
                  <a:pt x="527" y="526"/>
                </a:cubicBezTo>
                <a:cubicBezTo>
                  <a:pt x="528" y="526"/>
                  <a:pt x="528" y="527"/>
                  <a:pt x="528" y="527"/>
                </a:cubicBezTo>
                <a:cubicBezTo>
                  <a:pt x="528" y="527"/>
                  <a:pt x="527" y="527"/>
                  <a:pt x="527" y="527"/>
                </a:cubicBezTo>
                <a:cubicBezTo>
                  <a:pt x="527" y="527"/>
                  <a:pt x="527" y="528"/>
                  <a:pt x="527" y="528"/>
                </a:cubicBezTo>
                <a:cubicBezTo>
                  <a:pt x="528" y="528"/>
                  <a:pt x="528" y="528"/>
                  <a:pt x="528" y="528"/>
                </a:cubicBezTo>
                <a:cubicBezTo>
                  <a:pt x="529" y="528"/>
                  <a:pt x="529" y="529"/>
                  <a:pt x="529" y="529"/>
                </a:cubicBezTo>
                <a:cubicBezTo>
                  <a:pt x="529" y="529"/>
                  <a:pt x="529" y="529"/>
                  <a:pt x="530" y="530"/>
                </a:cubicBezTo>
                <a:cubicBezTo>
                  <a:pt x="529" y="530"/>
                  <a:pt x="529" y="530"/>
                  <a:pt x="529" y="530"/>
                </a:cubicBezTo>
                <a:cubicBezTo>
                  <a:pt x="529" y="530"/>
                  <a:pt x="528" y="530"/>
                  <a:pt x="528" y="530"/>
                </a:cubicBezTo>
                <a:cubicBezTo>
                  <a:pt x="528" y="530"/>
                  <a:pt x="528" y="531"/>
                  <a:pt x="528" y="531"/>
                </a:cubicBezTo>
                <a:cubicBezTo>
                  <a:pt x="528" y="531"/>
                  <a:pt x="529" y="531"/>
                  <a:pt x="529" y="531"/>
                </a:cubicBezTo>
                <a:cubicBezTo>
                  <a:pt x="529" y="531"/>
                  <a:pt x="530" y="531"/>
                  <a:pt x="530" y="531"/>
                </a:cubicBezTo>
                <a:cubicBezTo>
                  <a:pt x="531" y="531"/>
                  <a:pt x="531" y="532"/>
                  <a:pt x="532" y="532"/>
                </a:cubicBezTo>
                <a:cubicBezTo>
                  <a:pt x="532" y="532"/>
                  <a:pt x="532" y="532"/>
                  <a:pt x="533" y="532"/>
                </a:cubicBezTo>
                <a:cubicBezTo>
                  <a:pt x="534" y="532"/>
                  <a:pt x="534" y="532"/>
                  <a:pt x="535" y="532"/>
                </a:cubicBezTo>
                <a:cubicBezTo>
                  <a:pt x="535" y="532"/>
                  <a:pt x="536" y="532"/>
                  <a:pt x="536" y="532"/>
                </a:cubicBezTo>
                <a:cubicBezTo>
                  <a:pt x="536" y="532"/>
                  <a:pt x="536" y="532"/>
                  <a:pt x="536" y="532"/>
                </a:cubicBezTo>
                <a:cubicBezTo>
                  <a:pt x="537" y="533"/>
                  <a:pt x="537" y="533"/>
                  <a:pt x="538" y="533"/>
                </a:cubicBezTo>
                <a:cubicBezTo>
                  <a:pt x="538" y="534"/>
                  <a:pt x="538" y="534"/>
                  <a:pt x="538" y="534"/>
                </a:cubicBezTo>
                <a:cubicBezTo>
                  <a:pt x="538" y="534"/>
                  <a:pt x="539" y="535"/>
                  <a:pt x="539" y="535"/>
                </a:cubicBezTo>
                <a:cubicBezTo>
                  <a:pt x="540" y="535"/>
                  <a:pt x="540" y="535"/>
                  <a:pt x="541" y="535"/>
                </a:cubicBezTo>
                <a:cubicBezTo>
                  <a:pt x="541" y="535"/>
                  <a:pt x="542" y="536"/>
                  <a:pt x="542" y="536"/>
                </a:cubicBezTo>
                <a:cubicBezTo>
                  <a:pt x="542" y="536"/>
                  <a:pt x="543" y="537"/>
                  <a:pt x="543" y="537"/>
                </a:cubicBezTo>
                <a:cubicBezTo>
                  <a:pt x="543" y="537"/>
                  <a:pt x="543" y="537"/>
                  <a:pt x="543" y="537"/>
                </a:cubicBezTo>
                <a:cubicBezTo>
                  <a:pt x="544" y="538"/>
                  <a:pt x="544" y="538"/>
                  <a:pt x="544" y="539"/>
                </a:cubicBezTo>
                <a:cubicBezTo>
                  <a:pt x="544" y="539"/>
                  <a:pt x="545" y="539"/>
                  <a:pt x="545" y="539"/>
                </a:cubicBezTo>
                <a:cubicBezTo>
                  <a:pt x="545" y="539"/>
                  <a:pt x="545" y="539"/>
                  <a:pt x="546" y="539"/>
                </a:cubicBezTo>
                <a:cubicBezTo>
                  <a:pt x="546" y="540"/>
                  <a:pt x="546" y="540"/>
                  <a:pt x="547" y="540"/>
                </a:cubicBezTo>
                <a:cubicBezTo>
                  <a:pt x="547" y="541"/>
                  <a:pt x="547" y="541"/>
                  <a:pt x="547" y="541"/>
                </a:cubicBezTo>
                <a:cubicBezTo>
                  <a:pt x="547" y="541"/>
                  <a:pt x="547" y="541"/>
                  <a:pt x="547" y="541"/>
                </a:cubicBezTo>
                <a:cubicBezTo>
                  <a:pt x="547" y="542"/>
                  <a:pt x="548" y="542"/>
                  <a:pt x="548" y="543"/>
                </a:cubicBezTo>
                <a:cubicBezTo>
                  <a:pt x="549" y="543"/>
                  <a:pt x="549" y="543"/>
                  <a:pt x="550" y="544"/>
                </a:cubicBezTo>
                <a:cubicBezTo>
                  <a:pt x="550" y="544"/>
                  <a:pt x="550" y="544"/>
                  <a:pt x="551" y="544"/>
                </a:cubicBezTo>
                <a:cubicBezTo>
                  <a:pt x="551" y="544"/>
                  <a:pt x="551" y="545"/>
                  <a:pt x="551" y="545"/>
                </a:cubicBezTo>
                <a:cubicBezTo>
                  <a:pt x="551" y="545"/>
                  <a:pt x="551" y="545"/>
                  <a:pt x="551" y="545"/>
                </a:cubicBezTo>
                <a:cubicBezTo>
                  <a:pt x="551" y="545"/>
                  <a:pt x="551" y="545"/>
                  <a:pt x="552" y="545"/>
                </a:cubicBezTo>
                <a:cubicBezTo>
                  <a:pt x="552" y="546"/>
                  <a:pt x="553" y="546"/>
                  <a:pt x="553" y="546"/>
                </a:cubicBezTo>
                <a:cubicBezTo>
                  <a:pt x="554" y="546"/>
                  <a:pt x="554" y="546"/>
                  <a:pt x="554" y="547"/>
                </a:cubicBezTo>
                <a:cubicBezTo>
                  <a:pt x="554" y="547"/>
                  <a:pt x="554" y="547"/>
                  <a:pt x="554" y="547"/>
                </a:cubicBezTo>
                <a:cubicBezTo>
                  <a:pt x="555" y="548"/>
                  <a:pt x="555" y="548"/>
                  <a:pt x="555" y="548"/>
                </a:cubicBezTo>
                <a:cubicBezTo>
                  <a:pt x="555" y="548"/>
                  <a:pt x="556" y="548"/>
                  <a:pt x="556" y="548"/>
                </a:cubicBezTo>
                <a:cubicBezTo>
                  <a:pt x="556" y="548"/>
                  <a:pt x="557" y="548"/>
                  <a:pt x="557" y="549"/>
                </a:cubicBezTo>
                <a:cubicBezTo>
                  <a:pt x="557" y="549"/>
                  <a:pt x="558" y="550"/>
                  <a:pt x="558" y="550"/>
                </a:cubicBezTo>
                <a:cubicBezTo>
                  <a:pt x="559" y="550"/>
                  <a:pt x="559" y="550"/>
                  <a:pt x="559" y="551"/>
                </a:cubicBezTo>
                <a:cubicBezTo>
                  <a:pt x="560" y="551"/>
                  <a:pt x="560" y="552"/>
                  <a:pt x="561" y="552"/>
                </a:cubicBezTo>
                <a:cubicBezTo>
                  <a:pt x="561" y="552"/>
                  <a:pt x="561" y="552"/>
                  <a:pt x="561" y="553"/>
                </a:cubicBezTo>
                <a:cubicBezTo>
                  <a:pt x="561" y="553"/>
                  <a:pt x="561" y="553"/>
                  <a:pt x="561" y="553"/>
                </a:cubicBezTo>
                <a:cubicBezTo>
                  <a:pt x="561" y="553"/>
                  <a:pt x="560" y="553"/>
                  <a:pt x="560" y="553"/>
                </a:cubicBezTo>
                <a:cubicBezTo>
                  <a:pt x="560" y="553"/>
                  <a:pt x="560" y="553"/>
                  <a:pt x="560" y="553"/>
                </a:cubicBezTo>
                <a:cubicBezTo>
                  <a:pt x="560" y="553"/>
                  <a:pt x="561" y="554"/>
                  <a:pt x="561" y="554"/>
                </a:cubicBezTo>
                <a:cubicBezTo>
                  <a:pt x="561" y="554"/>
                  <a:pt x="561" y="554"/>
                  <a:pt x="561" y="554"/>
                </a:cubicBezTo>
                <a:cubicBezTo>
                  <a:pt x="561" y="554"/>
                  <a:pt x="561" y="554"/>
                  <a:pt x="561" y="554"/>
                </a:cubicBezTo>
                <a:cubicBezTo>
                  <a:pt x="562" y="554"/>
                  <a:pt x="562" y="554"/>
                  <a:pt x="562" y="554"/>
                </a:cubicBezTo>
                <a:cubicBezTo>
                  <a:pt x="562" y="554"/>
                  <a:pt x="562" y="554"/>
                  <a:pt x="562" y="555"/>
                </a:cubicBezTo>
                <a:cubicBezTo>
                  <a:pt x="562" y="555"/>
                  <a:pt x="562" y="555"/>
                  <a:pt x="562" y="555"/>
                </a:cubicBezTo>
                <a:cubicBezTo>
                  <a:pt x="563" y="555"/>
                  <a:pt x="563" y="555"/>
                  <a:pt x="564" y="555"/>
                </a:cubicBezTo>
                <a:cubicBezTo>
                  <a:pt x="564" y="556"/>
                  <a:pt x="565" y="556"/>
                  <a:pt x="566" y="556"/>
                </a:cubicBezTo>
                <a:cubicBezTo>
                  <a:pt x="566" y="556"/>
                  <a:pt x="566" y="556"/>
                  <a:pt x="566" y="556"/>
                </a:cubicBezTo>
                <a:cubicBezTo>
                  <a:pt x="566" y="556"/>
                  <a:pt x="566" y="556"/>
                  <a:pt x="567" y="557"/>
                </a:cubicBezTo>
                <a:cubicBezTo>
                  <a:pt x="567" y="557"/>
                  <a:pt x="567" y="557"/>
                  <a:pt x="567" y="557"/>
                </a:cubicBezTo>
                <a:cubicBezTo>
                  <a:pt x="568" y="557"/>
                  <a:pt x="568" y="557"/>
                  <a:pt x="568" y="557"/>
                </a:cubicBezTo>
                <a:cubicBezTo>
                  <a:pt x="568" y="557"/>
                  <a:pt x="568" y="557"/>
                  <a:pt x="568" y="557"/>
                </a:cubicBezTo>
                <a:cubicBezTo>
                  <a:pt x="569" y="557"/>
                  <a:pt x="569" y="557"/>
                  <a:pt x="569" y="557"/>
                </a:cubicBezTo>
                <a:cubicBezTo>
                  <a:pt x="569" y="557"/>
                  <a:pt x="570" y="557"/>
                  <a:pt x="570" y="557"/>
                </a:cubicBezTo>
                <a:cubicBezTo>
                  <a:pt x="570" y="557"/>
                  <a:pt x="571" y="557"/>
                  <a:pt x="571" y="557"/>
                </a:cubicBezTo>
                <a:cubicBezTo>
                  <a:pt x="571" y="557"/>
                  <a:pt x="571" y="557"/>
                  <a:pt x="571" y="557"/>
                </a:cubicBezTo>
                <a:cubicBezTo>
                  <a:pt x="571" y="557"/>
                  <a:pt x="571" y="558"/>
                  <a:pt x="572" y="558"/>
                </a:cubicBezTo>
                <a:cubicBezTo>
                  <a:pt x="572" y="558"/>
                  <a:pt x="573" y="558"/>
                  <a:pt x="573" y="558"/>
                </a:cubicBezTo>
                <a:cubicBezTo>
                  <a:pt x="573" y="558"/>
                  <a:pt x="574" y="558"/>
                  <a:pt x="574" y="558"/>
                </a:cubicBezTo>
                <a:cubicBezTo>
                  <a:pt x="574" y="558"/>
                  <a:pt x="574" y="559"/>
                  <a:pt x="574" y="559"/>
                </a:cubicBezTo>
                <a:cubicBezTo>
                  <a:pt x="574" y="559"/>
                  <a:pt x="575" y="559"/>
                  <a:pt x="575" y="559"/>
                </a:cubicBezTo>
                <a:cubicBezTo>
                  <a:pt x="575" y="559"/>
                  <a:pt x="576" y="559"/>
                  <a:pt x="576" y="559"/>
                </a:cubicBezTo>
                <a:cubicBezTo>
                  <a:pt x="576" y="559"/>
                  <a:pt x="576" y="559"/>
                  <a:pt x="577" y="559"/>
                </a:cubicBezTo>
                <a:cubicBezTo>
                  <a:pt x="577" y="559"/>
                  <a:pt x="577" y="559"/>
                  <a:pt x="577" y="559"/>
                </a:cubicBezTo>
                <a:cubicBezTo>
                  <a:pt x="578" y="559"/>
                  <a:pt x="579" y="559"/>
                  <a:pt x="579" y="559"/>
                </a:cubicBezTo>
                <a:cubicBezTo>
                  <a:pt x="580" y="559"/>
                  <a:pt x="580" y="559"/>
                  <a:pt x="581" y="559"/>
                </a:cubicBezTo>
                <a:cubicBezTo>
                  <a:pt x="581" y="559"/>
                  <a:pt x="581" y="559"/>
                  <a:pt x="581" y="559"/>
                </a:cubicBezTo>
                <a:cubicBezTo>
                  <a:pt x="582" y="559"/>
                  <a:pt x="582" y="559"/>
                  <a:pt x="582" y="559"/>
                </a:cubicBezTo>
                <a:cubicBezTo>
                  <a:pt x="582" y="559"/>
                  <a:pt x="582" y="560"/>
                  <a:pt x="582" y="560"/>
                </a:cubicBezTo>
                <a:cubicBezTo>
                  <a:pt x="583" y="560"/>
                  <a:pt x="583" y="560"/>
                  <a:pt x="584" y="560"/>
                </a:cubicBezTo>
                <a:cubicBezTo>
                  <a:pt x="584" y="560"/>
                  <a:pt x="584" y="560"/>
                  <a:pt x="584" y="560"/>
                </a:cubicBezTo>
                <a:cubicBezTo>
                  <a:pt x="585" y="560"/>
                  <a:pt x="585" y="561"/>
                  <a:pt x="586" y="561"/>
                </a:cubicBezTo>
                <a:cubicBezTo>
                  <a:pt x="586" y="561"/>
                  <a:pt x="586" y="561"/>
                  <a:pt x="586" y="561"/>
                </a:cubicBezTo>
                <a:cubicBezTo>
                  <a:pt x="586" y="561"/>
                  <a:pt x="587" y="561"/>
                  <a:pt x="587" y="561"/>
                </a:cubicBezTo>
                <a:cubicBezTo>
                  <a:pt x="587" y="561"/>
                  <a:pt x="587" y="561"/>
                  <a:pt x="587" y="562"/>
                </a:cubicBezTo>
                <a:cubicBezTo>
                  <a:pt x="587" y="562"/>
                  <a:pt x="587" y="562"/>
                  <a:pt x="587" y="562"/>
                </a:cubicBezTo>
                <a:cubicBezTo>
                  <a:pt x="587" y="562"/>
                  <a:pt x="588" y="562"/>
                  <a:pt x="588" y="562"/>
                </a:cubicBezTo>
                <a:cubicBezTo>
                  <a:pt x="588" y="562"/>
                  <a:pt x="589" y="562"/>
                  <a:pt x="589" y="562"/>
                </a:cubicBezTo>
                <a:cubicBezTo>
                  <a:pt x="590" y="562"/>
                  <a:pt x="590" y="563"/>
                  <a:pt x="591" y="563"/>
                </a:cubicBezTo>
                <a:cubicBezTo>
                  <a:pt x="591" y="563"/>
                  <a:pt x="591" y="563"/>
                  <a:pt x="592" y="563"/>
                </a:cubicBezTo>
                <a:cubicBezTo>
                  <a:pt x="592" y="563"/>
                  <a:pt x="592" y="563"/>
                  <a:pt x="593" y="563"/>
                </a:cubicBezTo>
                <a:cubicBezTo>
                  <a:pt x="593" y="563"/>
                  <a:pt x="593" y="563"/>
                  <a:pt x="593" y="564"/>
                </a:cubicBezTo>
                <a:cubicBezTo>
                  <a:pt x="593" y="564"/>
                  <a:pt x="593" y="564"/>
                  <a:pt x="593" y="564"/>
                </a:cubicBezTo>
                <a:cubicBezTo>
                  <a:pt x="594" y="564"/>
                  <a:pt x="594" y="564"/>
                  <a:pt x="594" y="565"/>
                </a:cubicBezTo>
                <a:cubicBezTo>
                  <a:pt x="594" y="565"/>
                  <a:pt x="594" y="565"/>
                  <a:pt x="594" y="565"/>
                </a:cubicBezTo>
                <a:cubicBezTo>
                  <a:pt x="594" y="566"/>
                  <a:pt x="594" y="566"/>
                  <a:pt x="594" y="566"/>
                </a:cubicBezTo>
                <a:cubicBezTo>
                  <a:pt x="595" y="567"/>
                  <a:pt x="595" y="568"/>
                  <a:pt x="596" y="569"/>
                </a:cubicBezTo>
                <a:cubicBezTo>
                  <a:pt x="596" y="569"/>
                  <a:pt x="596" y="570"/>
                  <a:pt x="596" y="570"/>
                </a:cubicBezTo>
                <a:cubicBezTo>
                  <a:pt x="596" y="570"/>
                  <a:pt x="596" y="571"/>
                  <a:pt x="596" y="571"/>
                </a:cubicBezTo>
                <a:cubicBezTo>
                  <a:pt x="596" y="571"/>
                  <a:pt x="596" y="571"/>
                  <a:pt x="595" y="571"/>
                </a:cubicBezTo>
                <a:cubicBezTo>
                  <a:pt x="596" y="572"/>
                  <a:pt x="596" y="572"/>
                  <a:pt x="596" y="573"/>
                </a:cubicBezTo>
                <a:cubicBezTo>
                  <a:pt x="596" y="573"/>
                  <a:pt x="597" y="573"/>
                  <a:pt x="597" y="574"/>
                </a:cubicBezTo>
                <a:cubicBezTo>
                  <a:pt x="597" y="574"/>
                  <a:pt x="598" y="574"/>
                  <a:pt x="598" y="575"/>
                </a:cubicBezTo>
                <a:cubicBezTo>
                  <a:pt x="598" y="575"/>
                  <a:pt x="598" y="576"/>
                  <a:pt x="598" y="577"/>
                </a:cubicBezTo>
                <a:cubicBezTo>
                  <a:pt x="598" y="577"/>
                  <a:pt x="598" y="577"/>
                  <a:pt x="598" y="577"/>
                </a:cubicBezTo>
                <a:cubicBezTo>
                  <a:pt x="598" y="577"/>
                  <a:pt x="598" y="578"/>
                  <a:pt x="598" y="578"/>
                </a:cubicBezTo>
                <a:cubicBezTo>
                  <a:pt x="598" y="578"/>
                  <a:pt x="599" y="579"/>
                  <a:pt x="599" y="580"/>
                </a:cubicBezTo>
                <a:cubicBezTo>
                  <a:pt x="599" y="580"/>
                  <a:pt x="599" y="581"/>
                  <a:pt x="599" y="581"/>
                </a:cubicBezTo>
                <a:cubicBezTo>
                  <a:pt x="599" y="581"/>
                  <a:pt x="599" y="581"/>
                  <a:pt x="599" y="581"/>
                </a:cubicBezTo>
                <a:cubicBezTo>
                  <a:pt x="598" y="581"/>
                  <a:pt x="598" y="582"/>
                  <a:pt x="598" y="582"/>
                </a:cubicBezTo>
                <a:cubicBezTo>
                  <a:pt x="598" y="582"/>
                  <a:pt x="598" y="583"/>
                  <a:pt x="598" y="583"/>
                </a:cubicBezTo>
                <a:cubicBezTo>
                  <a:pt x="599" y="583"/>
                  <a:pt x="599" y="583"/>
                  <a:pt x="599" y="583"/>
                </a:cubicBezTo>
                <a:cubicBezTo>
                  <a:pt x="599" y="583"/>
                  <a:pt x="599" y="583"/>
                  <a:pt x="599" y="583"/>
                </a:cubicBezTo>
                <a:cubicBezTo>
                  <a:pt x="599" y="583"/>
                  <a:pt x="600" y="583"/>
                  <a:pt x="600" y="583"/>
                </a:cubicBezTo>
                <a:cubicBezTo>
                  <a:pt x="600" y="583"/>
                  <a:pt x="599" y="583"/>
                  <a:pt x="599" y="584"/>
                </a:cubicBezTo>
                <a:cubicBezTo>
                  <a:pt x="600" y="585"/>
                  <a:pt x="600" y="586"/>
                  <a:pt x="600" y="587"/>
                </a:cubicBezTo>
                <a:cubicBezTo>
                  <a:pt x="601" y="588"/>
                  <a:pt x="601" y="588"/>
                  <a:pt x="601" y="589"/>
                </a:cubicBezTo>
                <a:cubicBezTo>
                  <a:pt x="601" y="589"/>
                  <a:pt x="602" y="589"/>
                  <a:pt x="602" y="590"/>
                </a:cubicBezTo>
                <a:cubicBezTo>
                  <a:pt x="602" y="590"/>
                  <a:pt x="602" y="590"/>
                  <a:pt x="602" y="591"/>
                </a:cubicBezTo>
                <a:cubicBezTo>
                  <a:pt x="602" y="591"/>
                  <a:pt x="601" y="591"/>
                  <a:pt x="601" y="592"/>
                </a:cubicBezTo>
                <a:cubicBezTo>
                  <a:pt x="601" y="592"/>
                  <a:pt x="601" y="592"/>
                  <a:pt x="601" y="593"/>
                </a:cubicBezTo>
                <a:cubicBezTo>
                  <a:pt x="602" y="593"/>
                  <a:pt x="602" y="593"/>
                  <a:pt x="603" y="594"/>
                </a:cubicBezTo>
                <a:cubicBezTo>
                  <a:pt x="603" y="594"/>
                  <a:pt x="603" y="594"/>
                  <a:pt x="603" y="595"/>
                </a:cubicBezTo>
                <a:cubicBezTo>
                  <a:pt x="603" y="595"/>
                  <a:pt x="603" y="596"/>
                  <a:pt x="603" y="596"/>
                </a:cubicBezTo>
                <a:cubicBezTo>
                  <a:pt x="603" y="597"/>
                  <a:pt x="603" y="597"/>
                  <a:pt x="603" y="597"/>
                </a:cubicBezTo>
                <a:cubicBezTo>
                  <a:pt x="603" y="598"/>
                  <a:pt x="603" y="598"/>
                  <a:pt x="603" y="598"/>
                </a:cubicBezTo>
                <a:cubicBezTo>
                  <a:pt x="603" y="598"/>
                  <a:pt x="603" y="599"/>
                  <a:pt x="603" y="599"/>
                </a:cubicBezTo>
                <a:cubicBezTo>
                  <a:pt x="603" y="599"/>
                  <a:pt x="603" y="599"/>
                  <a:pt x="603" y="599"/>
                </a:cubicBezTo>
                <a:cubicBezTo>
                  <a:pt x="603" y="599"/>
                  <a:pt x="603" y="600"/>
                  <a:pt x="603" y="600"/>
                </a:cubicBezTo>
                <a:cubicBezTo>
                  <a:pt x="603" y="601"/>
                  <a:pt x="603" y="601"/>
                  <a:pt x="603" y="601"/>
                </a:cubicBezTo>
                <a:cubicBezTo>
                  <a:pt x="603" y="601"/>
                  <a:pt x="603" y="602"/>
                  <a:pt x="603" y="602"/>
                </a:cubicBezTo>
                <a:cubicBezTo>
                  <a:pt x="603" y="602"/>
                  <a:pt x="603" y="603"/>
                  <a:pt x="603" y="603"/>
                </a:cubicBezTo>
                <a:cubicBezTo>
                  <a:pt x="603" y="603"/>
                  <a:pt x="603" y="603"/>
                  <a:pt x="603" y="603"/>
                </a:cubicBezTo>
                <a:cubicBezTo>
                  <a:pt x="603" y="604"/>
                  <a:pt x="603" y="604"/>
                  <a:pt x="603" y="605"/>
                </a:cubicBezTo>
                <a:cubicBezTo>
                  <a:pt x="603" y="605"/>
                  <a:pt x="603" y="605"/>
                  <a:pt x="603" y="606"/>
                </a:cubicBezTo>
                <a:cubicBezTo>
                  <a:pt x="603" y="606"/>
                  <a:pt x="604" y="606"/>
                  <a:pt x="604" y="606"/>
                </a:cubicBezTo>
                <a:cubicBezTo>
                  <a:pt x="604" y="607"/>
                  <a:pt x="604" y="607"/>
                  <a:pt x="604" y="607"/>
                </a:cubicBezTo>
                <a:cubicBezTo>
                  <a:pt x="605" y="608"/>
                  <a:pt x="605" y="608"/>
                  <a:pt x="605" y="608"/>
                </a:cubicBezTo>
                <a:cubicBezTo>
                  <a:pt x="605" y="608"/>
                  <a:pt x="605" y="608"/>
                  <a:pt x="605" y="608"/>
                </a:cubicBezTo>
                <a:cubicBezTo>
                  <a:pt x="604" y="609"/>
                  <a:pt x="604" y="609"/>
                  <a:pt x="604" y="609"/>
                </a:cubicBezTo>
                <a:cubicBezTo>
                  <a:pt x="605" y="609"/>
                  <a:pt x="605" y="610"/>
                  <a:pt x="605" y="610"/>
                </a:cubicBezTo>
                <a:cubicBezTo>
                  <a:pt x="605" y="610"/>
                  <a:pt x="605" y="610"/>
                  <a:pt x="605" y="611"/>
                </a:cubicBezTo>
                <a:cubicBezTo>
                  <a:pt x="604" y="611"/>
                  <a:pt x="604" y="611"/>
                  <a:pt x="604" y="611"/>
                </a:cubicBezTo>
                <a:cubicBezTo>
                  <a:pt x="604" y="611"/>
                  <a:pt x="604" y="612"/>
                  <a:pt x="604" y="612"/>
                </a:cubicBezTo>
                <a:cubicBezTo>
                  <a:pt x="604" y="612"/>
                  <a:pt x="605" y="612"/>
                  <a:pt x="605" y="613"/>
                </a:cubicBezTo>
                <a:cubicBezTo>
                  <a:pt x="605" y="613"/>
                  <a:pt x="605" y="613"/>
                  <a:pt x="605" y="613"/>
                </a:cubicBezTo>
                <a:cubicBezTo>
                  <a:pt x="605" y="614"/>
                  <a:pt x="606" y="615"/>
                  <a:pt x="607" y="615"/>
                </a:cubicBezTo>
                <a:cubicBezTo>
                  <a:pt x="607" y="616"/>
                  <a:pt x="607" y="616"/>
                  <a:pt x="607" y="616"/>
                </a:cubicBezTo>
                <a:cubicBezTo>
                  <a:pt x="607" y="617"/>
                  <a:pt x="607" y="617"/>
                  <a:pt x="606" y="617"/>
                </a:cubicBezTo>
                <a:cubicBezTo>
                  <a:pt x="607" y="617"/>
                  <a:pt x="607" y="617"/>
                  <a:pt x="607" y="618"/>
                </a:cubicBezTo>
                <a:cubicBezTo>
                  <a:pt x="607" y="618"/>
                  <a:pt x="608" y="618"/>
                  <a:pt x="608" y="618"/>
                </a:cubicBezTo>
                <a:cubicBezTo>
                  <a:pt x="608" y="619"/>
                  <a:pt x="608" y="619"/>
                  <a:pt x="608" y="620"/>
                </a:cubicBezTo>
                <a:cubicBezTo>
                  <a:pt x="608" y="620"/>
                  <a:pt x="608" y="620"/>
                  <a:pt x="608" y="621"/>
                </a:cubicBezTo>
                <a:cubicBezTo>
                  <a:pt x="608" y="621"/>
                  <a:pt x="608" y="621"/>
                  <a:pt x="608" y="621"/>
                </a:cubicBezTo>
                <a:cubicBezTo>
                  <a:pt x="608" y="621"/>
                  <a:pt x="609" y="621"/>
                  <a:pt x="609" y="622"/>
                </a:cubicBezTo>
                <a:cubicBezTo>
                  <a:pt x="609" y="622"/>
                  <a:pt x="609" y="622"/>
                  <a:pt x="609" y="622"/>
                </a:cubicBezTo>
                <a:cubicBezTo>
                  <a:pt x="609" y="622"/>
                  <a:pt x="609" y="623"/>
                  <a:pt x="609" y="623"/>
                </a:cubicBezTo>
                <a:cubicBezTo>
                  <a:pt x="609" y="623"/>
                  <a:pt x="609" y="623"/>
                  <a:pt x="609" y="623"/>
                </a:cubicBezTo>
                <a:cubicBezTo>
                  <a:pt x="609" y="623"/>
                  <a:pt x="610" y="624"/>
                  <a:pt x="610" y="624"/>
                </a:cubicBezTo>
                <a:cubicBezTo>
                  <a:pt x="610" y="624"/>
                  <a:pt x="610" y="624"/>
                  <a:pt x="611" y="625"/>
                </a:cubicBezTo>
                <a:cubicBezTo>
                  <a:pt x="610" y="625"/>
                  <a:pt x="610" y="625"/>
                  <a:pt x="610" y="625"/>
                </a:cubicBezTo>
                <a:cubicBezTo>
                  <a:pt x="610" y="626"/>
                  <a:pt x="610" y="626"/>
                  <a:pt x="610" y="626"/>
                </a:cubicBezTo>
                <a:cubicBezTo>
                  <a:pt x="610" y="626"/>
                  <a:pt x="609" y="627"/>
                  <a:pt x="609" y="627"/>
                </a:cubicBezTo>
                <a:cubicBezTo>
                  <a:pt x="609" y="627"/>
                  <a:pt x="609" y="627"/>
                  <a:pt x="609" y="627"/>
                </a:cubicBezTo>
                <a:cubicBezTo>
                  <a:pt x="610" y="627"/>
                  <a:pt x="610" y="627"/>
                  <a:pt x="610" y="628"/>
                </a:cubicBezTo>
                <a:cubicBezTo>
                  <a:pt x="610" y="628"/>
                  <a:pt x="610" y="628"/>
                  <a:pt x="610" y="628"/>
                </a:cubicBezTo>
                <a:cubicBezTo>
                  <a:pt x="610" y="629"/>
                  <a:pt x="609" y="629"/>
                  <a:pt x="609" y="629"/>
                </a:cubicBezTo>
                <a:cubicBezTo>
                  <a:pt x="609" y="629"/>
                  <a:pt x="609" y="629"/>
                  <a:pt x="609" y="630"/>
                </a:cubicBezTo>
                <a:cubicBezTo>
                  <a:pt x="610" y="630"/>
                  <a:pt x="610" y="630"/>
                  <a:pt x="610" y="631"/>
                </a:cubicBezTo>
                <a:cubicBezTo>
                  <a:pt x="610" y="631"/>
                  <a:pt x="609" y="631"/>
                  <a:pt x="609" y="631"/>
                </a:cubicBezTo>
                <a:cubicBezTo>
                  <a:pt x="609" y="632"/>
                  <a:pt x="610" y="632"/>
                  <a:pt x="610" y="632"/>
                </a:cubicBezTo>
                <a:cubicBezTo>
                  <a:pt x="610" y="632"/>
                  <a:pt x="610" y="632"/>
                  <a:pt x="610" y="632"/>
                </a:cubicBezTo>
                <a:cubicBezTo>
                  <a:pt x="610" y="633"/>
                  <a:pt x="610" y="633"/>
                  <a:pt x="610" y="633"/>
                </a:cubicBezTo>
                <a:cubicBezTo>
                  <a:pt x="610" y="634"/>
                  <a:pt x="609" y="634"/>
                  <a:pt x="609" y="634"/>
                </a:cubicBezTo>
                <a:cubicBezTo>
                  <a:pt x="609" y="634"/>
                  <a:pt x="609" y="634"/>
                  <a:pt x="609" y="634"/>
                </a:cubicBezTo>
                <a:cubicBezTo>
                  <a:pt x="610" y="634"/>
                  <a:pt x="610" y="635"/>
                  <a:pt x="610" y="635"/>
                </a:cubicBezTo>
                <a:cubicBezTo>
                  <a:pt x="610" y="635"/>
                  <a:pt x="610" y="635"/>
                  <a:pt x="609" y="635"/>
                </a:cubicBezTo>
                <a:cubicBezTo>
                  <a:pt x="610" y="636"/>
                  <a:pt x="610" y="636"/>
                  <a:pt x="610" y="636"/>
                </a:cubicBezTo>
                <a:cubicBezTo>
                  <a:pt x="610" y="637"/>
                  <a:pt x="610" y="637"/>
                  <a:pt x="610" y="637"/>
                </a:cubicBezTo>
                <a:cubicBezTo>
                  <a:pt x="610" y="637"/>
                  <a:pt x="609" y="637"/>
                  <a:pt x="609" y="637"/>
                </a:cubicBezTo>
                <a:cubicBezTo>
                  <a:pt x="609" y="638"/>
                  <a:pt x="609" y="638"/>
                  <a:pt x="609" y="638"/>
                </a:cubicBezTo>
                <a:cubicBezTo>
                  <a:pt x="609" y="638"/>
                  <a:pt x="609" y="638"/>
                  <a:pt x="609" y="639"/>
                </a:cubicBezTo>
                <a:cubicBezTo>
                  <a:pt x="609" y="639"/>
                  <a:pt x="609" y="639"/>
                  <a:pt x="609" y="639"/>
                </a:cubicBezTo>
                <a:cubicBezTo>
                  <a:pt x="609" y="639"/>
                  <a:pt x="610" y="640"/>
                  <a:pt x="610" y="640"/>
                </a:cubicBezTo>
                <a:cubicBezTo>
                  <a:pt x="610" y="640"/>
                  <a:pt x="610" y="640"/>
                  <a:pt x="610" y="640"/>
                </a:cubicBezTo>
                <a:cubicBezTo>
                  <a:pt x="610" y="641"/>
                  <a:pt x="610" y="641"/>
                  <a:pt x="610" y="641"/>
                </a:cubicBezTo>
                <a:cubicBezTo>
                  <a:pt x="609" y="641"/>
                  <a:pt x="609" y="641"/>
                  <a:pt x="609" y="641"/>
                </a:cubicBezTo>
                <a:cubicBezTo>
                  <a:pt x="609" y="641"/>
                  <a:pt x="609" y="641"/>
                  <a:pt x="609" y="641"/>
                </a:cubicBezTo>
                <a:cubicBezTo>
                  <a:pt x="608" y="641"/>
                  <a:pt x="608" y="641"/>
                  <a:pt x="608" y="641"/>
                </a:cubicBezTo>
                <a:cubicBezTo>
                  <a:pt x="608" y="642"/>
                  <a:pt x="608" y="642"/>
                  <a:pt x="608" y="642"/>
                </a:cubicBezTo>
                <a:cubicBezTo>
                  <a:pt x="608" y="642"/>
                  <a:pt x="608" y="642"/>
                  <a:pt x="608" y="643"/>
                </a:cubicBezTo>
                <a:cubicBezTo>
                  <a:pt x="608" y="643"/>
                  <a:pt x="608" y="643"/>
                  <a:pt x="609" y="644"/>
                </a:cubicBezTo>
                <a:cubicBezTo>
                  <a:pt x="609" y="644"/>
                  <a:pt x="609" y="644"/>
                  <a:pt x="609" y="644"/>
                </a:cubicBezTo>
                <a:cubicBezTo>
                  <a:pt x="610" y="644"/>
                  <a:pt x="610" y="645"/>
                  <a:pt x="610" y="645"/>
                </a:cubicBezTo>
                <a:cubicBezTo>
                  <a:pt x="611" y="645"/>
                  <a:pt x="611" y="645"/>
                  <a:pt x="611" y="645"/>
                </a:cubicBezTo>
                <a:cubicBezTo>
                  <a:pt x="611" y="646"/>
                  <a:pt x="611" y="646"/>
                  <a:pt x="611" y="646"/>
                </a:cubicBezTo>
                <a:cubicBezTo>
                  <a:pt x="611" y="647"/>
                  <a:pt x="612" y="647"/>
                  <a:pt x="613" y="648"/>
                </a:cubicBezTo>
                <a:cubicBezTo>
                  <a:pt x="613" y="648"/>
                  <a:pt x="613" y="648"/>
                  <a:pt x="613" y="648"/>
                </a:cubicBezTo>
                <a:cubicBezTo>
                  <a:pt x="613" y="649"/>
                  <a:pt x="613" y="649"/>
                  <a:pt x="614" y="649"/>
                </a:cubicBezTo>
                <a:cubicBezTo>
                  <a:pt x="614" y="649"/>
                  <a:pt x="614" y="650"/>
                  <a:pt x="614" y="650"/>
                </a:cubicBezTo>
                <a:cubicBezTo>
                  <a:pt x="614" y="651"/>
                  <a:pt x="614" y="651"/>
                  <a:pt x="614" y="652"/>
                </a:cubicBezTo>
                <a:cubicBezTo>
                  <a:pt x="614" y="652"/>
                  <a:pt x="614" y="652"/>
                  <a:pt x="614" y="652"/>
                </a:cubicBezTo>
                <a:cubicBezTo>
                  <a:pt x="614" y="652"/>
                  <a:pt x="614" y="652"/>
                  <a:pt x="614" y="652"/>
                </a:cubicBezTo>
                <a:cubicBezTo>
                  <a:pt x="614" y="653"/>
                  <a:pt x="614" y="653"/>
                  <a:pt x="614" y="653"/>
                </a:cubicBezTo>
                <a:cubicBezTo>
                  <a:pt x="614" y="653"/>
                  <a:pt x="614" y="653"/>
                  <a:pt x="614" y="653"/>
                </a:cubicBezTo>
                <a:cubicBezTo>
                  <a:pt x="613" y="653"/>
                  <a:pt x="613" y="653"/>
                  <a:pt x="613" y="653"/>
                </a:cubicBezTo>
                <a:cubicBezTo>
                  <a:pt x="613" y="653"/>
                  <a:pt x="613" y="653"/>
                  <a:pt x="613" y="654"/>
                </a:cubicBezTo>
                <a:cubicBezTo>
                  <a:pt x="613" y="654"/>
                  <a:pt x="613" y="654"/>
                  <a:pt x="613" y="654"/>
                </a:cubicBezTo>
                <a:cubicBezTo>
                  <a:pt x="614" y="654"/>
                  <a:pt x="614" y="654"/>
                  <a:pt x="614" y="655"/>
                </a:cubicBezTo>
                <a:cubicBezTo>
                  <a:pt x="614" y="655"/>
                  <a:pt x="614" y="656"/>
                  <a:pt x="614" y="656"/>
                </a:cubicBezTo>
                <a:cubicBezTo>
                  <a:pt x="614" y="656"/>
                  <a:pt x="614" y="657"/>
                  <a:pt x="614" y="657"/>
                </a:cubicBezTo>
                <a:cubicBezTo>
                  <a:pt x="614" y="657"/>
                  <a:pt x="614" y="657"/>
                  <a:pt x="614" y="657"/>
                </a:cubicBezTo>
                <a:cubicBezTo>
                  <a:pt x="614" y="657"/>
                  <a:pt x="614" y="657"/>
                  <a:pt x="614" y="657"/>
                </a:cubicBezTo>
                <a:cubicBezTo>
                  <a:pt x="614" y="658"/>
                  <a:pt x="614" y="658"/>
                  <a:pt x="614" y="658"/>
                </a:cubicBezTo>
                <a:cubicBezTo>
                  <a:pt x="614" y="658"/>
                  <a:pt x="614" y="658"/>
                  <a:pt x="614" y="658"/>
                </a:cubicBezTo>
                <a:cubicBezTo>
                  <a:pt x="614" y="658"/>
                  <a:pt x="615" y="659"/>
                  <a:pt x="615" y="659"/>
                </a:cubicBezTo>
                <a:cubicBezTo>
                  <a:pt x="615" y="659"/>
                  <a:pt x="616" y="660"/>
                  <a:pt x="616" y="660"/>
                </a:cubicBezTo>
                <a:cubicBezTo>
                  <a:pt x="617" y="660"/>
                  <a:pt x="617" y="660"/>
                  <a:pt x="617" y="660"/>
                </a:cubicBezTo>
                <a:cubicBezTo>
                  <a:pt x="617" y="660"/>
                  <a:pt x="617" y="661"/>
                  <a:pt x="617" y="661"/>
                </a:cubicBezTo>
                <a:cubicBezTo>
                  <a:pt x="618" y="661"/>
                  <a:pt x="618" y="661"/>
                  <a:pt x="619" y="661"/>
                </a:cubicBezTo>
                <a:cubicBezTo>
                  <a:pt x="619" y="661"/>
                  <a:pt x="619" y="661"/>
                  <a:pt x="620" y="660"/>
                </a:cubicBezTo>
                <a:cubicBezTo>
                  <a:pt x="620" y="660"/>
                  <a:pt x="620" y="660"/>
                  <a:pt x="620" y="659"/>
                </a:cubicBezTo>
                <a:cubicBezTo>
                  <a:pt x="620" y="659"/>
                  <a:pt x="620" y="659"/>
                  <a:pt x="620" y="659"/>
                </a:cubicBezTo>
                <a:cubicBezTo>
                  <a:pt x="620" y="659"/>
                  <a:pt x="620" y="659"/>
                  <a:pt x="620" y="659"/>
                </a:cubicBezTo>
                <a:cubicBezTo>
                  <a:pt x="621" y="659"/>
                  <a:pt x="621" y="659"/>
                  <a:pt x="621" y="659"/>
                </a:cubicBezTo>
                <a:cubicBezTo>
                  <a:pt x="621" y="659"/>
                  <a:pt x="621" y="659"/>
                  <a:pt x="622" y="659"/>
                </a:cubicBezTo>
                <a:cubicBezTo>
                  <a:pt x="622" y="659"/>
                  <a:pt x="622" y="659"/>
                  <a:pt x="622" y="659"/>
                </a:cubicBezTo>
                <a:cubicBezTo>
                  <a:pt x="622" y="659"/>
                  <a:pt x="622" y="659"/>
                  <a:pt x="622" y="660"/>
                </a:cubicBezTo>
                <a:cubicBezTo>
                  <a:pt x="622" y="660"/>
                  <a:pt x="621" y="660"/>
                  <a:pt x="621" y="661"/>
                </a:cubicBezTo>
                <a:cubicBezTo>
                  <a:pt x="621" y="661"/>
                  <a:pt x="621" y="661"/>
                  <a:pt x="621" y="661"/>
                </a:cubicBezTo>
                <a:cubicBezTo>
                  <a:pt x="621" y="661"/>
                  <a:pt x="622" y="661"/>
                  <a:pt x="622" y="661"/>
                </a:cubicBezTo>
                <a:cubicBezTo>
                  <a:pt x="622" y="661"/>
                  <a:pt x="622" y="661"/>
                  <a:pt x="622" y="661"/>
                </a:cubicBezTo>
                <a:cubicBezTo>
                  <a:pt x="622" y="661"/>
                  <a:pt x="622" y="661"/>
                  <a:pt x="623" y="661"/>
                </a:cubicBezTo>
                <a:cubicBezTo>
                  <a:pt x="623" y="662"/>
                  <a:pt x="623" y="662"/>
                  <a:pt x="623" y="663"/>
                </a:cubicBezTo>
                <a:cubicBezTo>
                  <a:pt x="623" y="663"/>
                  <a:pt x="623" y="663"/>
                  <a:pt x="623" y="663"/>
                </a:cubicBezTo>
                <a:cubicBezTo>
                  <a:pt x="623" y="663"/>
                  <a:pt x="623" y="663"/>
                  <a:pt x="623" y="663"/>
                </a:cubicBezTo>
                <a:cubicBezTo>
                  <a:pt x="623" y="663"/>
                  <a:pt x="623" y="663"/>
                  <a:pt x="623" y="663"/>
                </a:cubicBezTo>
                <a:cubicBezTo>
                  <a:pt x="623" y="663"/>
                  <a:pt x="622" y="662"/>
                  <a:pt x="622" y="662"/>
                </a:cubicBezTo>
                <a:cubicBezTo>
                  <a:pt x="622" y="662"/>
                  <a:pt x="622" y="662"/>
                  <a:pt x="622" y="662"/>
                </a:cubicBezTo>
                <a:cubicBezTo>
                  <a:pt x="622" y="662"/>
                  <a:pt x="622" y="663"/>
                  <a:pt x="622" y="663"/>
                </a:cubicBezTo>
                <a:cubicBezTo>
                  <a:pt x="622" y="663"/>
                  <a:pt x="622" y="663"/>
                  <a:pt x="622" y="663"/>
                </a:cubicBezTo>
                <a:cubicBezTo>
                  <a:pt x="622" y="663"/>
                  <a:pt x="622" y="663"/>
                  <a:pt x="623" y="663"/>
                </a:cubicBezTo>
                <a:cubicBezTo>
                  <a:pt x="623" y="663"/>
                  <a:pt x="623" y="664"/>
                  <a:pt x="623" y="664"/>
                </a:cubicBezTo>
                <a:cubicBezTo>
                  <a:pt x="623" y="664"/>
                  <a:pt x="623" y="664"/>
                  <a:pt x="622" y="664"/>
                </a:cubicBezTo>
                <a:cubicBezTo>
                  <a:pt x="622" y="664"/>
                  <a:pt x="622" y="664"/>
                  <a:pt x="622" y="664"/>
                </a:cubicBezTo>
                <a:cubicBezTo>
                  <a:pt x="622" y="665"/>
                  <a:pt x="622" y="665"/>
                  <a:pt x="622" y="665"/>
                </a:cubicBezTo>
                <a:cubicBezTo>
                  <a:pt x="623" y="665"/>
                  <a:pt x="623" y="665"/>
                  <a:pt x="623" y="666"/>
                </a:cubicBezTo>
                <a:cubicBezTo>
                  <a:pt x="623" y="666"/>
                  <a:pt x="623" y="666"/>
                  <a:pt x="623" y="666"/>
                </a:cubicBezTo>
                <a:cubicBezTo>
                  <a:pt x="623" y="666"/>
                  <a:pt x="623" y="667"/>
                  <a:pt x="623" y="667"/>
                </a:cubicBezTo>
                <a:cubicBezTo>
                  <a:pt x="623" y="667"/>
                  <a:pt x="623" y="667"/>
                  <a:pt x="623" y="667"/>
                </a:cubicBezTo>
                <a:cubicBezTo>
                  <a:pt x="623" y="667"/>
                  <a:pt x="623" y="668"/>
                  <a:pt x="623" y="668"/>
                </a:cubicBezTo>
                <a:cubicBezTo>
                  <a:pt x="623" y="668"/>
                  <a:pt x="623" y="668"/>
                  <a:pt x="623" y="668"/>
                </a:cubicBezTo>
                <a:cubicBezTo>
                  <a:pt x="623" y="668"/>
                  <a:pt x="624" y="668"/>
                  <a:pt x="624" y="668"/>
                </a:cubicBezTo>
                <a:cubicBezTo>
                  <a:pt x="624" y="669"/>
                  <a:pt x="624" y="669"/>
                  <a:pt x="624" y="669"/>
                </a:cubicBezTo>
                <a:cubicBezTo>
                  <a:pt x="624" y="669"/>
                  <a:pt x="624" y="670"/>
                  <a:pt x="624" y="670"/>
                </a:cubicBezTo>
                <a:cubicBezTo>
                  <a:pt x="624" y="670"/>
                  <a:pt x="624" y="670"/>
                  <a:pt x="623" y="671"/>
                </a:cubicBezTo>
                <a:cubicBezTo>
                  <a:pt x="623" y="671"/>
                  <a:pt x="623" y="671"/>
                  <a:pt x="624" y="671"/>
                </a:cubicBezTo>
                <a:cubicBezTo>
                  <a:pt x="624" y="671"/>
                  <a:pt x="624" y="671"/>
                  <a:pt x="624" y="671"/>
                </a:cubicBezTo>
                <a:cubicBezTo>
                  <a:pt x="624" y="671"/>
                  <a:pt x="625" y="671"/>
                  <a:pt x="625" y="671"/>
                </a:cubicBezTo>
                <a:cubicBezTo>
                  <a:pt x="625" y="671"/>
                  <a:pt x="625" y="671"/>
                  <a:pt x="625" y="672"/>
                </a:cubicBezTo>
                <a:cubicBezTo>
                  <a:pt x="626" y="672"/>
                  <a:pt x="626" y="672"/>
                  <a:pt x="626" y="672"/>
                </a:cubicBezTo>
                <a:cubicBezTo>
                  <a:pt x="626" y="672"/>
                  <a:pt x="626" y="672"/>
                  <a:pt x="626" y="672"/>
                </a:cubicBezTo>
                <a:cubicBezTo>
                  <a:pt x="627" y="672"/>
                  <a:pt x="627" y="672"/>
                  <a:pt x="627" y="672"/>
                </a:cubicBezTo>
                <a:cubicBezTo>
                  <a:pt x="627" y="673"/>
                  <a:pt x="627" y="673"/>
                  <a:pt x="627" y="674"/>
                </a:cubicBezTo>
                <a:cubicBezTo>
                  <a:pt x="627" y="674"/>
                  <a:pt x="627" y="674"/>
                  <a:pt x="627" y="674"/>
                </a:cubicBezTo>
                <a:cubicBezTo>
                  <a:pt x="626" y="675"/>
                  <a:pt x="626" y="675"/>
                  <a:pt x="626" y="675"/>
                </a:cubicBezTo>
                <a:cubicBezTo>
                  <a:pt x="626" y="675"/>
                  <a:pt x="625" y="675"/>
                  <a:pt x="625" y="675"/>
                </a:cubicBezTo>
                <a:cubicBezTo>
                  <a:pt x="625" y="676"/>
                  <a:pt x="625" y="676"/>
                  <a:pt x="625" y="676"/>
                </a:cubicBezTo>
                <a:cubicBezTo>
                  <a:pt x="625" y="676"/>
                  <a:pt x="626" y="677"/>
                  <a:pt x="626" y="677"/>
                </a:cubicBezTo>
                <a:cubicBezTo>
                  <a:pt x="626" y="677"/>
                  <a:pt x="626" y="677"/>
                  <a:pt x="626" y="677"/>
                </a:cubicBezTo>
                <a:cubicBezTo>
                  <a:pt x="626" y="677"/>
                  <a:pt x="626" y="677"/>
                  <a:pt x="626" y="678"/>
                </a:cubicBezTo>
                <a:cubicBezTo>
                  <a:pt x="626" y="678"/>
                  <a:pt x="626" y="678"/>
                  <a:pt x="626" y="678"/>
                </a:cubicBezTo>
                <a:cubicBezTo>
                  <a:pt x="626" y="678"/>
                  <a:pt x="626" y="678"/>
                  <a:pt x="626" y="678"/>
                </a:cubicBezTo>
                <a:cubicBezTo>
                  <a:pt x="626" y="679"/>
                  <a:pt x="626" y="679"/>
                  <a:pt x="626" y="680"/>
                </a:cubicBezTo>
                <a:cubicBezTo>
                  <a:pt x="626" y="680"/>
                  <a:pt x="626" y="680"/>
                  <a:pt x="626" y="681"/>
                </a:cubicBezTo>
                <a:cubicBezTo>
                  <a:pt x="626" y="681"/>
                  <a:pt x="626" y="681"/>
                  <a:pt x="626" y="681"/>
                </a:cubicBezTo>
                <a:cubicBezTo>
                  <a:pt x="626" y="681"/>
                  <a:pt x="626" y="681"/>
                  <a:pt x="626" y="681"/>
                </a:cubicBezTo>
                <a:cubicBezTo>
                  <a:pt x="626" y="682"/>
                  <a:pt x="626" y="682"/>
                  <a:pt x="626" y="682"/>
                </a:cubicBezTo>
                <a:cubicBezTo>
                  <a:pt x="626" y="683"/>
                  <a:pt x="626" y="683"/>
                  <a:pt x="626" y="683"/>
                </a:cubicBezTo>
                <a:cubicBezTo>
                  <a:pt x="626" y="683"/>
                  <a:pt x="626" y="683"/>
                  <a:pt x="626" y="684"/>
                </a:cubicBezTo>
                <a:cubicBezTo>
                  <a:pt x="626" y="683"/>
                  <a:pt x="626" y="683"/>
                  <a:pt x="625" y="683"/>
                </a:cubicBezTo>
                <a:cubicBezTo>
                  <a:pt x="626" y="683"/>
                  <a:pt x="626" y="683"/>
                  <a:pt x="626" y="683"/>
                </a:cubicBezTo>
                <a:cubicBezTo>
                  <a:pt x="626" y="682"/>
                  <a:pt x="626" y="682"/>
                  <a:pt x="626" y="682"/>
                </a:cubicBezTo>
                <a:cubicBezTo>
                  <a:pt x="626" y="681"/>
                  <a:pt x="625" y="681"/>
                  <a:pt x="625" y="681"/>
                </a:cubicBezTo>
                <a:cubicBezTo>
                  <a:pt x="625" y="681"/>
                  <a:pt x="625" y="681"/>
                  <a:pt x="625" y="681"/>
                </a:cubicBezTo>
                <a:cubicBezTo>
                  <a:pt x="625" y="681"/>
                  <a:pt x="625" y="681"/>
                  <a:pt x="625" y="681"/>
                </a:cubicBezTo>
                <a:cubicBezTo>
                  <a:pt x="625" y="681"/>
                  <a:pt x="624" y="681"/>
                  <a:pt x="624" y="681"/>
                </a:cubicBezTo>
                <a:cubicBezTo>
                  <a:pt x="624" y="681"/>
                  <a:pt x="624" y="682"/>
                  <a:pt x="623" y="682"/>
                </a:cubicBezTo>
                <a:cubicBezTo>
                  <a:pt x="623" y="682"/>
                  <a:pt x="623" y="682"/>
                  <a:pt x="623" y="682"/>
                </a:cubicBezTo>
                <a:cubicBezTo>
                  <a:pt x="623" y="682"/>
                  <a:pt x="623" y="682"/>
                  <a:pt x="623" y="682"/>
                </a:cubicBezTo>
                <a:cubicBezTo>
                  <a:pt x="623" y="681"/>
                  <a:pt x="623" y="681"/>
                  <a:pt x="624" y="681"/>
                </a:cubicBezTo>
                <a:cubicBezTo>
                  <a:pt x="624" y="681"/>
                  <a:pt x="624" y="681"/>
                  <a:pt x="624" y="681"/>
                </a:cubicBezTo>
                <a:cubicBezTo>
                  <a:pt x="624" y="680"/>
                  <a:pt x="624" y="680"/>
                  <a:pt x="624" y="680"/>
                </a:cubicBezTo>
                <a:cubicBezTo>
                  <a:pt x="624" y="680"/>
                  <a:pt x="623" y="680"/>
                  <a:pt x="623" y="680"/>
                </a:cubicBezTo>
                <a:cubicBezTo>
                  <a:pt x="623" y="680"/>
                  <a:pt x="623" y="680"/>
                  <a:pt x="623" y="680"/>
                </a:cubicBezTo>
                <a:cubicBezTo>
                  <a:pt x="622" y="680"/>
                  <a:pt x="622" y="680"/>
                  <a:pt x="621" y="680"/>
                </a:cubicBezTo>
                <a:cubicBezTo>
                  <a:pt x="621" y="680"/>
                  <a:pt x="621" y="680"/>
                  <a:pt x="621" y="680"/>
                </a:cubicBezTo>
                <a:cubicBezTo>
                  <a:pt x="620" y="681"/>
                  <a:pt x="620" y="681"/>
                  <a:pt x="620" y="681"/>
                </a:cubicBezTo>
                <a:cubicBezTo>
                  <a:pt x="620" y="681"/>
                  <a:pt x="620" y="681"/>
                  <a:pt x="620" y="681"/>
                </a:cubicBezTo>
                <a:cubicBezTo>
                  <a:pt x="620" y="681"/>
                  <a:pt x="621" y="682"/>
                  <a:pt x="621" y="682"/>
                </a:cubicBezTo>
                <a:cubicBezTo>
                  <a:pt x="621" y="682"/>
                  <a:pt x="621" y="682"/>
                  <a:pt x="621" y="682"/>
                </a:cubicBezTo>
                <a:cubicBezTo>
                  <a:pt x="621" y="682"/>
                  <a:pt x="621" y="682"/>
                  <a:pt x="621" y="682"/>
                </a:cubicBezTo>
                <a:cubicBezTo>
                  <a:pt x="621" y="682"/>
                  <a:pt x="621" y="682"/>
                  <a:pt x="621" y="682"/>
                </a:cubicBezTo>
                <a:cubicBezTo>
                  <a:pt x="621" y="683"/>
                  <a:pt x="621" y="683"/>
                  <a:pt x="621" y="683"/>
                </a:cubicBezTo>
                <a:cubicBezTo>
                  <a:pt x="621" y="683"/>
                  <a:pt x="621" y="684"/>
                  <a:pt x="620" y="684"/>
                </a:cubicBezTo>
                <a:cubicBezTo>
                  <a:pt x="620" y="684"/>
                  <a:pt x="620" y="684"/>
                  <a:pt x="620" y="684"/>
                </a:cubicBezTo>
                <a:cubicBezTo>
                  <a:pt x="620" y="685"/>
                  <a:pt x="620" y="685"/>
                  <a:pt x="619" y="685"/>
                </a:cubicBezTo>
                <a:cubicBezTo>
                  <a:pt x="619" y="685"/>
                  <a:pt x="619" y="685"/>
                  <a:pt x="619" y="686"/>
                </a:cubicBezTo>
                <a:cubicBezTo>
                  <a:pt x="620" y="686"/>
                  <a:pt x="620" y="686"/>
                  <a:pt x="621" y="686"/>
                </a:cubicBezTo>
                <a:cubicBezTo>
                  <a:pt x="621" y="686"/>
                  <a:pt x="621" y="686"/>
                  <a:pt x="621" y="686"/>
                </a:cubicBezTo>
                <a:cubicBezTo>
                  <a:pt x="621" y="686"/>
                  <a:pt x="622" y="686"/>
                  <a:pt x="622" y="686"/>
                </a:cubicBezTo>
                <a:cubicBezTo>
                  <a:pt x="622" y="686"/>
                  <a:pt x="622" y="686"/>
                  <a:pt x="622" y="686"/>
                </a:cubicBezTo>
                <a:cubicBezTo>
                  <a:pt x="621" y="686"/>
                  <a:pt x="621" y="686"/>
                  <a:pt x="621" y="686"/>
                </a:cubicBezTo>
                <a:cubicBezTo>
                  <a:pt x="621" y="685"/>
                  <a:pt x="621" y="685"/>
                  <a:pt x="621" y="685"/>
                </a:cubicBezTo>
                <a:cubicBezTo>
                  <a:pt x="621" y="685"/>
                  <a:pt x="621" y="685"/>
                  <a:pt x="621" y="684"/>
                </a:cubicBezTo>
                <a:cubicBezTo>
                  <a:pt x="621" y="684"/>
                  <a:pt x="621" y="684"/>
                  <a:pt x="622" y="684"/>
                </a:cubicBezTo>
                <a:cubicBezTo>
                  <a:pt x="622" y="684"/>
                  <a:pt x="622" y="684"/>
                  <a:pt x="622" y="684"/>
                </a:cubicBezTo>
                <a:cubicBezTo>
                  <a:pt x="622" y="684"/>
                  <a:pt x="622" y="684"/>
                  <a:pt x="622" y="685"/>
                </a:cubicBezTo>
                <a:cubicBezTo>
                  <a:pt x="623" y="685"/>
                  <a:pt x="623" y="685"/>
                  <a:pt x="623" y="685"/>
                </a:cubicBezTo>
                <a:cubicBezTo>
                  <a:pt x="624" y="685"/>
                  <a:pt x="624" y="685"/>
                  <a:pt x="624" y="685"/>
                </a:cubicBezTo>
                <a:cubicBezTo>
                  <a:pt x="624" y="684"/>
                  <a:pt x="624" y="684"/>
                  <a:pt x="624" y="684"/>
                </a:cubicBezTo>
                <a:cubicBezTo>
                  <a:pt x="625" y="684"/>
                  <a:pt x="625" y="684"/>
                  <a:pt x="625" y="684"/>
                </a:cubicBezTo>
                <a:cubicBezTo>
                  <a:pt x="625" y="684"/>
                  <a:pt x="625" y="684"/>
                  <a:pt x="625" y="685"/>
                </a:cubicBezTo>
                <a:cubicBezTo>
                  <a:pt x="626" y="685"/>
                  <a:pt x="626" y="685"/>
                  <a:pt x="627" y="685"/>
                </a:cubicBezTo>
                <a:cubicBezTo>
                  <a:pt x="627" y="685"/>
                  <a:pt x="627" y="685"/>
                  <a:pt x="627" y="685"/>
                </a:cubicBezTo>
                <a:cubicBezTo>
                  <a:pt x="627" y="685"/>
                  <a:pt x="627" y="685"/>
                  <a:pt x="627" y="685"/>
                </a:cubicBezTo>
                <a:cubicBezTo>
                  <a:pt x="627" y="685"/>
                  <a:pt x="627" y="686"/>
                  <a:pt x="627" y="686"/>
                </a:cubicBezTo>
                <a:cubicBezTo>
                  <a:pt x="627" y="686"/>
                  <a:pt x="627" y="686"/>
                  <a:pt x="627" y="686"/>
                </a:cubicBezTo>
                <a:cubicBezTo>
                  <a:pt x="627" y="686"/>
                  <a:pt x="627" y="686"/>
                  <a:pt x="627" y="686"/>
                </a:cubicBezTo>
                <a:cubicBezTo>
                  <a:pt x="627" y="687"/>
                  <a:pt x="626" y="687"/>
                  <a:pt x="626" y="687"/>
                </a:cubicBezTo>
                <a:cubicBezTo>
                  <a:pt x="627" y="687"/>
                  <a:pt x="627" y="687"/>
                  <a:pt x="627" y="687"/>
                </a:cubicBezTo>
                <a:cubicBezTo>
                  <a:pt x="627" y="687"/>
                  <a:pt x="627" y="688"/>
                  <a:pt x="628" y="688"/>
                </a:cubicBezTo>
                <a:cubicBezTo>
                  <a:pt x="628" y="688"/>
                  <a:pt x="628" y="688"/>
                  <a:pt x="628" y="688"/>
                </a:cubicBezTo>
                <a:cubicBezTo>
                  <a:pt x="627" y="688"/>
                  <a:pt x="627" y="688"/>
                  <a:pt x="627" y="688"/>
                </a:cubicBezTo>
                <a:cubicBezTo>
                  <a:pt x="627" y="688"/>
                  <a:pt x="627" y="688"/>
                  <a:pt x="626" y="687"/>
                </a:cubicBezTo>
                <a:cubicBezTo>
                  <a:pt x="626" y="688"/>
                  <a:pt x="626" y="688"/>
                  <a:pt x="626" y="688"/>
                </a:cubicBezTo>
                <a:cubicBezTo>
                  <a:pt x="626" y="688"/>
                  <a:pt x="626" y="688"/>
                  <a:pt x="626" y="688"/>
                </a:cubicBezTo>
                <a:cubicBezTo>
                  <a:pt x="626" y="688"/>
                  <a:pt x="627" y="688"/>
                  <a:pt x="627" y="689"/>
                </a:cubicBezTo>
                <a:cubicBezTo>
                  <a:pt x="627" y="689"/>
                  <a:pt x="627" y="689"/>
                  <a:pt x="627" y="689"/>
                </a:cubicBezTo>
                <a:cubicBezTo>
                  <a:pt x="628" y="689"/>
                  <a:pt x="628" y="689"/>
                  <a:pt x="628" y="689"/>
                </a:cubicBezTo>
                <a:cubicBezTo>
                  <a:pt x="629" y="689"/>
                  <a:pt x="629" y="688"/>
                  <a:pt x="629" y="688"/>
                </a:cubicBezTo>
                <a:cubicBezTo>
                  <a:pt x="629" y="688"/>
                  <a:pt x="630" y="688"/>
                  <a:pt x="630" y="688"/>
                </a:cubicBezTo>
                <a:cubicBezTo>
                  <a:pt x="630" y="688"/>
                  <a:pt x="630" y="688"/>
                  <a:pt x="630" y="688"/>
                </a:cubicBezTo>
                <a:cubicBezTo>
                  <a:pt x="630" y="688"/>
                  <a:pt x="631" y="688"/>
                  <a:pt x="631" y="688"/>
                </a:cubicBezTo>
                <a:cubicBezTo>
                  <a:pt x="631" y="688"/>
                  <a:pt x="631" y="688"/>
                  <a:pt x="631" y="688"/>
                </a:cubicBezTo>
                <a:cubicBezTo>
                  <a:pt x="631" y="689"/>
                  <a:pt x="631" y="689"/>
                  <a:pt x="631" y="689"/>
                </a:cubicBezTo>
                <a:cubicBezTo>
                  <a:pt x="631" y="689"/>
                  <a:pt x="631" y="689"/>
                  <a:pt x="631" y="689"/>
                </a:cubicBezTo>
                <a:cubicBezTo>
                  <a:pt x="630" y="689"/>
                  <a:pt x="630" y="689"/>
                  <a:pt x="630" y="689"/>
                </a:cubicBezTo>
                <a:cubicBezTo>
                  <a:pt x="630" y="689"/>
                  <a:pt x="630" y="689"/>
                  <a:pt x="630" y="689"/>
                </a:cubicBezTo>
                <a:cubicBezTo>
                  <a:pt x="630" y="689"/>
                  <a:pt x="629" y="689"/>
                  <a:pt x="629" y="689"/>
                </a:cubicBezTo>
                <a:cubicBezTo>
                  <a:pt x="629" y="689"/>
                  <a:pt x="628" y="690"/>
                  <a:pt x="628" y="690"/>
                </a:cubicBezTo>
                <a:cubicBezTo>
                  <a:pt x="628" y="690"/>
                  <a:pt x="628" y="690"/>
                  <a:pt x="628" y="690"/>
                </a:cubicBezTo>
                <a:cubicBezTo>
                  <a:pt x="628" y="690"/>
                  <a:pt x="628" y="691"/>
                  <a:pt x="628" y="691"/>
                </a:cubicBezTo>
                <a:cubicBezTo>
                  <a:pt x="628" y="691"/>
                  <a:pt x="629" y="691"/>
                  <a:pt x="629" y="691"/>
                </a:cubicBezTo>
                <a:cubicBezTo>
                  <a:pt x="629" y="691"/>
                  <a:pt x="629" y="691"/>
                  <a:pt x="629" y="691"/>
                </a:cubicBezTo>
                <a:cubicBezTo>
                  <a:pt x="629" y="691"/>
                  <a:pt x="630" y="691"/>
                  <a:pt x="630" y="691"/>
                </a:cubicBezTo>
                <a:cubicBezTo>
                  <a:pt x="630" y="691"/>
                  <a:pt x="630" y="691"/>
                  <a:pt x="630" y="691"/>
                </a:cubicBezTo>
                <a:cubicBezTo>
                  <a:pt x="630" y="691"/>
                  <a:pt x="630" y="691"/>
                  <a:pt x="630" y="691"/>
                </a:cubicBezTo>
                <a:cubicBezTo>
                  <a:pt x="630" y="692"/>
                  <a:pt x="630" y="692"/>
                  <a:pt x="630" y="692"/>
                </a:cubicBezTo>
                <a:cubicBezTo>
                  <a:pt x="630" y="692"/>
                  <a:pt x="630" y="692"/>
                  <a:pt x="630" y="692"/>
                </a:cubicBezTo>
                <a:cubicBezTo>
                  <a:pt x="630" y="693"/>
                  <a:pt x="630" y="693"/>
                  <a:pt x="630" y="693"/>
                </a:cubicBezTo>
                <a:cubicBezTo>
                  <a:pt x="630" y="693"/>
                  <a:pt x="630" y="693"/>
                  <a:pt x="630" y="693"/>
                </a:cubicBezTo>
                <a:cubicBezTo>
                  <a:pt x="630" y="693"/>
                  <a:pt x="630" y="693"/>
                  <a:pt x="630" y="693"/>
                </a:cubicBezTo>
                <a:cubicBezTo>
                  <a:pt x="630" y="693"/>
                  <a:pt x="630" y="694"/>
                  <a:pt x="630" y="694"/>
                </a:cubicBezTo>
                <a:cubicBezTo>
                  <a:pt x="630" y="694"/>
                  <a:pt x="630" y="695"/>
                  <a:pt x="631" y="695"/>
                </a:cubicBezTo>
                <a:cubicBezTo>
                  <a:pt x="631" y="696"/>
                  <a:pt x="631" y="696"/>
                  <a:pt x="631" y="696"/>
                </a:cubicBezTo>
                <a:cubicBezTo>
                  <a:pt x="631" y="696"/>
                  <a:pt x="631" y="696"/>
                  <a:pt x="631" y="697"/>
                </a:cubicBezTo>
                <a:cubicBezTo>
                  <a:pt x="632" y="697"/>
                  <a:pt x="632" y="697"/>
                  <a:pt x="632" y="697"/>
                </a:cubicBezTo>
                <a:cubicBezTo>
                  <a:pt x="632" y="697"/>
                  <a:pt x="633" y="697"/>
                  <a:pt x="633" y="697"/>
                </a:cubicBezTo>
                <a:cubicBezTo>
                  <a:pt x="633" y="697"/>
                  <a:pt x="633" y="697"/>
                  <a:pt x="632" y="696"/>
                </a:cubicBezTo>
                <a:cubicBezTo>
                  <a:pt x="633" y="696"/>
                  <a:pt x="633" y="695"/>
                  <a:pt x="633" y="695"/>
                </a:cubicBezTo>
                <a:cubicBezTo>
                  <a:pt x="633" y="695"/>
                  <a:pt x="633" y="694"/>
                  <a:pt x="633" y="694"/>
                </a:cubicBezTo>
                <a:cubicBezTo>
                  <a:pt x="633" y="694"/>
                  <a:pt x="633" y="694"/>
                  <a:pt x="633" y="694"/>
                </a:cubicBezTo>
                <a:cubicBezTo>
                  <a:pt x="633" y="695"/>
                  <a:pt x="633" y="695"/>
                  <a:pt x="633" y="695"/>
                </a:cubicBezTo>
                <a:cubicBezTo>
                  <a:pt x="633" y="695"/>
                  <a:pt x="633" y="696"/>
                  <a:pt x="633" y="696"/>
                </a:cubicBezTo>
                <a:cubicBezTo>
                  <a:pt x="633" y="696"/>
                  <a:pt x="633" y="696"/>
                  <a:pt x="633" y="697"/>
                </a:cubicBezTo>
                <a:cubicBezTo>
                  <a:pt x="633" y="697"/>
                  <a:pt x="633" y="697"/>
                  <a:pt x="634" y="697"/>
                </a:cubicBezTo>
                <a:cubicBezTo>
                  <a:pt x="634" y="697"/>
                  <a:pt x="634" y="697"/>
                  <a:pt x="634" y="697"/>
                </a:cubicBezTo>
                <a:cubicBezTo>
                  <a:pt x="634" y="697"/>
                  <a:pt x="634" y="697"/>
                  <a:pt x="634" y="697"/>
                </a:cubicBezTo>
                <a:cubicBezTo>
                  <a:pt x="634" y="697"/>
                  <a:pt x="633" y="697"/>
                  <a:pt x="633" y="697"/>
                </a:cubicBezTo>
                <a:cubicBezTo>
                  <a:pt x="633" y="698"/>
                  <a:pt x="633" y="698"/>
                  <a:pt x="633" y="698"/>
                </a:cubicBezTo>
                <a:cubicBezTo>
                  <a:pt x="633" y="698"/>
                  <a:pt x="633" y="698"/>
                  <a:pt x="633" y="698"/>
                </a:cubicBezTo>
                <a:cubicBezTo>
                  <a:pt x="633" y="699"/>
                  <a:pt x="633" y="699"/>
                  <a:pt x="633" y="699"/>
                </a:cubicBezTo>
                <a:cubicBezTo>
                  <a:pt x="633" y="699"/>
                  <a:pt x="633" y="699"/>
                  <a:pt x="633" y="700"/>
                </a:cubicBezTo>
                <a:cubicBezTo>
                  <a:pt x="633" y="700"/>
                  <a:pt x="633" y="700"/>
                  <a:pt x="633" y="700"/>
                </a:cubicBezTo>
                <a:cubicBezTo>
                  <a:pt x="633" y="700"/>
                  <a:pt x="632" y="700"/>
                  <a:pt x="632" y="701"/>
                </a:cubicBezTo>
                <a:cubicBezTo>
                  <a:pt x="632" y="701"/>
                  <a:pt x="633" y="701"/>
                  <a:pt x="633" y="701"/>
                </a:cubicBezTo>
                <a:cubicBezTo>
                  <a:pt x="633" y="701"/>
                  <a:pt x="633" y="701"/>
                  <a:pt x="634" y="702"/>
                </a:cubicBezTo>
                <a:cubicBezTo>
                  <a:pt x="634" y="702"/>
                  <a:pt x="635" y="702"/>
                  <a:pt x="636" y="702"/>
                </a:cubicBezTo>
                <a:cubicBezTo>
                  <a:pt x="636" y="702"/>
                  <a:pt x="636" y="702"/>
                  <a:pt x="636" y="702"/>
                </a:cubicBezTo>
                <a:cubicBezTo>
                  <a:pt x="636" y="702"/>
                  <a:pt x="636" y="702"/>
                  <a:pt x="636" y="702"/>
                </a:cubicBezTo>
                <a:cubicBezTo>
                  <a:pt x="636" y="702"/>
                  <a:pt x="636" y="702"/>
                  <a:pt x="636" y="702"/>
                </a:cubicBezTo>
                <a:cubicBezTo>
                  <a:pt x="636" y="703"/>
                  <a:pt x="636" y="703"/>
                  <a:pt x="636" y="703"/>
                </a:cubicBezTo>
                <a:cubicBezTo>
                  <a:pt x="636" y="703"/>
                  <a:pt x="637" y="703"/>
                  <a:pt x="637" y="703"/>
                </a:cubicBezTo>
                <a:cubicBezTo>
                  <a:pt x="637" y="703"/>
                  <a:pt x="637" y="703"/>
                  <a:pt x="637" y="702"/>
                </a:cubicBezTo>
                <a:cubicBezTo>
                  <a:pt x="637" y="703"/>
                  <a:pt x="637" y="703"/>
                  <a:pt x="637" y="703"/>
                </a:cubicBezTo>
                <a:cubicBezTo>
                  <a:pt x="637" y="703"/>
                  <a:pt x="637" y="703"/>
                  <a:pt x="637" y="703"/>
                </a:cubicBezTo>
                <a:cubicBezTo>
                  <a:pt x="637" y="704"/>
                  <a:pt x="637" y="704"/>
                  <a:pt x="637" y="704"/>
                </a:cubicBezTo>
                <a:cubicBezTo>
                  <a:pt x="636" y="704"/>
                  <a:pt x="636" y="704"/>
                  <a:pt x="636" y="705"/>
                </a:cubicBezTo>
                <a:cubicBezTo>
                  <a:pt x="636" y="705"/>
                  <a:pt x="637" y="705"/>
                  <a:pt x="637" y="705"/>
                </a:cubicBezTo>
                <a:cubicBezTo>
                  <a:pt x="637" y="705"/>
                  <a:pt x="637" y="705"/>
                  <a:pt x="637" y="705"/>
                </a:cubicBezTo>
                <a:cubicBezTo>
                  <a:pt x="637" y="705"/>
                  <a:pt x="637" y="705"/>
                  <a:pt x="637" y="705"/>
                </a:cubicBezTo>
                <a:cubicBezTo>
                  <a:pt x="638" y="705"/>
                  <a:pt x="638" y="705"/>
                  <a:pt x="638" y="705"/>
                </a:cubicBezTo>
                <a:cubicBezTo>
                  <a:pt x="638" y="705"/>
                  <a:pt x="638" y="705"/>
                  <a:pt x="639" y="705"/>
                </a:cubicBezTo>
                <a:cubicBezTo>
                  <a:pt x="639" y="705"/>
                  <a:pt x="639" y="705"/>
                  <a:pt x="639" y="705"/>
                </a:cubicBezTo>
                <a:cubicBezTo>
                  <a:pt x="639" y="705"/>
                  <a:pt x="639" y="705"/>
                  <a:pt x="639" y="706"/>
                </a:cubicBezTo>
                <a:cubicBezTo>
                  <a:pt x="639" y="706"/>
                  <a:pt x="639" y="706"/>
                  <a:pt x="639" y="706"/>
                </a:cubicBezTo>
                <a:cubicBezTo>
                  <a:pt x="639" y="706"/>
                  <a:pt x="639" y="706"/>
                  <a:pt x="639" y="706"/>
                </a:cubicBezTo>
                <a:cubicBezTo>
                  <a:pt x="639" y="706"/>
                  <a:pt x="639" y="706"/>
                  <a:pt x="639" y="706"/>
                </a:cubicBezTo>
                <a:cubicBezTo>
                  <a:pt x="638" y="706"/>
                  <a:pt x="638" y="706"/>
                  <a:pt x="638" y="706"/>
                </a:cubicBezTo>
                <a:cubicBezTo>
                  <a:pt x="638" y="706"/>
                  <a:pt x="638" y="707"/>
                  <a:pt x="638" y="707"/>
                </a:cubicBezTo>
                <a:cubicBezTo>
                  <a:pt x="638" y="707"/>
                  <a:pt x="639" y="707"/>
                  <a:pt x="639" y="707"/>
                </a:cubicBezTo>
                <a:cubicBezTo>
                  <a:pt x="639" y="707"/>
                  <a:pt x="639" y="707"/>
                  <a:pt x="639" y="707"/>
                </a:cubicBezTo>
                <a:cubicBezTo>
                  <a:pt x="639" y="708"/>
                  <a:pt x="640" y="708"/>
                  <a:pt x="640" y="708"/>
                </a:cubicBezTo>
                <a:cubicBezTo>
                  <a:pt x="640" y="708"/>
                  <a:pt x="640" y="708"/>
                  <a:pt x="640" y="708"/>
                </a:cubicBezTo>
                <a:cubicBezTo>
                  <a:pt x="641" y="709"/>
                  <a:pt x="641" y="709"/>
                  <a:pt x="641" y="709"/>
                </a:cubicBezTo>
                <a:cubicBezTo>
                  <a:pt x="641" y="709"/>
                  <a:pt x="641" y="709"/>
                  <a:pt x="642" y="709"/>
                </a:cubicBezTo>
                <a:cubicBezTo>
                  <a:pt x="641" y="708"/>
                  <a:pt x="641" y="708"/>
                  <a:pt x="641" y="708"/>
                </a:cubicBezTo>
                <a:cubicBezTo>
                  <a:pt x="641" y="708"/>
                  <a:pt x="641" y="707"/>
                  <a:pt x="641" y="707"/>
                </a:cubicBezTo>
                <a:cubicBezTo>
                  <a:pt x="641" y="707"/>
                  <a:pt x="641" y="707"/>
                  <a:pt x="641" y="707"/>
                </a:cubicBezTo>
                <a:cubicBezTo>
                  <a:pt x="641" y="707"/>
                  <a:pt x="641" y="707"/>
                  <a:pt x="642" y="707"/>
                </a:cubicBezTo>
                <a:cubicBezTo>
                  <a:pt x="642" y="707"/>
                  <a:pt x="642" y="707"/>
                  <a:pt x="642" y="708"/>
                </a:cubicBezTo>
                <a:cubicBezTo>
                  <a:pt x="642" y="708"/>
                  <a:pt x="642" y="708"/>
                  <a:pt x="642" y="708"/>
                </a:cubicBezTo>
                <a:cubicBezTo>
                  <a:pt x="642" y="708"/>
                  <a:pt x="642" y="708"/>
                  <a:pt x="642" y="707"/>
                </a:cubicBezTo>
                <a:cubicBezTo>
                  <a:pt x="643" y="707"/>
                  <a:pt x="643" y="707"/>
                  <a:pt x="643" y="707"/>
                </a:cubicBezTo>
                <a:cubicBezTo>
                  <a:pt x="643" y="707"/>
                  <a:pt x="643" y="706"/>
                  <a:pt x="643" y="706"/>
                </a:cubicBezTo>
                <a:cubicBezTo>
                  <a:pt x="643" y="706"/>
                  <a:pt x="642" y="706"/>
                  <a:pt x="642" y="706"/>
                </a:cubicBezTo>
                <a:cubicBezTo>
                  <a:pt x="642" y="706"/>
                  <a:pt x="642" y="706"/>
                  <a:pt x="641" y="706"/>
                </a:cubicBezTo>
                <a:cubicBezTo>
                  <a:pt x="641" y="706"/>
                  <a:pt x="641" y="706"/>
                  <a:pt x="641" y="706"/>
                </a:cubicBezTo>
                <a:cubicBezTo>
                  <a:pt x="641" y="706"/>
                  <a:pt x="642" y="706"/>
                  <a:pt x="642" y="706"/>
                </a:cubicBezTo>
                <a:cubicBezTo>
                  <a:pt x="642" y="706"/>
                  <a:pt x="643" y="706"/>
                  <a:pt x="643" y="706"/>
                </a:cubicBezTo>
                <a:cubicBezTo>
                  <a:pt x="643" y="706"/>
                  <a:pt x="643" y="706"/>
                  <a:pt x="643" y="706"/>
                </a:cubicBezTo>
                <a:cubicBezTo>
                  <a:pt x="644" y="706"/>
                  <a:pt x="644" y="706"/>
                  <a:pt x="644" y="706"/>
                </a:cubicBezTo>
                <a:cubicBezTo>
                  <a:pt x="644" y="706"/>
                  <a:pt x="644" y="706"/>
                  <a:pt x="644" y="705"/>
                </a:cubicBezTo>
                <a:cubicBezTo>
                  <a:pt x="644" y="705"/>
                  <a:pt x="643" y="705"/>
                  <a:pt x="643" y="705"/>
                </a:cubicBezTo>
                <a:cubicBezTo>
                  <a:pt x="642" y="705"/>
                  <a:pt x="642" y="705"/>
                  <a:pt x="642" y="705"/>
                </a:cubicBezTo>
                <a:cubicBezTo>
                  <a:pt x="641" y="705"/>
                  <a:pt x="641" y="705"/>
                  <a:pt x="641" y="705"/>
                </a:cubicBezTo>
                <a:cubicBezTo>
                  <a:pt x="642" y="705"/>
                  <a:pt x="642" y="705"/>
                  <a:pt x="642" y="705"/>
                </a:cubicBezTo>
                <a:cubicBezTo>
                  <a:pt x="642" y="705"/>
                  <a:pt x="643" y="705"/>
                  <a:pt x="643" y="705"/>
                </a:cubicBezTo>
                <a:cubicBezTo>
                  <a:pt x="644" y="705"/>
                  <a:pt x="644" y="705"/>
                  <a:pt x="645" y="705"/>
                </a:cubicBezTo>
                <a:cubicBezTo>
                  <a:pt x="645" y="706"/>
                  <a:pt x="645" y="706"/>
                  <a:pt x="645" y="706"/>
                </a:cubicBezTo>
                <a:cubicBezTo>
                  <a:pt x="645" y="706"/>
                  <a:pt x="645" y="707"/>
                  <a:pt x="645" y="707"/>
                </a:cubicBezTo>
                <a:cubicBezTo>
                  <a:pt x="645" y="707"/>
                  <a:pt x="645" y="707"/>
                  <a:pt x="645" y="707"/>
                </a:cubicBezTo>
                <a:cubicBezTo>
                  <a:pt x="645" y="708"/>
                  <a:pt x="645" y="708"/>
                  <a:pt x="645" y="708"/>
                </a:cubicBezTo>
                <a:cubicBezTo>
                  <a:pt x="645" y="708"/>
                  <a:pt x="645" y="709"/>
                  <a:pt x="646" y="709"/>
                </a:cubicBezTo>
                <a:cubicBezTo>
                  <a:pt x="645" y="709"/>
                  <a:pt x="645" y="709"/>
                  <a:pt x="645" y="709"/>
                </a:cubicBezTo>
                <a:cubicBezTo>
                  <a:pt x="645" y="709"/>
                  <a:pt x="645" y="709"/>
                  <a:pt x="645" y="708"/>
                </a:cubicBezTo>
                <a:cubicBezTo>
                  <a:pt x="645" y="708"/>
                  <a:pt x="645" y="708"/>
                  <a:pt x="644" y="707"/>
                </a:cubicBezTo>
                <a:cubicBezTo>
                  <a:pt x="644" y="707"/>
                  <a:pt x="644" y="707"/>
                  <a:pt x="644" y="707"/>
                </a:cubicBezTo>
                <a:cubicBezTo>
                  <a:pt x="644" y="707"/>
                  <a:pt x="643" y="707"/>
                  <a:pt x="643" y="708"/>
                </a:cubicBezTo>
                <a:cubicBezTo>
                  <a:pt x="643" y="708"/>
                  <a:pt x="643" y="708"/>
                  <a:pt x="643" y="708"/>
                </a:cubicBezTo>
                <a:cubicBezTo>
                  <a:pt x="644" y="708"/>
                  <a:pt x="644" y="708"/>
                  <a:pt x="644" y="709"/>
                </a:cubicBezTo>
                <a:cubicBezTo>
                  <a:pt x="644" y="709"/>
                  <a:pt x="644" y="709"/>
                  <a:pt x="644" y="709"/>
                </a:cubicBezTo>
                <a:cubicBezTo>
                  <a:pt x="644" y="709"/>
                  <a:pt x="644" y="709"/>
                  <a:pt x="643" y="709"/>
                </a:cubicBezTo>
                <a:cubicBezTo>
                  <a:pt x="643" y="709"/>
                  <a:pt x="643" y="709"/>
                  <a:pt x="643" y="708"/>
                </a:cubicBezTo>
                <a:cubicBezTo>
                  <a:pt x="643" y="708"/>
                  <a:pt x="643" y="708"/>
                  <a:pt x="643" y="708"/>
                </a:cubicBezTo>
                <a:cubicBezTo>
                  <a:pt x="642" y="709"/>
                  <a:pt x="642" y="709"/>
                  <a:pt x="642" y="709"/>
                </a:cubicBezTo>
                <a:cubicBezTo>
                  <a:pt x="642" y="709"/>
                  <a:pt x="642" y="709"/>
                  <a:pt x="641" y="709"/>
                </a:cubicBezTo>
                <a:cubicBezTo>
                  <a:pt x="641" y="709"/>
                  <a:pt x="641" y="710"/>
                  <a:pt x="641" y="710"/>
                </a:cubicBezTo>
                <a:cubicBezTo>
                  <a:pt x="641" y="710"/>
                  <a:pt x="641" y="710"/>
                  <a:pt x="641" y="710"/>
                </a:cubicBezTo>
                <a:cubicBezTo>
                  <a:pt x="641" y="710"/>
                  <a:pt x="642" y="711"/>
                  <a:pt x="642" y="711"/>
                </a:cubicBezTo>
                <a:cubicBezTo>
                  <a:pt x="642" y="711"/>
                  <a:pt x="642" y="711"/>
                  <a:pt x="642" y="711"/>
                </a:cubicBezTo>
                <a:cubicBezTo>
                  <a:pt x="642" y="711"/>
                  <a:pt x="642" y="712"/>
                  <a:pt x="642" y="712"/>
                </a:cubicBezTo>
                <a:cubicBezTo>
                  <a:pt x="642" y="712"/>
                  <a:pt x="642" y="712"/>
                  <a:pt x="642" y="712"/>
                </a:cubicBezTo>
                <a:cubicBezTo>
                  <a:pt x="642" y="712"/>
                  <a:pt x="642" y="712"/>
                  <a:pt x="642" y="712"/>
                </a:cubicBezTo>
                <a:cubicBezTo>
                  <a:pt x="643" y="712"/>
                  <a:pt x="643" y="712"/>
                  <a:pt x="643" y="712"/>
                </a:cubicBezTo>
                <a:cubicBezTo>
                  <a:pt x="643" y="712"/>
                  <a:pt x="643" y="712"/>
                  <a:pt x="643" y="712"/>
                </a:cubicBezTo>
                <a:cubicBezTo>
                  <a:pt x="643" y="712"/>
                  <a:pt x="643" y="712"/>
                  <a:pt x="644" y="712"/>
                </a:cubicBezTo>
                <a:cubicBezTo>
                  <a:pt x="644" y="712"/>
                  <a:pt x="644" y="712"/>
                  <a:pt x="644" y="712"/>
                </a:cubicBezTo>
                <a:cubicBezTo>
                  <a:pt x="644" y="712"/>
                  <a:pt x="644" y="712"/>
                  <a:pt x="644" y="712"/>
                </a:cubicBezTo>
                <a:cubicBezTo>
                  <a:pt x="644" y="712"/>
                  <a:pt x="644" y="712"/>
                  <a:pt x="644" y="712"/>
                </a:cubicBezTo>
                <a:cubicBezTo>
                  <a:pt x="644" y="713"/>
                  <a:pt x="643" y="713"/>
                  <a:pt x="643" y="713"/>
                </a:cubicBezTo>
                <a:cubicBezTo>
                  <a:pt x="643" y="713"/>
                  <a:pt x="643" y="713"/>
                  <a:pt x="643" y="713"/>
                </a:cubicBezTo>
                <a:cubicBezTo>
                  <a:pt x="644" y="713"/>
                  <a:pt x="644" y="713"/>
                  <a:pt x="644" y="713"/>
                </a:cubicBezTo>
                <a:cubicBezTo>
                  <a:pt x="645" y="713"/>
                  <a:pt x="645" y="713"/>
                  <a:pt x="646" y="713"/>
                </a:cubicBezTo>
                <a:cubicBezTo>
                  <a:pt x="646" y="713"/>
                  <a:pt x="646" y="713"/>
                  <a:pt x="646" y="713"/>
                </a:cubicBezTo>
                <a:cubicBezTo>
                  <a:pt x="646" y="713"/>
                  <a:pt x="646" y="713"/>
                  <a:pt x="646" y="713"/>
                </a:cubicBezTo>
                <a:cubicBezTo>
                  <a:pt x="646" y="712"/>
                  <a:pt x="646" y="712"/>
                  <a:pt x="646" y="712"/>
                </a:cubicBezTo>
                <a:cubicBezTo>
                  <a:pt x="646" y="712"/>
                  <a:pt x="646" y="712"/>
                  <a:pt x="646" y="711"/>
                </a:cubicBezTo>
                <a:cubicBezTo>
                  <a:pt x="646" y="711"/>
                  <a:pt x="646" y="711"/>
                  <a:pt x="646" y="711"/>
                </a:cubicBezTo>
                <a:cubicBezTo>
                  <a:pt x="645" y="711"/>
                  <a:pt x="645" y="711"/>
                  <a:pt x="645" y="711"/>
                </a:cubicBezTo>
                <a:cubicBezTo>
                  <a:pt x="645" y="711"/>
                  <a:pt x="645" y="711"/>
                  <a:pt x="645" y="711"/>
                </a:cubicBezTo>
                <a:cubicBezTo>
                  <a:pt x="645" y="711"/>
                  <a:pt x="645" y="711"/>
                  <a:pt x="645" y="711"/>
                </a:cubicBezTo>
                <a:cubicBezTo>
                  <a:pt x="645" y="711"/>
                  <a:pt x="645" y="711"/>
                  <a:pt x="645" y="711"/>
                </a:cubicBezTo>
                <a:cubicBezTo>
                  <a:pt x="645" y="710"/>
                  <a:pt x="645" y="710"/>
                  <a:pt x="645" y="710"/>
                </a:cubicBezTo>
                <a:cubicBezTo>
                  <a:pt x="645" y="710"/>
                  <a:pt x="645" y="710"/>
                  <a:pt x="645" y="710"/>
                </a:cubicBezTo>
                <a:cubicBezTo>
                  <a:pt x="646" y="710"/>
                  <a:pt x="646" y="710"/>
                  <a:pt x="646" y="710"/>
                </a:cubicBezTo>
                <a:cubicBezTo>
                  <a:pt x="646" y="710"/>
                  <a:pt x="647" y="710"/>
                  <a:pt x="647" y="710"/>
                </a:cubicBezTo>
                <a:cubicBezTo>
                  <a:pt x="647" y="710"/>
                  <a:pt x="647" y="710"/>
                  <a:pt x="647" y="710"/>
                </a:cubicBezTo>
                <a:cubicBezTo>
                  <a:pt x="647" y="710"/>
                  <a:pt x="647" y="710"/>
                  <a:pt x="647" y="710"/>
                </a:cubicBezTo>
                <a:cubicBezTo>
                  <a:pt x="647" y="710"/>
                  <a:pt x="647" y="710"/>
                  <a:pt x="647" y="710"/>
                </a:cubicBezTo>
                <a:cubicBezTo>
                  <a:pt x="648" y="710"/>
                  <a:pt x="648" y="710"/>
                  <a:pt x="648" y="709"/>
                </a:cubicBezTo>
                <a:cubicBezTo>
                  <a:pt x="648" y="709"/>
                  <a:pt x="649" y="709"/>
                  <a:pt x="649" y="709"/>
                </a:cubicBezTo>
                <a:cubicBezTo>
                  <a:pt x="649" y="709"/>
                  <a:pt x="649" y="709"/>
                  <a:pt x="650" y="709"/>
                </a:cubicBezTo>
                <a:cubicBezTo>
                  <a:pt x="650" y="709"/>
                  <a:pt x="650" y="709"/>
                  <a:pt x="650" y="709"/>
                </a:cubicBezTo>
                <a:cubicBezTo>
                  <a:pt x="650" y="709"/>
                  <a:pt x="651" y="709"/>
                  <a:pt x="651" y="709"/>
                </a:cubicBezTo>
                <a:cubicBezTo>
                  <a:pt x="650" y="709"/>
                  <a:pt x="650" y="710"/>
                  <a:pt x="650" y="710"/>
                </a:cubicBezTo>
                <a:cubicBezTo>
                  <a:pt x="650" y="710"/>
                  <a:pt x="650" y="710"/>
                  <a:pt x="650" y="710"/>
                </a:cubicBezTo>
                <a:cubicBezTo>
                  <a:pt x="650" y="710"/>
                  <a:pt x="650" y="710"/>
                  <a:pt x="649" y="710"/>
                </a:cubicBezTo>
                <a:cubicBezTo>
                  <a:pt x="649" y="710"/>
                  <a:pt x="649" y="710"/>
                  <a:pt x="649" y="710"/>
                </a:cubicBezTo>
                <a:cubicBezTo>
                  <a:pt x="649" y="710"/>
                  <a:pt x="649" y="710"/>
                  <a:pt x="648" y="710"/>
                </a:cubicBezTo>
                <a:cubicBezTo>
                  <a:pt x="648" y="711"/>
                  <a:pt x="648" y="711"/>
                  <a:pt x="647" y="711"/>
                </a:cubicBezTo>
                <a:cubicBezTo>
                  <a:pt x="647" y="711"/>
                  <a:pt x="647" y="711"/>
                  <a:pt x="647" y="712"/>
                </a:cubicBezTo>
                <a:cubicBezTo>
                  <a:pt x="647" y="712"/>
                  <a:pt x="647" y="712"/>
                  <a:pt x="647" y="712"/>
                </a:cubicBezTo>
                <a:cubicBezTo>
                  <a:pt x="647" y="712"/>
                  <a:pt x="646" y="712"/>
                  <a:pt x="646" y="712"/>
                </a:cubicBezTo>
                <a:cubicBezTo>
                  <a:pt x="646" y="712"/>
                  <a:pt x="646" y="712"/>
                  <a:pt x="647" y="713"/>
                </a:cubicBezTo>
                <a:cubicBezTo>
                  <a:pt x="646" y="713"/>
                  <a:pt x="646" y="713"/>
                  <a:pt x="646" y="713"/>
                </a:cubicBezTo>
                <a:cubicBezTo>
                  <a:pt x="646" y="713"/>
                  <a:pt x="646" y="713"/>
                  <a:pt x="646" y="713"/>
                </a:cubicBezTo>
                <a:cubicBezTo>
                  <a:pt x="646" y="713"/>
                  <a:pt x="646" y="714"/>
                  <a:pt x="646" y="714"/>
                </a:cubicBezTo>
                <a:cubicBezTo>
                  <a:pt x="646" y="714"/>
                  <a:pt x="647" y="714"/>
                  <a:pt x="647" y="714"/>
                </a:cubicBezTo>
                <a:cubicBezTo>
                  <a:pt x="647" y="714"/>
                  <a:pt x="647" y="714"/>
                  <a:pt x="646" y="714"/>
                </a:cubicBezTo>
                <a:cubicBezTo>
                  <a:pt x="646" y="714"/>
                  <a:pt x="647" y="714"/>
                  <a:pt x="647" y="714"/>
                </a:cubicBezTo>
                <a:cubicBezTo>
                  <a:pt x="647" y="714"/>
                  <a:pt x="647" y="714"/>
                  <a:pt x="648" y="715"/>
                </a:cubicBezTo>
                <a:cubicBezTo>
                  <a:pt x="648" y="715"/>
                  <a:pt x="648" y="715"/>
                  <a:pt x="649" y="715"/>
                </a:cubicBezTo>
                <a:cubicBezTo>
                  <a:pt x="649" y="715"/>
                  <a:pt x="649" y="715"/>
                  <a:pt x="649" y="715"/>
                </a:cubicBezTo>
                <a:cubicBezTo>
                  <a:pt x="649" y="715"/>
                  <a:pt x="649" y="715"/>
                  <a:pt x="649" y="715"/>
                </a:cubicBezTo>
                <a:cubicBezTo>
                  <a:pt x="649" y="714"/>
                  <a:pt x="649" y="714"/>
                  <a:pt x="649" y="714"/>
                </a:cubicBezTo>
                <a:cubicBezTo>
                  <a:pt x="649" y="714"/>
                  <a:pt x="649" y="714"/>
                  <a:pt x="649" y="713"/>
                </a:cubicBezTo>
                <a:cubicBezTo>
                  <a:pt x="649" y="713"/>
                  <a:pt x="650" y="713"/>
                  <a:pt x="650" y="713"/>
                </a:cubicBezTo>
                <a:cubicBezTo>
                  <a:pt x="650" y="713"/>
                  <a:pt x="650" y="713"/>
                  <a:pt x="650" y="713"/>
                </a:cubicBezTo>
                <a:cubicBezTo>
                  <a:pt x="649" y="713"/>
                  <a:pt x="649" y="713"/>
                  <a:pt x="649" y="712"/>
                </a:cubicBezTo>
                <a:cubicBezTo>
                  <a:pt x="649" y="712"/>
                  <a:pt x="650" y="712"/>
                  <a:pt x="650" y="712"/>
                </a:cubicBezTo>
                <a:cubicBezTo>
                  <a:pt x="650" y="712"/>
                  <a:pt x="650" y="712"/>
                  <a:pt x="650" y="711"/>
                </a:cubicBezTo>
                <a:cubicBezTo>
                  <a:pt x="651" y="711"/>
                  <a:pt x="651" y="711"/>
                  <a:pt x="651" y="710"/>
                </a:cubicBezTo>
                <a:cubicBezTo>
                  <a:pt x="651" y="710"/>
                  <a:pt x="651" y="710"/>
                  <a:pt x="651" y="710"/>
                </a:cubicBezTo>
                <a:cubicBezTo>
                  <a:pt x="651" y="710"/>
                  <a:pt x="651" y="710"/>
                  <a:pt x="652" y="710"/>
                </a:cubicBezTo>
                <a:cubicBezTo>
                  <a:pt x="652" y="710"/>
                  <a:pt x="652" y="710"/>
                  <a:pt x="652" y="710"/>
                </a:cubicBezTo>
                <a:cubicBezTo>
                  <a:pt x="652" y="710"/>
                  <a:pt x="652" y="710"/>
                  <a:pt x="653" y="710"/>
                </a:cubicBezTo>
                <a:cubicBezTo>
                  <a:pt x="653" y="710"/>
                  <a:pt x="653" y="710"/>
                  <a:pt x="653" y="710"/>
                </a:cubicBezTo>
                <a:cubicBezTo>
                  <a:pt x="653" y="710"/>
                  <a:pt x="652" y="711"/>
                  <a:pt x="652" y="711"/>
                </a:cubicBezTo>
                <a:cubicBezTo>
                  <a:pt x="652" y="711"/>
                  <a:pt x="652" y="711"/>
                  <a:pt x="652" y="711"/>
                </a:cubicBezTo>
                <a:cubicBezTo>
                  <a:pt x="652" y="711"/>
                  <a:pt x="652" y="712"/>
                  <a:pt x="652" y="712"/>
                </a:cubicBezTo>
                <a:cubicBezTo>
                  <a:pt x="652" y="712"/>
                  <a:pt x="652" y="712"/>
                  <a:pt x="651" y="713"/>
                </a:cubicBezTo>
                <a:cubicBezTo>
                  <a:pt x="651" y="713"/>
                  <a:pt x="652" y="713"/>
                  <a:pt x="652" y="713"/>
                </a:cubicBezTo>
                <a:cubicBezTo>
                  <a:pt x="652" y="713"/>
                  <a:pt x="652" y="714"/>
                  <a:pt x="652" y="714"/>
                </a:cubicBezTo>
                <a:cubicBezTo>
                  <a:pt x="652" y="714"/>
                  <a:pt x="652" y="714"/>
                  <a:pt x="652" y="714"/>
                </a:cubicBezTo>
                <a:cubicBezTo>
                  <a:pt x="651" y="714"/>
                  <a:pt x="651" y="714"/>
                  <a:pt x="651" y="715"/>
                </a:cubicBezTo>
                <a:cubicBezTo>
                  <a:pt x="651" y="714"/>
                  <a:pt x="651" y="714"/>
                  <a:pt x="651" y="714"/>
                </a:cubicBezTo>
                <a:cubicBezTo>
                  <a:pt x="651" y="714"/>
                  <a:pt x="651" y="714"/>
                  <a:pt x="651" y="714"/>
                </a:cubicBezTo>
                <a:cubicBezTo>
                  <a:pt x="651" y="714"/>
                  <a:pt x="651" y="713"/>
                  <a:pt x="651" y="713"/>
                </a:cubicBezTo>
                <a:cubicBezTo>
                  <a:pt x="651" y="713"/>
                  <a:pt x="651" y="713"/>
                  <a:pt x="651" y="713"/>
                </a:cubicBezTo>
                <a:cubicBezTo>
                  <a:pt x="651" y="713"/>
                  <a:pt x="651" y="713"/>
                  <a:pt x="650" y="713"/>
                </a:cubicBezTo>
                <a:cubicBezTo>
                  <a:pt x="650" y="714"/>
                  <a:pt x="650" y="714"/>
                  <a:pt x="650" y="714"/>
                </a:cubicBezTo>
                <a:cubicBezTo>
                  <a:pt x="650" y="714"/>
                  <a:pt x="650" y="714"/>
                  <a:pt x="650" y="714"/>
                </a:cubicBezTo>
                <a:cubicBezTo>
                  <a:pt x="650" y="714"/>
                  <a:pt x="650" y="714"/>
                  <a:pt x="650" y="714"/>
                </a:cubicBezTo>
                <a:cubicBezTo>
                  <a:pt x="650" y="714"/>
                  <a:pt x="650" y="714"/>
                  <a:pt x="649" y="714"/>
                </a:cubicBezTo>
                <a:cubicBezTo>
                  <a:pt x="650" y="715"/>
                  <a:pt x="650" y="715"/>
                  <a:pt x="650" y="715"/>
                </a:cubicBezTo>
                <a:cubicBezTo>
                  <a:pt x="651" y="715"/>
                  <a:pt x="651" y="715"/>
                  <a:pt x="652" y="716"/>
                </a:cubicBezTo>
                <a:cubicBezTo>
                  <a:pt x="652" y="716"/>
                  <a:pt x="652" y="716"/>
                  <a:pt x="653" y="716"/>
                </a:cubicBezTo>
                <a:cubicBezTo>
                  <a:pt x="653" y="716"/>
                  <a:pt x="653" y="716"/>
                  <a:pt x="654" y="716"/>
                </a:cubicBezTo>
                <a:cubicBezTo>
                  <a:pt x="654" y="716"/>
                  <a:pt x="654" y="716"/>
                  <a:pt x="654" y="716"/>
                </a:cubicBezTo>
                <a:cubicBezTo>
                  <a:pt x="654" y="716"/>
                  <a:pt x="654" y="716"/>
                  <a:pt x="655" y="716"/>
                </a:cubicBezTo>
                <a:cubicBezTo>
                  <a:pt x="655" y="716"/>
                  <a:pt x="655" y="716"/>
                  <a:pt x="655" y="715"/>
                </a:cubicBezTo>
                <a:cubicBezTo>
                  <a:pt x="655" y="715"/>
                  <a:pt x="655" y="715"/>
                  <a:pt x="655" y="715"/>
                </a:cubicBezTo>
                <a:cubicBezTo>
                  <a:pt x="655" y="714"/>
                  <a:pt x="655" y="714"/>
                  <a:pt x="655" y="714"/>
                </a:cubicBezTo>
                <a:cubicBezTo>
                  <a:pt x="655" y="713"/>
                  <a:pt x="655" y="713"/>
                  <a:pt x="655" y="713"/>
                </a:cubicBezTo>
                <a:cubicBezTo>
                  <a:pt x="655" y="713"/>
                  <a:pt x="654" y="713"/>
                  <a:pt x="654" y="712"/>
                </a:cubicBezTo>
                <a:cubicBezTo>
                  <a:pt x="654" y="712"/>
                  <a:pt x="654" y="712"/>
                  <a:pt x="654" y="712"/>
                </a:cubicBezTo>
                <a:cubicBezTo>
                  <a:pt x="654" y="711"/>
                  <a:pt x="654" y="711"/>
                  <a:pt x="654" y="710"/>
                </a:cubicBezTo>
                <a:cubicBezTo>
                  <a:pt x="654" y="710"/>
                  <a:pt x="654" y="710"/>
                  <a:pt x="654" y="710"/>
                </a:cubicBezTo>
                <a:cubicBezTo>
                  <a:pt x="654" y="710"/>
                  <a:pt x="654" y="709"/>
                  <a:pt x="654" y="709"/>
                </a:cubicBezTo>
                <a:cubicBezTo>
                  <a:pt x="654" y="709"/>
                  <a:pt x="654" y="709"/>
                  <a:pt x="655" y="708"/>
                </a:cubicBezTo>
                <a:cubicBezTo>
                  <a:pt x="655" y="708"/>
                  <a:pt x="655" y="708"/>
                  <a:pt x="655" y="707"/>
                </a:cubicBezTo>
                <a:cubicBezTo>
                  <a:pt x="656" y="707"/>
                  <a:pt x="656" y="707"/>
                  <a:pt x="656" y="707"/>
                </a:cubicBezTo>
                <a:cubicBezTo>
                  <a:pt x="656" y="707"/>
                  <a:pt x="656" y="707"/>
                  <a:pt x="657" y="707"/>
                </a:cubicBezTo>
                <a:cubicBezTo>
                  <a:pt x="657" y="707"/>
                  <a:pt x="657" y="707"/>
                  <a:pt x="657" y="706"/>
                </a:cubicBezTo>
                <a:cubicBezTo>
                  <a:pt x="657" y="706"/>
                  <a:pt x="657" y="706"/>
                  <a:pt x="657" y="706"/>
                </a:cubicBezTo>
                <a:cubicBezTo>
                  <a:pt x="657" y="705"/>
                  <a:pt x="657" y="705"/>
                  <a:pt x="657" y="705"/>
                </a:cubicBezTo>
                <a:cubicBezTo>
                  <a:pt x="657" y="705"/>
                  <a:pt x="658" y="705"/>
                  <a:pt x="658" y="705"/>
                </a:cubicBezTo>
                <a:cubicBezTo>
                  <a:pt x="658" y="705"/>
                  <a:pt x="659" y="705"/>
                  <a:pt x="659" y="705"/>
                </a:cubicBezTo>
                <a:cubicBezTo>
                  <a:pt x="659" y="705"/>
                  <a:pt x="659" y="705"/>
                  <a:pt x="660" y="705"/>
                </a:cubicBezTo>
                <a:cubicBezTo>
                  <a:pt x="660" y="705"/>
                  <a:pt x="660" y="705"/>
                  <a:pt x="660" y="705"/>
                </a:cubicBezTo>
                <a:cubicBezTo>
                  <a:pt x="660" y="705"/>
                  <a:pt x="660" y="705"/>
                  <a:pt x="661" y="705"/>
                </a:cubicBezTo>
                <a:cubicBezTo>
                  <a:pt x="661" y="705"/>
                  <a:pt x="661" y="705"/>
                  <a:pt x="661" y="705"/>
                </a:cubicBezTo>
                <a:cubicBezTo>
                  <a:pt x="661" y="705"/>
                  <a:pt x="661" y="704"/>
                  <a:pt x="661" y="704"/>
                </a:cubicBezTo>
                <a:cubicBezTo>
                  <a:pt x="661" y="704"/>
                  <a:pt x="660" y="704"/>
                  <a:pt x="660" y="704"/>
                </a:cubicBezTo>
                <a:cubicBezTo>
                  <a:pt x="659" y="704"/>
                  <a:pt x="659" y="703"/>
                  <a:pt x="658" y="703"/>
                </a:cubicBezTo>
                <a:cubicBezTo>
                  <a:pt x="658" y="703"/>
                  <a:pt x="658" y="703"/>
                  <a:pt x="658" y="703"/>
                </a:cubicBezTo>
                <a:cubicBezTo>
                  <a:pt x="658" y="702"/>
                  <a:pt x="657" y="702"/>
                  <a:pt x="657" y="702"/>
                </a:cubicBezTo>
                <a:cubicBezTo>
                  <a:pt x="657" y="702"/>
                  <a:pt x="657" y="702"/>
                  <a:pt x="657" y="702"/>
                </a:cubicBezTo>
                <a:cubicBezTo>
                  <a:pt x="657" y="702"/>
                  <a:pt x="656" y="702"/>
                  <a:pt x="656" y="702"/>
                </a:cubicBezTo>
                <a:cubicBezTo>
                  <a:pt x="656" y="702"/>
                  <a:pt x="657" y="702"/>
                  <a:pt x="657" y="702"/>
                </a:cubicBezTo>
                <a:cubicBezTo>
                  <a:pt x="657" y="701"/>
                  <a:pt x="657" y="701"/>
                  <a:pt x="657" y="701"/>
                </a:cubicBezTo>
                <a:cubicBezTo>
                  <a:pt x="657" y="701"/>
                  <a:pt x="657" y="701"/>
                  <a:pt x="657" y="701"/>
                </a:cubicBezTo>
                <a:cubicBezTo>
                  <a:pt x="657" y="701"/>
                  <a:pt x="656" y="701"/>
                  <a:pt x="656" y="701"/>
                </a:cubicBezTo>
                <a:cubicBezTo>
                  <a:pt x="656" y="700"/>
                  <a:pt x="656" y="700"/>
                  <a:pt x="655" y="699"/>
                </a:cubicBezTo>
                <a:cubicBezTo>
                  <a:pt x="655" y="699"/>
                  <a:pt x="655" y="698"/>
                  <a:pt x="654" y="698"/>
                </a:cubicBezTo>
                <a:cubicBezTo>
                  <a:pt x="654" y="698"/>
                  <a:pt x="654" y="697"/>
                  <a:pt x="654" y="697"/>
                </a:cubicBezTo>
                <a:cubicBezTo>
                  <a:pt x="654" y="697"/>
                  <a:pt x="654" y="696"/>
                  <a:pt x="654" y="696"/>
                </a:cubicBezTo>
                <a:cubicBezTo>
                  <a:pt x="654" y="695"/>
                  <a:pt x="655" y="695"/>
                  <a:pt x="655" y="695"/>
                </a:cubicBezTo>
                <a:cubicBezTo>
                  <a:pt x="655" y="695"/>
                  <a:pt x="655" y="694"/>
                  <a:pt x="655" y="694"/>
                </a:cubicBezTo>
                <a:cubicBezTo>
                  <a:pt x="655" y="694"/>
                  <a:pt x="655" y="694"/>
                  <a:pt x="655" y="694"/>
                </a:cubicBezTo>
                <a:cubicBezTo>
                  <a:pt x="655" y="694"/>
                  <a:pt x="655" y="694"/>
                  <a:pt x="655" y="693"/>
                </a:cubicBezTo>
                <a:cubicBezTo>
                  <a:pt x="655" y="693"/>
                  <a:pt x="654" y="693"/>
                  <a:pt x="654" y="693"/>
                </a:cubicBezTo>
                <a:cubicBezTo>
                  <a:pt x="654" y="693"/>
                  <a:pt x="655" y="693"/>
                  <a:pt x="655" y="693"/>
                </a:cubicBezTo>
                <a:cubicBezTo>
                  <a:pt x="655" y="693"/>
                  <a:pt x="655" y="693"/>
                  <a:pt x="655" y="694"/>
                </a:cubicBezTo>
                <a:cubicBezTo>
                  <a:pt x="656" y="694"/>
                  <a:pt x="656" y="694"/>
                  <a:pt x="656" y="694"/>
                </a:cubicBezTo>
                <a:cubicBezTo>
                  <a:pt x="656" y="693"/>
                  <a:pt x="657" y="693"/>
                  <a:pt x="657" y="693"/>
                </a:cubicBezTo>
                <a:cubicBezTo>
                  <a:pt x="657" y="693"/>
                  <a:pt x="657" y="692"/>
                  <a:pt x="657" y="692"/>
                </a:cubicBezTo>
                <a:cubicBezTo>
                  <a:pt x="657" y="692"/>
                  <a:pt x="657" y="692"/>
                  <a:pt x="657" y="691"/>
                </a:cubicBezTo>
                <a:cubicBezTo>
                  <a:pt x="657" y="691"/>
                  <a:pt x="657" y="691"/>
                  <a:pt x="657" y="691"/>
                </a:cubicBezTo>
                <a:cubicBezTo>
                  <a:pt x="657" y="690"/>
                  <a:pt x="657" y="690"/>
                  <a:pt x="657" y="690"/>
                </a:cubicBezTo>
                <a:cubicBezTo>
                  <a:pt x="657" y="690"/>
                  <a:pt x="657" y="690"/>
                  <a:pt x="656" y="690"/>
                </a:cubicBezTo>
                <a:cubicBezTo>
                  <a:pt x="656" y="690"/>
                  <a:pt x="656" y="690"/>
                  <a:pt x="656" y="690"/>
                </a:cubicBezTo>
                <a:cubicBezTo>
                  <a:pt x="656" y="690"/>
                  <a:pt x="656" y="690"/>
                  <a:pt x="656" y="689"/>
                </a:cubicBezTo>
                <a:cubicBezTo>
                  <a:pt x="656" y="689"/>
                  <a:pt x="656" y="689"/>
                  <a:pt x="657" y="689"/>
                </a:cubicBezTo>
                <a:cubicBezTo>
                  <a:pt x="657" y="688"/>
                  <a:pt x="657" y="688"/>
                  <a:pt x="657" y="688"/>
                </a:cubicBezTo>
                <a:cubicBezTo>
                  <a:pt x="657" y="688"/>
                  <a:pt x="657" y="687"/>
                  <a:pt x="657" y="687"/>
                </a:cubicBezTo>
                <a:cubicBezTo>
                  <a:pt x="657" y="687"/>
                  <a:pt x="657" y="686"/>
                  <a:pt x="658" y="686"/>
                </a:cubicBezTo>
                <a:cubicBezTo>
                  <a:pt x="658" y="686"/>
                  <a:pt x="658" y="686"/>
                  <a:pt x="658" y="686"/>
                </a:cubicBezTo>
                <a:cubicBezTo>
                  <a:pt x="658" y="685"/>
                  <a:pt x="658" y="685"/>
                  <a:pt x="658" y="685"/>
                </a:cubicBezTo>
                <a:cubicBezTo>
                  <a:pt x="659" y="685"/>
                  <a:pt x="659" y="684"/>
                  <a:pt x="659" y="684"/>
                </a:cubicBezTo>
                <a:cubicBezTo>
                  <a:pt x="659" y="684"/>
                  <a:pt x="659" y="684"/>
                  <a:pt x="659" y="684"/>
                </a:cubicBezTo>
                <a:cubicBezTo>
                  <a:pt x="659" y="684"/>
                  <a:pt x="659" y="683"/>
                  <a:pt x="659" y="683"/>
                </a:cubicBezTo>
                <a:cubicBezTo>
                  <a:pt x="659" y="683"/>
                  <a:pt x="660" y="683"/>
                  <a:pt x="660" y="683"/>
                </a:cubicBezTo>
                <a:cubicBezTo>
                  <a:pt x="660" y="683"/>
                  <a:pt x="660" y="682"/>
                  <a:pt x="660" y="682"/>
                </a:cubicBezTo>
                <a:cubicBezTo>
                  <a:pt x="660" y="682"/>
                  <a:pt x="660" y="682"/>
                  <a:pt x="660" y="682"/>
                </a:cubicBezTo>
                <a:cubicBezTo>
                  <a:pt x="660" y="682"/>
                  <a:pt x="660" y="681"/>
                  <a:pt x="660" y="681"/>
                </a:cubicBezTo>
                <a:cubicBezTo>
                  <a:pt x="660" y="681"/>
                  <a:pt x="660" y="681"/>
                  <a:pt x="661" y="681"/>
                </a:cubicBezTo>
                <a:cubicBezTo>
                  <a:pt x="660" y="681"/>
                  <a:pt x="660" y="681"/>
                  <a:pt x="660" y="680"/>
                </a:cubicBezTo>
                <a:cubicBezTo>
                  <a:pt x="660" y="680"/>
                  <a:pt x="659" y="680"/>
                  <a:pt x="659" y="681"/>
                </a:cubicBezTo>
                <a:cubicBezTo>
                  <a:pt x="659" y="680"/>
                  <a:pt x="660" y="680"/>
                  <a:pt x="660" y="680"/>
                </a:cubicBezTo>
                <a:cubicBezTo>
                  <a:pt x="660" y="680"/>
                  <a:pt x="660" y="679"/>
                  <a:pt x="660" y="679"/>
                </a:cubicBezTo>
                <a:cubicBezTo>
                  <a:pt x="659" y="679"/>
                  <a:pt x="659" y="679"/>
                  <a:pt x="659" y="678"/>
                </a:cubicBezTo>
                <a:cubicBezTo>
                  <a:pt x="659" y="678"/>
                  <a:pt x="659" y="678"/>
                  <a:pt x="659" y="678"/>
                </a:cubicBezTo>
                <a:cubicBezTo>
                  <a:pt x="659" y="678"/>
                  <a:pt x="659" y="678"/>
                  <a:pt x="659" y="678"/>
                </a:cubicBezTo>
                <a:cubicBezTo>
                  <a:pt x="659" y="678"/>
                  <a:pt x="659" y="677"/>
                  <a:pt x="659" y="677"/>
                </a:cubicBezTo>
                <a:cubicBezTo>
                  <a:pt x="659" y="677"/>
                  <a:pt x="658" y="677"/>
                  <a:pt x="658" y="677"/>
                </a:cubicBezTo>
                <a:cubicBezTo>
                  <a:pt x="658" y="677"/>
                  <a:pt x="658" y="677"/>
                  <a:pt x="658" y="678"/>
                </a:cubicBezTo>
                <a:cubicBezTo>
                  <a:pt x="658" y="678"/>
                  <a:pt x="657" y="678"/>
                  <a:pt x="657" y="678"/>
                </a:cubicBezTo>
                <a:cubicBezTo>
                  <a:pt x="657" y="678"/>
                  <a:pt x="656" y="678"/>
                  <a:pt x="656" y="678"/>
                </a:cubicBezTo>
                <a:cubicBezTo>
                  <a:pt x="655" y="678"/>
                  <a:pt x="654" y="677"/>
                  <a:pt x="654" y="677"/>
                </a:cubicBezTo>
                <a:cubicBezTo>
                  <a:pt x="653" y="677"/>
                  <a:pt x="653" y="677"/>
                  <a:pt x="652" y="676"/>
                </a:cubicBezTo>
                <a:cubicBezTo>
                  <a:pt x="652" y="676"/>
                  <a:pt x="652" y="676"/>
                  <a:pt x="652" y="676"/>
                </a:cubicBezTo>
                <a:cubicBezTo>
                  <a:pt x="652" y="676"/>
                  <a:pt x="651" y="676"/>
                  <a:pt x="651" y="676"/>
                </a:cubicBezTo>
                <a:cubicBezTo>
                  <a:pt x="651" y="676"/>
                  <a:pt x="650" y="675"/>
                  <a:pt x="650" y="675"/>
                </a:cubicBezTo>
                <a:cubicBezTo>
                  <a:pt x="650" y="675"/>
                  <a:pt x="650" y="674"/>
                  <a:pt x="650" y="674"/>
                </a:cubicBezTo>
                <a:cubicBezTo>
                  <a:pt x="649" y="674"/>
                  <a:pt x="649" y="674"/>
                  <a:pt x="649" y="674"/>
                </a:cubicBezTo>
                <a:cubicBezTo>
                  <a:pt x="649" y="673"/>
                  <a:pt x="649" y="673"/>
                  <a:pt x="649" y="673"/>
                </a:cubicBezTo>
                <a:cubicBezTo>
                  <a:pt x="649" y="673"/>
                  <a:pt x="649" y="673"/>
                  <a:pt x="650" y="672"/>
                </a:cubicBezTo>
                <a:cubicBezTo>
                  <a:pt x="650" y="672"/>
                  <a:pt x="650" y="672"/>
                  <a:pt x="650" y="672"/>
                </a:cubicBezTo>
                <a:cubicBezTo>
                  <a:pt x="650" y="671"/>
                  <a:pt x="650" y="671"/>
                  <a:pt x="650" y="671"/>
                </a:cubicBezTo>
                <a:cubicBezTo>
                  <a:pt x="650" y="671"/>
                  <a:pt x="650" y="671"/>
                  <a:pt x="650" y="671"/>
                </a:cubicBezTo>
                <a:cubicBezTo>
                  <a:pt x="651" y="670"/>
                  <a:pt x="651" y="670"/>
                  <a:pt x="651" y="670"/>
                </a:cubicBezTo>
                <a:cubicBezTo>
                  <a:pt x="651" y="670"/>
                  <a:pt x="652" y="670"/>
                  <a:pt x="652" y="669"/>
                </a:cubicBezTo>
                <a:cubicBezTo>
                  <a:pt x="652" y="669"/>
                  <a:pt x="652" y="669"/>
                  <a:pt x="653" y="669"/>
                </a:cubicBezTo>
                <a:cubicBezTo>
                  <a:pt x="653" y="668"/>
                  <a:pt x="653" y="668"/>
                  <a:pt x="654" y="668"/>
                </a:cubicBezTo>
                <a:cubicBezTo>
                  <a:pt x="654" y="668"/>
                  <a:pt x="654" y="668"/>
                  <a:pt x="654" y="668"/>
                </a:cubicBezTo>
                <a:cubicBezTo>
                  <a:pt x="655" y="668"/>
                  <a:pt x="655" y="668"/>
                  <a:pt x="656" y="668"/>
                </a:cubicBezTo>
                <a:cubicBezTo>
                  <a:pt x="656" y="667"/>
                  <a:pt x="656" y="667"/>
                  <a:pt x="656" y="667"/>
                </a:cubicBezTo>
                <a:cubicBezTo>
                  <a:pt x="656" y="667"/>
                  <a:pt x="655" y="667"/>
                  <a:pt x="655" y="667"/>
                </a:cubicBezTo>
                <a:cubicBezTo>
                  <a:pt x="655" y="667"/>
                  <a:pt x="655" y="667"/>
                  <a:pt x="654" y="667"/>
                </a:cubicBezTo>
                <a:cubicBezTo>
                  <a:pt x="654" y="667"/>
                  <a:pt x="654" y="667"/>
                  <a:pt x="654" y="667"/>
                </a:cubicBezTo>
                <a:cubicBezTo>
                  <a:pt x="654" y="666"/>
                  <a:pt x="654" y="666"/>
                  <a:pt x="654" y="666"/>
                </a:cubicBezTo>
                <a:cubicBezTo>
                  <a:pt x="655" y="666"/>
                  <a:pt x="655" y="665"/>
                  <a:pt x="655" y="665"/>
                </a:cubicBezTo>
                <a:cubicBezTo>
                  <a:pt x="655" y="665"/>
                  <a:pt x="655" y="665"/>
                  <a:pt x="655" y="665"/>
                </a:cubicBezTo>
                <a:cubicBezTo>
                  <a:pt x="655" y="665"/>
                  <a:pt x="655" y="665"/>
                  <a:pt x="656" y="664"/>
                </a:cubicBezTo>
                <a:cubicBezTo>
                  <a:pt x="655" y="664"/>
                  <a:pt x="655" y="664"/>
                  <a:pt x="655" y="664"/>
                </a:cubicBezTo>
                <a:cubicBezTo>
                  <a:pt x="655" y="664"/>
                  <a:pt x="655" y="664"/>
                  <a:pt x="654" y="663"/>
                </a:cubicBezTo>
                <a:cubicBezTo>
                  <a:pt x="654" y="663"/>
                  <a:pt x="654" y="663"/>
                  <a:pt x="654" y="663"/>
                </a:cubicBezTo>
                <a:cubicBezTo>
                  <a:pt x="654" y="663"/>
                  <a:pt x="654" y="662"/>
                  <a:pt x="654" y="662"/>
                </a:cubicBezTo>
                <a:cubicBezTo>
                  <a:pt x="654" y="662"/>
                  <a:pt x="654" y="662"/>
                  <a:pt x="654" y="662"/>
                </a:cubicBezTo>
                <a:cubicBezTo>
                  <a:pt x="654" y="662"/>
                  <a:pt x="654" y="661"/>
                  <a:pt x="653" y="661"/>
                </a:cubicBezTo>
                <a:cubicBezTo>
                  <a:pt x="654" y="661"/>
                  <a:pt x="654" y="661"/>
                  <a:pt x="654" y="660"/>
                </a:cubicBezTo>
                <a:cubicBezTo>
                  <a:pt x="654" y="660"/>
                  <a:pt x="654" y="660"/>
                  <a:pt x="654" y="660"/>
                </a:cubicBezTo>
                <a:cubicBezTo>
                  <a:pt x="654" y="660"/>
                  <a:pt x="654" y="659"/>
                  <a:pt x="654" y="659"/>
                </a:cubicBezTo>
                <a:cubicBezTo>
                  <a:pt x="654" y="659"/>
                  <a:pt x="654" y="659"/>
                  <a:pt x="654" y="659"/>
                </a:cubicBezTo>
                <a:cubicBezTo>
                  <a:pt x="654" y="659"/>
                  <a:pt x="655" y="658"/>
                  <a:pt x="655" y="658"/>
                </a:cubicBezTo>
                <a:cubicBezTo>
                  <a:pt x="656" y="658"/>
                  <a:pt x="656" y="658"/>
                  <a:pt x="656" y="657"/>
                </a:cubicBezTo>
                <a:cubicBezTo>
                  <a:pt x="656" y="657"/>
                  <a:pt x="656" y="657"/>
                  <a:pt x="656" y="657"/>
                </a:cubicBezTo>
                <a:cubicBezTo>
                  <a:pt x="655" y="657"/>
                  <a:pt x="655" y="657"/>
                  <a:pt x="655" y="657"/>
                </a:cubicBezTo>
                <a:cubicBezTo>
                  <a:pt x="654" y="657"/>
                  <a:pt x="654" y="657"/>
                  <a:pt x="654" y="657"/>
                </a:cubicBezTo>
                <a:cubicBezTo>
                  <a:pt x="654" y="657"/>
                  <a:pt x="653" y="657"/>
                  <a:pt x="653" y="657"/>
                </a:cubicBezTo>
                <a:cubicBezTo>
                  <a:pt x="653" y="656"/>
                  <a:pt x="653" y="656"/>
                  <a:pt x="653" y="656"/>
                </a:cubicBezTo>
                <a:cubicBezTo>
                  <a:pt x="654" y="656"/>
                  <a:pt x="654" y="656"/>
                  <a:pt x="654" y="655"/>
                </a:cubicBezTo>
                <a:cubicBezTo>
                  <a:pt x="654" y="655"/>
                  <a:pt x="655" y="655"/>
                  <a:pt x="655" y="655"/>
                </a:cubicBezTo>
                <a:cubicBezTo>
                  <a:pt x="655" y="655"/>
                  <a:pt x="656" y="655"/>
                  <a:pt x="656" y="655"/>
                </a:cubicBezTo>
                <a:cubicBezTo>
                  <a:pt x="656" y="655"/>
                  <a:pt x="656" y="655"/>
                  <a:pt x="656" y="656"/>
                </a:cubicBezTo>
                <a:cubicBezTo>
                  <a:pt x="656" y="656"/>
                  <a:pt x="656" y="656"/>
                  <a:pt x="656" y="656"/>
                </a:cubicBezTo>
                <a:cubicBezTo>
                  <a:pt x="656" y="656"/>
                  <a:pt x="657" y="656"/>
                  <a:pt x="657" y="657"/>
                </a:cubicBezTo>
                <a:cubicBezTo>
                  <a:pt x="657" y="657"/>
                  <a:pt x="657" y="657"/>
                  <a:pt x="657" y="657"/>
                </a:cubicBezTo>
                <a:cubicBezTo>
                  <a:pt x="658" y="656"/>
                  <a:pt x="658" y="656"/>
                  <a:pt x="659" y="655"/>
                </a:cubicBezTo>
                <a:cubicBezTo>
                  <a:pt x="659" y="655"/>
                  <a:pt x="659" y="655"/>
                  <a:pt x="659" y="655"/>
                </a:cubicBezTo>
                <a:cubicBezTo>
                  <a:pt x="659" y="654"/>
                  <a:pt x="658" y="654"/>
                  <a:pt x="658" y="654"/>
                </a:cubicBezTo>
                <a:cubicBezTo>
                  <a:pt x="658" y="654"/>
                  <a:pt x="658" y="654"/>
                  <a:pt x="658" y="654"/>
                </a:cubicBezTo>
                <a:cubicBezTo>
                  <a:pt x="658" y="653"/>
                  <a:pt x="658" y="653"/>
                  <a:pt x="658" y="653"/>
                </a:cubicBezTo>
                <a:cubicBezTo>
                  <a:pt x="658" y="653"/>
                  <a:pt x="658" y="653"/>
                  <a:pt x="658" y="653"/>
                </a:cubicBezTo>
                <a:cubicBezTo>
                  <a:pt x="658" y="652"/>
                  <a:pt x="657" y="652"/>
                  <a:pt x="657" y="652"/>
                </a:cubicBezTo>
                <a:cubicBezTo>
                  <a:pt x="657" y="652"/>
                  <a:pt x="657" y="652"/>
                  <a:pt x="657" y="652"/>
                </a:cubicBezTo>
                <a:cubicBezTo>
                  <a:pt x="656" y="652"/>
                  <a:pt x="656" y="652"/>
                  <a:pt x="656" y="653"/>
                </a:cubicBezTo>
                <a:cubicBezTo>
                  <a:pt x="656" y="653"/>
                  <a:pt x="655" y="653"/>
                  <a:pt x="655" y="653"/>
                </a:cubicBezTo>
                <a:cubicBezTo>
                  <a:pt x="655" y="653"/>
                  <a:pt x="655" y="653"/>
                  <a:pt x="655" y="653"/>
                </a:cubicBezTo>
                <a:cubicBezTo>
                  <a:pt x="655" y="653"/>
                  <a:pt x="655" y="653"/>
                  <a:pt x="655" y="653"/>
                </a:cubicBezTo>
                <a:cubicBezTo>
                  <a:pt x="655" y="653"/>
                  <a:pt x="656" y="653"/>
                  <a:pt x="656" y="653"/>
                </a:cubicBezTo>
                <a:cubicBezTo>
                  <a:pt x="656" y="653"/>
                  <a:pt x="656" y="654"/>
                  <a:pt x="656" y="654"/>
                </a:cubicBezTo>
                <a:cubicBezTo>
                  <a:pt x="655" y="654"/>
                  <a:pt x="655" y="654"/>
                  <a:pt x="655" y="654"/>
                </a:cubicBezTo>
                <a:cubicBezTo>
                  <a:pt x="654" y="654"/>
                  <a:pt x="654" y="654"/>
                  <a:pt x="654" y="654"/>
                </a:cubicBezTo>
                <a:cubicBezTo>
                  <a:pt x="654" y="654"/>
                  <a:pt x="654" y="654"/>
                  <a:pt x="654" y="654"/>
                </a:cubicBezTo>
                <a:cubicBezTo>
                  <a:pt x="654" y="654"/>
                  <a:pt x="655" y="654"/>
                  <a:pt x="655" y="654"/>
                </a:cubicBezTo>
                <a:cubicBezTo>
                  <a:pt x="654" y="653"/>
                  <a:pt x="654" y="653"/>
                  <a:pt x="654" y="653"/>
                </a:cubicBezTo>
                <a:cubicBezTo>
                  <a:pt x="654" y="654"/>
                  <a:pt x="653" y="654"/>
                  <a:pt x="653" y="654"/>
                </a:cubicBezTo>
                <a:cubicBezTo>
                  <a:pt x="653" y="654"/>
                  <a:pt x="652" y="654"/>
                  <a:pt x="652" y="653"/>
                </a:cubicBezTo>
                <a:cubicBezTo>
                  <a:pt x="652" y="653"/>
                  <a:pt x="652" y="653"/>
                  <a:pt x="651" y="653"/>
                </a:cubicBezTo>
                <a:cubicBezTo>
                  <a:pt x="651" y="652"/>
                  <a:pt x="651" y="652"/>
                  <a:pt x="651" y="651"/>
                </a:cubicBezTo>
                <a:cubicBezTo>
                  <a:pt x="651" y="651"/>
                  <a:pt x="651" y="650"/>
                  <a:pt x="650" y="650"/>
                </a:cubicBezTo>
                <a:cubicBezTo>
                  <a:pt x="650" y="650"/>
                  <a:pt x="650" y="650"/>
                  <a:pt x="649" y="649"/>
                </a:cubicBezTo>
                <a:cubicBezTo>
                  <a:pt x="649" y="649"/>
                  <a:pt x="649" y="649"/>
                  <a:pt x="649" y="648"/>
                </a:cubicBezTo>
                <a:cubicBezTo>
                  <a:pt x="649" y="648"/>
                  <a:pt x="650" y="648"/>
                  <a:pt x="650" y="647"/>
                </a:cubicBezTo>
                <a:cubicBezTo>
                  <a:pt x="650" y="647"/>
                  <a:pt x="650" y="647"/>
                  <a:pt x="650" y="647"/>
                </a:cubicBezTo>
                <a:cubicBezTo>
                  <a:pt x="650" y="647"/>
                  <a:pt x="650" y="647"/>
                  <a:pt x="650" y="648"/>
                </a:cubicBezTo>
                <a:cubicBezTo>
                  <a:pt x="650" y="648"/>
                  <a:pt x="650" y="648"/>
                  <a:pt x="651" y="648"/>
                </a:cubicBezTo>
                <a:cubicBezTo>
                  <a:pt x="651" y="648"/>
                  <a:pt x="651" y="647"/>
                  <a:pt x="651" y="647"/>
                </a:cubicBezTo>
                <a:cubicBezTo>
                  <a:pt x="652" y="647"/>
                  <a:pt x="653" y="647"/>
                  <a:pt x="653" y="647"/>
                </a:cubicBezTo>
                <a:cubicBezTo>
                  <a:pt x="654" y="648"/>
                  <a:pt x="654" y="648"/>
                  <a:pt x="655" y="648"/>
                </a:cubicBezTo>
                <a:cubicBezTo>
                  <a:pt x="655" y="648"/>
                  <a:pt x="656" y="648"/>
                  <a:pt x="656" y="648"/>
                </a:cubicBezTo>
                <a:cubicBezTo>
                  <a:pt x="657" y="648"/>
                  <a:pt x="658" y="648"/>
                  <a:pt x="659" y="648"/>
                </a:cubicBezTo>
                <a:cubicBezTo>
                  <a:pt x="659" y="647"/>
                  <a:pt x="659" y="647"/>
                  <a:pt x="660" y="647"/>
                </a:cubicBezTo>
                <a:cubicBezTo>
                  <a:pt x="660" y="647"/>
                  <a:pt x="660" y="646"/>
                  <a:pt x="660" y="646"/>
                </a:cubicBezTo>
                <a:cubicBezTo>
                  <a:pt x="660" y="646"/>
                  <a:pt x="660" y="646"/>
                  <a:pt x="661" y="646"/>
                </a:cubicBezTo>
                <a:cubicBezTo>
                  <a:pt x="661" y="645"/>
                  <a:pt x="661" y="645"/>
                  <a:pt x="661" y="645"/>
                </a:cubicBezTo>
                <a:cubicBezTo>
                  <a:pt x="660" y="645"/>
                  <a:pt x="660" y="645"/>
                  <a:pt x="660" y="644"/>
                </a:cubicBezTo>
                <a:cubicBezTo>
                  <a:pt x="660" y="644"/>
                  <a:pt x="660" y="644"/>
                  <a:pt x="660" y="644"/>
                </a:cubicBezTo>
                <a:cubicBezTo>
                  <a:pt x="660" y="644"/>
                  <a:pt x="660" y="644"/>
                  <a:pt x="661" y="643"/>
                </a:cubicBezTo>
                <a:cubicBezTo>
                  <a:pt x="660" y="643"/>
                  <a:pt x="660" y="643"/>
                  <a:pt x="660" y="643"/>
                </a:cubicBezTo>
                <a:cubicBezTo>
                  <a:pt x="660" y="643"/>
                  <a:pt x="659" y="643"/>
                  <a:pt x="659" y="643"/>
                </a:cubicBezTo>
                <a:cubicBezTo>
                  <a:pt x="659" y="642"/>
                  <a:pt x="659" y="642"/>
                  <a:pt x="659" y="642"/>
                </a:cubicBezTo>
                <a:cubicBezTo>
                  <a:pt x="659" y="642"/>
                  <a:pt x="659" y="642"/>
                  <a:pt x="659" y="641"/>
                </a:cubicBezTo>
                <a:cubicBezTo>
                  <a:pt x="659" y="641"/>
                  <a:pt x="659" y="641"/>
                  <a:pt x="659" y="641"/>
                </a:cubicBezTo>
                <a:cubicBezTo>
                  <a:pt x="659" y="641"/>
                  <a:pt x="659" y="641"/>
                  <a:pt x="660" y="640"/>
                </a:cubicBezTo>
                <a:cubicBezTo>
                  <a:pt x="659" y="640"/>
                  <a:pt x="659" y="640"/>
                  <a:pt x="659" y="640"/>
                </a:cubicBezTo>
                <a:cubicBezTo>
                  <a:pt x="660" y="640"/>
                  <a:pt x="660" y="640"/>
                  <a:pt x="660" y="640"/>
                </a:cubicBezTo>
                <a:cubicBezTo>
                  <a:pt x="660" y="640"/>
                  <a:pt x="660" y="640"/>
                  <a:pt x="660" y="639"/>
                </a:cubicBezTo>
                <a:cubicBezTo>
                  <a:pt x="660" y="639"/>
                  <a:pt x="660" y="639"/>
                  <a:pt x="659" y="639"/>
                </a:cubicBezTo>
                <a:cubicBezTo>
                  <a:pt x="659" y="639"/>
                  <a:pt x="659" y="639"/>
                  <a:pt x="659" y="639"/>
                </a:cubicBezTo>
                <a:cubicBezTo>
                  <a:pt x="659" y="639"/>
                  <a:pt x="659" y="639"/>
                  <a:pt x="659" y="639"/>
                </a:cubicBezTo>
                <a:cubicBezTo>
                  <a:pt x="659" y="638"/>
                  <a:pt x="658" y="638"/>
                  <a:pt x="658" y="638"/>
                </a:cubicBezTo>
                <a:cubicBezTo>
                  <a:pt x="658" y="638"/>
                  <a:pt x="658" y="637"/>
                  <a:pt x="658" y="637"/>
                </a:cubicBezTo>
                <a:cubicBezTo>
                  <a:pt x="658" y="637"/>
                  <a:pt x="658" y="637"/>
                  <a:pt x="658" y="636"/>
                </a:cubicBezTo>
                <a:cubicBezTo>
                  <a:pt x="658" y="636"/>
                  <a:pt x="658" y="636"/>
                  <a:pt x="658" y="636"/>
                </a:cubicBezTo>
                <a:cubicBezTo>
                  <a:pt x="658" y="636"/>
                  <a:pt x="658" y="636"/>
                  <a:pt x="658" y="636"/>
                </a:cubicBezTo>
                <a:cubicBezTo>
                  <a:pt x="658" y="636"/>
                  <a:pt x="658" y="636"/>
                  <a:pt x="658" y="636"/>
                </a:cubicBezTo>
                <a:cubicBezTo>
                  <a:pt x="658" y="636"/>
                  <a:pt x="659" y="636"/>
                  <a:pt x="659" y="636"/>
                </a:cubicBezTo>
                <a:cubicBezTo>
                  <a:pt x="659" y="636"/>
                  <a:pt x="660" y="636"/>
                  <a:pt x="660" y="636"/>
                </a:cubicBezTo>
                <a:cubicBezTo>
                  <a:pt x="660" y="636"/>
                  <a:pt x="661" y="636"/>
                  <a:pt x="661" y="636"/>
                </a:cubicBezTo>
                <a:cubicBezTo>
                  <a:pt x="661" y="636"/>
                  <a:pt x="662" y="636"/>
                  <a:pt x="662" y="636"/>
                </a:cubicBezTo>
                <a:cubicBezTo>
                  <a:pt x="662" y="636"/>
                  <a:pt x="663" y="636"/>
                  <a:pt x="663" y="636"/>
                </a:cubicBezTo>
                <a:cubicBezTo>
                  <a:pt x="664" y="636"/>
                  <a:pt x="664" y="636"/>
                  <a:pt x="665" y="635"/>
                </a:cubicBezTo>
                <a:cubicBezTo>
                  <a:pt x="665" y="635"/>
                  <a:pt x="666" y="635"/>
                  <a:pt x="666" y="635"/>
                </a:cubicBezTo>
                <a:cubicBezTo>
                  <a:pt x="667" y="635"/>
                  <a:pt x="668" y="634"/>
                  <a:pt x="669" y="634"/>
                </a:cubicBezTo>
                <a:cubicBezTo>
                  <a:pt x="670" y="633"/>
                  <a:pt x="671" y="633"/>
                  <a:pt x="672" y="632"/>
                </a:cubicBezTo>
                <a:cubicBezTo>
                  <a:pt x="672" y="632"/>
                  <a:pt x="672" y="632"/>
                  <a:pt x="672" y="632"/>
                </a:cubicBezTo>
                <a:cubicBezTo>
                  <a:pt x="672" y="632"/>
                  <a:pt x="672" y="632"/>
                  <a:pt x="672" y="632"/>
                </a:cubicBezTo>
                <a:cubicBezTo>
                  <a:pt x="673" y="632"/>
                  <a:pt x="673" y="632"/>
                  <a:pt x="674" y="631"/>
                </a:cubicBezTo>
                <a:cubicBezTo>
                  <a:pt x="675" y="631"/>
                  <a:pt x="675" y="630"/>
                  <a:pt x="676" y="630"/>
                </a:cubicBezTo>
                <a:cubicBezTo>
                  <a:pt x="676" y="629"/>
                  <a:pt x="676" y="629"/>
                  <a:pt x="676" y="629"/>
                </a:cubicBezTo>
                <a:cubicBezTo>
                  <a:pt x="676" y="629"/>
                  <a:pt x="676" y="628"/>
                  <a:pt x="676" y="628"/>
                </a:cubicBezTo>
                <a:cubicBezTo>
                  <a:pt x="676" y="628"/>
                  <a:pt x="676" y="627"/>
                  <a:pt x="676" y="627"/>
                </a:cubicBezTo>
                <a:cubicBezTo>
                  <a:pt x="676" y="627"/>
                  <a:pt x="676" y="627"/>
                  <a:pt x="676" y="627"/>
                </a:cubicBezTo>
                <a:cubicBezTo>
                  <a:pt x="676" y="627"/>
                  <a:pt x="676" y="627"/>
                  <a:pt x="676" y="627"/>
                </a:cubicBezTo>
                <a:cubicBezTo>
                  <a:pt x="677" y="627"/>
                  <a:pt x="677" y="627"/>
                  <a:pt x="677" y="627"/>
                </a:cubicBezTo>
                <a:cubicBezTo>
                  <a:pt x="677" y="626"/>
                  <a:pt x="677" y="626"/>
                  <a:pt x="677" y="625"/>
                </a:cubicBezTo>
                <a:cubicBezTo>
                  <a:pt x="677" y="625"/>
                  <a:pt x="677" y="625"/>
                  <a:pt x="677" y="624"/>
                </a:cubicBezTo>
                <a:cubicBezTo>
                  <a:pt x="677" y="624"/>
                  <a:pt x="677" y="624"/>
                  <a:pt x="677" y="623"/>
                </a:cubicBezTo>
                <a:cubicBezTo>
                  <a:pt x="677" y="623"/>
                  <a:pt x="677" y="622"/>
                  <a:pt x="677" y="622"/>
                </a:cubicBezTo>
                <a:cubicBezTo>
                  <a:pt x="677" y="622"/>
                  <a:pt x="677" y="621"/>
                  <a:pt x="677" y="621"/>
                </a:cubicBezTo>
                <a:cubicBezTo>
                  <a:pt x="677" y="621"/>
                  <a:pt x="677" y="621"/>
                  <a:pt x="677" y="621"/>
                </a:cubicBezTo>
                <a:cubicBezTo>
                  <a:pt x="676" y="621"/>
                  <a:pt x="676" y="622"/>
                  <a:pt x="676" y="622"/>
                </a:cubicBezTo>
                <a:cubicBezTo>
                  <a:pt x="676" y="622"/>
                  <a:pt x="676" y="622"/>
                  <a:pt x="675" y="622"/>
                </a:cubicBezTo>
                <a:cubicBezTo>
                  <a:pt x="675" y="622"/>
                  <a:pt x="674" y="622"/>
                  <a:pt x="674" y="622"/>
                </a:cubicBezTo>
                <a:cubicBezTo>
                  <a:pt x="674" y="621"/>
                  <a:pt x="673" y="621"/>
                  <a:pt x="673" y="621"/>
                </a:cubicBezTo>
                <a:cubicBezTo>
                  <a:pt x="673" y="620"/>
                  <a:pt x="673" y="620"/>
                  <a:pt x="673" y="620"/>
                </a:cubicBezTo>
                <a:cubicBezTo>
                  <a:pt x="673" y="619"/>
                  <a:pt x="674" y="619"/>
                  <a:pt x="674" y="618"/>
                </a:cubicBezTo>
                <a:cubicBezTo>
                  <a:pt x="674" y="618"/>
                  <a:pt x="674" y="618"/>
                  <a:pt x="674" y="617"/>
                </a:cubicBezTo>
                <a:cubicBezTo>
                  <a:pt x="674" y="617"/>
                  <a:pt x="673" y="617"/>
                  <a:pt x="673" y="617"/>
                </a:cubicBezTo>
                <a:cubicBezTo>
                  <a:pt x="672" y="617"/>
                  <a:pt x="671" y="616"/>
                  <a:pt x="671" y="616"/>
                </a:cubicBezTo>
                <a:cubicBezTo>
                  <a:pt x="670" y="616"/>
                  <a:pt x="669" y="616"/>
                  <a:pt x="669" y="616"/>
                </a:cubicBezTo>
                <a:cubicBezTo>
                  <a:pt x="668" y="615"/>
                  <a:pt x="667" y="615"/>
                  <a:pt x="667" y="615"/>
                </a:cubicBezTo>
                <a:cubicBezTo>
                  <a:pt x="666" y="615"/>
                  <a:pt x="666" y="614"/>
                  <a:pt x="666" y="614"/>
                </a:cubicBezTo>
                <a:cubicBezTo>
                  <a:pt x="666" y="614"/>
                  <a:pt x="666" y="614"/>
                  <a:pt x="666" y="614"/>
                </a:cubicBezTo>
                <a:cubicBezTo>
                  <a:pt x="666" y="614"/>
                  <a:pt x="666" y="614"/>
                  <a:pt x="666" y="613"/>
                </a:cubicBezTo>
                <a:cubicBezTo>
                  <a:pt x="666" y="613"/>
                  <a:pt x="666" y="613"/>
                  <a:pt x="665" y="613"/>
                </a:cubicBezTo>
                <a:cubicBezTo>
                  <a:pt x="665" y="613"/>
                  <a:pt x="665" y="613"/>
                  <a:pt x="666" y="613"/>
                </a:cubicBezTo>
                <a:cubicBezTo>
                  <a:pt x="665" y="612"/>
                  <a:pt x="665" y="612"/>
                  <a:pt x="665" y="611"/>
                </a:cubicBezTo>
                <a:cubicBezTo>
                  <a:pt x="665" y="611"/>
                  <a:pt x="665" y="610"/>
                  <a:pt x="665" y="610"/>
                </a:cubicBezTo>
                <a:cubicBezTo>
                  <a:pt x="665" y="610"/>
                  <a:pt x="665" y="610"/>
                  <a:pt x="665" y="610"/>
                </a:cubicBezTo>
                <a:cubicBezTo>
                  <a:pt x="665" y="610"/>
                  <a:pt x="665" y="611"/>
                  <a:pt x="665" y="611"/>
                </a:cubicBezTo>
                <a:cubicBezTo>
                  <a:pt x="665" y="612"/>
                  <a:pt x="666" y="612"/>
                  <a:pt x="666" y="613"/>
                </a:cubicBezTo>
                <a:cubicBezTo>
                  <a:pt x="667" y="613"/>
                  <a:pt x="667" y="613"/>
                  <a:pt x="668" y="614"/>
                </a:cubicBezTo>
                <a:cubicBezTo>
                  <a:pt x="668" y="614"/>
                  <a:pt x="668" y="614"/>
                  <a:pt x="668" y="614"/>
                </a:cubicBezTo>
                <a:cubicBezTo>
                  <a:pt x="669" y="614"/>
                  <a:pt x="669" y="614"/>
                  <a:pt x="670" y="615"/>
                </a:cubicBezTo>
                <a:cubicBezTo>
                  <a:pt x="670" y="615"/>
                  <a:pt x="670" y="615"/>
                  <a:pt x="670" y="615"/>
                </a:cubicBezTo>
                <a:cubicBezTo>
                  <a:pt x="671" y="614"/>
                  <a:pt x="671" y="614"/>
                  <a:pt x="672" y="614"/>
                </a:cubicBezTo>
                <a:cubicBezTo>
                  <a:pt x="672" y="614"/>
                  <a:pt x="673" y="614"/>
                  <a:pt x="673" y="614"/>
                </a:cubicBezTo>
                <a:cubicBezTo>
                  <a:pt x="674" y="614"/>
                  <a:pt x="674" y="614"/>
                  <a:pt x="674" y="614"/>
                </a:cubicBezTo>
                <a:cubicBezTo>
                  <a:pt x="675" y="614"/>
                  <a:pt x="675" y="614"/>
                  <a:pt x="675" y="614"/>
                </a:cubicBezTo>
                <a:cubicBezTo>
                  <a:pt x="675" y="614"/>
                  <a:pt x="675" y="614"/>
                  <a:pt x="676" y="614"/>
                </a:cubicBezTo>
                <a:cubicBezTo>
                  <a:pt x="676" y="614"/>
                  <a:pt x="676" y="614"/>
                  <a:pt x="676" y="614"/>
                </a:cubicBezTo>
                <a:cubicBezTo>
                  <a:pt x="676" y="614"/>
                  <a:pt x="676" y="615"/>
                  <a:pt x="676" y="615"/>
                </a:cubicBezTo>
                <a:cubicBezTo>
                  <a:pt x="676" y="615"/>
                  <a:pt x="676" y="615"/>
                  <a:pt x="676" y="615"/>
                </a:cubicBezTo>
                <a:cubicBezTo>
                  <a:pt x="676" y="615"/>
                  <a:pt x="677" y="615"/>
                  <a:pt x="677" y="615"/>
                </a:cubicBezTo>
                <a:cubicBezTo>
                  <a:pt x="677" y="615"/>
                  <a:pt x="677" y="615"/>
                  <a:pt x="678" y="614"/>
                </a:cubicBezTo>
                <a:cubicBezTo>
                  <a:pt x="678" y="614"/>
                  <a:pt x="678" y="614"/>
                  <a:pt x="679" y="614"/>
                </a:cubicBezTo>
                <a:cubicBezTo>
                  <a:pt x="679" y="614"/>
                  <a:pt x="679" y="614"/>
                  <a:pt x="680" y="614"/>
                </a:cubicBezTo>
                <a:cubicBezTo>
                  <a:pt x="680" y="614"/>
                  <a:pt x="680" y="614"/>
                  <a:pt x="680" y="614"/>
                </a:cubicBezTo>
                <a:cubicBezTo>
                  <a:pt x="681" y="614"/>
                  <a:pt x="681" y="614"/>
                  <a:pt x="681" y="614"/>
                </a:cubicBezTo>
                <a:cubicBezTo>
                  <a:pt x="681" y="614"/>
                  <a:pt x="681" y="614"/>
                  <a:pt x="682" y="614"/>
                </a:cubicBezTo>
                <a:cubicBezTo>
                  <a:pt x="682" y="614"/>
                  <a:pt x="682" y="614"/>
                  <a:pt x="682" y="614"/>
                </a:cubicBezTo>
                <a:cubicBezTo>
                  <a:pt x="682" y="614"/>
                  <a:pt x="682" y="614"/>
                  <a:pt x="683" y="614"/>
                </a:cubicBezTo>
                <a:cubicBezTo>
                  <a:pt x="683" y="614"/>
                  <a:pt x="683" y="613"/>
                  <a:pt x="683" y="613"/>
                </a:cubicBezTo>
                <a:cubicBezTo>
                  <a:pt x="683" y="613"/>
                  <a:pt x="683" y="613"/>
                  <a:pt x="683" y="613"/>
                </a:cubicBezTo>
                <a:cubicBezTo>
                  <a:pt x="683" y="613"/>
                  <a:pt x="683" y="613"/>
                  <a:pt x="683" y="613"/>
                </a:cubicBezTo>
                <a:cubicBezTo>
                  <a:pt x="684" y="613"/>
                  <a:pt x="684" y="613"/>
                  <a:pt x="685" y="612"/>
                </a:cubicBezTo>
                <a:cubicBezTo>
                  <a:pt x="685" y="612"/>
                  <a:pt x="685" y="612"/>
                  <a:pt x="686" y="611"/>
                </a:cubicBezTo>
                <a:cubicBezTo>
                  <a:pt x="686" y="611"/>
                  <a:pt x="686" y="611"/>
                  <a:pt x="686" y="611"/>
                </a:cubicBezTo>
                <a:cubicBezTo>
                  <a:pt x="686" y="611"/>
                  <a:pt x="686" y="611"/>
                  <a:pt x="686" y="611"/>
                </a:cubicBezTo>
                <a:cubicBezTo>
                  <a:pt x="686" y="611"/>
                  <a:pt x="686" y="610"/>
                  <a:pt x="686" y="610"/>
                </a:cubicBezTo>
                <a:cubicBezTo>
                  <a:pt x="686" y="610"/>
                  <a:pt x="686" y="610"/>
                  <a:pt x="687" y="609"/>
                </a:cubicBezTo>
                <a:cubicBezTo>
                  <a:pt x="687" y="609"/>
                  <a:pt x="686" y="609"/>
                  <a:pt x="686" y="608"/>
                </a:cubicBezTo>
                <a:cubicBezTo>
                  <a:pt x="687" y="608"/>
                  <a:pt x="687" y="608"/>
                  <a:pt x="687" y="607"/>
                </a:cubicBezTo>
                <a:cubicBezTo>
                  <a:pt x="687" y="607"/>
                  <a:pt x="687" y="607"/>
                  <a:pt x="687" y="607"/>
                </a:cubicBezTo>
                <a:cubicBezTo>
                  <a:pt x="688" y="607"/>
                  <a:pt x="688" y="606"/>
                  <a:pt x="689" y="606"/>
                </a:cubicBezTo>
                <a:cubicBezTo>
                  <a:pt x="689" y="605"/>
                  <a:pt x="689" y="605"/>
                  <a:pt x="689" y="605"/>
                </a:cubicBezTo>
                <a:cubicBezTo>
                  <a:pt x="689" y="604"/>
                  <a:pt x="689" y="603"/>
                  <a:pt x="689" y="602"/>
                </a:cubicBezTo>
                <a:cubicBezTo>
                  <a:pt x="689" y="601"/>
                  <a:pt x="690" y="601"/>
                  <a:pt x="690" y="600"/>
                </a:cubicBezTo>
                <a:cubicBezTo>
                  <a:pt x="690" y="600"/>
                  <a:pt x="690" y="600"/>
                  <a:pt x="690" y="600"/>
                </a:cubicBezTo>
                <a:cubicBezTo>
                  <a:pt x="690" y="600"/>
                  <a:pt x="690" y="599"/>
                  <a:pt x="689" y="599"/>
                </a:cubicBezTo>
                <a:cubicBezTo>
                  <a:pt x="689" y="599"/>
                  <a:pt x="689" y="599"/>
                  <a:pt x="689" y="599"/>
                </a:cubicBezTo>
                <a:cubicBezTo>
                  <a:pt x="689" y="598"/>
                  <a:pt x="689" y="598"/>
                  <a:pt x="689" y="598"/>
                </a:cubicBezTo>
                <a:cubicBezTo>
                  <a:pt x="689" y="598"/>
                  <a:pt x="689" y="598"/>
                  <a:pt x="689" y="597"/>
                </a:cubicBezTo>
                <a:cubicBezTo>
                  <a:pt x="689" y="597"/>
                  <a:pt x="689" y="597"/>
                  <a:pt x="689" y="597"/>
                </a:cubicBezTo>
                <a:cubicBezTo>
                  <a:pt x="690" y="597"/>
                  <a:pt x="690" y="596"/>
                  <a:pt x="690" y="596"/>
                </a:cubicBezTo>
                <a:cubicBezTo>
                  <a:pt x="690" y="596"/>
                  <a:pt x="690" y="596"/>
                  <a:pt x="690" y="596"/>
                </a:cubicBezTo>
                <a:cubicBezTo>
                  <a:pt x="690" y="596"/>
                  <a:pt x="690" y="596"/>
                  <a:pt x="690" y="596"/>
                </a:cubicBezTo>
                <a:cubicBezTo>
                  <a:pt x="691" y="596"/>
                  <a:pt x="691" y="596"/>
                  <a:pt x="691" y="596"/>
                </a:cubicBezTo>
                <a:cubicBezTo>
                  <a:pt x="691" y="595"/>
                  <a:pt x="691" y="595"/>
                  <a:pt x="692" y="595"/>
                </a:cubicBezTo>
                <a:cubicBezTo>
                  <a:pt x="692" y="595"/>
                  <a:pt x="692" y="594"/>
                  <a:pt x="692" y="594"/>
                </a:cubicBezTo>
                <a:cubicBezTo>
                  <a:pt x="692" y="594"/>
                  <a:pt x="692" y="594"/>
                  <a:pt x="692" y="594"/>
                </a:cubicBezTo>
                <a:cubicBezTo>
                  <a:pt x="692" y="594"/>
                  <a:pt x="692" y="593"/>
                  <a:pt x="692" y="593"/>
                </a:cubicBezTo>
                <a:cubicBezTo>
                  <a:pt x="692" y="593"/>
                  <a:pt x="692" y="593"/>
                  <a:pt x="692" y="593"/>
                </a:cubicBezTo>
                <a:cubicBezTo>
                  <a:pt x="692" y="593"/>
                  <a:pt x="692" y="593"/>
                  <a:pt x="692" y="593"/>
                </a:cubicBezTo>
                <a:cubicBezTo>
                  <a:pt x="692" y="592"/>
                  <a:pt x="693" y="592"/>
                  <a:pt x="693" y="592"/>
                </a:cubicBezTo>
                <a:cubicBezTo>
                  <a:pt x="692" y="592"/>
                  <a:pt x="692" y="591"/>
                  <a:pt x="692" y="591"/>
                </a:cubicBezTo>
                <a:cubicBezTo>
                  <a:pt x="692" y="591"/>
                  <a:pt x="692" y="591"/>
                  <a:pt x="692" y="591"/>
                </a:cubicBezTo>
                <a:cubicBezTo>
                  <a:pt x="692" y="591"/>
                  <a:pt x="692" y="590"/>
                  <a:pt x="692" y="590"/>
                </a:cubicBezTo>
                <a:cubicBezTo>
                  <a:pt x="691" y="590"/>
                  <a:pt x="691" y="590"/>
                  <a:pt x="691" y="590"/>
                </a:cubicBezTo>
                <a:cubicBezTo>
                  <a:pt x="691" y="590"/>
                  <a:pt x="691" y="590"/>
                  <a:pt x="692" y="590"/>
                </a:cubicBezTo>
                <a:cubicBezTo>
                  <a:pt x="692" y="590"/>
                  <a:pt x="692" y="590"/>
                  <a:pt x="692" y="590"/>
                </a:cubicBezTo>
                <a:cubicBezTo>
                  <a:pt x="693" y="591"/>
                  <a:pt x="693" y="591"/>
                  <a:pt x="694" y="591"/>
                </a:cubicBezTo>
                <a:cubicBezTo>
                  <a:pt x="694" y="591"/>
                  <a:pt x="694" y="591"/>
                  <a:pt x="694" y="591"/>
                </a:cubicBezTo>
                <a:cubicBezTo>
                  <a:pt x="694" y="591"/>
                  <a:pt x="694" y="591"/>
                  <a:pt x="694" y="591"/>
                </a:cubicBezTo>
                <a:cubicBezTo>
                  <a:pt x="694" y="591"/>
                  <a:pt x="695" y="591"/>
                  <a:pt x="695" y="591"/>
                </a:cubicBezTo>
                <a:cubicBezTo>
                  <a:pt x="695" y="591"/>
                  <a:pt x="695" y="591"/>
                  <a:pt x="695" y="592"/>
                </a:cubicBezTo>
                <a:cubicBezTo>
                  <a:pt x="695" y="592"/>
                  <a:pt x="695" y="592"/>
                  <a:pt x="695" y="592"/>
                </a:cubicBezTo>
                <a:cubicBezTo>
                  <a:pt x="694" y="592"/>
                  <a:pt x="694" y="593"/>
                  <a:pt x="694" y="593"/>
                </a:cubicBezTo>
                <a:cubicBezTo>
                  <a:pt x="694" y="594"/>
                  <a:pt x="694" y="594"/>
                  <a:pt x="694" y="595"/>
                </a:cubicBezTo>
                <a:cubicBezTo>
                  <a:pt x="693" y="595"/>
                  <a:pt x="693" y="595"/>
                  <a:pt x="693" y="595"/>
                </a:cubicBezTo>
                <a:cubicBezTo>
                  <a:pt x="693" y="595"/>
                  <a:pt x="693" y="596"/>
                  <a:pt x="693" y="596"/>
                </a:cubicBezTo>
                <a:cubicBezTo>
                  <a:pt x="693" y="596"/>
                  <a:pt x="693" y="596"/>
                  <a:pt x="692" y="596"/>
                </a:cubicBezTo>
                <a:cubicBezTo>
                  <a:pt x="692" y="596"/>
                  <a:pt x="692" y="596"/>
                  <a:pt x="692" y="596"/>
                </a:cubicBezTo>
                <a:cubicBezTo>
                  <a:pt x="692" y="597"/>
                  <a:pt x="692" y="597"/>
                  <a:pt x="691" y="597"/>
                </a:cubicBezTo>
                <a:cubicBezTo>
                  <a:pt x="691" y="597"/>
                  <a:pt x="691" y="597"/>
                  <a:pt x="691" y="598"/>
                </a:cubicBezTo>
                <a:cubicBezTo>
                  <a:pt x="691" y="598"/>
                  <a:pt x="691" y="598"/>
                  <a:pt x="691" y="598"/>
                </a:cubicBezTo>
                <a:cubicBezTo>
                  <a:pt x="691" y="598"/>
                  <a:pt x="690" y="598"/>
                  <a:pt x="690" y="598"/>
                </a:cubicBezTo>
                <a:cubicBezTo>
                  <a:pt x="690" y="598"/>
                  <a:pt x="690" y="598"/>
                  <a:pt x="690" y="599"/>
                </a:cubicBezTo>
                <a:cubicBezTo>
                  <a:pt x="690" y="599"/>
                  <a:pt x="690" y="599"/>
                  <a:pt x="690" y="599"/>
                </a:cubicBezTo>
                <a:cubicBezTo>
                  <a:pt x="690" y="599"/>
                  <a:pt x="690" y="599"/>
                  <a:pt x="691" y="599"/>
                </a:cubicBezTo>
                <a:cubicBezTo>
                  <a:pt x="692" y="598"/>
                  <a:pt x="692" y="597"/>
                  <a:pt x="693" y="597"/>
                </a:cubicBezTo>
                <a:cubicBezTo>
                  <a:pt x="694" y="596"/>
                  <a:pt x="694" y="596"/>
                  <a:pt x="694" y="595"/>
                </a:cubicBezTo>
                <a:cubicBezTo>
                  <a:pt x="695" y="594"/>
                  <a:pt x="695" y="593"/>
                  <a:pt x="696" y="592"/>
                </a:cubicBezTo>
                <a:cubicBezTo>
                  <a:pt x="696" y="591"/>
                  <a:pt x="696" y="591"/>
                  <a:pt x="696" y="590"/>
                </a:cubicBezTo>
                <a:cubicBezTo>
                  <a:pt x="697" y="590"/>
                  <a:pt x="697" y="589"/>
                  <a:pt x="697" y="588"/>
                </a:cubicBezTo>
                <a:cubicBezTo>
                  <a:pt x="697" y="587"/>
                  <a:pt x="698" y="586"/>
                  <a:pt x="698" y="585"/>
                </a:cubicBezTo>
                <a:cubicBezTo>
                  <a:pt x="699" y="584"/>
                  <a:pt x="699" y="583"/>
                  <a:pt x="700" y="582"/>
                </a:cubicBezTo>
                <a:cubicBezTo>
                  <a:pt x="700" y="582"/>
                  <a:pt x="700" y="582"/>
                  <a:pt x="700" y="582"/>
                </a:cubicBezTo>
                <a:cubicBezTo>
                  <a:pt x="700" y="582"/>
                  <a:pt x="700" y="582"/>
                  <a:pt x="700" y="582"/>
                </a:cubicBezTo>
                <a:cubicBezTo>
                  <a:pt x="700" y="582"/>
                  <a:pt x="700" y="581"/>
                  <a:pt x="700" y="581"/>
                </a:cubicBezTo>
                <a:cubicBezTo>
                  <a:pt x="700" y="581"/>
                  <a:pt x="700" y="581"/>
                  <a:pt x="700" y="581"/>
                </a:cubicBezTo>
                <a:cubicBezTo>
                  <a:pt x="700" y="581"/>
                  <a:pt x="701" y="580"/>
                  <a:pt x="701" y="580"/>
                </a:cubicBezTo>
                <a:cubicBezTo>
                  <a:pt x="701" y="580"/>
                  <a:pt x="701" y="580"/>
                  <a:pt x="701" y="580"/>
                </a:cubicBezTo>
                <a:cubicBezTo>
                  <a:pt x="701" y="580"/>
                  <a:pt x="701" y="579"/>
                  <a:pt x="701" y="579"/>
                </a:cubicBezTo>
                <a:cubicBezTo>
                  <a:pt x="701" y="579"/>
                  <a:pt x="701" y="579"/>
                  <a:pt x="701" y="579"/>
                </a:cubicBezTo>
                <a:cubicBezTo>
                  <a:pt x="701" y="579"/>
                  <a:pt x="701" y="578"/>
                  <a:pt x="701" y="578"/>
                </a:cubicBezTo>
                <a:cubicBezTo>
                  <a:pt x="701" y="578"/>
                  <a:pt x="700" y="578"/>
                  <a:pt x="700" y="578"/>
                </a:cubicBezTo>
                <a:cubicBezTo>
                  <a:pt x="700" y="578"/>
                  <a:pt x="700" y="578"/>
                  <a:pt x="700" y="578"/>
                </a:cubicBezTo>
                <a:cubicBezTo>
                  <a:pt x="700" y="577"/>
                  <a:pt x="700" y="577"/>
                  <a:pt x="699" y="577"/>
                </a:cubicBezTo>
                <a:cubicBezTo>
                  <a:pt x="699" y="577"/>
                  <a:pt x="699" y="576"/>
                  <a:pt x="699" y="576"/>
                </a:cubicBezTo>
                <a:cubicBezTo>
                  <a:pt x="699" y="576"/>
                  <a:pt x="699" y="576"/>
                  <a:pt x="699" y="576"/>
                </a:cubicBezTo>
                <a:cubicBezTo>
                  <a:pt x="699" y="576"/>
                  <a:pt x="699" y="575"/>
                  <a:pt x="699" y="575"/>
                </a:cubicBezTo>
                <a:cubicBezTo>
                  <a:pt x="699" y="575"/>
                  <a:pt x="699" y="575"/>
                  <a:pt x="698" y="574"/>
                </a:cubicBezTo>
                <a:cubicBezTo>
                  <a:pt x="698" y="574"/>
                  <a:pt x="698" y="574"/>
                  <a:pt x="698" y="573"/>
                </a:cubicBezTo>
                <a:cubicBezTo>
                  <a:pt x="698" y="573"/>
                  <a:pt x="698" y="573"/>
                  <a:pt x="698" y="573"/>
                </a:cubicBezTo>
                <a:cubicBezTo>
                  <a:pt x="699" y="573"/>
                  <a:pt x="699" y="573"/>
                  <a:pt x="699" y="573"/>
                </a:cubicBezTo>
                <a:cubicBezTo>
                  <a:pt x="699" y="572"/>
                  <a:pt x="699" y="572"/>
                  <a:pt x="699" y="572"/>
                </a:cubicBezTo>
                <a:cubicBezTo>
                  <a:pt x="699" y="572"/>
                  <a:pt x="698" y="572"/>
                  <a:pt x="698" y="572"/>
                </a:cubicBezTo>
                <a:cubicBezTo>
                  <a:pt x="699" y="572"/>
                  <a:pt x="699" y="572"/>
                  <a:pt x="699" y="571"/>
                </a:cubicBezTo>
                <a:cubicBezTo>
                  <a:pt x="699" y="571"/>
                  <a:pt x="699" y="571"/>
                  <a:pt x="699" y="571"/>
                </a:cubicBezTo>
                <a:cubicBezTo>
                  <a:pt x="699" y="571"/>
                  <a:pt x="698" y="571"/>
                  <a:pt x="698" y="571"/>
                </a:cubicBezTo>
                <a:cubicBezTo>
                  <a:pt x="698" y="570"/>
                  <a:pt x="699" y="570"/>
                  <a:pt x="699" y="570"/>
                </a:cubicBezTo>
                <a:cubicBezTo>
                  <a:pt x="699" y="570"/>
                  <a:pt x="699" y="570"/>
                  <a:pt x="699" y="569"/>
                </a:cubicBezTo>
                <a:cubicBezTo>
                  <a:pt x="700" y="569"/>
                  <a:pt x="700" y="570"/>
                  <a:pt x="700" y="570"/>
                </a:cubicBezTo>
                <a:cubicBezTo>
                  <a:pt x="700" y="569"/>
                  <a:pt x="701" y="569"/>
                  <a:pt x="701" y="568"/>
                </a:cubicBezTo>
                <a:cubicBezTo>
                  <a:pt x="701" y="568"/>
                  <a:pt x="702" y="568"/>
                  <a:pt x="702" y="568"/>
                </a:cubicBezTo>
                <a:cubicBezTo>
                  <a:pt x="702" y="568"/>
                  <a:pt x="702" y="567"/>
                  <a:pt x="702" y="567"/>
                </a:cubicBezTo>
                <a:cubicBezTo>
                  <a:pt x="702" y="567"/>
                  <a:pt x="702" y="567"/>
                  <a:pt x="703" y="566"/>
                </a:cubicBezTo>
                <a:cubicBezTo>
                  <a:pt x="703" y="566"/>
                  <a:pt x="704" y="566"/>
                  <a:pt x="704" y="565"/>
                </a:cubicBezTo>
                <a:cubicBezTo>
                  <a:pt x="705" y="565"/>
                  <a:pt x="705" y="564"/>
                  <a:pt x="706" y="563"/>
                </a:cubicBezTo>
                <a:cubicBezTo>
                  <a:pt x="706" y="563"/>
                  <a:pt x="707" y="563"/>
                  <a:pt x="707" y="563"/>
                </a:cubicBezTo>
                <a:cubicBezTo>
                  <a:pt x="707" y="563"/>
                  <a:pt x="708" y="562"/>
                  <a:pt x="708" y="562"/>
                </a:cubicBezTo>
                <a:cubicBezTo>
                  <a:pt x="708" y="562"/>
                  <a:pt x="709" y="562"/>
                  <a:pt x="709" y="561"/>
                </a:cubicBezTo>
                <a:cubicBezTo>
                  <a:pt x="709" y="561"/>
                  <a:pt x="709" y="561"/>
                  <a:pt x="710" y="561"/>
                </a:cubicBezTo>
                <a:cubicBezTo>
                  <a:pt x="710" y="561"/>
                  <a:pt x="710" y="561"/>
                  <a:pt x="710" y="562"/>
                </a:cubicBezTo>
                <a:cubicBezTo>
                  <a:pt x="711" y="562"/>
                  <a:pt x="711" y="562"/>
                  <a:pt x="711" y="562"/>
                </a:cubicBezTo>
                <a:cubicBezTo>
                  <a:pt x="711" y="561"/>
                  <a:pt x="711" y="561"/>
                  <a:pt x="711" y="561"/>
                </a:cubicBezTo>
                <a:cubicBezTo>
                  <a:pt x="711" y="561"/>
                  <a:pt x="711" y="560"/>
                  <a:pt x="712" y="560"/>
                </a:cubicBezTo>
                <a:cubicBezTo>
                  <a:pt x="712" y="560"/>
                  <a:pt x="713" y="559"/>
                  <a:pt x="713" y="559"/>
                </a:cubicBezTo>
                <a:cubicBezTo>
                  <a:pt x="714" y="559"/>
                  <a:pt x="714" y="558"/>
                  <a:pt x="714" y="558"/>
                </a:cubicBezTo>
                <a:cubicBezTo>
                  <a:pt x="714" y="558"/>
                  <a:pt x="714" y="558"/>
                  <a:pt x="714" y="558"/>
                </a:cubicBezTo>
                <a:cubicBezTo>
                  <a:pt x="714" y="558"/>
                  <a:pt x="714" y="558"/>
                  <a:pt x="714" y="558"/>
                </a:cubicBezTo>
                <a:cubicBezTo>
                  <a:pt x="713" y="558"/>
                  <a:pt x="713" y="558"/>
                  <a:pt x="713" y="558"/>
                </a:cubicBezTo>
                <a:cubicBezTo>
                  <a:pt x="713" y="558"/>
                  <a:pt x="713" y="558"/>
                  <a:pt x="713" y="557"/>
                </a:cubicBezTo>
                <a:cubicBezTo>
                  <a:pt x="713" y="557"/>
                  <a:pt x="713" y="557"/>
                  <a:pt x="713" y="557"/>
                </a:cubicBezTo>
                <a:cubicBezTo>
                  <a:pt x="714" y="557"/>
                  <a:pt x="714" y="557"/>
                  <a:pt x="714" y="556"/>
                </a:cubicBezTo>
                <a:cubicBezTo>
                  <a:pt x="714" y="557"/>
                  <a:pt x="715" y="557"/>
                  <a:pt x="715" y="557"/>
                </a:cubicBezTo>
                <a:cubicBezTo>
                  <a:pt x="715" y="556"/>
                  <a:pt x="715" y="556"/>
                  <a:pt x="716" y="556"/>
                </a:cubicBezTo>
                <a:cubicBezTo>
                  <a:pt x="716" y="556"/>
                  <a:pt x="716" y="556"/>
                  <a:pt x="716" y="556"/>
                </a:cubicBezTo>
                <a:cubicBezTo>
                  <a:pt x="716" y="556"/>
                  <a:pt x="717" y="556"/>
                  <a:pt x="717" y="556"/>
                </a:cubicBezTo>
                <a:cubicBezTo>
                  <a:pt x="717" y="556"/>
                  <a:pt x="717" y="556"/>
                  <a:pt x="717" y="556"/>
                </a:cubicBezTo>
                <a:cubicBezTo>
                  <a:pt x="717" y="556"/>
                  <a:pt x="716" y="557"/>
                  <a:pt x="716" y="557"/>
                </a:cubicBezTo>
                <a:cubicBezTo>
                  <a:pt x="716" y="557"/>
                  <a:pt x="715" y="557"/>
                  <a:pt x="715" y="557"/>
                </a:cubicBezTo>
                <a:cubicBezTo>
                  <a:pt x="715" y="557"/>
                  <a:pt x="715" y="557"/>
                  <a:pt x="715" y="557"/>
                </a:cubicBezTo>
                <a:cubicBezTo>
                  <a:pt x="715" y="557"/>
                  <a:pt x="715" y="558"/>
                  <a:pt x="715" y="558"/>
                </a:cubicBezTo>
                <a:cubicBezTo>
                  <a:pt x="716" y="557"/>
                  <a:pt x="716" y="557"/>
                  <a:pt x="717" y="557"/>
                </a:cubicBezTo>
                <a:cubicBezTo>
                  <a:pt x="717" y="556"/>
                  <a:pt x="718" y="556"/>
                  <a:pt x="719" y="556"/>
                </a:cubicBezTo>
                <a:cubicBezTo>
                  <a:pt x="719" y="556"/>
                  <a:pt x="719" y="556"/>
                  <a:pt x="719" y="556"/>
                </a:cubicBezTo>
                <a:cubicBezTo>
                  <a:pt x="719" y="555"/>
                  <a:pt x="719" y="555"/>
                  <a:pt x="719" y="555"/>
                </a:cubicBezTo>
                <a:cubicBezTo>
                  <a:pt x="719" y="555"/>
                  <a:pt x="719" y="555"/>
                  <a:pt x="720" y="555"/>
                </a:cubicBezTo>
                <a:cubicBezTo>
                  <a:pt x="720" y="555"/>
                  <a:pt x="719" y="555"/>
                  <a:pt x="719" y="556"/>
                </a:cubicBezTo>
                <a:cubicBezTo>
                  <a:pt x="719" y="556"/>
                  <a:pt x="720" y="556"/>
                  <a:pt x="720" y="556"/>
                </a:cubicBezTo>
                <a:cubicBezTo>
                  <a:pt x="720" y="556"/>
                  <a:pt x="721" y="556"/>
                  <a:pt x="721" y="556"/>
                </a:cubicBezTo>
                <a:cubicBezTo>
                  <a:pt x="721" y="556"/>
                  <a:pt x="721" y="556"/>
                  <a:pt x="722" y="556"/>
                </a:cubicBezTo>
                <a:cubicBezTo>
                  <a:pt x="722" y="556"/>
                  <a:pt x="723" y="556"/>
                  <a:pt x="723" y="556"/>
                </a:cubicBezTo>
                <a:cubicBezTo>
                  <a:pt x="723" y="555"/>
                  <a:pt x="724" y="555"/>
                  <a:pt x="724" y="555"/>
                </a:cubicBezTo>
                <a:cubicBezTo>
                  <a:pt x="725" y="555"/>
                  <a:pt x="725" y="555"/>
                  <a:pt x="725" y="555"/>
                </a:cubicBezTo>
                <a:cubicBezTo>
                  <a:pt x="725" y="555"/>
                  <a:pt x="725" y="555"/>
                  <a:pt x="725" y="554"/>
                </a:cubicBezTo>
                <a:cubicBezTo>
                  <a:pt x="725" y="554"/>
                  <a:pt x="725" y="554"/>
                  <a:pt x="725" y="554"/>
                </a:cubicBezTo>
                <a:cubicBezTo>
                  <a:pt x="725" y="554"/>
                  <a:pt x="725" y="554"/>
                  <a:pt x="725" y="554"/>
                </a:cubicBezTo>
                <a:cubicBezTo>
                  <a:pt x="726" y="553"/>
                  <a:pt x="726" y="553"/>
                  <a:pt x="727" y="552"/>
                </a:cubicBezTo>
                <a:cubicBezTo>
                  <a:pt x="727" y="552"/>
                  <a:pt x="728" y="552"/>
                  <a:pt x="729" y="552"/>
                </a:cubicBezTo>
                <a:cubicBezTo>
                  <a:pt x="729" y="552"/>
                  <a:pt x="729" y="551"/>
                  <a:pt x="729" y="551"/>
                </a:cubicBezTo>
                <a:cubicBezTo>
                  <a:pt x="729" y="551"/>
                  <a:pt x="730" y="551"/>
                  <a:pt x="730" y="551"/>
                </a:cubicBezTo>
                <a:cubicBezTo>
                  <a:pt x="729" y="551"/>
                  <a:pt x="729" y="551"/>
                  <a:pt x="729" y="550"/>
                </a:cubicBezTo>
                <a:cubicBezTo>
                  <a:pt x="729" y="550"/>
                  <a:pt x="729" y="550"/>
                  <a:pt x="728" y="549"/>
                </a:cubicBezTo>
                <a:cubicBezTo>
                  <a:pt x="728" y="549"/>
                  <a:pt x="729" y="548"/>
                  <a:pt x="729" y="548"/>
                </a:cubicBezTo>
                <a:cubicBezTo>
                  <a:pt x="729" y="548"/>
                  <a:pt x="729" y="548"/>
                  <a:pt x="729" y="547"/>
                </a:cubicBezTo>
                <a:cubicBezTo>
                  <a:pt x="729" y="547"/>
                  <a:pt x="729" y="547"/>
                  <a:pt x="729" y="547"/>
                </a:cubicBezTo>
                <a:cubicBezTo>
                  <a:pt x="729" y="547"/>
                  <a:pt x="729" y="546"/>
                  <a:pt x="730" y="546"/>
                </a:cubicBezTo>
                <a:cubicBezTo>
                  <a:pt x="730" y="546"/>
                  <a:pt x="730" y="546"/>
                  <a:pt x="730" y="546"/>
                </a:cubicBezTo>
                <a:cubicBezTo>
                  <a:pt x="730" y="546"/>
                  <a:pt x="730" y="545"/>
                  <a:pt x="730" y="545"/>
                </a:cubicBezTo>
                <a:cubicBezTo>
                  <a:pt x="730" y="545"/>
                  <a:pt x="730" y="545"/>
                  <a:pt x="730" y="545"/>
                </a:cubicBezTo>
                <a:cubicBezTo>
                  <a:pt x="730" y="544"/>
                  <a:pt x="731" y="544"/>
                  <a:pt x="731" y="543"/>
                </a:cubicBezTo>
                <a:cubicBezTo>
                  <a:pt x="732" y="543"/>
                  <a:pt x="732" y="542"/>
                  <a:pt x="733" y="541"/>
                </a:cubicBezTo>
                <a:cubicBezTo>
                  <a:pt x="733" y="541"/>
                  <a:pt x="733" y="541"/>
                  <a:pt x="733" y="541"/>
                </a:cubicBezTo>
                <a:cubicBezTo>
                  <a:pt x="732" y="540"/>
                  <a:pt x="732" y="539"/>
                  <a:pt x="732" y="538"/>
                </a:cubicBezTo>
                <a:cubicBezTo>
                  <a:pt x="732" y="538"/>
                  <a:pt x="732" y="538"/>
                  <a:pt x="731" y="538"/>
                </a:cubicBezTo>
                <a:cubicBezTo>
                  <a:pt x="732" y="537"/>
                  <a:pt x="732" y="537"/>
                  <a:pt x="732" y="536"/>
                </a:cubicBezTo>
                <a:cubicBezTo>
                  <a:pt x="732" y="536"/>
                  <a:pt x="732" y="536"/>
                  <a:pt x="732" y="536"/>
                </a:cubicBezTo>
                <a:cubicBezTo>
                  <a:pt x="732" y="536"/>
                  <a:pt x="732" y="535"/>
                  <a:pt x="732" y="535"/>
                </a:cubicBezTo>
                <a:cubicBezTo>
                  <a:pt x="733" y="535"/>
                  <a:pt x="733" y="535"/>
                  <a:pt x="733" y="534"/>
                </a:cubicBezTo>
                <a:cubicBezTo>
                  <a:pt x="734" y="534"/>
                  <a:pt x="734" y="534"/>
                  <a:pt x="734" y="534"/>
                </a:cubicBezTo>
                <a:cubicBezTo>
                  <a:pt x="733" y="533"/>
                  <a:pt x="733" y="533"/>
                  <a:pt x="733" y="532"/>
                </a:cubicBezTo>
                <a:cubicBezTo>
                  <a:pt x="733" y="532"/>
                  <a:pt x="733" y="531"/>
                  <a:pt x="734" y="531"/>
                </a:cubicBezTo>
                <a:cubicBezTo>
                  <a:pt x="733" y="530"/>
                  <a:pt x="733" y="530"/>
                  <a:pt x="733" y="529"/>
                </a:cubicBezTo>
                <a:cubicBezTo>
                  <a:pt x="733" y="529"/>
                  <a:pt x="733" y="529"/>
                  <a:pt x="733" y="528"/>
                </a:cubicBezTo>
                <a:cubicBezTo>
                  <a:pt x="733" y="528"/>
                  <a:pt x="733" y="528"/>
                  <a:pt x="733" y="528"/>
                </a:cubicBezTo>
                <a:cubicBezTo>
                  <a:pt x="733" y="527"/>
                  <a:pt x="733" y="527"/>
                  <a:pt x="733" y="527"/>
                </a:cubicBezTo>
                <a:cubicBezTo>
                  <a:pt x="733" y="525"/>
                  <a:pt x="733" y="523"/>
                  <a:pt x="732" y="522"/>
                </a:cubicBezTo>
                <a:cubicBezTo>
                  <a:pt x="732" y="521"/>
                  <a:pt x="732" y="521"/>
                  <a:pt x="732" y="521"/>
                </a:cubicBezTo>
                <a:cubicBezTo>
                  <a:pt x="732" y="520"/>
                  <a:pt x="732" y="520"/>
                  <a:pt x="732" y="520"/>
                </a:cubicBezTo>
                <a:cubicBezTo>
                  <a:pt x="732" y="520"/>
                  <a:pt x="732" y="520"/>
                  <a:pt x="732" y="519"/>
                </a:cubicBezTo>
                <a:cubicBezTo>
                  <a:pt x="732" y="519"/>
                  <a:pt x="732" y="520"/>
                  <a:pt x="732" y="520"/>
                </a:cubicBezTo>
                <a:cubicBezTo>
                  <a:pt x="732" y="520"/>
                  <a:pt x="731" y="519"/>
                  <a:pt x="731" y="519"/>
                </a:cubicBezTo>
                <a:cubicBezTo>
                  <a:pt x="731" y="519"/>
                  <a:pt x="731" y="519"/>
                  <a:pt x="731" y="519"/>
                </a:cubicBezTo>
                <a:cubicBezTo>
                  <a:pt x="731" y="519"/>
                  <a:pt x="731" y="518"/>
                  <a:pt x="732" y="518"/>
                </a:cubicBezTo>
                <a:cubicBezTo>
                  <a:pt x="731" y="518"/>
                  <a:pt x="731" y="518"/>
                  <a:pt x="731" y="517"/>
                </a:cubicBezTo>
                <a:cubicBezTo>
                  <a:pt x="731" y="517"/>
                  <a:pt x="731" y="517"/>
                  <a:pt x="731" y="517"/>
                </a:cubicBezTo>
                <a:cubicBezTo>
                  <a:pt x="732" y="517"/>
                  <a:pt x="732" y="517"/>
                  <a:pt x="732" y="516"/>
                </a:cubicBezTo>
                <a:cubicBezTo>
                  <a:pt x="732" y="516"/>
                  <a:pt x="732" y="516"/>
                  <a:pt x="732" y="516"/>
                </a:cubicBezTo>
                <a:cubicBezTo>
                  <a:pt x="732" y="515"/>
                  <a:pt x="731" y="515"/>
                  <a:pt x="731" y="515"/>
                </a:cubicBezTo>
                <a:cubicBezTo>
                  <a:pt x="731" y="515"/>
                  <a:pt x="730" y="515"/>
                  <a:pt x="730" y="515"/>
                </a:cubicBezTo>
                <a:cubicBezTo>
                  <a:pt x="730" y="515"/>
                  <a:pt x="730" y="514"/>
                  <a:pt x="730" y="514"/>
                </a:cubicBezTo>
                <a:cubicBezTo>
                  <a:pt x="730" y="514"/>
                  <a:pt x="730" y="514"/>
                  <a:pt x="730" y="514"/>
                </a:cubicBezTo>
                <a:cubicBezTo>
                  <a:pt x="730" y="514"/>
                  <a:pt x="730" y="514"/>
                  <a:pt x="731" y="514"/>
                </a:cubicBezTo>
                <a:cubicBezTo>
                  <a:pt x="731" y="515"/>
                  <a:pt x="731" y="515"/>
                  <a:pt x="731" y="515"/>
                </a:cubicBezTo>
                <a:cubicBezTo>
                  <a:pt x="732" y="515"/>
                  <a:pt x="732" y="515"/>
                  <a:pt x="732" y="515"/>
                </a:cubicBezTo>
                <a:cubicBezTo>
                  <a:pt x="732" y="514"/>
                  <a:pt x="732" y="514"/>
                  <a:pt x="732" y="514"/>
                </a:cubicBezTo>
                <a:cubicBezTo>
                  <a:pt x="732" y="514"/>
                  <a:pt x="733" y="514"/>
                  <a:pt x="733" y="514"/>
                </a:cubicBezTo>
                <a:cubicBezTo>
                  <a:pt x="733" y="514"/>
                  <a:pt x="733" y="514"/>
                  <a:pt x="733" y="514"/>
                </a:cubicBezTo>
                <a:cubicBezTo>
                  <a:pt x="733" y="514"/>
                  <a:pt x="734" y="514"/>
                  <a:pt x="734" y="514"/>
                </a:cubicBezTo>
                <a:cubicBezTo>
                  <a:pt x="734" y="515"/>
                  <a:pt x="733" y="515"/>
                  <a:pt x="733" y="515"/>
                </a:cubicBezTo>
                <a:cubicBezTo>
                  <a:pt x="733" y="515"/>
                  <a:pt x="733" y="515"/>
                  <a:pt x="733" y="516"/>
                </a:cubicBezTo>
                <a:cubicBezTo>
                  <a:pt x="733" y="516"/>
                  <a:pt x="733" y="516"/>
                  <a:pt x="733" y="516"/>
                </a:cubicBezTo>
                <a:cubicBezTo>
                  <a:pt x="733" y="516"/>
                  <a:pt x="733" y="516"/>
                  <a:pt x="733" y="516"/>
                </a:cubicBezTo>
                <a:cubicBezTo>
                  <a:pt x="733" y="516"/>
                  <a:pt x="734" y="515"/>
                  <a:pt x="734" y="515"/>
                </a:cubicBezTo>
                <a:cubicBezTo>
                  <a:pt x="734" y="515"/>
                  <a:pt x="735" y="515"/>
                  <a:pt x="735" y="515"/>
                </a:cubicBezTo>
                <a:cubicBezTo>
                  <a:pt x="735" y="514"/>
                  <a:pt x="736" y="513"/>
                  <a:pt x="736" y="512"/>
                </a:cubicBezTo>
                <a:cubicBezTo>
                  <a:pt x="736" y="512"/>
                  <a:pt x="737" y="511"/>
                  <a:pt x="737" y="511"/>
                </a:cubicBezTo>
                <a:cubicBezTo>
                  <a:pt x="737" y="511"/>
                  <a:pt x="737" y="510"/>
                  <a:pt x="737" y="510"/>
                </a:cubicBezTo>
                <a:cubicBezTo>
                  <a:pt x="737" y="510"/>
                  <a:pt x="737" y="510"/>
                  <a:pt x="737" y="510"/>
                </a:cubicBezTo>
                <a:cubicBezTo>
                  <a:pt x="738" y="509"/>
                  <a:pt x="738" y="509"/>
                  <a:pt x="738" y="508"/>
                </a:cubicBezTo>
                <a:cubicBezTo>
                  <a:pt x="738" y="508"/>
                  <a:pt x="738" y="507"/>
                  <a:pt x="738" y="507"/>
                </a:cubicBezTo>
                <a:cubicBezTo>
                  <a:pt x="739" y="506"/>
                  <a:pt x="740" y="506"/>
                  <a:pt x="741" y="505"/>
                </a:cubicBezTo>
                <a:cubicBezTo>
                  <a:pt x="741" y="505"/>
                  <a:pt x="741" y="505"/>
                  <a:pt x="741" y="505"/>
                </a:cubicBezTo>
                <a:cubicBezTo>
                  <a:pt x="741" y="505"/>
                  <a:pt x="741" y="505"/>
                  <a:pt x="742" y="504"/>
                </a:cubicBezTo>
                <a:cubicBezTo>
                  <a:pt x="742" y="504"/>
                  <a:pt x="742" y="504"/>
                  <a:pt x="742" y="504"/>
                </a:cubicBezTo>
                <a:cubicBezTo>
                  <a:pt x="743" y="503"/>
                  <a:pt x="743" y="503"/>
                  <a:pt x="744" y="502"/>
                </a:cubicBezTo>
                <a:cubicBezTo>
                  <a:pt x="745" y="501"/>
                  <a:pt x="745" y="500"/>
                  <a:pt x="746" y="500"/>
                </a:cubicBezTo>
                <a:cubicBezTo>
                  <a:pt x="746" y="500"/>
                  <a:pt x="746" y="499"/>
                  <a:pt x="746" y="499"/>
                </a:cubicBezTo>
                <a:cubicBezTo>
                  <a:pt x="746" y="498"/>
                  <a:pt x="747" y="498"/>
                  <a:pt x="747" y="497"/>
                </a:cubicBezTo>
                <a:cubicBezTo>
                  <a:pt x="747" y="497"/>
                  <a:pt x="747" y="496"/>
                  <a:pt x="747" y="496"/>
                </a:cubicBezTo>
                <a:cubicBezTo>
                  <a:pt x="747" y="496"/>
                  <a:pt x="747" y="496"/>
                  <a:pt x="748" y="495"/>
                </a:cubicBezTo>
                <a:cubicBezTo>
                  <a:pt x="748" y="495"/>
                  <a:pt x="747" y="495"/>
                  <a:pt x="747" y="495"/>
                </a:cubicBezTo>
                <a:cubicBezTo>
                  <a:pt x="747" y="495"/>
                  <a:pt x="747" y="494"/>
                  <a:pt x="747" y="494"/>
                </a:cubicBezTo>
                <a:close/>
                <a:moveTo>
                  <a:pt x="668" y="475"/>
                </a:moveTo>
                <a:cubicBezTo>
                  <a:pt x="668" y="476"/>
                  <a:pt x="668" y="476"/>
                  <a:pt x="668" y="476"/>
                </a:cubicBezTo>
                <a:cubicBezTo>
                  <a:pt x="668" y="476"/>
                  <a:pt x="668" y="476"/>
                  <a:pt x="668" y="476"/>
                </a:cubicBezTo>
                <a:cubicBezTo>
                  <a:pt x="669" y="476"/>
                  <a:pt x="669" y="476"/>
                  <a:pt x="669" y="476"/>
                </a:cubicBezTo>
                <a:cubicBezTo>
                  <a:pt x="669" y="476"/>
                  <a:pt x="669" y="476"/>
                  <a:pt x="669" y="476"/>
                </a:cubicBezTo>
                <a:cubicBezTo>
                  <a:pt x="669" y="476"/>
                  <a:pt x="669" y="476"/>
                  <a:pt x="669" y="476"/>
                </a:cubicBezTo>
                <a:cubicBezTo>
                  <a:pt x="669" y="476"/>
                  <a:pt x="668" y="476"/>
                  <a:pt x="668" y="475"/>
                </a:cubicBezTo>
                <a:close/>
                <a:moveTo>
                  <a:pt x="572" y="448"/>
                </a:moveTo>
                <a:cubicBezTo>
                  <a:pt x="572" y="448"/>
                  <a:pt x="572" y="448"/>
                  <a:pt x="573" y="448"/>
                </a:cubicBezTo>
                <a:cubicBezTo>
                  <a:pt x="573" y="448"/>
                  <a:pt x="573" y="448"/>
                  <a:pt x="573" y="448"/>
                </a:cubicBezTo>
                <a:cubicBezTo>
                  <a:pt x="573" y="448"/>
                  <a:pt x="574" y="448"/>
                  <a:pt x="574" y="448"/>
                </a:cubicBezTo>
                <a:cubicBezTo>
                  <a:pt x="574" y="448"/>
                  <a:pt x="574" y="448"/>
                  <a:pt x="574" y="448"/>
                </a:cubicBezTo>
                <a:cubicBezTo>
                  <a:pt x="574" y="448"/>
                  <a:pt x="573" y="447"/>
                  <a:pt x="573" y="447"/>
                </a:cubicBezTo>
                <a:cubicBezTo>
                  <a:pt x="573" y="447"/>
                  <a:pt x="572" y="448"/>
                  <a:pt x="572" y="448"/>
                </a:cubicBezTo>
                <a:close/>
                <a:moveTo>
                  <a:pt x="564" y="448"/>
                </a:moveTo>
                <a:cubicBezTo>
                  <a:pt x="564" y="448"/>
                  <a:pt x="564" y="449"/>
                  <a:pt x="565" y="449"/>
                </a:cubicBezTo>
                <a:cubicBezTo>
                  <a:pt x="565" y="449"/>
                  <a:pt x="565" y="449"/>
                  <a:pt x="566" y="449"/>
                </a:cubicBezTo>
                <a:cubicBezTo>
                  <a:pt x="565" y="448"/>
                  <a:pt x="565" y="448"/>
                  <a:pt x="565" y="448"/>
                </a:cubicBezTo>
                <a:cubicBezTo>
                  <a:pt x="564" y="448"/>
                  <a:pt x="564" y="448"/>
                  <a:pt x="564" y="448"/>
                </a:cubicBezTo>
                <a:close/>
                <a:moveTo>
                  <a:pt x="593" y="448"/>
                </a:moveTo>
                <a:cubicBezTo>
                  <a:pt x="594" y="448"/>
                  <a:pt x="594" y="448"/>
                  <a:pt x="594" y="448"/>
                </a:cubicBezTo>
                <a:cubicBezTo>
                  <a:pt x="595" y="448"/>
                  <a:pt x="595" y="448"/>
                  <a:pt x="595" y="448"/>
                </a:cubicBezTo>
                <a:cubicBezTo>
                  <a:pt x="596" y="448"/>
                  <a:pt x="596" y="447"/>
                  <a:pt x="596" y="447"/>
                </a:cubicBezTo>
                <a:cubicBezTo>
                  <a:pt x="596" y="447"/>
                  <a:pt x="596" y="447"/>
                  <a:pt x="596" y="447"/>
                </a:cubicBezTo>
                <a:cubicBezTo>
                  <a:pt x="595" y="447"/>
                  <a:pt x="595" y="448"/>
                  <a:pt x="594" y="448"/>
                </a:cubicBezTo>
                <a:cubicBezTo>
                  <a:pt x="594" y="448"/>
                  <a:pt x="594" y="448"/>
                  <a:pt x="594" y="448"/>
                </a:cubicBezTo>
                <a:cubicBezTo>
                  <a:pt x="593" y="448"/>
                  <a:pt x="593" y="448"/>
                  <a:pt x="593" y="448"/>
                </a:cubicBezTo>
                <a:cubicBezTo>
                  <a:pt x="593" y="448"/>
                  <a:pt x="593" y="448"/>
                  <a:pt x="593" y="448"/>
                </a:cubicBezTo>
                <a:close/>
                <a:moveTo>
                  <a:pt x="570" y="449"/>
                </a:moveTo>
                <a:cubicBezTo>
                  <a:pt x="570" y="449"/>
                  <a:pt x="571" y="449"/>
                  <a:pt x="571" y="448"/>
                </a:cubicBezTo>
                <a:cubicBezTo>
                  <a:pt x="570" y="449"/>
                  <a:pt x="570" y="449"/>
                  <a:pt x="570" y="449"/>
                </a:cubicBezTo>
                <a:cubicBezTo>
                  <a:pt x="569" y="448"/>
                  <a:pt x="569" y="448"/>
                  <a:pt x="569" y="448"/>
                </a:cubicBezTo>
                <a:cubicBezTo>
                  <a:pt x="569" y="448"/>
                  <a:pt x="569" y="448"/>
                  <a:pt x="568" y="448"/>
                </a:cubicBezTo>
                <a:cubicBezTo>
                  <a:pt x="569" y="449"/>
                  <a:pt x="569" y="449"/>
                  <a:pt x="569" y="449"/>
                </a:cubicBezTo>
                <a:cubicBezTo>
                  <a:pt x="569" y="449"/>
                  <a:pt x="570" y="449"/>
                  <a:pt x="570" y="449"/>
                </a:cubicBezTo>
                <a:close/>
                <a:moveTo>
                  <a:pt x="530" y="517"/>
                </a:moveTo>
                <a:cubicBezTo>
                  <a:pt x="530" y="517"/>
                  <a:pt x="530" y="518"/>
                  <a:pt x="530" y="518"/>
                </a:cubicBezTo>
                <a:cubicBezTo>
                  <a:pt x="530" y="518"/>
                  <a:pt x="530" y="518"/>
                  <a:pt x="529" y="519"/>
                </a:cubicBezTo>
                <a:cubicBezTo>
                  <a:pt x="529" y="519"/>
                  <a:pt x="529" y="519"/>
                  <a:pt x="530" y="519"/>
                </a:cubicBezTo>
                <a:cubicBezTo>
                  <a:pt x="530" y="519"/>
                  <a:pt x="530" y="519"/>
                  <a:pt x="530" y="519"/>
                </a:cubicBezTo>
                <a:cubicBezTo>
                  <a:pt x="530" y="519"/>
                  <a:pt x="530" y="519"/>
                  <a:pt x="530" y="519"/>
                </a:cubicBezTo>
                <a:cubicBezTo>
                  <a:pt x="530" y="519"/>
                  <a:pt x="531" y="518"/>
                  <a:pt x="531" y="518"/>
                </a:cubicBezTo>
                <a:cubicBezTo>
                  <a:pt x="531" y="518"/>
                  <a:pt x="530" y="518"/>
                  <a:pt x="530" y="518"/>
                </a:cubicBezTo>
                <a:cubicBezTo>
                  <a:pt x="530" y="518"/>
                  <a:pt x="530" y="517"/>
                  <a:pt x="531" y="517"/>
                </a:cubicBezTo>
                <a:cubicBezTo>
                  <a:pt x="530" y="517"/>
                  <a:pt x="530" y="517"/>
                  <a:pt x="530" y="517"/>
                </a:cubicBezTo>
                <a:close/>
                <a:moveTo>
                  <a:pt x="620" y="675"/>
                </a:moveTo>
                <a:cubicBezTo>
                  <a:pt x="620" y="675"/>
                  <a:pt x="621" y="676"/>
                  <a:pt x="621" y="676"/>
                </a:cubicBezTo>
                <a:cubicBezTo>
                  <a:pt x="621" y="675"/>
                  <a:pt x="621" y="675"/>
                  <a:pt x="621" y="675"/>
                </a:cubicBezTo>
                <a:cubicBezTo>
                  <a:pt x="621" y="675"/>
                  <a:pt x="622" y="675"/>
                  <a:pt x="622" y="675"/>
                </a:cubicBezTo>
                <a:cubicBezTo>
                  <a:pt x="622" y="675"/>
                  <a:pt x="622" y="675"/>
                  <a:pt x="622" y="674"/>
                </a:cubicBezTo>
                <a:cubicBezTo>
                  <a:pt x="622" y="675"/>
                  <a:pt x="621" y="675"/>
                  <a:pt x="621" y="675"/>
                </a:cubicBezTo>
                <a:cubicBezTo>
                  <a:pt x="620" y="675"/>
                  <a:pt x="620" y="675"/>
                  <a:pt x="620" y="675"/>
                </a:cubicBezTo>
                <a:close/>
                <a:moveTo>
                  <a:pt x="628" y="696"/>
                </a:moveTo>
                <a:cubicBezTo>
                  <a:pt x="628" y="695"/>
                  <a:pt x="627" y="695"/>
                  <a:pt x="627" y="695"/>
                </a:cubicBezTo>
                <a:cubicBezTo>
                  <a:pt x="627" y="695"/>
                  <a:pt x="627" y="695"/>
                  <a:pt x="626" y="695"/>
                </a:cubicBezTo>
                <a:cubicBezTo>
                  <a:pt x="626" y="695"/>
                  <a:pt x="626" y="695"/>
                  <a:pt x="626" y="695"/>
                </a:cubicBezTo>
                <a:cubicBezTo>
                  <a:pt x="626" y="695"/>
                  <a:pt x="626" y="695"/>
                  <a:pt x="626" y="695"/>
                </a:cubicBezTo>
                <a:cubicBezTo>
                  <a:pt x="626" y="696"/>
                  <a:pt x="626" y="696"/>
                  <a:pt x="626" y="696"/>
                </a:cubicBezTo>
                <a:cubicBezTo>
                  <a:pt x="626" y="697"/>
                  <a:pt x="626" y="697"/>
                  <a:pt x="626" y="697"/>
                </a:cubicBezTo>
                <a:cubicBezTo>
                  <a:pt x="627" y="697"/>
                  <a:pt x="627" y="697"/>
                  <a:pt x="627" y="697"/>
                </a:cubicBezTo>
                <a:cubicBezTo>
                  <a:pt x="627" y="697"/>
                  <a:pt x="627" y="696"/>
                  <a:pt x="627" y="696"/>
                </a:cubicBezTo>
                <a:cubicBezTo>
                  <a:pt x="627" y="696"/>
                  <a:pt x="628" y="696"/>
                  <a:pt x="628" y="696"/>
                </a:cubicBezTo>
                <a:close/>
                <a:moveTo>
                  <a:pt x="625" y="693"/>
                </a:moveTo>
                <a:cubicBezTo>
                  <a:pt x="624" y="693"/>
                  <a:pt x="624" y="693"/>
                  <a:pt x="624" y="693"/>
                </a:cubicBezTo>
                <a:cubicBezTo>
                  <a:pt x="624" y="693"/>
                  <a:pt x="624" y="694"/>
                  <a:pt x="624" y="694"/>
                </a:cubicBezTo>
                <a:cubicBezTo>
                  <a:pt x="625" y="694"/>
                  <a:pt x="625" y="694"/>
                  <a:pt x="625" y="694"/>
                </a:cubicBezTo>
                <a:cubicBezTo>
                  <a:pt x="625" y="694"/>
                  <a:pt x="625" y="694"/>
                  <a:pt x="625" y="695"/>
                </a:cubicBezTo>
                <a:cubicBezTo>
                  <a:pt x="625" y="694"/>
                  <a:pt x="625" y="694"/>
                  <a:pt x="626" y="694"/>
                </a:cubicBezTo>
                <a:cubicBezTo>
                  <a:pt x="626" y="694"/>
                  <a:pt x="626" y="694"/>
                  <a:pt x="626" y="694"/>
                </a:cubicBezTo>
                <a:cubicBezTo>
                  <a:pt x="625" y="694"/>
                  <a:pt x="625" y="693"/>
                  <a:pt x="625" y="693"/>
                </a:cubicBezTo>
                <a:cubicBezTo>
                  <a:pt x="625" y="693"/>
                  <a:pt x="625" y="693"/>
                  <a:pt x="625" y="693"/>
                </a:cubicBezTo>
                <a:close/>
                <a:moveTo>
                  <a:pt x="627" y="699"/>
                </a:moveTo>
                <a:cubicBezTo>
                  <a:pt x="627" y="699"/>
                  <a:pt x="627" y="699"/>
                  <a:pt x="628" y="699"/>
                </a:cubicBezTo>
                <a:cubicBezTo>
                  <a:pt x="628" y="699"/>
                  <a:pt x="628" y="699"/>
                  <a:pt x="628" y="700"/>
                </a:cubicBezTo>
                <a:cubicBezTo>
                  <a:pt x="628" y="700"/>
                  <a:pt x="628" y="700"/>
                  <a:pt x="628" y="700"/>
                </a:cubicBezTo>
                <a:cubicBezTo>
                  <a:pt x="628" y="700"/>
                  <a:pt x="628" y="700"/>
                  <a:pt x="629" y="699"/>
                </a:cubicBezTo>
                <a:cubicBezTo>
                  <a:pt x="629" y="699"/>
                  <a:pt x="629" y="699"/>
                  <a:pt x="629" y="699"/>
                </a:cubicBezTo>
                <a:cubicBezTo>
                  <a:pt x="628" y="699"/>
                  <a:pt x="628" y="698"/>
                  <a:pt x="628" y="698"/>
                </a:cubicBezTo>
                <a:cubicBezTo>
                  <a:pt x="628" y="698"/>
                  <a:pt x="627" y="699"/>
                  <a:pt x="627" y="699"/>
                </a:cubicBezTo>
                <a:close/>
                <a:moveTo>
                  <a:pt x="619" y="673"/>
                </a:moveTo>
                <a:cubicBezTo>
                  <a:pt x="619" y="673"/>
                  <a:pt x="619" y="673"/>
                  <a:pt x="619" y="673"/>
                </a:cubicBezTo>
                <a:cubicBezTo>
                  <a:pt x="619" y="673"/>
                  <a:pt x="620" y="673"/>
                  <a:pt x="620" y="673"/>
                </a:cubicBezTo>
                <a:cubicBezTo>
                  <a:pt x="620" y="673"/>
                  <a:pt x="620" y="673"/>
                  <a:pt x="620" y="673"/>
                </a:cubicBezTo>
                <a:cubicBezTo>
                  <a:pt x="620" y="673"/>
                  <a:pt x="620" y="673"/>
                  <a:pt x="620" y="673"/>
                </a:cubicBezTo>
                <a:cubicBezTo>
                  <a:pt x="620" y="673"/>
                  <a:pt x="620" y="672"/>
                  <a:pt x="620" y="672"/>
                </a:cubicBezTo>
                <a:cubicBezTo>
                  <a:pt x="620" y="672"/>
                  <a:pt x="619" y="672"/>
                  <a:pt x="619" y="672"/>
                </a:cubicBezTo>
                <a:cubicBezTo>
                  <a:pt x="619" y="673"/>
                  <a:pt x="619" y="673"/>
                  <a:pt x="619" y="673"/>
                </a:cubicBezTo>
                <a:close/>
                <a:moveTo>
                  <a:pt x="623" y="674"/>
                </a:moveTo>
                <a:cubicBezTo>
                  <a:pt x="623" y="674"/>
                  <a:pt x="623" y="674"/>
                  <a:pt x="623" y="673"/>
                </a:cubicBezTo>
                <a:cubicBezTo>
                  <a:pt x="623" y="674"/>
                  <a:pt x="623" y="674"/>
                  <a:pt x="622" y="674"/>
                </a:cubicBezTo>
                <a:cubicBezTo>
                  <a:pt x="623" y="674"/>
                  <a:pt x="623" y="674"/>
                  <a:pt x="623" y="674"/>
                </a:cubicBezTo>
                <a:close/>
                <a:moveTo>
                  <a:pt x="621" y="679"/>
                </a:moveTo>
                <a:cubicBezTo>
                  <a:pt x="622" y="679"/>
                  <a:pt x="622" y="680"/>
                  <a:pt x="622" y="680"/>
                </a:cubicBezTo>
                <a:cubicBezTo>
                  <a:pt x="623" y="680"/>
                  <a:pt x="623" y="679"/>
                  <a:pt x="623" y="679"/>
                </a:cubicBezTo>
                <a:cubicBezTo>
                  <a:pt x="623" y="679"/>
                  <a:pt x="623" y="679"/>
                  <a:pt x="623" y="679"/>
                </a:cubicBezTo>
                <a:cubicBezTo>
                  <a:pt x="623" y="679"/>
                  <a:pt x="622" y="679"/>
                  <a:pt x="622" y="679"/>
                </a:cubicBezTo>
                <a:cubicBezTo>
                  <a:pt x="622" y="679"/>
                  <a:pt x="622" y="679"/>
                  <a:pt x="622" y="679"/>
                </a:cubicBezTo>
                <a:cubicBezTo>
                  <a:pt x="622" y="679"/>
                  <a:pt x="622" y="679"/>
                  <a:pt x="621" y="679"/>
                </a:cubicBezTo>
                <a:close/>
                <a:moveTo>
                  <a:pt x="631" y="704"/>
                </a:moveTo>
                <a:cubicBezTo>
                  <a:pt x="631" y="704"/>
                  <a:pt x="631" y="703"/>
                  <a:pt x="631" y="703"/>
                </a:cubicBezTo>
                <a:cubicBezTo>
                  <a:pt x="631" y="703"/>
                  <a:pt x="631" y="703"/>
                  <a:pt x="631" y="703"/>
                </a:cubicBezTo>
                <a:cubicBezTo>
                  <a:pt x="631" y="703"/>
                  <a:pt x="631" y="703"/>
                  <a:pt x="630" y="703"/>
                </a:cubicBezTo>
                <a:cubicBezTo>
                  <a:pt x="630" y="703"/>
                  <a:pt x="631" y="703"/>
                  <a:pt x="631" y="704"/>
                </a:cubicBezTo>
                <a:close/>
                <a:moveTo>
                  <a:pt x="620" y="672"/>
                </a:moveTo>
                <a:cubicBezTo>
                  <a:pt x="620" y="672"/>
                  <a:pt x="620" y="672"/>
                  <a:pt x="620" y="672"/>
                </a:cubicBezTo>
                <a:cubicBezTo>
                  <a:pt x="620" y="672"/>
                  <a:pt x="620" y="672"/>
                  <a:pt x="620" y="672"/>
                </a:cubicBezTo>
                <a:cubicBezTo>
                  <a:pt x="620" y="672"/>
                  <a:pt x="620" y="672"/>
                  <a:pt x="620" y="672"/>
                </a:cubicBezTo>
                <a:cubicBezTo>
                  <a:pt x="620" y="672"/>
                  <a:pt x="620" y="672"/>
                  <a:pt x="620" y="672"/>
                </a:cubicBezTo>
                <a:close/>
                <a:moveTo>
                  <a:pt x="634" y="703"/>
                </a:moveTo>
                <a:cubicBezTo>
                  <a:pt x="635" y="703"/>
                  <a:pt x="635" y="704"/>
                  <a:pt x="635" y="704"/>
                </a:cubicBezTo>
                <a:cubicBezTo>
                  <a:pt x="635" y="704"/>
                  <a:pt x="635" y="703"/>
                  <a:pt x="635" y="703"/>
                </a:cubicBezTo>
                <a:cubicBezTo>
                  <a:pt x="635" y="703"/>
                  <a:pt x="634" y="702"/>
                  <a:pt x="634" y="702"/>
                </a:cubicBezTo>
                <a:cubicBezTo>
                  <a:pt x="634" y="702"/>
                  <a:pt x="634" y="702"/>
                  <a:pt x="634" y="702"/>
                </a:cubicBezTo>
                <a:cubicBezTo>
                  <a:pt x="633" y="702"/>
                  <a:pt x="633" y="702"/>
                  <a:pt x="633" y="702"/>
                </a:cubicBezTo>
                <a:cubicBezTo>
                  <a:pt x="633" y="702"/>
                  <a:pt x="633" y="702"/>
                  <a:pt x="633" y="702"/>
                </a:cubicBezTo>
                <a:cubicBezTo>
                  <a:pt x="633" y="702"/>
                  <a:pt x="633" y="702"/>
                  <a:pt x="633" y="702"/>
                </a:cubicBezTo>
                <a:cubicBezTo>
                  <a:pt x="633" y="703"/>
                  <a:pt x="633" y="703"/>
                  <a:pt x="633" y="703"/>
                </a:cubicBezTo>
                <a:cubicBezTo>
                  <a:pt x="634" y="703"/>
                  <a:pt x="634" y="703"/>
                  <a:pt x="634" y="703"/>
                </a:cubicBezTo>
                <a:close/>
                <a:moveTo>
                  <a:pt x="621" y="676"/>
                </a:moveTo>
                <a:cubicBezTo>
                  <a:pt x="621" y="676"/>
                  <a:pt x="622" y="676"/>
                  <a:pt x="622" y="677"/>
                </a:cubicBezTo>
                <a:cubicBezTo>
                  <a:pt x="622" y="676"/>
                  <a:pt x="622" y="676"/>
                  <a:pt x="623" y="676"/>
                </a:cubicBezTo>
                <a:cubicBezTo>
                  <a:pt x="623" y="676"/>
                  <a:pt x="623" y="676"/>
                  <a:pt x="623" y="676"/>
                </a:cubicBezTo>
                <a:cubicBezTo>
                  <a:pt x="623" y="676"/>
                  <a:pt x="622" y="676"/>
                  <a:pt x="622" y="676"/>
                </a:cubicBezTo>
                <a:cubicBezTo>
                  <a:pt x="622" y="676"/>
                  <a:pt x="622" y="676"/>
                  <a:pt x="621" y="676"/>
                </a:cubicBezTo>
                <a:close/>
                <a:moveTo>
                  <a:pt x="632" y="698"/>
                </a:moveTo>
                <a:cubicBezTo>
                  <a:pt x="632" y="698"/>
                  <a:pt x="632" y="698"/>
                  <a:pt x="631" y="698"/>
                </a:cubicBezTo>
                <a:cubicBezTo>
                  <a:pt x="631" y="698"/>
                  <a:pt x="631" y="697"/>
                  <a:pt x="631" y="697"/>
                </a:cubicBezTo>
                <a:cubicBezTo>
                  <a:pt x="631" y="697"/>
                  <a:pt x="631" y="696"/>
                  <a:pt x="631" y="696"/>
                </a:cubicBezTo>
                <a:cubicBezTo>
                  <a:pt x="631" y="696"/>
                  <a:pt x="631" y="696"/>
                  <a:pt x="630" y="695"/>
                </a:cubicBezTo>
                <a:cubicBezTo>
                  <a:pt x="630" y="695"/>
                  <a:pt x="630" y="694"/>
                  <a:pt x="630" y="694"/>
                </a:cubicBezTo>
                <a:cubicBezTo>
                  <a:pt x="629" y="694"/>
                  <a:pt x="629" y="694"/>
                  <a:pt x="629" y="694"/>
                </a:cubicBezTo>
                <a:cubicBezTo>
                  <a:pt x="629" y="694"/>
                  <a:pt x="628" y="694"/>
                  <a:pt x="628" y="694"/>
                </a:cubicBezTo>
                <a:cubicBezTo>
                  <a:pt x="628" y="694"/>
                  <a:pt x="627" y="694"/>
                  <a:pt x="627" y="694"/>
                </a:cubicBezTo>
                <a:cubicBezTo>
                  <a:pt x="627" y="695"/>
                  <a:pt x="628" y="695"/>
                  <a:pt x="628" y="695"/>
                </a:cubicBezTo>
                <a:cubicBezTo>
                  <a:pt x="628" y="695"/>
                  <a:pt x="628" y="695"/>
                  <a:pt x="628" y="695"/>
                </a:cubicBezTo>
                <a:cubicBezTo>
                  <a:pt x="628" y="696"/>
                  <a:pt x="628" y="696"/>
                  <a:pt x="628" y="696"/>
                </a:cubicBezTo>
                <a:cubicBezTo>
                  <a:pt x="628" y="696"/>
                  <a:pt x="628" y="696"/>
                  <a:pt x="628" y="697"/>
                </a:cubicBezTo>
                <a:cubicBezTo>
                  <a:pt x="628" y="696"/>
                  <a:pt x="629" y="696"/>
                  <a:pt x="629" y="696"/>
                </a:cubicBezTo>
                <a:cubicBezTo>
                  <a:pt x="629" y="696"/>
                  <a:pt x="629" y="696"/>
                  <a:pt x="629" y="696"/>
                </a:cubicBezTo>
                <a:cubicBezTo>
                  <a:pt x="629" y="696"/>
                  <a:pt x="629" y="696"/>
                  <a:pt x="629" y="696"/>
                </a:cubicBezTo>
                <a:cubicBezTo>
                  <a:pt x="629" y="697"/>
                  <a:pt x="629" y="697"/>
                  <a:pt x="628" y="697"/>
                </a:cubicBezTo>
                <a:cubicBezTo>
                  <a:pt x="628" y="697"/>
                  <a:pt x="628" y="697"/>
                  <a:pt x="628" y="697"/>
                </a:cubicBezTo>
                <a:cubicBezTo>
                  <a:pt x="628" y="698"/>
                  <a:pt x="628" y="698"/>
                  <a:pt x="629" y="699"/>
                </a:cubicBezTo>
                <a:cubicBezTo>
                  <a:pt x="629" y="699"/>
                  <a:pt x="629" y="699"/>
                  <a:pt x="629" y="699"/>
                </a:cubicBezTo>
                <a:cubicBezTo>
                  <a:pt x="630" y="699"/>
                  <a:pt x="630" y="700"/>
                  <a:pt x="630" y="700"/>
                </a:cubicBezTo>
                <a:cubicBezTo>
                  <a:pt x="630" y="700"/>
                  <a:pt x="630" y="700"/>
                  <a:pt x="631" y="699"/>
                </a:cubicBezTo>
                <a:cubicBezTo>
                  <a:pt x="631" y="699"/>
                  <a:pt x="631" y="699"/>
                  <a:pt x="631" y="699"/>
                </a:cubicBezTo>
                <a:cubicBezTo>
                  <a:pt x="631" y="699"/>
                  <a:pt x="631" y="699"/>
                  <a:pt x="631" y="699"/>
                </a:cubicBezTo>
                <a:cubicBezTo>
                  <a:pt x="631" y="699"/>
                  <a:pt x="631" y="700"/>
                  <a:pt x="631" y="700"/>
                </a:cubicBezTo>
                <a:cubicBezTo>
                  <a:pt x="631" y="700"/>
                  <a:pt x="632" y="700"/>
                  <a:pt x="632" y="700"/>
                </a:cubicBezTo>
                <a:cubicBezTo>
                  <a:pt x="632" y="700"/>
                  <a:pt x="632" y="700"/>
                  <a:pt x="632" y="700"/>
                </a:cubicBezTo>
                <a:cubicBezTo>
                  <a:pt x="632" y="699"/>
                  <a:pt x="632" y="699"/>
                  <a:pt x="632" y="698"/>
                </a:cubicBezTo>
                <a:close/>
                <a:moveTo>
                  <a:pt x="634" y="705"/>
                </a:moveTo>
                <a:cubicBezTo>
                  <a:pt x="635" y="705"/>
                  <a:pt x="635" y="705"/>
                  <a:pt x="635" y="705"/>
                </a:cubicBezTo>
                <a:cubicBezTo>
                  <a:pt x="635" y="705"/>
                  <a:pt x="635" y="705"/>
                  <a:pt x="635" y="705"/>
                </a:cubicBezTo>
                <a:cubicBezTo>
                  <a:pt x="635" y="704"/>
                  <a:pt x="635" y="704"/>
                  <a:pt x="634" y="704"/>
                </a:cubicBezTo>
                <a:cubicBezTo>
                  <a:pt x="634" y="704"/>
                  <a:pt x="634" y="704"/>
                  <a:pt x="633" y="703"/>
                </a:cubicBezTo>
                <a:cubicBezTo>
                  <a:pt x="633" y="703"/>
                  <a:pt x="633" y="704"/>
                  <a:pt x="633" y="704"/>
                </a:cubicBezTo>
                <a:cubicBezTo>
                  <a:pt x="633" y="704"/>
                  <a:pt x="633" y="704"/>
                  <a:pt x="633" y="704"/>
                </a:cubicBezTo>
                <a:cubicBezTo>
                  <a:pt x="634" y="705"/>
                  <a:pt x="634" y="705"/>
                  <a:pt x="634" y="705"/>
                </a:cubicBezTo>
                <a:close/>
                <a:moveTo>
                  <a:pt x="624" y="678"/>
                </a:moveTo>
                <a:cubicBezTo>
                  <a:pt x="624" y="678"/>
                  <a:pt x="623" y="678"/>
                  <a:pt x="623" y="679"/>
                </a:cubicBezTo>
                <a:cubicBezTo>
                  <a:pt x="623" y="679"/>
                  <a:pt x="623" y="679"/>
                  <a:pt x="624" y="679"/>
                </a:cubicBezTo>
                <a:cubicBezTo>
                  <a:pt x="624" y="679"/>
                  <a:pt x="624" y="679"/>
                  <a:pt x="624" y="678"/>
                </a:cubicBezTo>
                <a:close/>
                <a:moveTo>
                  <a:pt x="621" y="679"/>
                </a:moveTo>
                <a:cubicBezTo>
                  <a:pt x="621" y="680"/>
                  <a:pt x="621" y="680"/>
                  <a:pt x="621" y="680"/>
                </a:cubicBezTo>
                <a:cubicBezTo>
                  <a:pt x="621" y="680"/>
                  <a:pt x="621" y="680"/>
                  <a:pt x="621" y="680"/>
                </a:cubicBezTo>
                <a:cubicBezTo>
                  <a:pt x="621" y="680"/>
                  <a:pt x="621" y="679"/>
                  <a:pt x="621" y="679"/>
                </a:cubicBezTo>
                <a:cubicBezTo>
                  <a:pt x="621" y="679"/>
                  <a:pt x="621" y="679"/>
                  <a:pt x="621" y="679"/>
                </a:cubicBezTo>
                <a:close/>
                <a:moveTo>
                  <a:pt x="620" y="675"/>
                </a:moveTo>
                <a:cubicBezTo>
                  <a:pt x="620" y="675"/>
                  <a:pt x="620" y="674"/>
                  <a:pt x="620" y="674"/>
                </a:cubicBezTo>
                <a:cubicBezTo>
                  <a:pt x="620" y="674"/>
                  <a:pt x="621" y="674"/>
                  <a:pt x="621" y="674"/>
                </a:cubicBezTo>
                <a:cubicBezTo>
                  <a:pt x="621" y="674"/>
                  <a:pt x="620" y="674"/>
                  <a:pt x="620" y="674"/>
                </a:cubicBezTo>
                <a:cubicBezTo>
                  <a:pt x="620" y="674"/>
                  <a:pt x="620" y="674"/>
                  <a:pt x="619" y="674"/>
                </a:cubicBezTo>
                <a:cubicBezTo>
                  <a:pt x="619" y="674"/>
                  <a:pt x="620" y="674"/>
                  <a:pt x="620" y="674"/>
                </a:cubicBezTo>
                <a:cubicBezTo>
                  <a:pt x="620" y="674"/>
                  <a:pt x="620" y="674"/>
                  <a:pt x="620" y="675"/>
                </a:cubicBezTo>
                <a:close/>
                <a:moveTo>
                  <a:pt x="618" y="670"/>
                </a:moveTo>
                <a:cubicBezTo>
                  <a:pt x="618" y="670"/>
                  <a:pt x="618" y="670"/>
                  <a:pt x="617" y="670"/>
                </a:cubicBezTo>
                <a:cubicBezTo>
                  <a:pt x="617" y="670"/>
                  <a:pt x="617" y="670"/>
                  <a:pt x="617" y="670"/>
                </a:cubicBezTo>
                <a:cubicBezTo>
                  <a:pt x="617" y="670"/>
                  <a:pt x="617" y="671"/>
                  <a:pt x="617" y="671"/>
                </a:cubicBezTo>
                <a:cubicBezTo>
                  <a:pt x="617" y="671"/>
                  <a:pt x="617" y="671"/>
                  <a:pt x="617" y="671"/>
                </a:cubicBezTo>
                <a:cubicBezTo>
                  <a:pt x="617" y="671"/>
                  <a:pt x="618" y="671"/>
                  <a:pt x="618" y="670"/>
                </a:cubicBezTo>
                <a:close/>
                <a:moveTo>
                  <a:pt x="619" y="670"/>
                </a:moveTo>
                <a:cubicBezTo>
                  <a:pt x="619" y="670"/>
                  <a:pt x="619" y="671"/>
                  <a:pt x="619" y="671"/>
                </a:cubicBezTo>
                <a:cubicBezTo>
                  <a:pt x="619" y="671"/>
                  <a:pt x="620" y="671"/>
                  <a:pt x="620" y="671"/>
                </a:cubicBezTo>
                <a:cubicBezTo>
                  <a:pt x="620" y="671"/>
                  <a:pt x="620" y="671"/>
                  <a:pt x="621" y="670"/>
                </a:cubicBezTo>
                <a:cubicBezTo>
                  <a:pt x="620" y="670"/>
                  <a:pt x="620" y="670"/>
                  <a:pt x="619" y="670"/>
                </a:cubicBezTo>
                <a:close/>
                <a:moveTo>
                  <a:pt x="617" y="676"/>
                </a:moveTo>
                <a:cubicBezTo>
                  <a:pt x="617" y="676"/>
                  <a:pt x="617" y="676"/>
                  <a:pt x="617" y="676"/>
                </a:cubicBezTo>
                <a:cubicBezTo>
                  <a:pt x="618" y="676"/>
                  <a:pt x="618" y="676"/>
                  <a:pt x="618" y="676"/>
                </a:cubicBezTo>
                <a:cubicBezTo>
                  <a:pt x="618" y="676"/>
                  <a:pt x="618" y="676"/>
                  <a:pt x="618" y="676"/>
                </a:cubicBezTo>
                <a:cubicBezTo>
                  <a:pt x="618" y="676"/>
                  <a:pt x="618" y="676"/>
                  <a:pt x="618" y="675"/>
                </a:cubicBezTo>
                <a:cubicBezTo>
                  <a:pt x="618" y="675"/>
                  <a:pt x="617" y="676"/>
                  <a:pt x="617" y="676"/>
                </a:cubicBezTo>
                <a:close/>
                <a:moveTo>
                  <a:pt x="618" y="675"/>
                </a:moveTo>
                <a:cubicBezTo>
                  <a:pt x="619" y="675"/>
                  <a:pt x="619" y="675"/>
                  <a:pt x="619" y="675"/>
                </a:cubicBezTo>
                <a:cubicBezTo>
                  <a:pt x="619" y="675"/>
                  <a:pt x="619" y="675"/>
                  <a:pt x="619" y="675"/>
                </a:cubicBezTo>
                <a:cubicBezTo>
                  <a:pt x="619" y="675"/>
                  <a:pt x="619" y="674"/>
                  <a:pt x="619" y="674"/>
                </a:cubicBezTo>
                <a:cubicBezTo>
                  <a:pt x="619" y="675"/>
                  <a:pt x="619" y="675"/>
                  <a:pt x="618" y="675"/>
                </a:cubicBezTo>
                <a:close/>
                <a:moveTo>
                  <a:pt x="622" y="670"/>
                </a:moveTo>
                <a:cubicBezTo>
                  <a:pt x="622" y="670"/>
                  <a:pt x="621" y="670"/>
                  <a:pt x="621" y="670"/>
                </a:cubicBezTo>
                <a:cubicBezTo>
                  <a:pt x="621" y="671"/>
                  <a:pt x="621" y="671"/>
                  <a:pt x="621" y="671"/>
                </a:cubicBezTo>
                <a:cubicBezTo>
                  <a:pt x="621" y="671"/>
                  <a:pt x="621" y="671"/>
                  <a:pt x="622" y="671"/>
                </a:cubicBezTo>
                <a:cubicBezTo>
                  <a:pt x="622" y="671"/>
                  <a:pt x="622" y="671"/>
                  <a:pt x="622" y="671"/>
                </a:cubicBezTo>
                <a:cubicBezTo>
                  <a:pt x="622" y="671"/>
                  <a:pt x="622" y="671"/>
                  <a:pt x="622" y="671"/>
                </a:cubicBezTo>
                <a:cubicBezTo>
                  <a:pt x="622" y="671"/>
                  <a:pt x="622" y="671"/>
                  <a:pt x="622" y="670"/>
                </a:cubicBezTo>
                <a:close/>
                <a:moveTo>
                  <a:pt x="622" y="674"/>
                </a:moveTo>
                <a:cubicBezTo>
                  <a:pt x="622" y="674"/>
                  <a:pt x="622" y="673"/>
                  <a:pt x="622" y="673"/>
                </a:cubicBezTo>
                <a:cubicBezTo>
                  <a:pt x="622" y="673"/>
                  <a:pt x="621" y="673"/>
                  <a:pt x="621" y="673"/>
                </a:cubicBezTo>
                <a:cubicBezTo>
                  <a:pt x="621" y="673"/>
                  <a:pt x="622" y="674"/>
                  <a:pt x="622" y="674"/>
                </a:cubicBezTo>
                <a:close/>
                <a:moveTo>
                  <a:pt x="623" y="678"/>
                </a:moveTo>
                <a:cubicBezTo>
                  <a:pt x="622" y="678"/>
                  <a:pt x="622" y="678"/>
                  <a:pt x="622" y="678"/>
                </a:cubicBezTo>
                <a:cubicBezTo>
                  <a:pt x="622" y="678"/>
                  <a:pt x="622" y="678"/>
                  <a:pt x="623" y="678"/>
                </a:cubicBezTo>
                <a:cubicBezTo>
                  <a:pt x="623" y="678"/>
                  <a:pt x="623" y="678"/>
                  <a:pt x="623" y="678"/>
                </a:cubicBezTo>
                <a:close/>
                <a:moveTo>
                  <a:pt x="628" y="693"/>
                </a:moveTo>
                <a:cubicBezTo>
                  <a:pt x="628" y="693"/>
                  <a:pt x="628" y="693"/>
                  <a:pt x="628" y="693"/>
                </a:cubicBezTo>
                <a:cubicBezTo>
                  <a:pt x="629" y="693"/>
                  <a:pt x="629" y="693"/>
                  <a:pt x="629" y="693"/>
                </a:cubicBezTo>
                <a:cubicBezTo>
                  <a:pt x="629" y="693"/>
                  <a:pt x="629" y="692"/>
                  <a:pt x="628" y="692"/>
                </a:cubicBezTo>
                <a:cubicBezTo>
                  <a:pt x="628" y="692"/>
                  <a:pt x="628" y="692"/>
                  <a:pt x="628" y="692"/>
                </a:cubicBezTo>
                <a:cubicBezTo>
                  <a:pt x="628" y="691"/>
                  <a:pt x="628" y="691"/>
                  <a:pt x="627" y="691"/>
                </a:cubicBezTo>
                <a:cubicBezTo>
                  <a:pt x="627" y="691"/>
                  <a:pt x="627" y="691"/>
                  <a:pt x="627" y="691"/>
                </a:cubicBezTo>
                <a:cubicBezTo>
                  <a:pt x="626" y="690"/>
                  <a:pt x="626" y="690"/>
                  <a:pt x="626" y="690"/>
                </a:cubicBezTo>
                <a:cubicBezTo>
                  <a:pt x="626" y="690"/>
                  <a:pt x="626" y="690"/>
                  <a:pt x="626" y="690"/>
                </a:cubicBezTo>
                <a:cubicBezTo>
                  <a:pt x="625" y="690"/>
                  <a:pt x="625" y="690"/>
                  <a:pt x="625" y="690"/>
                </a:cubicBezTo>
                <a:cubicBezTo>
                  <a:pt x="625" y="690"/>
                  <a:pt x="625" y="691"/>
                  <a:pt x="625" y="691"/>
                </a:cubicBezTo>
                <a:cubicBezTo>
                  <a:pt x="625" y="691"/>
                  <a:pt x="625" y="691"/>
                  <a:pt x="626" y="691"/>
                </a:cubicBezTo>
                <a:cubicBezTo>
                  <a:pt x="626" y="691"/>
                  <a:pt x="627" y="692"/>
                  <a:pt x="627" y="692"/>
                </a:cubicBezTo>
                <a:cubicBezTo>
                  <a:pt x="627" y="692"/>
                  <a:pt x="627" y="692"/>
                  <a:pt x="627" y="692"/>
                </a:cubicBezTo>
                <a:cubicBezTo>
                  <a:pt x="627" y="692"/>
                  <a:pt x="627" y="692"/>
                  <a:pt x="628" y="692"/>
                </a:cubicBezTo>
                <a:cubicBezTo>
                  <a:pt x="627" y="692"/>
                  <a:pt x="627" y="692"/>
                  <a:pt x="627" y="693"/>
                </a:cubicBezTo>
                <a:cubicBezTo>
                  <a:pt x="627" y="693"/>
                  <a:pt x="627" y="693"/>
                  <a:pt x="628" y="693"/>
                </a:cubicBezTo>
                <a:close/>
                <a:moveTo>
                  <a:pt x="626" y="694"/>
                </a:moveTo>
                <a:cubicBezTo>
                  <a:pt x="626" y="694"/>
                  <a:pt x="627" y="694"/>
                  <a:pt x="627" y="694"/>
                </a:cubicBezTo>
                <a:cubicBezTo>
                  <a:pt x="627" y="694"/>
                  <a:pt x="627" y="694"/>
                  <a:pt x="627" y="694"/>
                </a:cubicBezTo>
                <a:cubicBezTo>
                  <a:pt x="627" y="694"/>
                  <a:pt x="627" y="693"/>
                  <a:pt x="627" y="693"/>
                </a:cubicBezTo>
                <a:cubicBezTo>
                  <a:pt x="627" y="693"/>
                  <a:pt x="626" y="693"/>
                  <a:pt x="626" y="692"/>
                </a:cubicBezTo>
                <a:cubicBezTo>
                  <a:pt x="626" y="692"/>
                  <a:pt x="625" y="692"/>
                  <a:pt x="625" y="691"/>
                </a:cubicBezTo>
                <a:cubicBezTo>
                  <a:pt x="624" y="691"/>
                  <a:pt x="624" y="691"/>
                  <a:pt x="624" y="691"/>
                </a:cubicBezTo>
                <a:cubicBezTo>
                  <a:pt x="624" y="691"/>
                  <a:pt x="624" y="691"/>
                  <a:pt x="624" y="691"/>
                </a:cubicBezTo>
                <a:cubicBezTo>
                  <a:pt x="624" y="692"/>
                  <a:pt x="624" y="692"/>
                  <a:pt x="624" y="692"/>
                </a:cubicBezTo>
                <a:cubicBezTo>
                  <a:pt x="624" y="692"/>
                  <a:pt x="624" y="692"/>
                  <a:pt x="624" y="693"/>
                </a:cubicBezTo>
                <a:cubicBezTo>
                  <a:pt x="624" y="693"/>
                  <a:pt x="625" y="693"/>
                  <a:pt x="625" y="693"/>
                </a:cubicBezTo>
                <a:cubicBezTo>
                  <a:pt x="625" y="693"/>
                  <a:pt x="625" y="693"/>
                  <a:pt x="626" y="693"/>
                </a:cubicBezTo>
                <a:cubicBezTo>
                  <a:pt x="626" y="693"/>
                  <a:pt x="626" y="693"/>
                  <a:pt x="626" y="693"/>
                </a:cubicBezTo>
                <a:cubicBezTo>
                  <a:pt x="626" y="694"/>
                  <a:pt x="626" y="694"/>
                  <a:pt x="626" y="694"/>
                </a:cubicBezTo>
                <a:close/>
                <a:moveTo>
                  <a:pt x="632" y="703"/>
                </a:moveTo>
                <a:cubicBezTo>
                  <a:pt x="632" y="703"/>
                  <a:pt x="632" y="703"/>
                  <a:pt x="632" y="703"/>
                </a:cubicBezTo>
                <a:cubicBezTo>
                  <a:pt x="632" y="704"/>
                  <a:pt x="632" y="704"/>
                  <a:pt x="632" y="704"/>
                </a:cubicBezTo>
                <a:cubicBezTo>
                  <a:pt x="632" y="704"/>
                  <a:pt x="632" y="704"/>
                  <a:pt x="633" y="704"/>
                </a:cubicBezTo>
                <a:cubicBezTo>
                  <a:pt x="632" y="704"/>
                  <a:pt x="632" y="703"/>
                  <a:pt x="632" y="703"/>
                </a:cubicBezTo>
                <a:cubicBezTo>
                  <a:pt x="632" y="703"/>
                  <a:pt x="632" y="703"/>
                  <a:pt x="632" y="703"/>
                </a:cubicBezTo>
                <a:close/>
                <a:moveTo>
                  <a:pt x="642" y="717"/>
                </a:moveTo>
                <a:cubicBezTo>
                  <a:pt x="643" y="717"/>
                  <a:pt x="643" y="717"/>
                  <a:pt x="643" y="717"/>
                </a:cubicBezTo>
                <a:cubicBezTo>
                  <a:pt x="643" y="717"/>
                  <a:pt x="643" y="717"/>
                  <a:pt x="643" y="717"/>
                </a:cubicBezTo>
                <a:cubicBezTo>
                  <a:pt x="642" y="717"/>
                  <a:pt x="642" y="717"/>
                  <a:pt x="642" y="717"/>
                </a:cubicBezTo>
                <a:close/>
                <a:moveTo>
                  <a:pt x="639" y="708"/>
                </a:moveTo>
                <a:cubicBezTo>
                  <a:pt x="639" y="707"/>
                  <a:pt x="638" y="707"/>
                  <a:pt x="638" y="707"/>
                </a:cubicBezTo>
                <a:cubicBezTo>
                  <a:pt x="638" y="707"/>
                  <a:pt x="638" y="707"/>
                  <a:pt x="638" y="707"/>
                </a:cubicBezTo>
                <a:cubicBezTo>
                  <a:pt x="638" y="707"/>
                  <a:pt x="638" y="708"/>
                  <a:pt x="638" y="708"/>
                </a:cubicBezTo>
                <a:cubicBezTo>
                  <a:pt x="638" y="708"/>
                  <a:pt x="638" y="708"/>
                  <a:pt x="639" y="708"/>
                </a:cubicBezTo>
                <a:cubicBezTo>
                  <a:pt x="639" y="709"/>
                  <a:pt x="639" y="709"/>
                  <a:pt x="640" y="709"/>
                </a:cubicBezTo>
                <a:cubicBezTo>
                  <a:pt x="640" y="709"/>
                  <a:pt x="640" y="709"/>
                  <a:pt x="640" y="709"/>
                </a:cubicBezTo>
                <a:cubicBezTo>
                  <a:pt x="640" y="708"/>
                  <a:pt x="640" y="708"/>
                  <a:pt x="640" y="708"/>
                </a:cubicBezTo>
                <a:cubicBezTo>
                  <a:pt x="639" y="708"/>
                  <a:pt x="639" y="708"/>
                  <a:pt x="639" y="708"/>
                </a:cubicBezTo>
                <a:close/>
                <a:moveTo>
                  <a:pt x="639" y="709"/>
                </a:moveTo>
                <a:cubicBezTo>
                  <a:pt x="639" y="710"/>
                  <a:pt x="640" y="710"/>
                  <a:pt x="640" y="710"/>
                </a:cubicBezTo>
                <a:cubicBezTo>
                  <a:pt x="640" y="710"/>
                  <a:pt x="640" y="710"/>
                  <a:pt x="640" y="710"/>
                </a:cubicBezTo>
                <a:cubicBezTo>
                  <a:pt x="640" y="710"/>
                  <a:pt x="640" y="709"/>
                  <a:pt x="640" y="709"/>
                </a:cubicBezTo>
                <a:cubicBezTo>
                  <a:pt x="640" y="709"/>
                  <a:pt x="639" y="709"/>
                  <a:pt x="639" y="709"/>
                </a:cubicBezTo>
                <a:cubicBezTo>
                  <a:pt x="639" y="709"/>
                  <a:pt x="639" y="709"/>
                  <a:pt x="639" y="709"/>
                </a:cubicBezTo>
                <a:close/>
                <a:moveTo>
                  <a:pt x="646" y="716"/>
                </a:moveTo>
                <a:cubicBezTo>
                  <a:pt x="646" y="716"/>
                  <a:pt x="646" y="716"/>
                  <a:pt x="647" y="716"/>
                </a:cubicBezTo>
                <a:cubicBezTo>
                  <a:pt x="647" y="715"/>
                  <a:pt x="647" y="715"/>
                  <a:pt x="647" y="715"/>
                </a:cubicBezTo>
                <a:cubicBezTo>
                  <a:pt x="647" y="715"/>
                  <a:pt x="647" y="715"/>
                  <a:pt x="646" y="715"/>
                </a:cubicBezTo>
                <a:cubicBezTo>
                  <a:pt x="646" y="715"/>
                  <a:pt x="646" y="715"/>
                  <a:pt x="646" y="715"/>
                </a:cubicBezTo>
                <a:cubicBezTo>
                  <a:pt x="646" y="715"/>
                  <a:pt x="645" y="715"/>
                  <a:pt x="645" y="715"/>
                </a:cubicBezTo>
                <a:cubicBezTo>
                  <a:pt x="645" y="715"/>
                  <a:pt x="645" y="715"/>
                  <a:pt x="645" y="715"/>
                </a:cubicBezTo>
                <a:cubicBezTo>
                  <a:pt x="644" y="715"/>
                  <a:pt x="644" y="715"/>
                  <a:pt x="644" y="715"/>
                </a:cubicBezTo>
                <a:cubicBezTo>
                  <a:pt x="644" y="715"/>
                  <a:pt x="643" y="715"/>
                  <a:pt x="643" y="715"/>
                </a:cubicBezTo>
                <a:cubicBezTo>
                  <a:pt x="643" y="715"/>
                  <a:pt x="643" y="715"/>
                  <a:pt x="642" y="714"/>
                </a:cubicBezTo>
                <a:cubicBezTo>
                  <a:pt x="642" y="715"/>
                  <a:pt x="642" y="715"/>
                  <a:pt x="642" y="715"/>
                </a:cubicBezTo>
                <a:cubicBezTo>
                  <a:pt x="641" y="715"/>
                  <a:pt x="641" y="714"/>
                  <a:pt x="641" y="714"/>
                </a:cubicBezTo>
                <a:cubicBezTo>
                  <a:pt x="641" y="714"/>
                  <a:pt x="640" y="714"/>
                  <a:pt x="640" y="714"/>
                </a:cubicBezTo>
                <a:cubicBezTo>
                  <a:pt x="640" y="714"/>
                  <a:pt x="640" y="714"/>
                  <a:pt x="639" y="714"/>
                </a:cubicBezTo>
                <a:cubicBezTo>
                  <a:pt x="639" y="714"/>
                  <a:pt x="639" y="714"/>
                  <a:pt x="639" y="714"/>
                </a:cubicBezTo>
                <a:cubicBezTo>
                  <a:pt x="639" y="714"/>
                  <a:pt x="640" y="714"/>
                  <a:pt x="640" y="715"/>
                </a:cubicBezTo>
                <a:cubicBezTo>
                  <a:pt x="640" y="715"/>
                  <a:pt x="640" y="715"/>
                  <a:pt x="640" y="715"/>
                </a:cubicBezTo>
                <a:cubicBezTo>
                  <a:pt x="641" y="715"/>
                  <a:pt x="641" y="715"/>
                  <a:pt x="641" y="715"/>
                </a:cubicBezTo>
                <a:cubicBezTo>
                  <a:pt x="642" y="715"/>
                  <a:pt x="642" y="715"/>
                  <a:pt x="643" y="715"/>
                </a:cubicBezTo>
                <a:cubicBezTo>
                  <a:pt x="643" y="716"/>
                  <a:pt x="643" y="716"/>
                  <a:pt x="643" y="716"/>
                </a:cubicBezTo>
                <a:cubicBezTo>
                  <a:pt x="643" y="716"/>
                  <a:pt x="643" y="716"/>
                  <a:pt x="644" y="716"/>
                </a:cubicBezTo>
                <a:cubicBezTo>
                  <a:pt x="644" y="716"/>
                  <a:pt x="644" y="716"/>
                  <a:pt x="644" y="716"/>
                </a:cubicBezTo>
                <a:cubicBezTo>
                  <a:pt x="644" y="716"/>
                  <a:pt x="645" y="716"/>
                  <a:pt x="645" y="716"/>
                </a:cubicBezTo>
                <a:cubicBezTo>
                  <a:pt x="645" y="716"/>
                  <a:pt x="646" y="716"/>
                  <a:pt x="646" y="716"/>
                </a:cubicBezTo>
                <a:close/>
                <a:moveTo>
                  <a:pt x="637" y="710"/>
                </a:moveTo>
                <a:cubicBezTo>
                  <a:pt x="637" y="710"/>
                  <a:pt x="637" y="711"/>
                  <a:pt x="638" y="711"/>
                </a:cubicBezTo>
                <a:cubicBezTo>
                  <a:pt x="637" y="711"/>
                  <a:pt x="637" y="711"/>
                  <a:pt x="637" y="711"/>
                </a:cubicBezTo>
                <a:cubicBezTo>
                  <a:pt x="637" y="711"/>
                  <a:pt x="637" y="711"/>
                  <a:pt x="637" y="711"/>
                </a:cubicBezTo>
                <a:cubicBezTo>
                  <a:pt x="638" y="711"/>
                  <a:pt x="638" y="711"/>
                  <a:pt x="638" y="711"/>
                </a:cubicBezTo>
                <a:cubicBezTo>
                  <a:pt x="638" y="711"/>
                  <a:pt x="638" y="710"/>
                  <a:pt x="638" y="710"/>
                </a:cubicBezTo>
                <a:cubicBezTo>
                  <a:pt x="638" y="710"/>
                  <a:pt x="638" y="710"/>
                  <a:pt x="638" y="710"/>
                </a:cubicBezTo>
                <a:cubicBezTo>
                  <a:pt x="638" y="710"/>
                  <a:pt x="637" y="710"/>
                  <a:pt x="637" y="710"/>
                </a:cubicBezTo>
                <a:close/>
                <a:moveTo>
                  <a:pt x="638" y="709"/>
                </a:moveTo>
                <a:cubicBezTo>
                  <a:pt x="638" y="709"/>
                  <a:pt x="638" y="709"/>
                  <a:pt x="638" y="709"/>
                </a:cubicBezTo>
                <a:cubicBezTo>
                  <a:pt x="638" y="709"/>
                  <a:pt x="638" y="709"/>
                  <a:pt x="639" y="709"/>
                </a:cubicBezTo>
                <a:cubicBezTo>
                  <a:pt x="639" y="709"/>
                  <a:pt x="639" y="709"/>
                  <a:pt x="639" y="709"/>
                </a:cubicBezTo>
                <a:cubicBezTo>
                  <a:pt x="639" y="709"/>
                  <a:pt x="639" y="709"/>
                  <a:pt x="638" y="709"/>
                </a:cubicBezTo>
                <a:cubicBezTo>
                  <a:pt x="638" y="709"/>
                  <a:pt x="638" y="709"/>
                  <a:pt x="638" y="709"/>
                </a:cubicBezTo>
                <a:close/>
                <a:moveTo>
                  <a:pt x="641" y="711"/>
                </a:moveTo>
                <a:cubicBezTo>
                  <a:pt x="641" y="711"/>
                  <a:pt x="641" y="711"/>
                  <a:pt x="641" y="711"/>
                </a:cubicBezTo>
                <a:cubicBezTo>
                  <a:pt x="641" y="711"/>
                  <a:pt x="641" y="711"/>
                  <a:pt x="641" y="710"/>
                </a:cubicBezTo>
                <a:cubicBezTo>
                  <a:pt x="640" y="710"/>
                  <a:pt x="640" y="710"/>
                  <a:pt x="639" y="710"/>
                </a:cubicBezTo>
                <a:cubicBezTo>
                  <a:pt x="639" y="710"/>
                  <a:pt x="639" y="710"/>
                  <a:pt x="639" y="710"/>
                </a:cubicBezTo>
                <a:cubicBezTo>
                  <a:pt x="639" y="710"/>
                  <a:pt x="639" y="710"/>
                  <a:pt x="639" y="710"/>
                </a:cubicBezTo>
                <a:cubicBezTo>
                  <a:pt x="640" y="711"/>
                  <a:pt x="640" y="711"/>
                  <a:pt x="641" y="711"/>
                </a:cubicBezTo>
                <a:close/>
                <a:moveTo>
                  <a:pt x="640" y="712"/>
                </a:moveTo>
                <a:cubicBezTo>
                  <a:pt x="640" y="712"/>
                  <a:pt x="640" y="712"/>
                  <a:pt x="640" y="712"/>
                </a:cubicBezTo>
                <a:cubicBezTo>
                  <a:pt x="640" y="712"/>
                  <a:pt x="640" y="712"/>
                  <a:pt x="641" y="712"/>
                </a:cubicBezTo>
                <a:cubicBezTo>
                  <a:pt x="641" y="712"/>
                  <a:pt x="641" y="712"/>
                  <a:pt x="641" y="712"/>
                </a:cubicBezTo>
                <a:cubicBezTo>
                  <a:pt x="641" y="712"/>
                  <a:pt x="641" y="712"/>
                  <a:pt x="641" y="712"/>
                </a:cubicBezTo>
                <a:cubicBezTo>
                  <a:pt x="642" y="712"/>
                  <a:pt x="642" y="713"/>
                  <a:pt x="642" y="713"/>
                </a:cubicBezTo>
                <a:cubicBezTo>
                  <a:pt x="642" y="712"/>
                  <a:pt x="642" y="712"/>
                  <a:pt x="642" y="712"/>
                </a:cubicBezTo>
                <a:cubicBezTo>
                  <a:pt x="642" y="712"/>
                  <a:pt x="642" y="711"/>
                  <a:pt x="642" y="711"/>
                </a:cubicBezTo>
                <a:cubicBezTo>
                  <a:pt x="641" y="711"/>
                  <a:pt x="641" y="711"/>
                  <a:pt x="641" y="712"/>
                </a:cubicBezTo>
                <a:cubicBezTo>
                  <a:pt x="641" y="712"/>
                  <a:pt x="640" y="712"/>
                  <a:pt x="640" y="712"/>
                </a:cubicBezTo>
                <a:cubicBezTo>
                  <a:pt x="640" y="712"/>
                  <a:pt x="640" y="712"/>
                  <a:pt x="640" y="712"/>
                </a:cubicBezTo>
                <a:close/>
                <a:moveTo>
                  <a:pt x="637" y="708"/>
                </a:moveTo>
                <a:cubicBezTo>
                  <a:pt x="637" y="708"/>
                  <a:pt x="637" y="708"/>
                  <a:pt x="637" y="708"/>
                </a:cubicBezTo>
                <a:cubicBezTo>
                  <a:pt x="637" y="708"/>
                  <a:pt x="637" y="708"/>
                  <a:pt x="636" y="708"/>
                </a:cubicBezTo>
                <a:cubicBezTo>
                  <a:pt x="636" y="708"/>
                  <a:pt x="636" y="708"/>
                  <a:pt x="636" y="708"/>
                </a:cubicBezTo>
                <a:cubicBezTo>
                  <a:pt x="636" y="708"/>
                  <a:pt x="636" y="708"/>
                  <a:pt x="636" y="709"/>
                </a:cubicBezTo>
                <a:cubicBezTo>
                  <a:pt x="636" y="709"/>
                  <a:pt x="636" y="709"/>
                  <a:pt x="636" y="709"/>
                </a:cubicBezTo>
                <a:cubicBezTo>
                  <a:pt x="636" y="709"/>
                  <a:pt x="636" y="709"/>
                  <a:pt x="637" y="709"/>
                </a:cubicBezTo>
                <a:cubicBezTo>
                  <a:pt x="637" y="709"/>
                  <a:pt x="637" y="709"/>
                  <a:pt x="637" y="710"/>
                </a:cubicBezTo>
                <a:cubicBezTo>
                  <a:pt x="637" y="710"/>
                  <a:pt x="637" y="710"/>
                  <a:pt x="637" y="710"/>
                </a:cubicBezTo>
                <a:cubicBezTo>
                  <a:pt x="637" y="709"/>
                  <a:pt x="637" y="709"/>
                  <a:pt x="637" y="709"/>
                </a:cubicBezTo>
                <a:cubicBezTo>
                  <a:pt x="637" y="709"/>
                  <a:pt x="637" y="709"/>
                  <a:pt x="637" y="708"/>
                </a:cubicBezTo>
                <a:close/>
                <a:moveTo>
                  <a:pt x="617" y="669"/>
                </a:moveTo>
                <a:cubicBezTo>
                  <a:pt x="617" y="669"/>
                  <a:pt x="618" y="669"/>
                  <a:pt x="618" y="669"/>
                </a:cubicBezTo>
                <a:cubicBezTo>
                  <a:pt x="619" y="669"/>
                  <a:pt x="619" y="668"/>
                  <a:pt x="619" y="668"/>
                </a:cubicBezTo>
                <a:cubicBezTo>
                  <a:pt x="619" y="668"/>
                  <a:pt x="619" y="668"/>
                  <a:pt x="619" y="668"/>
                </a:cubicBezTo>
                <a:cubicBezTo>
                  <a:pt x="619" y="668"/>
                  <a:pt x="619" y="668"/>
                  <a:pt x="619" y="667"/>
                </a:cubicBezTo>
                <a:cubicBezTo>
                  <a:pt x="619" y="667"/>
                  <a:pt x="619" y="667"/>
                  <a:pt x="619" y="667"/>
                </a:cubicBezTo>
                <a:cubicBezTo>
                  <a:pt x="620" y="667"/>
                  <a:pt x="620" y="667"/>
                  <a:pt x="620" y="667"/>
                </a:cubicBezTo>
                <a:cubicBezTo>
                  <a:pt x="620" y="667"/>
                  <a:pt x="620" y="667"/>
                  <a:pt x="620" y="667"/>
                </a:cubicBezTo>
                <a:cubicBezTo>
                  <a:pt x="620" y="666"/>
                  <a:pt x="620" y="666"/>
                  <a:pt x="619" y="666"/>
                </a:cubicBezTo>
                <a:cubicBezTo>
                  <a:pt x="619" y="666"/>
                  <a:pt x="619" y="666"/>
                  <a:pt x="620" y="666"/>
                </a:cubicBezTo>
                <a:cubicBezTo>
                  <a:pt x="619" y="665"/>
                  <a:pt x="619" y="665"/>
                  <a:pt x="618" y="665"/>
                </a:cubicBezTo>
                <a:cubicBezTo>
                  <a:pt x="618" y="665"/>
                  <a:pt x="618" y="665"/>
                  <a:pt x="618" y="665"/>
                </a:cubicBezTo>
                <a:cubicBezTo>
                  <a:pt x="618" y="665"/>
                  <a:pt x="619" y="665"/>
                  <a:pt x="619" y="665"/>
                </a:cubicBezTo>
                <a:cubicBezTo>
                  <a:pt x="619" y="665"/>
                  <a:pt x="619" y="665"/>
                  <a:pt x="620" y="665"/>
                </a:cubicBezTo>
                <a:cubicBezTo>
                  <a:pt x="620" y="665"/>
                  <a:pt x="620" y="665"/>
                  <a:pt x="620" y="665"/>
                </a:cubicBezTo>
                <a:cubicBezTo>
                  <a:pt x="620" y="664"/>
                  <a:pt x="619" y="664"/>
                  <a:pt x="619" y="664"/>
                </a:cubicBezTo>
                <a:cubicBezTo>
                  <a:pt x="619" y="664"/>
                  <a:pt x="619" y="664"/>
                  <a:pt x="618" y="664"/>
                </a:cubicBezTo>
                <a:cubicBezTo>
                  <a:pt x="618" y="664"/>
                  <a:pt x="619" y="664"/>
                  <a:pt x="619" y="664"/>
                </a:cubicBezTo>
                <a:cubicBezTo>
                  <a:pt x="619" y="664"/>
                  <a:pt x="619" y="663"/>
                  <a:pt x="619" y="663"/>
                </a:cubicBezTo>
                <a:cubicBezTo>
                  <a:pt x="619" y="663"/>
                  <a:pt x="619" y="663"/>
                  <a:pt x="619" y="663"/>
                </a:cubicBezTo>
                <a:cubicBezTo>
                  <a:pt x="619" y="663"/>
                  <a:pt x="619" y="662"/>
                  <a:pt x="618" y="662"/>
                </a:cubicBezTo>
                <a:cubicBezTo>
                  <a:pt x="618" y="662"/>
                  <a:pt x="618" y="662"/>
                  <a:pt x="618" y="661"/>
                </a:cubicBezTo>
                <a:cubicBezTo>
                  <a:pt x="617" y="661"/>
                  <a:pt x="617" y="661"/>
                  <a:pt x="617" y="661"/>
                </a:cubicBezTo>
                <a:cubicBezTo>
                  <a:pt x="616" y="661"/>
                  <a:pt x="616" y="661"/>
                  <a:pt x="616" y="661"/>
                </a:cubicBezTo>
                <a:cubicBezTo>
                  <a:pt x="616" y="662"/>
                  <a:pt x="615" y="662"/>
                  <a:pt x="615" y="662"/>
                </a:cubicBezTo>
                <a:cubicBezTo>
                  <a:pt x="615" y="662"/>
                  <a:pt x="615" y="662"/>
                  <a:pt x="615" y="662"/>
                </a:cubicBezTo>
                <a:cubicBezTo>
                  <a:pt x="615" y="662"/>
                  <a:pt x="616" y="663"/>
                  <a:pt x="616" y="663"/>
                </a:cubicBezTo>
                <a:cubicBezTo>
                  <a:pt x="616" y="663"/>
                  <a:pt x="616" y="663"/>
                  <a:pt x="616" y="663"/>
                </a:cubicBezTo>
                <a:cubicBezTo>
                  <a:pt x="616" y="663"/>
                  <a:pt x="616" y="664"/>
                  <a:pt x="615" y="664"/>
                </a:cubicBezTo>
                <a:cubicBezTo>
                  <a:pt x="615" y="664"/>
                  <a:pt x="615" y="664"/>
                  <a:pt x="615" y="664"/>
                </a:cubicBezTo>
                <a:cubicBezTo>
                  <a:pt x="615" y="664"/>
                  <a:pt x="616" y="665"/>
                  <a:pt x="616" y="665"/>
                </a:cubicBezTo>
                <a:cubicBezTo>
                  <a:pt x="616" y="665"/>
                  <a:pt x="616" y="665"/>
                  <a:pt x="616" y="665"/>
                </a:cubicBezTo>
                <a:cubicBezTo>
                  <a:pt x="616" y="665"/>
                  <a:pt x="616" y="665"/>
                  <a:pt x="617" y="666"/>
                </a:cubicBezTo>
                <a:cubicBezTo>
                  <a:pt x="617" y="666"/>
                  <a:pt x="617" y="667"/>
                  <a:pt x="617" y="668"/>
                </a:cubicBezTo>
                <a:cubicBezTo>
                  <a:pt x="617" y="668"/>
                  <a:pt x="617" y="668"/>
                  <a:pt x="617" y="669"/>
                </a:cubicBezTo>
                <a:close/>
                <a:moveTo>
                  <a:pt x="636" y="709"/>
                </a:moveTo>
                <a:cubicBezTo>
                  <a:pt x="636" y="709"/>
                  <a:pt x="636" y="708"/>
                  <a:pt x="636" y="708"/>
                </a:cubicBezTo>
                <a:cubicBezTo>
                  <a:pt x="636" y="708"/>
                  <a:pt x="636" y="708"/>
                  <a:pt x="635" y="708"/>
                </a:cubicBezTo>
                <a:cubicBezTo>
                  <a:pt x="635" y="708"/>
                  <a:pt x="635" y="708"/>
                  <a:pt x="635" y="708"/>
                </a:cubicBezTo>
                <a:cubicBezTo>
                  <a:pt x="635" y="708"/>
                  <a:pt x="635" y="708"/>
                  <a:pt x="635" y="708"/>
                </a:cubicBezTo>
                <a:cubicBezTo>
                  <a:pt x="635" y="708"/>
                  <a:pt x="635" y="708"/>
                  <a:pt x="635" y="708"/>
                </a:cubicBezTo>
                <a:cubicBezTo>
                  <a:pt x="635" y="709"/>
                  <a:pt x="635" y="709"/>
                  <a:pt x="635" y="709"/>
                </a:cubicBezTo>
                <a:cubicBezTo>
                  <a:pt x="635" y="709"/>
                  <a:pt x="635" y="709"/>
                  <a:pt x="635" y="709"/>
                </a:cubicBezTo>
                <a:cubicBezTo>
                  <a:pt x="635" y="709"/>
                  <a:pt x="635" y="709"/>
                  <a:pt x="635" y="710"/>
                </a:cubicBezTo>
                <a:cubicBezTo>
                  <a:pt x="635" y="710"/>
                  <a:pt x="636" y="710"/>
                  <a:pt x="636" y="710"/>
                </a:cubicBezTo>
                <a:cubicBezTo>
                  <a:pt x="636" y="710"/>
                  <a:pt x="636" y="710"/>
                  <a:pt x="636" y="710"/>
                </a:cubicBezTo>
                <a:cubicBezTo>
                  <a:pt x="636" y="710"/>
                  <a:pt x="636" y="709"/>
                  <a:pt x="636" y="709"/>
                </a:cubicBezTo>
                <a:cubicBezTo>
                  <a:pt x="636" y="709"/>
                  <a:pt x="636" y="709"/>
                  <a:pt x="636" y="709"/>
                </a:cubicBezTo>
                <a:close/>
                <a:moveTo>
                  <a:pt x="624" y="676"/>
                </a:moveTo>
                <a:cubicBezTo>
                  <a:pt x="623" y="676"/>
                  <a:pt x="623" y="676"/>
                  <a:pt x="623" y="676"/>
                </a:cubicBezTo>
                <a:cubicBezTo>
                  <a:pt x="623" y="677"/>
                  <a:pt x="622" y="677"/>
                  <a:pt x="622" y="677"/>
                </a:cubicBezTo>
                <a:cubicBezTo>
                  <a:pt x="622" y="677"/>
                  <a:pt x="623" y="677"/>
                  <a:pt x="623" y="677"/>
                </a:cubicBezTo>
                <a:cubicBezTo>
                  <a:pt x="623" y="677"/>
                  <a:pt x="623" y="678"/>
                  <a:pt x="623" y="678"/>
                </a:cubicBezTo>
                <a:cubicBezTo>
                  <a:pt x="623" y="678"/>
                  <a:pt x="624" y="678"/>
                  <a:pt x="624" y="678"/>
                </a:cubicBezTo>
                <a:cubicBezTo>
                  <a:pt x="624" y="678"/>
                  <a:pt x="624" y="678"/>
                  <a:pt x="624" y="677"/>
                </a:cubicBezTo>
                <a:cubicBezTo>
                  <a:pt x="624" y="677"/>
                  <a:pt x="624" y="677"/>
                  <a:pt x="624" y="676"/>
                </a:cubicBezTo>
                <a:close/>
                <a:moveTo>
                  <a:pt x="623" y="672"/>
                </a:moveTo>
                <a:cubicBezTo>
                  <a:pt x="623" y="672"/>
                  <a:pt x="623" y="672"/>
                  <a:pt x="623" y="672"/>
                </a:cubicBezTo>
                <a:cubicBezTo>
                  <a:pt x="624" y="672"/>
                  <a:pt x="624" y="672"/>
                  <a:pt x="624" y="672"/>
                </a:cubicBezTo>
                <a:cubicBezTo>
                  <a:pt x="624" y="672"/>
                  <a:pt x="624" y="672"/>
                  <a:pt x="623" y="672"/>
                </a:cubicBezTo>
                <a:cubicBezTo>
                  <a:pt x="623" y="672"/>
                  <a:pt x="623" y="672"/>
                  <a:pt x="623" y="672"/>
                </a:cubicBezTo>
                <a:close/>
                <a:moveTo>
                  <a:pt x="625" y="674"/>
                </a:moveTo>
                <a:cubicBezTo>
                  <a:pt x="625" y="674"/>
                  <a:pt x="625" y="674"/>
                  <a:pt x="625" y="674"/>
                </a:cubicBezTo>
                <a:cubicBezTo>
                  <a:pt x="625" y="674"/>
                  <a:pt x="625" y="674"/>
                  <a:pt x="626" y="675"/>
                </a:cubicBezTo>
                <a:cubicBezTo>
                  <a:pt x="626" y="674"/>
                  <a:pt x="626" y="674"/>
                  <a:pt x="626" y="674"/>
                </a:cubicBezTo>
                <a:cubicBezTo>
                  <a:pt x="626" y="674"/>
                  <a:pt x="626" y="674"/>
                  <a:pt x="626" y="674"/>
                </a:cubicBezTo>
                <a:cubicBezTo>
                  <a:pt x="626" y="674"/>
                  <a:pt x="626" y="673"/>
                  <a:pt x="626" y="673"/>
                </a:cubicBezTo>
                <a:cubicBezTo>
                  <a:pt x="626" y="673"/>
                  <a:pt x="626" y="673"/>
                  <a:pt x="626" y="673"/>
                </a:cubicBezTo>
                <a:cubicBezTo>
                  <a:pt x="626" y="672"/>
                  <a:pt x="625" y="672"/>
                  <a:pt x="625" y="672"/>
                </a:cubicBezTo>
                <a:cubicBezTo>
                  <a:pt x="625" y="672"/>
                  <a:pt x="625" y="672"/>
                  <a:pt x="625" y="672"/>
                </a:cubicBezTo>
                <a:cubicBezTo>
                  <a:pt x="624" y="672"/>
                  <a:pt x="624" y="672"/>
                  <a:pt x="624" y="673"/>
                </a:cubicBezTo>
                <a:cubicBezTo>
                  <a:pt x="624" y="673"/>
                  <a:pt x="624" y="673"/>
                  <a:pt x="624" y="674"/>
                </a:cubicBezTo>
                <a:cubicBezTo>
                  <a:pt x="624" y="674"/>
                  <a:pt x="624" y="674"/>
                  <a:pt x="624" y="674"/>
                </a:cubicBezTo>
                <a:cubicBezTo>
                  <a:pt x="624" y="675"/>
                  <a:pt x="624" y="675"/>
                  <a:pt x="624" y="675"/>
                </a:cubicBezTo>
                <a:cubicBezTo>
                  <a:pt x="624" y="675"/>
                  <a:pt x="625" y="675"/>
                  <a:pt x="625" y="674"/>
                </a:cubicBezTo>
                <a:close/>
                <a:moveTo>
                  <a:pt x="620" y="663"/>
                </a:moveTo>
                <a:cubicBezTo>
                  <a:pt x="620" y="663"/>
                  <a:pt x="620" y="663"/>
                  <a:pt x="621" y="663"/>
                </a:cubicBezTo>
                <a:cubicBezTo>
                  <a:pt x="621" y="663"/>
                  <a:pt x="621" y="663"/>
                  <a:pt x="621" y="663"/>
                </a:cubicBezTo>
                <a:cubicBezTo>
                  <a:pt x="621" y="663"/>
                  <a:pt x="620" y="663"/>
                  <a:pt x="620" y="662"/>
                </a:cubicBezTo>
                <a:cubicBezTo>
                  <a:pt x="620" y="663"/>
                  <a:pt x="620" y="663"/>
                  <a:pt x="620" y="663"/>
                </a:cubicBezTo>
                <a:close/>
                <a:moveTo>
                  <a:pt x="623" y="670"/>
                </a:moveTo>
                <a:cubicBezTo>
                  <a:pt x="623" y="670"/>
                  <a:pt x="623" y="670"/>
                  <a:pt x="623" y="671"/>
                </a:cubicBezTo>
                <a:cubicBezTo>
                  <a:pt x="623" y="670"/>
                  <a:pt x="623" y="670"/>
                  <a:pt x="623" y="670"/>
                </a:cubicBezTo>
                <a:cubicBezTo>
                  <a:pt x="623" y="670"/>
                  <a:pt x="623" y="670"/>
                  <a:pt x="623" y="670"/>
                </a:cubicBezTo>
                <a:cubicBezTo>
                  <a:pt x="623" y="670"/>
                  <a:pt x="623" y="670"/>
                  <a:pt x="623" y="670"/>
                </a:cubicBezTo>
                <a:close/>
                <a:moveTo>
                  <a:pt x="635" y="706"/>
                </a:moveTo>
                <a:cubicBezTo>
                  <a:pt x="636" y="706"/>
                  <a:pt x="636" y="706"/>
                  <a:pt x="636" y="706"/>
                </a:cubicBezTo>
                <a:cubicBezTo>
                  <a:pt x="636" y="706"/>
                  <a:pt x="636" y="706"/>
                  <a:pt x="636" y="706"/>
                </a:cubicBezTo>
                <a:cubicBezTo>
                  <a:pt x="635" y="706"/>
                  <a:pt x="635" y="706"/>
                  <a:pt x="635" y="706"/>
                </a:cubicBezTo>
                <a:cubicBezTo>
                  <a:pt x="634" y="706"/>
                  <a:pt x="634" y="706"/>
                  <a:pt x="634" y="706"/>
                </a:cubicBezTo>
                <a:cubicBezTo>
                  <a:pt x="634" y="706"/>
                  <a:pt x="634" y="705"/>
                  <a:pt x="633" y="705"/>
                </a:cubicBezTo>
                <a:cubicBezTo>
                  <a:pt x="633" y="705"/>
                  <a:pt x="633" y="705"/>
                  <a:pt x="633" y="706"/>
                </a:cubicBezTo>
                <a:cubicBezTo>
                  <a:pt x="633" y="706"/>
                  <a:pt x="633" y="706"/>
                  <a:pt x="633" y="706"/>
                </a:cubicBezTo>
                <a:cubicBezTo>
                  <a:pt x="633" y="706"/>
                  <a:pt x="633" y="707"/>
                  <a:pt x="633" y="707"/>
                </a:cubicBezTo>
                <a:cubicBezTo>
                  <a:pt x="633" y="707"/>
                  <a:pt x="633" y="707"/>
                  <a:pt x="633" y="707"/>
                </a:cubicBezTo>
                <a:cubicBezTo>
                  <a:pt x="633" y="707"/>
                  <a:pt x="633" y="707"/>
                  <a:pt x="633" y="707"/>
                </a:cubicBezTo>
                <a:cubicBezTo>
                  <a:pt x="634" y="707"/>
                  <a:pt x="634" y="707"/>
                  <a:pt x="635" y="707"/>
                </a:cubicBezTo>
                <a:cubicBezTo>
                  <a:pt x="635" y="707"/>
                  <a:pt x="635" y="707"/>
                  <a:pt x="635" y="707"/>
                </a:cubicBezTo>
                <a:cubicBezTo>
                  <a:pt x="635" y="707"/>
                  <a:pt x="635" y="707"/>
                  <a:pt x="635" y="706"/>
                </a:cubicBezTo>
                <a:close/>
                <a:moveTo>
                  <a:pt x="677" y="713"/>
                </a:moveTo>
                <a:cubicBezTo>
                  <a:pt x="677" y="714"/>
                  <a:pt x="676" y="714"/>
                  <a:pt x="676" y="714"/>
                </a:cubicBezTo>
                <a:cubicBezTo>
                  <a:pt x="676" y="714"/>
                  <a:pt x="675" y="714"/>
                  <a:pt x="675" y="714"/>
                </a:cubicBezTo>
                <a:cubicBezTo>
                  <a:pt x="675" y="714"/>
                  <a:pt x="674" y="714"/>
                  <a:pt x="674" y="713"/>
                </a:cubicBezTo>
                <a:cubicBezTo>
                  <a:pt x="673" y="713"/>
                  <a:pt x="673" y="713"/>
                  <a:pt x="673" y="713"/>
                </a:cubicBezTo>
                <a:cubicBezTo>
                  <a:pt x="672" y="713"/>
                  <a:pt x="672" y="713"/>
                  <a:pt x="672" y="713"/>
                </a:cubicBezTo>
                <a:cubicBezTo>
                  <a:pt x="671" y="713"/>
                  <a:pt x="670" y="713"/>
                  <a:pt x="669" y="713"/>
                </a:cubicBezTo>
                <a:cubicBezTo>
                  <a:pt x="669" y="713"/>
                  <a:pt x="668" y="713"/>
                  <a:pt x="668" y="713"/>
                </a:cubicBezTo>
                <a:cubicBezTo>
                  <a:pt x="668" y="712"/>
                  <a:pt x="668" y="712"/>
                  <a:pt x="668" y="712"/>
                </a:cubicBezTo>
                <a:cubicBezTo>
                  <a:pt x="667" y="712"/>
                  <a:pt x="667" y="711"/>
                  <a:pt x="666" y="711"/>
                </a:cubicBezTo>
                <a:cubicBezTo>
                  <a:pt x="666" y="711"/>
                  <a:pt x="666" y="711"/>
                  <a:pt x="665" y="711"/>
                </a:cubicBezTo>
                <a:cubicBezTo>
                  <a:pt x="665" y="711"/>
                  <a:pt x="665" y="711"/>
                  <a:pt x="665" y="710"/>
                </a:cubicBezTo>
                <a:cubicBezTo>
                  <a:pt x="664" y="710"/>
                  <a:pt x="664" y="710"/>
                  <a:pt x="664" y="710"/>
                </a:cubicBezTo>
                <a:cubicBezTo>
                  <a:pt x="664" y="710"/>
                  <a:pt x="663" y="710"/>
                  <a:pt x="663" y="710"/>
                </a:cubicBezTo>
                <a:cubicBezTo>
                  <a:pt x="663" y="710"/>
                  <a:pt x="663" y="710"/>
                  <a:pt x="662" y="710"/>
                </a:cubicBezTo>
                <a:cubicBezTo>
                  <a:pt x="662" y="710"/>
                  <a:pt x="662" y="710"/>
                  <a:pt x="662" y="710"/>
                </a:cubicBezTo>
                <a:cubicBezTo>
                  <a:pt x="662" y="710"/>
                  <a:pt x="662" y="710"/>
                  <a:pt x="662" y="710"/>
                </a:cubicBezTo>
                <a:cubicBezTo>
                  <a:pt x="662" y="709"/>
                  <a:pt x="662" y="709"/>
                  <a:pt x="662" y="709"/>
                </a:cubicBezTo>
                <a:cubicBezTo>
                  <a:pt x="662" y="709"/>
                  <a:pt x="663" y="709"/>
                  <a:pt x="663" y="709"/>
                </a:cubicBezTo>
                <a:cubicBezTo>
                  <a:pt x="663" y="709"/>
                  <a:pt x="663" y="709"/>
                  <a:pt x="663" y="709"/>
                </a:cubicBezTo>
                <a:cubicBezTo>
                  <a:pt x="663" y="708"/>
                  <a:pt x="663" y="708"/>
                  <a:pt x="663" y="707"/>
                </a:cubicBezTo>
                <a:cubicBezTo>
                  <a:pt x="662" y="707"/>
                  <a:pt x="661" y="707"/>
                  <a:pt x="661" y="706"/>
                </a:cubicBezTo>
                <a:cubicBezTo>
                  <a:pt x="661" y="706"/>
                  <a:pt x="660" y="706"/>
                  <a:pt x="660" y="706"/>
                </a:cubicBezTo>
                <a:cubicBezTo>
                  <a:pt x="660" y="706"/>
                  <a:pt x="660" y="706"/>
                  <a:pt x="660" y="706"/>
                </a:cubicBezTo>
                <a:cubicBezTo>
                  <a:pt x="660" y="706"/>
                  <a:pt x="659" y="706"/>
                  <a:pt x="659" y="706"/>
                </a:cubicBezTo>
                <a:cubicBezTo>
                  <a:pt x="659" y="707"/>
                  <a:pt x="659" y="707"/>
                  <a:pt x="659" y="707"/>
                </a:cubicBezTo>
                <a:cubicBezTo>
                  <a:pt x="658" y="707"/>
                  <a:pt x="658" y="707"/>
                  <a:pt x="658" y="706"/>
                </a:cubicBezTo>
                <a:cubicBezTo>
                  <a:pt x="658" y="706"/>
                  <a:pt x="658" y="706"/>
                  <a:pt x="657" y="706"/>
                </a:cubicBezTo>
                <a:cubicBezTo>
                  <a:pt x="657" y="707"/>
                  <a:pt x="657" y="707"/>
                  <a:pt x="657" y="707"/>
                </a:cubicBezTo>
                <a:cubicBezTo>
                  <a:pt x="657" y="707"/>
                  <a:pt x="657" y="707"/>
                  <a:pt x="657" y="708"/>
                </a:cubicBezTo>
                <a:cubicBezTo>
                  <a:pt x="657" y="708"/>
                  <a:pt x="657" y="708"/>
                  <a:pt x="657" y="708"/>
                </a:cubicBezTo>
                <a:cubicBezTo>
                  <a:pt x="657" y="708"/>
                  <a:pt x="657" y="709"/>
                  <a:pt x="657" y="709"/>
                </a:cubicBezTo>
                <a:cubicBezTo>
                  <a:pt x="657" y="709"/>
                  <a:pt x="657" y="709"/>
                  <a:pt x="657" y="709"/>
                </a:cubicBezTo>
                <a:cubicBezTo>
                  <a:pt x="656" y="709"/>
                  <a:pt x="656" y="709"/>
                  <a:pt x="656" y="709"/>
                </a:cubicBezTo>
                <a:cubicBezTo>
                  <a:pt x="656" y="709"/>
                  <a:pt x="656" y="709"/>
                  <a:pt x="655" y="709"/>
                </a:cubicBezTo>
                <a:cubicBezTo>
                  <a:pt x="655" y="709"/>
                  <a:pt x="655" y="709"/>
                  <a:pt x="655" y="710"/>
                </a:cubicBezTo>
                <a:cubicBezTo>
                  <a:pt x="655" y="710"/>
                  <a:pt x="655" y="710"/>
                  <a:pt x="656" y="710"/>
                </a:cubicBezTo>
                <a:cubicBezTo>
                  <a:pt x="656" y="710"/>
                  <a:pt x="656" y="710"/>
                  <a:pt x="656" y="710"/>
                </a:cubicBezTo>
                <a:cubicBezTo>
                  <a:pt x="656" y="710"/>
                  <a:pt x="656" y="710"/>
                  <a:pt x="656" y="710"/>
                </a:cubicBezTo>
                <a:cubicBezTo>
                  <a:pt x="656" y="710"/>
                  <a:pt x="656" y="711"/>
                  <a:pt x="656" y="711"/>
                </a:cubicBezTo>
                <a:cubicBezTo>
                  <a:pt x="656" y="711"/>
                  <a:pt x="656" y="711"/>
                  <a:pt x="656" y="711"/>
                </a:cubicBezTo>
                <a:cubicBezTo>
                  <a:pt x="656" y="712"/>
                  <a:pt x="656" y="712"/>
                  <a:pt x="656" y="712"/>
                </a:cubicBezTo>
                <a:cubicBezTo>
                  <a:pt x="657" y="712"/>
                  <a:pt x="657" y="713"/>
                  <a:pt x="657" y="713"/>
                </a:cubicBezTo>
                <a:cubicBezTo>
                  <a:pt x="657" y="713"/>
                  <a:pt x="658" y="713"/>
                  <a:pt x="658" y="713"/>
                </a:cubicBezTo>
                <a:cubicBezTo>
                  <a:pt x="658" y="712"/>
                  <a:pt x="658" y="712"/>
                  <a:pt x="658" y="712"/>
                </a:cubicBezTo>
                <a:cubicBezTo>
                  <a:pt x="659" y="712"/>
                  <a:pt x="659" y="711"/>
                  <a:pt x="659" y="711"/>
                </a:cubicBezTo>
                <a:cubicBezTo>
                  <a:pt x="660" y="711"/>
                  <a:pt x="660" y="711"/>
                  <a:pt x="660" y="711"/>
                </a:cubicBezTo>
                <a:cubicBezTo>
                  <a:pt x="660" y="711"/>
                  <a:pt x="660" y="711"/>
                  <a:pt x="661" y="712"/>
                </a:cubicBezTo>
                <a:cubicBezTo>
                  <a:pt x="660" y="712"/>
                  <a:pt x="660" y="712"/>
                  <a:pt x="660" y="713"/>
                </a:cubicBezTo>
                <a:cubicBezTo>
                  <a:pt x="660" y="713"/>
                  <a:pt x="660" y="713"/>
                  <a:pt x="659" y="713"/>
                </a:cubicBezTo>
                <a:cubicBezTo>
                  <a:pt x="659" y="713"/>
                  <a:pt x="659" y="713"/>
                  <a:pt x="659" y="713"/>
                </a:cubicBezTo>
                <a:cubicBezTo>
                  <a:pt x="659" y="714"/>
                  <a:pt x="659" y="714"/>
                  <a:pt x="658" y="714"/>
                </a:cubicBezTo>
                <a:cubicBezTo>
                  <a:pt x="658" y="714"/>
                  <a:pt x="658" y="714"/>
                  <a:pt x="658" y="714"/>
                </a:cubicBezTo>
                <a:cubicBezTo>
                  <a:pt x="658" y="715"/>
                  <a:pt x="658" y="715"/>
                  <a:pt x="658" y="715"/>
                </a:cubicBezTo>
                <a:cubicBezTo>
                  <a:pt x="659" y="715"/>
                  <a:pt x="659" y="715"/>
                  <a:pt x="659" y="715"/>
                </a:cubicBezTo>
                <a:cubicBezTo>
                  <a:pt x="660" y="715"/>
                  <a:pt x="660" y="715"/>
                  <a:pt x="660" y="716"/>
                </a:cubicBezTo>
                <a:cubicBezTo>
                  <a:pt x="661" y="715"/>
                  <a:pt x="661" y="715"/>
                  <a:pt x="661" y="715"/>
                </a:cubicBezTo>
                <a:cubicBezTo>
                  <a:pt x="661" y="715"/>
                  <a:pt x="662" y="715"/>
                  <a:pt x="662" y="715"/>
                </a:cubicBezTo>
                <a:cubicBezTo>
                  <a:pt x="663" y="716"/>
                  <a:pt x="664" y="716"/>
                  <a:pt x="665" y="716"/>
                </a:cubicBezTo>
                <a:cubicBezTo>
                  <a:pt x="665" y="716"/>
                  <a:pt x="665" y="716"/>
                  <a:pt x="666" y="716"/>
                </a:cubicBezTo>
                <a:cubicBezTo>
                  <a:pt x="666" y="716"/>
                  <a:pt x="666" y="716"/>
                  <a:pt x="666" y="716"/>
                </a:cubicBezTo>
                <a:cubicBezTo>
                  <a:pt x="666" y="716"/>
                  <a:pt x="667" y="716"/>
                  <a:pt x="667" y="716"/>
                </a:cubicBezTo>
                <a:cubicBezTo>
                  <a:pt x="668" y="716"/>
                  <a:pt x="668" y="716"/>
                  <a:pt x="668" y="715"/>
                </a:cubicBezTo>
                <a:cubicBezTo>
                  <a:pt x="669" y="715"/>
                  <a:pt x="669" y="715"/>
                  <a:pt x="669" y="715"/>
                </a:cubicBezTo>
                <a:cubicBezTo>
                  <a:pt x="669" y="715"/>
                  <a:pt x="669" y="715"/>
                  <a:pt x="669" y="715"/>
                </a:cubicBezTo>
                <a:cubicBezTo>
                  <a:pt x="669" y="715"/>
                  <a:pt x="669" y="715"/>
                  <a:pt x="669" y="716"/>
                </a:cubicBezTo>
                <a:cubicBezTo>
                  <a:pt x="668" y="716"/>
                  <a:pt x="668" y="716"/>
                  <a:pt x="668" y="716"/>
                </a:cubicBezTo>
                <a:cubicBezTo>
                  <a:pt x="667" y="716"/>
                  <a:pt x="666" y="716"/>
                  <a:pt x="666" y="717"/>
                </a:cubicBezTo>
                <a:cubicBezTo>
                  <a:pt x="666" y="717"/>
                  <a:pt x="665" y="717"/>
                  <a:pt x="665" y="717"/>
                </a:cubicBezTo>
                <a:cubicBezTo>
                  <a:pt x="665" y="717"/>
                  <a:pt x="665" y="717"/>
                  <a:pt x="664" y="716"/>
                </a:cubicBezTo>
                <a:cubicBezTo>
                  <a:pt x="664" y="716"/>
                  <a:pt x="663" y="716"/>
                  <a:pt x="663" y="716"/>
                </a:cubicBezTo>
                <a:cubicBezTo>
                  <a:pt x="662" y="716"/>
                  <a:pt x="662" y="716"/>
                  <a:pt x="661" y="716"/>
                </a:cubicBezTo>
                <a:cubicBezTo>
                  <a:pt x="660" y="716"/>
                  <a:pt x="660" y="716"/>
                  <a:pt x="660" y="716"/>
                </a:cubicBezTo>
                <a:cubicBezTo>
                  <a:pt x="660" y="716"/>
                  <a:pt x="660" y="716"/>
                  <a:pt x="660" y="716"/>
                </a:cubicBezTo>
                <a:cubicBezTo>
                  <a:pt x="660" y="716"/>
                  <a:pt x="660" y="716"/>
                  <a:pt x="660" y="717"/>
                </a:cubicBezTo>
                <a:cubicBezTo>
                  <a:pt x="660" y="717"/>
                  <a:pt x="660" y="717"/>
                  <a:pt x="660" y="717"/>
                </a:cubicBezTo>
                <a:cubicBezTo>
                  <a:pt x="660" y="717"/>
                  <a:pt x="660" y="717"/>
                  <a:pt x="660" y="717"/>
                </a:cubicBezTo>
                <a:cubicBezTo>
                  <a:pt x="659" y="717"/>
                  <a:pt x="659" y="717"/>
                  <a:pt x="658" y="717"/>
                </a:cubicBezTo>
                <a:cubicBezTo>
                  <a:pt x="658" y="717"/>
                  <a:pt x="658" y="716"/>
                  <a:pt x="657" y="716"/>
                </a:cubicBezTo>
                <a:cubicBezTo>
                  <a:pt x="657" y="716"/>
                  <a:pt x="657" y="717"/>
                  <a:pt x="657" y="717"/>
                </a:cubicBezTo>
                <a:cubicBezTo>
                  <a:pt x="657" y="717"/>
                  <a:pt x="657" y="717"/>
                  <a:pt x="657" y="717"/>
                </a:cubicBezTo>
                <a:cubicBezTo>
                  <a:pt x="658" y="717"/>
                  <a:pt x="659" y="717"/>
                  <a:pt x="659" y="717"/>
                </a:cubicBezTo>
                <a:cubicBezTo>
                  <a:pt x="659" y="717"/>
                  <a:pt x="659" y="717"/>
                  <a:pt x="660" y="718"/>
                </a:cubicBezTo>
                <a:cubicBezTo>
                  <a:pt x="659" y="718"/>
                  <a:pt x="659" y="718"/>
                  <a:pt x="659" y="718"/>
                </a:cubicBezTo>
                <a:cubicBezTo>
                  <a:pt x="659" y="718"/>
                  <a:pt x="659" y="718"/>
                  <a:pt x="659" y="718"/>
                </a:cubicBezTo>
                <a:cubicBezTo>
                  <a:pt x="659" y="718"/>
                  <a:pt x="659" y="718"/>
                  <a:pt x="659" y="718"/>
                </a:cubicBezTo>
                <a:cubicBezTo>
                  <a:pt x="659" y="718"/>
                  <a:pt x="659" y="718"/>
                  <a:pt x="659" y="718"/>
                </a:cubicBezTo>
                <a:cubicBezTo>
                  <a:pt x="659" y="718"/>
                  <a:pt x="658" y="718"/>
                  <a:pt x="658" y="718"/>
                </a:cubicBezTo>
                <a:cubicBezTo>
                  <a:pt x="658" y="718"/>
                  <a:pt x="658" y="718"/>
                  <a:pt x="657" y="717"/>
                </a:cubicBezTo>
                <a:cubicBezTo>
                  <a:pt x="657" y="718"/>
                  <a:pt x="657" y="718"/>
                  <a:pt x="657" y="718"/>
                </a:cubicBezTo>
                <a:cubicBezTo>
                  <a:pt x="657" y="718"/>
                  <a:pt x="657" y="718"/>
                  <a:pt x="657" y="718"/>
                </a:cubicBezTo>
                <a:cubicBezTo>
                  <a:pt x="657" y="718"/>
                  <a:pt x="657" y="718"/>
                  <a:pt x="657" y="718"/>
                </a:cubicBezTo>
                <a:cubicBezTo>
                  <a:pt x="656" y="719"/>
                  <a:pt x="656" y="719"/>
                  <a:pt x="656" y="719"/>
                </a:cubicBezTo>
                <a:cubicBezTo>
                  <a:pt x="655" y="719"/>
                  <a:pt x="655" y="719"/>
                  <a:pt x="655" y="719"/>
                </a:cubicBezTo>
                <a:cubicBezTo>
                  <a:pt x="655" y="719"/>
                  <a:pt x="656" y="719"/>
                  <a:pt x="656" y="719"/>
                </a:cubicBezTo>
                <a:cubicBezTo>
                  <a:pt x="656" y="719"/>
                  <a:pt x="656" y="719"/>
                  <a:pt x="656" y="719"/>
                </a:cubicBezTo>
                <a:cubicBezTo>
                  <a:pt x="655" y="719"/>
                  <a:pt x="655" y="719"/>
                  <a:pt x="655" y="719"/>
                </a:cubicBezTo>
                <a:cubicBezTo>
                  <a:pt x="655" y="720"/>
                  <a:pt x="654" y="720"/>
                  <a:pt x="654" y="720"/>
                </a:cubicBezTo>
                <a:cubicBezTo>
                  <a:pt x="654" y="720"/>
                  <a:pt x="654" y="720"/>
                  <a:pt x="654" y="720"/>
                </a:cubicBezTo>
                <a:cubicBezTo>
                  <a:pt x="655" y="720"/>
                  <a:pt x="655" y="720"/>
                  <a:pt x="655" y="720"/>
                </a:cubicBezTo>
                <a:cubicBezTo>
                  <a:pt x="656" y="720"/>
                  <a:pt x="656" y="720"/>
                  <a:pt x="656" y="720"/>
                </a:cubicBezTo>
                <a:cubicBezTo>
                  <a:pt x="656" y="720"/>
                  <a:pt x="656" y="720"/>
                  <a:pt x="656" y="720"/>
                </a:cubicBezTo>
                <a:cubicBezTo>
                  <a:pt x="656" y="719"/>
                  <a:pt x="656" y="719"/>
                  <a:pt x="656" y="719"/>
                </a:cubicBezTo>
                <a:cubicBezTo>
                  <a:pt x="657" y="719"/>
                  <a:pt x="657" y="719"/>
                  <a:pt x="657" y="719"/>
                </a:cubicBezTo>
                <a:cubicBezTo>
                  <a:pt x="657" y="720"/>
                  <a:pt x="657" y="720"/>
                  <a:pt x="658" y="720"/>
                </a:cubicBezTo>
                <a:cubicBezTo>
                  <a:pt x="658" y="720"/>
                  <a:pt x="658" y="720"/>
                  <a:pt x="658" y="719"/>
                </a:cubicBezTo>
                <a:cubicBezTo>
                  <a:pt x="658" y="720"/>
                  <a:pt x="658" y="720"/>
                  <a:pt x="658" y="720"/>
                </a:cubicBezTo>
                <a:cubicBezTo>
                  <a:pt x="658" y="720"/>
                  <a:pt x="658" y="720"/>
                  <a:pt x="659" y="720"/>
                </a:cubicBezTo>
                <a:cubicBezTo>
                  <a:pt x="659" y="720"/>
                  <a:pt x="659" y="720"/>
                  <a:pt x="659" y="720"/>
                </a:cubicBezTo>
                <a:cubicBezTo>
                  <a:pt x="659" y="720"/>
                  <a:pt x="659" y="721"/>
                  <a:pt x="659" y="721"/>
                </a:cubicBezTo>
                <a:cubicBezTo>
                  <a:pt x="658" y="721"/>
                  <a:pt x="658" y="721"/>
                  <a:pt x="658" y="721"/>
                </a:cubicBezTo>
                <a:cubicBezTo>
                  <a:pt x="659" y="722"/>
                  <a:pt x="659" y="722"/>
                  <a:pt x="659" y="722"/>
                </a:cubicBezTo>
                <a:cubicBezTo>
                  <a:pt x="659" y="722"/>
                  <a:pt x="659" y="722"/>
                  <a:pt x="659" y="722"/>
                </a:cubicBezTo>
                <a:cubicBezTo>
                  <a:pt x="660" y="722"/>
                  <a:pt x="660" y="722"/>
                  <a:pt x="660" y="722"/>
                </a:cubicBezTo>
                <a:cubicBezTo>
                  <a:pt x="660" y="722"/>
                  <a:pt x="660" y="722"/>
                  <a:pt x="661" y="722"/>
                </a:cubicBezTo>
                <a:cubicBezTo>
                  <a:pt x="661" y="722"/>
                  <a:pt x="661" y="722"/>
                  <a:pt x="661" y="722"/>
                </a:cubicBezTo>
                <a:cubicBezTo>
                  <a:pt x="661" y="722"/>
                  <a:pt x="661" y="722"/>
                  <a:pt x="661" y="722"/>
                </a:cubicBezTo>
                <a:cubicBezTo>
                  <a:pt x="661" y="722"/>
                  <a:pt x="661" y="722"/>
                  <a:pt x="661" y="722"/>
                </a:cubicBezTo>
                <a:cubicBezTo>
                  <a:pt x="660" y="721"/>
                  <a:pt x="660" y="721"/>
                  <a:pt x="660" y="721"/>
                </a:cubicBezTo>
                <a:cubicBezTo>
                  <a:pt x="660" y="721"/>
                  <a:pt x="660" y="721"/>
                  <a:pt x="660" y="721"/>
                </a:cubicBezTo>
                <a:cubicBezTo>
                  <a:pt x="660" y="721"/>
                  <a:pt x="660" y="721"/>
                  <a:pt x="660" y="721"/>
                </a:cubicBezTo>
                <a:cubicBezTo>
                  <a:pt x="660" y="721"/>
                  <a:pt x="660" y="721"/>
                  <a:pt x="660" y="721"/>
                </a:cubicBezTo>
                <a:cubicBezTo>
                  <a:pt x="661" y="721"/>
                  <a:pt x="661" y="721"/>
                  <a:pt x="661" y="721"/>
                </a:cubicBezTo>
                <a:cubicBezTo>
                  <a:pt x="661" y="721"/>
                  <a:pt x="661" y="720"/>
                  <a:pt x="661" y="720"/>
                </a:cubicBezTo>
                <a:cubicBezTo>
                  <a:pt x="661" y="720"/>
                  <a:pt x="661" y="720"/>
                  <a:pt x="660" y="720"/>
                </a:cubicBezTo>
                <a:cubicBezTo>
                  <a:pt x="660" y="720"/>
                  <a:pt x="660" y="720"/>
                  <a:pt x="660" y="720"/>
                </a:cubicBezTo>
                <a:cubicBezTo>
                  <a:pt x="660" y="720"/>
                  <a:pt x="661" y="719"/>
                  <a:pt x="661" y="719"/>
                </a:cubicBezTo>
                <a:cubicBezTo>
                  <a:pt x="662" y="719"/>
                  <a:pt x="662" y="719"/>
                  <a:pt x="662" y="719"/>
                </a:cubicBezTo>
                <a:cubicBezTo>
                  <a:pt x="663" y="719"/>
                  <a:pt x="664" y="719"/>
                  <a:pt x="665" y="719"/>
                </a:cubicBezTo>
                <a:cubicBezTo>
                  <a:pt x="665" y="719"/>
                  <a:pt x="666" y="719"/>
                  <a:pt x="666" y="718"/>
                </a:cubicBezTo>
                <a:cubicBezTo>
                  <a:pt x="666" y="718"/>
                  <a:pt x="666" y="718"/>
                  <a:pt x="666" y="718"/>
                </a:cubicBezTo>
                <a:cubicBezTo>
                  <a:pt x="666" y="718"/>
                  <a:pt x="666" y="718"/>
                  <a:pt x="666" y="718"/>
                </a:cubicBezTo>
                <a:cubicBezTo>
                  <a:pt x="667" y="718"/>
                  <a:pt x="667" y="718"/>
                  <a:pt x="667" y="718"/>
                </a:cubicBezTo>
                <a:cubicBezTo>
                  <a:pt x="667" y="718"/>
                  <a:pt x="668" y="717"/>
                  <a:pt x="668" y="717"/>
                </a:cubicBezTo>
                <a:cubicBezTo>
                  <a:pt x="669" y="717"/>
                  <a:pt x="669" y="717"/>
                  <a:pt x="670" y="717"/>
                </a:cubicBezTo>
                <a:cubicBezTo>
                  <a:pt x="670" y="717"/>
                  <a:pt x="671" y="717"/>
                  <a:pt x="671" y="717"/>
                </a:cubicBezTo>
                <a:cubicBezTo>
                  <a:pt x="672" y="717"/>
                  <a:pt x="672" y="716"/>
                  <a:pt x="673" y="716"/>
                </a:cubicBezTo>
                <a:cubicBezTo>
                  <a:pt x="673" y="716"/>
                  <a:pt x="673" y="717"/>
                  <a:pt x="674" y="717"/>
                </a:cubicBezTo>
                <a:cubicBezTo>
                  <a:pt x="674" y="717"/>
                  <a:pt x="674" y="717"/>
                  <a:pt x="675" y="717"/>
                </a:cubicBezTo>
                <a:cubicBezTo>
                  <a:pt x="675" y="717"/>
                  <a:pt x="675" y="717"/>
                  <a:pt x="676" y="716"/>
                </a:cubicBezTo>
                <a:cubicBezTo>
                  <a:pt x="676" y="716"/>
                  <a:pt x="676" y="716"/>
                  <a:pt x="676" y="716"/>
                </a:cubicBezTo>
                <a:cubicBezTo>
                  <a:pt x="676" y="715"/>
                  <a:pt x="676" y="715"/>
                  <a:pt x="676" y="715"/>
                </a:cubicBezTo>
                <a:cubicBezTo>
                  <a:pt x="676" y="715"/>
                  <a:pt x="677" y="715"/>
                  <a:pt x="677" y="715"/>
                </a:cubicBezTo>
                <a:cubicBezTo>
                  <a:pt x="677" y="715"/>
                  <a:pt x="677" y="715"/>
                  <a:pt x="677" y="715"/>
                </a:cubicBezTo>
                <a:cubicBezTo>
                  <a:pt x="678" y="714"/>
                  <a:pt x="678" y="714"/>
                  <a:pt x="678" y="714"/>
                </a:cubicBezTo>
                <a:cubicBezTo>
                  <a:pt x="678" y="714"/>
                  <a:pt x="678" y="714"/>
                  <a:pt x="678" y="713"/>
                </a:cubicBezTo>
                <a:cubicBezTo>
                  <a:pt x="678" y="713"/>
                  <a:pt x="678" y="713"/>
                  <a:pt x="677" y="713"/>
                </a:cubicBezTo>
                <a:close/>
                <a:moveTo>
                  <a:pt x="682" y="713"/>
                </a:moveTo>
                <a:cubicBezTo>
                  <a:pt x="682" y="713"/>
                  <a:pt x="681" y="713"/>
                  <a:pt x="681" y="713"/>
                </a:cubicBezTo>
                <a:cubicBezTo>
                  <a:pt x="681" y="713"/>
                  <a:pt x="681" y="714"/>
                  <a:pt x="681" y="714"/>
                </a:cubicBezTo>
                <a:cubicBezTo>
                  <a:pt x="681" y="714"/>
                  <a:pt x="681" y="714"/>
                  <a:pt x="681" y="714"/>
                </a:cubicBezTo>
                <a:cubicBezTo>
                  <a:pt x="682" y="714"/>
                  <a:pt x="682" y="714"/>
                  <a:pt x="682" y="713"/>
                </a:cubicBezTo>
                <a:cubicBezTo>
                  <a:pt x="682" y="713"/>
                  <a:pt x="683" y="713"/>
                  <a:pt x="683" y="713"/>
                </a:cubicBezTo>
                <a:cubicBezTo>
                  <a:pt x="683" y="713"/>
                  <a:pt x="683" y="713"/>
                  <a:pt x="684" y="712"/>
                </a:cubicBezTo>
                <a:cubicBezTo>
                  <a:pt x="683" y="712"/>
                  <a:pt x="683" y="712"/>
                  <a:pt x="683" y="712"/>
                </a:cubicBezTo>
                <a:cubicBezTo>
                  <a:pt x="682" y="713"/>
                  <a:pt x="682" y="713"/>
                  <a:pt x="682" y="713"/>
                </a:cubicBezTo>
                <a:close/>
                <a:moveTo>
                  <a:pt x="651" y="717"/>
                </a:moveTo>
                <a:cubicBezTo>
                  <a:pt x="651" y="717"/>
                  <a:pt x="651" y="717"/>
                  <a:pt x="651" y="717"/>
                </a:cubicBezTo>
                <a:cubicBezTo>
                  <a:pt x="651" y="717"/>
                  <a:pt x="651" y="717"/>
                  <a:pt x="651" y="717"/>
                </a:cubicBezTo>
                <a:cubicBezTo>
                  <a:pt x="651" y="717"/>
                  <a:pt x="651" y="717"/>
                  <a:pt x="652" y="717"/>
                </a:cubicBezTo>
                <a:cubicBezTo>
                  <a:pt x="651" y="716"/>
                  <a:pt x="651" y="716"/>
                  <a:pt x="651" y="716"/>
                </a:cubicBezTo>
                <a:cubicBezTo>
                  <a:pt x="651" y="716"/>
                  <a:pt x="651" y="716"/>
                  <a:pt x="651" y="716"/>
                </a:cubicBezTo>
                <a:cubicBezTo>
                  <a:pt x="650" y="716"/>
                  <a:pt x="650" y="716"/>
                  <a:pt x="650" y="716"/>
                </a:cubicBezTo>
                <a:cubicBezTo>
                  <a:pt x="650" y="716"/>
                  <a:pt x="650" y="716"/>
                  <a:pt x="650" y="716"/>
                </a:cubicBezTo>
                <a:cubicBezTo>
                  <a:pt x="649" y="716"/>
                  <a:pt x="649" y="716"/>
                  <a:pt x="649" y="716"/>
                </a:cubicBezTo>
                <a:cubicBezTo>
                  <a:pt x="649" y="716"/>
                  <a:pt x="648" y="716"/>
                  <a:pt x="648" y="716"/>
                </a:cubicBezTo>
                <a:cubicBezTo>
                  <a:pt x="647" y="716"/>
                  <a:pt x="647" y="716"/>
                  <a:pt x="647" y="716"/>
                </a:cubicBezTo>
                <a:cubicBezTo>
                  <a:pt x="647" y="716"/>
                  <a:pt x="646" y="716"/>
                  <a:pt x="646" y="716"/>
                </a:cubicBezTo>
                <a:cubicBezTo>
                  <a:pt x="646" y="716"/>
                  <a:pt x="646" y="716"/>
                  <a:pt x="646" y="716"/>
                </a:cubicBezTo>
                <a:cubicBezTo>
                  <a:pt x="646" y="716"/>
                  <a:pt x="645" y="716"/>
                  <a:pt x="645" y="716"/>
                </a:cubicBezTo>
                <a:cubicBezTo>
                  <a:pt x="645" y="716"/>
                  <a:pt x="645" y="716"/>
                  <a:pt x="645" y="716"/>
                </a:cubicBezTo>
                <a:cubicBezTo>
                  <a:pt x="645" y="716"/>
                  <a:pt x="645" y="716"/>
                  <a:pt x="645" y="716"/>
                </a:cubicBezTo>
                <a:cubicBezTo>
                  <a:pt x="645" y="717"/>
                  <a:pt x="645" y="717"/>
                  <a:pt x="645" y="717"/>
                </a:cubicBezTo>
                <a:cubicBezTo>
                  <a:pt x="645" y="717"/>
                  <a:pt x="645" y="717"/>
                  <a:pt x="646" y="717"/>
                </a:cubicBezTo>
                <a:cubicBezTo>
                  <a:pt x="646" y="717"/>
                  <a:pt x="646" y="717"/>
                  <a:pt x="646" y="718"/>
                </a:cubicBezTo>
                <a:cubicBezTo>
                  <a:pt x="646" y="718"/>
                  <a:pt x="646" y="718"/>
                  <a:pt x="647" y="718"/>
                </a:cubicBezTo>
                <a:cubicBezTo>
                  <a:pt x="647" y="718"/>
                  <a:pt x="647" y="718"/>
                  <a:pt x="648" y="718"/>
                </a:cubicBezTo>
                <a:cubicBezTo>
                  <a:pt x="648" y="718"/>
                  <a:pt x="648" y="718"/>
                  <a:pt x="648" y="718"/>
                </a:cubicBezTo>
                <a:cubicBezTo>
                  <a:pt x="649" y="718"/>
                  <a:pt x="649" y="718"/>
                  <a:pt x="649" y="718"/>
                </a:cubicBezTo>
                <a:cubicBezTo>
                  <a:pt x="649" y="718"/>
                  <a:pt x="650" y="718"/>
                  <a:pt x="650" y="718"/>
                </a:cubicBezTo>
                <a:cubicBezTo>
                  <a:pt x="650" y="718"/>
                  <a:pt x="650" y="718"/>
                  <a:pt x="650" y="718"/>
                </a:cubicBezTo>
                <a:cubicBezTo>
                  <a:pt x="650" y="719"/>
                  <a:pt x="650" y="719"/>
                  <a:pt x="650" y="719"/>
                </a:cubicBezTo>
                <a:cubicBezTo>
                  <a:pt x="651" y="719"/>
                  <a:pt x="651" y="719"/>
                  <a:pt x="651" y="718"/>
                </a:cubicBezTo>
                <a:cubicBezTo>
                  <a:pt x="651" y="718"/>
                  <a:pt x="651" y="718"/>
                  <a:pt x="651" y="718"/>
                </a:cubicBezTo>
                <a:cubicBezTo>
                  <a:pt x="651" y="718"/>
                  <a:pt x="651" y="718"/>
                  <a:pt x="651" y="717"/>
                </a:cubicBezTo>
                <a:cubicBezTo>
                  <a:pt x="651" y="717"/>
                  <a:pt x="651" y="717"/>
                  <a:pt x="651" y="717"/>
                </a:cubicBezTo>
                <a:close/>
                <a:moveTo>
                  <a:pt x="649" y="718"/>
                </a:moveTo>
                <a:cubicBezTo>
                  <a:pt x="649" y="718"/>
                  <a:pt x="649" y="719"/>
                  <a:pt x="649" y="719"/>
                </a:cubicBezTo>
                <a:cubicBezTo>
                  <a:pt x="649" y="719"/>
                  <a:pt x="649" y="719"/>
                  <a:pt x="649" y="719"/>
                </a:cubicBezTo>
                <a:cubicBezTo>
                  <a:pt x="649" y="719"/>
                  <a:pt x="649" y="718"/>
                  <a:pt x="649" y="718"/>
                </a:cubicBezTo>
                <a:cubicBezTo>
                  <a:pt x="649" y="718"/>
                  <a:pt x="649" y="718"/>
                  <a:pt x="649" y="718"/>
                </a:cubicBezTo>
                <a:cubicBezTo>
                  <a:pt x="649" y="718"/>
                  <a:pt x="649" y="718"/>
                  <a:pt x="649" y="718"/>
                </a:cubicBezTo>
                <a:close/>
                <a:moveTo>
                  <a:pt x="672" y="722"/>
                </a:moveTo>
                <a:cubicBezTo>
                  <a:pt x="672" y="722"/>
                  <a:pt x="672" y="722"/>
                  <a:pt x="672" y="722"/>
                </a:cubicBezTo>
                <a:cubicBezTo>
                  <a:pt x="673" y="722"/>
                  <a:pt x="673" y="722"/>
                  <a:pt x="673" y="722"/>
                </a:cubicBezTo>
                <a:cubicBezTo>
                  <a:pt x="673" y="722"/>
                  <a:pt x="673" y="722"/>
                  <a:pt x="672" y="722"/>
                </a:cubicBezTo>
                <a:cubicBezTo>
                  <a:pt x="672" y="722"/>
                  <a:pt x="672" y="722"/>
                  <a:pt x="672" y="722"/>
                </a:cubicBezTo>
                <a:close/>
                <a:moveTo>
                  <a:pt x="652" y="718"/>
                </a:moveTo>
                <a:cubicBezTo>
                  <a:pt x="652" y="718"/>
                  <a:pt x="652" y="718"/>
                  <a:pt x="652" y="719"/>
                </a:cubicBezTo>
                <a:cubicBezTo>
                  <a:pt x="652" y="719"/>
                  <a:pt x="652" y="719"/>
                  <a:pt x="652" y="719"/>
                </a:cubicBezTo>
                <a:cubicBezTo>
                  <a:pt x="652" y="719"/>
                  <a:pt x="652" y="719"/>
                  <a:pt x="652" y="719"/>
                </a:cubicBezTo>
                <a:cubicBezTo>
                  <a:pt x="652" y="719"/>
                  <a:pt x="652" y="718"/>
                  <a:pt x="652" y="718"/>
                </a:cubicBezTo>
                <a:cubicBezTo>
                  <a:pt x="652" y="718"/>
                  <a:pt x="652" y="718"/>
                  <a:pt x="653" y="718"/>
                </a:cubicBezTo>
                <a:cubicBezTo>
                  <a:pt x="652" y="718"/>
                  <a:pt x="652" y="718"/>
                  <a:pt x="652" y="718"/>
                </a:cubicBezTo>
                <a:cubicBezTo>
                  <a:pt x="652" y="718"/>
                  <a:pt x="652" y="718"/>
                  <a:pt x="652" y="718"/>
                </a:cubicBezTo>
                <a:close/>
                <a:moveTo>
                  <a:pt x="673" y="720"/>
                </a:moveTo>
                <a:cubicBezTo>
                  <a:pt x="673" y="720"/>
                  <a:pt x="673" y="720"/>
                  <a:pt x="673" y="720"/>
                </a:cubicBezTo>
                <a:cubicBezTo>
                  <a:pt x="673" y="720"/>
                  <a:pt x="673" y="721"/>
                  <a:pt x="673" y="721"/>
                </a:cubicBezTo>
                <a:cubicBezTo>
                  <a:pt x="673" y="721"/>
                  <a:pt x="673" y="721"/>
                  <a:pt x="673" y="721"/>
                </a:cubicBezTo>
                <a:cubicBezTo>
                  <a:pt x="673" y="721"/>
                  <a:pt x="673" y="721"/>
                  <a:pt x="673" y="722"/>
                </a:cubicBezTo>
                <a:cubicBezTo>
                  <a:pt x="673" y="722"/>
                  <a:pt x="674" y="722"/>
                  <a:pt x="674" y="721"/>
                </a:cubicBezTo>
                <a:cubicBezTo>
                  <a:pt x="674" y="721"/>
                  <a:pt x="674" y="721"/>
                  <a:pt x="674" y="721"/>
                </a:cubicBezTo>
                <a:cubicBezTo>
                  <a:pt x="674" y="721"/>
                  <a:pt x="673" y="721"/>
                  <a:pt x="673" y="720"/>
                </a:cubicBezTo>
                <a:close/>
                <a:moveTo>
                  <a:pt x="656" y="715"/>
                </a:moveTo>
                <a:cubicBezTo>
                  <a:pt x="656" y="715"/>
                  <a:pt x="656" y="715"/>
                  <a:pt x="656" y="715"/>
                </a:cubicBezTo>
                <a:cubicBezTo>
                  <a:pt x="656" y="715"/>
                  <a:pt x="656" y="716"/>
                  <a:pt x="656" y="716"/>
                </a:cubicBezTo>
                <a:cubicBezTo>
                  <a:pt x="657" y="716"/>
                  <a:pt x="657" y="716"/>
                  <a:pt x="657" y="716"/>
                </a:cubicBezTo>
                <a:cubicBezTo>
                  <a:pt x="657" y="716"/>
                  <a:pt x="658" y="716"/>
                  <a:pt x="658" y="716"/>
                </a:cubicBezTo>
                <a:cubicBezTo>
                  <a:pt x="658" y="716"/>
                  <a:pt x="658" y="716"/>
                  <a:pt x="658" y="716"/>
                </a:cubicBezTo>
                <a:cubicBezTo>
                  <a:pt x="658" y="716"/>
                  <a:pt x="658" y="716"/>
                  <a:pt x="658" y="716"/>
                </a:cubicBezTo>
                <a:cubicBezTo>
                  <a:pt x="658" y="716"/>
                  <a:pt x="658" y="715"/>
                  <a:pt x="657" y="715"/>
                </a:cubicBezTo>
                <a:cubicBezTo>
                  <a:pt x="658" y="715"/>
                  <a:pt x="658" y="715"/>
                  <a:pt x="658" y="715"/>
                </a:cubicBezTo>
                <a:cubicBezTo>
                  <a:pt x="658" y="715"/>
                  <a:pt x="658" y="715"/>
                  <a:pt x="657" y="714"/>
                </a:cubicBezTo>
                <a:cubicBezTo>
                  <a:pt x="657" y="714"/>
                  <a:pt x="657" y="714"/>
                  <a:pt x="657" y="714"/>
                </a:cubicBezTo>
                <a:cubicBezTo>
                  <a:pt x="657" y="714"/>
                  <a:pt x="657" y="714"/>
                  <a:pt x="657" y="714"/>
                </a:cubicBezTo>
                <a:cubicBezTo>
                  <a:pt x="657" y="713"/>
                  <a:pt x="657" y="713"/>
                  <a:pt x="656" y="713"/>
                </a:cubicBezTo>
                <a:cubicBezTo>
                  <a:pt x="656" y="713"/>
                  <a:pt x="656" y="713"/>
                  <a:pt x="656" y="713"/>
                </a:cubicBezTo>
                <a:cubicBezTo>
                  <a:pt x="656" y="713"/>
                  <a:pt x="656" y="713"/>
                  <a:pt x="656" y="713"/>
                </a:cubicBezTo>
                <a:cubicBezTo>
                  <a:pt x="656" y="714"/>
                  <a:pt x="656" y="714"/>
                  <a:pt x="656" y="714"/>
                </a:cubicBezTo>
                <a:cubicBezTo>
                  <a:pt x="656" y="714"/>
                  <a:pt x="656" y="714"/>
                  <a:pt x="656" y="715"/>
                </a:cubicBezTo>
                <a:close/>
                <a:moveTo>
                  <a:pt x="672" y="717"/>
                </a:moveTo>
                <a:cubicBezTo>
                  <a:pt x="672" y="717"/>
                  <a:pt x="672" y="717"/>
                  <a:pt x="671" y="717"/>
                </a:cubicBezTo>
                <a:cubicBezTo>
                  <a:pt x="671" y="717"/>
                  <a:pt x="670" y="717"/>
                  <a:pt x="670" y="717"/>
                </a:cubicBezTo>
                <a:cubicBezTo>
                  <a:pt x="670" y="717"/>
                  <a:pt x="669" y="718"/>
                  <a:pt x="669" y="718"/>
                </a:cubicBezTo>
                <a:cubicBezTo>
                  <a:pt x="669" y="718"/>
                  <a:pt x="668" y="718"/>
                  <a:pt x="668" y="718"/>
                </a:cubicBezTo>
                <a:cubicBezTo>
                  <a:pt x="668" y="718"/>
                  <a:pt x="667" y="718"/>
                  <a:pt x="667" y="718"/>
                </a:cubicBezTo>
                <a:cubicBezTo>
                  <a:pt x="666" y="719"/>
                  <a:pt x="666" y="719"/>
                  <a:pt x="665" y="719"/>
                </a:cubicBezTo>
                <a:cubicBezTo>
                  <a:pt x="665" y="719"/>
                  <a:pt x="664" y="719"/>
                  <a:pt x="664" y="719"/>
                </a:cubicBezTo>
                <a:cubicBezTo>
                  <a:pt x="664" y="719"/>
                  <a:pt x="664" y="719"/>
                  <a:pt x="664" y="719"/>
                </a:cubicBezTo>
                <a:cubicBezTo>
                  <a:pt x="664" y="720"/>
                  <a:pt x="663" y="720"/>
                  <a:pt x="663" y="720"/>
                </a:cubicBezTo>
                <a:cubicBezTo>
                  <a:pt x="663" y="720"/>
                  <a:pt x="663" y="720"/>
                  <a:pt x="663" y="720"/>
                </a:cubicBezTo>
                <a:cubicBezTo>
                  <a:pt x="663" y="720"/>
                  <a:pt x="663" y="720"/>
                  <a:pt x="663" y="720"/>
                </a:cubicBezTo>
                <a:cubicBezTo>
                  <a:pt x="663" y="720"/>
                  <a:pt x="663" y="720"/>
                  <a:pt x="664" y="720"/>
                </a:cubicBezTo>
                <a:cubicBezTo>
                  <a:pt x="664" y="720"/>
                  <a:pt x="664" y="720"/>
                  <a:pt x="664" y="720"/>
                </a:cubicBezTo>
                <a:cubicBezTo>
                  <a:pt x="664" y="720"/>
                  <a:pt x="664" y="721"/>
                  <a:pt x="663" y="721"/>
                </a:cubicBezTo>
                <a:cubicBezTo>
                  <a:pt x="663" y="721"/>
                  <a:pt x="663" y="721"/>
                  <a:pt x="663" y="721"/>
                </a:cubicBezTo>
                <a:cubicBezTo>
                  <a:pt x="663" y="721"/>
                  <a:pt x="663" y="721"/>
                  <a:pt x="663" y="721"/>
                </a:cubicBezTo>
                <a:cubicBezTo>
                  <a:pt x="663" y="722"/>
                  <a:pt x="663" y="722"/>
                  <a:pt x="663" y="722"/>
                </a:cubicBezTo>
                <a:cubicBezTo>
                  <a:pt x="664" y="722"/>
                  <a:pt x="664" y="721"/>
                  <a:pt x="664" y="721"/>
                </a:cubicBezTo>
                <a:cubicBezTo>
                  <a:pt x="664" y="721"/>
                  <a:pt x="664" y="722"/>
                  <a:pt x="664" y="722"/>
                </a:cubicBezTo>
                <a:cubicBezTo>
                  <a:pt x="664" y="722"/>
                  <a:pt x="664" y="722"/>
                  <a:pt x="664" y="722"/>
                </a:cubicBezTo>
                <a:cubicBezTo>
                  <a:pt x="664" y="722"/>
                  <a:pt x="664" y="722"/>
                  <a:pt x="665" y="722"/>
                </a:cubicBezTo>
                <a:cubicBezTo>
                  <a:pt x="665" y="722"/>
                  <a:pt x="665" y="722"/>
                  <a:pt x="665" y="722"/>
                </a:cubicBezTo>
                <a:cubicBezTo>
                  <a:pt x="665" y="722"/>
                  <a:pt x="666" y="722"/>
                  <a:pt x="666" y="722"/>
                </a:cubicBezTo>
                <a:cubicBezTo>
                  <a:pt x="666" y="722"/>
                  <a:pt x="666" y="722"/>
                  <a:pt x="666" y="722"/>
                </a:cubicBezTo>
                <a:cubicBezTo>
                  <a:pt x="666" y="722"/>
                  <a:pt x="666" y="722"/>
                  <a:pt x="666" y="721"/>
                </a:cubicBezTo>
                <a:cubicBezTo>
                  <a:pt x="666" y="721"/>
                  <a:pt x="666" y="721"/>
                  <a:pt x="666" y="721"/>
                </a:cubicBezTo>
                <a:cubicBezTo>
                  <a:pt x="666" y="721"/>
                  <a:pt x="666" y="721"/>
                  <a:pt x="666" y="721"/>
                </a:cubicBezTo>
                <a:cubicBezTo>
                  <a:pt x="666" y="721"/>
                  <a:pt x="666" y="721"/>
                  <a:pt x="667" y="721"/>
                </a:cubicBezTo>
                <a:cubicBezTo>
                  <a:pt x="667" y="721"/>
                  <a:pt x="667" y="721"/>
                  <a:pt x="667" y="721"/>
                </a:cubicBezTo>
                <a:cubicBezTo>
                  <a:pt x="667" y="721"/>
                  <a:pt x="667" y="721"/>
                  <a:pt x="668" y="721"/>
                </a:cubicBezTo>
                <a:cubicBezTo>
                  <a:pt x="668" y="721"/>
                  <a:pt x="668" y="721"/>
                  <a:pt x="668" y="721"/>
                </a:cubicBezTo>
                <a:cubicBezTo>
                  <a:pt x="668" y="721"/>
                  <a:pt x="669" y="721"/>
                  <a:pt x="669" y="721"/>
                </a:cubicBezTo>
                <a:cubicBezTo>
                  <a:pt x="669" y="721"/>
                  <a:pt x="669" y="721"/>
                  <a:pt x="670" y="722"/>
                </a:cubicBezTo>
                <a:cubicBezTo>
                  <a:pt x="670" y="722"/>
                  <a:pt x="670" y="722"/>
                  <a:pt x="670" y="722"/>
                </a:cubicBezTo>
                <a:cubicBezTo>
                  <a:pt x="670" y="721"/>
                  <a:pt x="670" y="721"/>
                  <a:pt x="670" y="721"/>
                </a:cubicBezTo>
                <a:cubicBezTo>
                  <a:pt x="670" y="721"/>
                  <a:pt x="669" y="721"/>
                  <a:pt x="669" y="720"/>
                </a:cubicBezTo>
                <a:cubicBezTo>
                  <a:pt x="669" y="720"/>
                  <a:pt x="669" y="720"/>
                  <a:pt x="668" y="720"/>
                </a:cubicBezTo>
                <a:cubicBezTo>
                  <a:pt x="668" y="720"/>
                  <a:pt x="668" y="720"/>
                  <a:pt x="668" y="720"/>
                </a:cubicBezTo>
                <a:cubicBezTo>
                  <a:pt x="668" y="720"/>
                  <a:pt x="668" y="720"/>
                  <a:pt x="668" y="720"/>
                </a:cubicBezTo>
                <a:cubicBezTo>
                  <a:pt x="668" y="720"/>
                  <a:pt x="667" y="720"/>
                  <a:pt x="667" y="720"/>
                </a:cubicBezTo>
                <a:cubicBezTo>
                  <a:pt x="667" y="720"/>
                  <a:pt x="667" y="720"/>
                  <a:pt x="667" y="720"/>
                </a:cubicBezTo>
                <a:cubicBezTo>
                  <a:pt x="667" y="720"/>
                  <a:pt x="666" y="720"/>
                  <a:pt x="666" y="720"/>
                </a:cubicBezTo>
                <a:cubicBezTo>
                  <a:pt x="666" y="720"/>
                  <a:pt x="667" y="719"/>
                  <a:pt x="667" y="719"/>
                </a:cubicBezTo>
                <a:cubicBezTo>
                  <a:pt x="667" y="719"/>
                  <a:pt x="667" y="719"/>
                  <a:pt x="667" y="719"/>
                </a:cubicBezTo>
                <a:cubicBezTo>
                  <a:pt x="668" y="719"/>
                  <a:pt x="668" y="719"/>
                  <a:pt x="668" y="718"/>
                </a:cubicBezTo>
                <a:cubicBezTo>
                  <a:pt x="668" y="718"/>
                  <a:pt x="668" y="718"/>
                  <a:pt x="669" y="718"/>
                </a:cubicBezTo>
                <a:cubicBezTo>
                  <a:pt x="669" y="719"/>
                  <a:pt x="669" y="719"/>
                  <a:pt x="669" y="719"/>
                </a:cubicBezTo>
                <a:cubicBezTo>
                  <a:pt x="669" y="719"/>
                  <a:pt x="669" y="719"/>
                  <a:pt x="669" y="719"/>
                </a:cubicBezTo>
                <a:cubicBezTo>
                  <a:pt x="670" y="719"/>
                  <a:pt x="670" y="719"/>
                  <a:pt x="670" y="719"/>
                </a:cubicBezTo>
                <a:cubicBezTo>
                  <a:pt x="671" y="719"/>
                  <a:pt x="671" y="719"/>
                  <a:pt x="671" y="719"/>
                </a:cubicBezTo>
                <a:cubicBezTo>
                  <a:pt x="671" y="719"/>
                  <a:pt x="671" y="719"/>
                  <a:pt x="671" y="719"/>
                </a:cubicBezTo>
                <a:cubicBezTo>
                  <a:pt x="672" y="719"/>
                  <a:pt x="672" y="719"/>
                  <a:pt x="672" y="719"/>
                </a:cubicBezTo>
                <a:cubicBezTo>
                  <a:pt x="672" y="719"/>
                  <a:pt x="672" y="719"/>
                  <a:pt x="672" y="718"/>
                </a:cubicBezTo>
                <a:cubicBezTo>
                  <a:pt x="673" y="718"/>
                  <a:pt x="673" y="718"/>
                  <a:pt x="673" y="718"/>
                </a:cubicBezTo>
                <a:cubicBezTo>
                  <a:pt x="673" y="718"/>
                  <a:pt x="672" y="718"/>
                  <a:pt x="672" y="718"/>
                </a:cubicBezTo>
                <a:cubicBezTo>
                  <a:pt x="672" y="718"/>
                  <a:pt x="672" y="717"/>
                  <a:pt x="672" y="717"/>
                </a:cubicBezTo>
                <a:close/>
                <a:moveTo>
                  <a:pt x="657" y="722"/>
                </a:moveTo>
                <a:cubicBezTo>
                  <a:pt x="657" y="722"/>
                  <a:pt x="657" y="722"/>
                  <a:pt x="657" y="722"/>
                </a:cubicBezTo>
                <a:cubicBezTo>
                  <a:pt x="657" y="722"/>
                  <a:pt x="658" y="722"/>
                  <a:pt x="658" y="721"/>
                </a:cubicBezTo>
                <a:cubicBezTo>
                  <a:pt x="658" y="721"/>
                  <a:pt x="657" y="721"/>
                  <a:pt x="657" y="721"/>
                </a:cubicBezTo>
                <a:cubicBezTo>
                  <a:pt x="657" y="721"/>
                  <a:pt x="657" y="722"/>
                  <a:pt x="657" y="722"/>
                </a:cubicBezTo>
                <a:close/>
                <a:moveTo>
                  <a:pt x="655" y="717"/>
                </a:moveTo>
                <a:cubicBezTo>
                  <a:pt x="655" y="718"/>
                  <a:pt x="655" y="718"/>
                  <a:pt x="655" y="718"/>
                </a:cubicBezTo>
                <a:cubicBezTo>
                  <a:pt x="655" y="718"/>
                  <a:pt x="656" y="718"/>
                  <a:pt x="656" y="718"/>
                </a:cubicBezTo>
                <a:cubicBezTo>
                  <a:pt x="656" y="718"/>
                  <a:pt x="656" y="718"/>
                  <a:pt x="656" y="717"/>
                </a:cubicBezTo>
                <a:cubicBezTo>
                  <a:pt x="656" y="717"/>
                  <a:pt x="656" y="717"/>
                  <a:pt x="656" y="717"/>
                </a:cubicBezTo>
                <a:cubicBezTo>
                  <a:pt x="656" y="717"/>
                  <a:pt x="656" y="717"/>
                  <a:pt x="656" y="716"/>
                </a:cubicBezTo>
                <a:cubicBezTo>
                  <a:pt x="656" y="716"/>
                  <a:pt x="656" y="716"/>
                  <a:pt x="656" y="716"/>
                </a:cubicBezTo>
                <a:cubicBezTo>
                  <a:pt x="656" y="716"/>
                  <a:pt x="656" y="716"/>
                  <a:pt x="656" y="716"/>
                </a:cubicBezTo>
                <a:cubicBezTo>
                  <a:pt x="655" y="717"/>
                  <a:pt x="655" y="717"/>
                  <a:pt x="655" y="717"/>
                </a:cubicBezTo>
                <a:cubicBezTo>
                  <a:pt x="655" y="717"/>
                  <a:pt x="655" y="717"/>
                  <a:pt x="655" y="716"/>
                </a:cubicBezTo>
                <a:cubicBezTo>
                  <a:pt x="654" y="716"/>
                  <a:pt x="654" y="716"/>
                  <a:pt x="653" y="716"/>
                </a:cubicBezTo>
                <a:cubicBezTo>
                  <a:pt x="653" y="717"/>
                  <a:pt x="653" y="717"/>
                  <a:pt x="653" y="717"/>
                </a:cubicBezTo>
                <a:cubicBezTo>
                  <a:pt x="653" y="717"/>
                  <a:pt x="652" y="717"/>
                  <a:pt x="652" y="717"/>
                </a:cubicBezTo>
                <a:cubicBezTo>
                  <a:pt x="652" y="717"/>
                  <a:pt x="652" y="717"/>
                  <a:pt x="652" y="717"/>
                </a:cubicBezTo>
                <a:cubicBezTo>
                  <a:pt x="652" y="717"/>
                  <a:pt x="652" y="717"/>
                  <a:pt x="653" y="718"/>
                </a:cubicBezTo>
                <a:cubicBezTo>
                  <a:pt x="653" y="718"/>
                  <a:pt x="653" y="718"/>
                  <a:pt x="653" y="718"/>
                </a:cubicBezTo>
                <a:cubicBezTo>
                  <a:pt x="653" y="718"/>
                  <a:pt x="653" y="718"/>
                  <a:pt x="653" y="718"/>
                </a:cubicBezTo>
                <a:cubicBezTo>
                  <a:pt x="654" y="718"/>
                  <a:pt x="654" y="718"/>
                  <a:pt x="654" y="718"/>
                </a:cubicBezTo>
                <a:cubicBezTo>
                  <a:pt x="654" y="718"/>
                  <a:pt x="654" y="718"/>
                  <a:pt x="655" y="718"/>
                </a:cubicBezTo>
                <a:cubicBezTo>
                  <a:pt x="655" y="718"/>
                  <a:pt x="655" y="718"/>
                  <a:pt x="655" y="717"/>
                </a:cubicBezTo>
                <a:close/>
                <a:moveTo>
                  <a:pt x="657" y="721"/>
                </a:moveTo>
                <a:cubicBezTo>
                  <a:pt x="657" y="721"/>
                  <a:pt x="657" y="721"/>
                  <a:pt x="657" y="720"/>
                </a:cubicBezTo>
                <a:cubicBezTo>
                  <a:pt x="657" y="720"/>
                  <a:pt x="657" y="720"/>
                  <a:pt x="657" y="720"/>
                </a:cubicBezTo>
                <a:cubicBezTo>
                  <a:pt x="657" y="720"/>
                  <a:pt x="657" y="721"/>
                  <a:pt x="656" y="721"/>
                </a:cubicBezTo>
                <a:cubicBezTo>
                  <a:pt x="657" y="721"/>
                  <a:pt x="657" y="721"/>
                  <a:pt x="657" y="721"/>
                </a:cubicBezTo>
                <a:cubicBezTo>
                  <a:pt x="657" y="721"/>
                  <a:pt x="657" y="721"/>
                  <a:pt x="657" y="721"/>
                </a:cubicBezTo>
                <a:close/>
                <a:moveTo>
                  <a:pt x="631" y="701"/>
                </a:moveTo>
                <a:cubicBezTo>
                  <a:pt x="630" y="701"/>
                  <a:pt x="630" y="701"/>
                  <a:pt x="630" y="701"/>
                </a:cubicBezTo>
                <a:cubicBezTo>
                  <a:pt x="630" y="701"/>
                  <a:pt x="630" y="701"/>
                  <a:pt x="630" y="701"/>
                </a:cubicBezTo>
                <a:cubicBezTo>
                  <a:pt x="630" y="701"/>
                  <a:pt x="630" y="701"/>
                  <a:pt x="630" y="701"/>
                </a:cubicBezTo>
                <a:cubicBezTo>
                  <a:pt x="630" y="701"/>
                  <a:pt x="630" y="702"/>
                  <a:pt x="630" y="702"/>
                </a:cubicBezTo>
                <a:cubicBezTo>
                  <a:pt x="630" y="702"/>
                  <a:pt x="630" y="702"/>
                  <a:pt x="630" y="702"/>
                </a:cubicBezTo>
                <a:cubicBezTo>
                  <a:pt x="631" y="702"/>
                  <a:pt x="631" y="702"/>
                  <a:pt x="631" y="702"/>
                </a:cubicBezTo>
                <a:cubicBezTo>
                  <a:pt x="631" y="702"/>
                  <a:pt x="631" y="702"/>
                  <a:pt x="631" y="702"/>
                </a:cubicBezTo>
                <a:cubicBezTo>
                  <a:pt x="631" y="702"/>
                  <a:pt x="631" y="702"/>
                  <a:pt x="632" y="702"/>
                </a:cubicBezTo>
                <a:cubicBezTo>
                  <a:pt x="631" y="702"/>
                  <a:pt x="631" y="702"/>
                  <a:pt x="631" y="701"/>
                </a:cubicBezTo>
                <a:cubicBezTo>
                  <a:pt x="631" y="701"/>
                  <a:pt x="631" y="701"/>
                  <a:pt x="632" y="701"/>
                </a:cubicBezTo>
                <a:cubicBezTo>
                  <a:pt x="631" y="701"/>
                  <a:pt x="631" y="701"/>
                  <a:pt x="631" y="701"/>
                </a:cubicBezTo>
                <a:close/>
                <a:moveTo>
                  <a:pt x="600" y="424"/>
                </a:moveTo>
                <a:cubicBezTo>
                  <a:pt x="600" y="424"/>
                  <a:pt x="600" y="424"/>
                  <a:pt x="599" y="424"/>
                </a:cubicBezTo>
                <a:cubicBezTo>
                  <a:pt x="599" y="424"/>
                  <a:pt x="599" y="424"/>
                  <a:pt x="599" y="425"/>
                </a:cubicBezTo>
                <a:cubicBezTo>
                  <a:pt x="599" y="424"/>
                  <a:pt x="600" y="424"/>
                  <a:pt x="600" y="424"/>
                </a:cubicBezTo>
                <a:close/>
                <a:moveTo>
                  <a:pt x="604" y="425"/>
                </a:moveTo>
                <a:cubicBezTo>
                  <a:pt x="603" y="425"/>
                  <a:pt x="603" y="425"/>
                  <a:pt x="603" y="425"/>
                </a:cubicBezTo>
                <a:cubicBezTo>
                  <a:pt x="602" y="425"/>
                  <a:pt x="602" y="425"/>
                  <a:pt x="602" y="425"/>
                </a:cubicBezTo>
                <a:cubicBezTo>
                  <a:pt x="602" y="425"/>
                  <a:pt x="602" y="425"/>
                  <a:pt x="602" y="426"/>
                </a:cubicBezTo>
                <a:cubicBezTo>
                  <a:pt x="602" y="426"/>
                  <a:pt x="603" y="426"/>
                  <a:pt x="603" y="427"/>
                </a:cubicBezTo>
                <a:cubicBezTo>
                  <a:pt x="603" y="426"/>
                  <a:pt x="604" y="426"/>
                  <a:pt x="604" y="425"/>
                </a:cubicBezTo>
                <a:close/>
                <a:moveTo>
                  <a:pt x="605" y="427"/>
                </a:moveTo>
                <a:cubicBezTo>
                  <a:pt x="605" y="426"/>
                  <a:pt x="605" y="426"/>
                  <a:pt x="605" y="426"/>
                </a:cubicBezTo>
                <a:cubicBezTo>
                  <a:pt x="605" y="426"/>
                  <a:pt x="605" y="426"/>
                  <a:pt x="605" y="426"/>
                </a:cubicBezTo>
                <a:cubicBezTo>
                  <a:pt x="605" y="426"/>
                  <a:pt x="605" y="427"/>
                  <a:pt x="605" y="427"/>
                </a:cubicBezTo>
                <a:close/>
                <a:moveTo>
                  <a:pt x="605" y="425"/>
                </a:moveTo>
                <a:cubicBezTo>
                  <a:pt x="605" y="424"/>
                  <a:pt x="605" y="424"/>
                  <a:pt x="604" y="424"/>
                </a:cubicBezTo>
                <a:cubicBezTo>
                  <a:pt x="604" y="424"/>
                  <a:pt x="604" y="424"/>
                  <a:pt x="603" y="424"/>
                </a:cubicBezTo>
                <a:cubicBezTo>
                  <a:pt x="604" y="425"/>
                  <a:pt x="604" y="425"/>
                  <a:pt x="604" y="425"/>
                </a:cubicBezTo>
                <a:cubicBezTo>
                  <a:pt x="605" y="425"/>
                  <a:pt x="605" y="425"/>
                  <a:pt x="605" y="425"/>
                </a:cubicBezTo>
                <a:close/>
                <a:moveTo>
                  <a:pt x="606" y="429"/>
                </a:moveTo>
                <a:cubicBezTo>
                  <a:pt x="605" y="429"/>
                  <a:pt x="605" y="428"/>
                  <a:pt x="605" y="428"/>
                </a:cubicBezTo>
                <a:cubicBezTo>
                  <a:pt x="605" y="428"/>
                  <a:pt x="605" y="428"/>
                  <a:pt x="604" y="428"/>
                </a:cubicBezTo>
                <a:cubicBezTo>
                  <a:pt x="604" y="428"/>
                  <a:pt x="604" y="428"/>
                  <a:pt x="604" y="428"/>
                </a:cubicBezTo>
                <a:cubicBezTo>
                  <a:pt x="604" y="429"/>
                  <a:pt x="604" y="429"/>
                  <a:pt x="605" y="429"/>
                </a:cubicBezTo>
                <a:cubicBezTo>
                  <a:pt x="605" y="429"/>
                  <a:pt x="605" y="429"/>
                  <a:pt x="606" y="429"/>
                </a:cubicBezTo>
                <a:close/>
                <a:moveTo>
                  <a:pt x="606" y="432"/>
                </a:moveTo>
                <a:cubicBezTo>
                  <a:pt x="606" y="432"/>
                  <a:pt x="606" y="432"/>
                  <a:pt x="606" y="432"/>
                </a:cubicBezTo>
                <a:cubicBezTo>
                  <a:pt x="607" y="432"/>
                  <a:pt x="607" y="432"/>
                  <a:pt x="607" y="432"/>
                </a:cubicBezTo>
                <a:cubicBezTo>
                  <a:pt x="607" y="432"/>
                  <a:pt x="608" y="432"/>
                  <a:pt x="608" y="432"/>
                </a:cubicBezTo>
                <a:cubicBezTo>
                  <a:pt x="608" y="432"/>
                  <a:pt x="608" y="432"/>
                  <a:pt x="608" y="431"/>
                </a:cubicBezTo>
                <a:cubicBezTo>
                  <a:pt x="608" y="431"/>
                  <a:pt x="607" y="431"/>
                  <a:pt x="607" y="430"/>
                </a:cubicBezTo>
                <a:cubicBezTo>
                  <a:pt x="606" y="430"/>
                  <a:pt x="606" y="430"/>
                  <a:pt x="605" y="430"/>
                </a:cubicBezTo>
                <a:cubicBezTo>
                  <a:pt x="605" y="431"/>
                  <a:pt x="605" y="431"/>
                  <a:pt x="605" y="431"/>
                </a:cubicBezTo>
                <a:cubicBezTo>
                  <a:pt x="606" y="431"/>
                  <a:pt x="606" y="431"/>
                  <a:pt x="606" y="432"/>
                </a:cubicBezTo>
                <a:close/>
                <a:moveTo>
                  <a:pt x="608" y="434"/>
                </a:moveTo>
                <a:cubicBezTo>
                  <a:pt x="608" y="434"/>
                  <a:pt x="608" y="433"/>
                  <a:pt x="608" y="433"/>
                </a:cubicBezTo>
                <a:cubicBezTo>
                  <a:pt x="607" y="433"/>
                  <a:pt x="607" y="434"/>
                  <a:pt x="607" y="434"/>
                </a:cubicBezTo>
                <a:cubicBezTo>
                  <a:pt x="607" y="435"/>
                  <a:pt x="607" y="435"/>
                  <a:pt x="607" y="435"/>
                </a:cubicBezTo>
                <a:cubicBezTo>
                  <a:pt x="607" y="435"/>
                  <a:pt x="608" y="435"/>
                  <a:pt x="608" y="435"/>
                </a:cubicBezTo>
                <a:cubicBezTo>
                  <a:pt x="608" y="435"/>
                  <a:pt x="608" y="434"/>
                  <a:pt x="608" y="434"/>
                </a:cubicBezTo>
                <a:close/>
                <a:moveTo>
                  <a:pt x="615" y="435"/>
                </a:moveTo>
                <a:cubicBezTo>
                  <a:pt x="615" y="435"/>
                  <a:pt x="615" y="436"/>
                  <a:pt x="615" y="436"/>
                </a:cubicBezTo>
                <a:cubicBezTo>
                  <a:pt x="616" y="436"/>
                  <a:pt x="616" y="436"/>
                  <a:pt x="617" y="435"/>
                </a:cubicBezTo>
                <a:cubicBezTo>
                  <a:pt x="617" y="435"/>
                  <a:pt x="616" y="435"/>
                  <a:pt x="616" y="435"/>
                </a:cubicBezTo>
                <a:cubicBezTo>
                  <a:pt x="616" y="435"/>
                  <a:pt x="616" y="434"/>
                  <a:pt x="615" y="434"/>
                </a:cubicBezTo>
                <a:cubicBezTo>
                  <a:pt x="615" y="435"/>
                  <a:pt x="615" y="435"/>
                  <a:pt x="615" y="435"/>
                </a:cubicBezTo>
                <a:close/>
                <a:moveTo>
                  <a:pt x="607" y="436"/>
                </a:moveTo>
                <a:cubicBezTo>
                  <a:pt x="607" y="436"/>
                  <a:pt x="607" y="437"/>
                  <a:pt x="607" y="438"/>
                </a:cubicBezTo>
                <a:cubicBezTo>
                  <a:pt x="607" y="437"/>
                  <a:pt x="607" y="437"/>
                  <a:pt x="607" y="437"/>
                </a:cubicBezTo>
                <a:cubicBezTo>
                  <a:pt x="607" y="436"/>
                  <a:pt x="607" y="436"/>
                  <a:pt x="607" y="436"/>
                </a:cubicBezTo>
                <a:close/>
                <a:moveTo>
                  <a:pt x="607" y="441"/>
                </a:moveTo>
                <a:cubicBezTo>
                  <a:pt x="606" y="441"/>
                  <a:pt x="606" y="441"/>
                  <a:pt x="606" y="441"/>
                </a:cubicBezTo>
                <a:cubicBezTo>
                  <a:pt x="606" y="441"/>
                  <a:pt x="605" y="441"/>
                  <a:pt x="605" y="441"/>
                </a:cubicBezTo>
                <a:cubicBezTo>
                  <a:pt x="605" y="441"/>
                  <a:pt x="605" y="442"/>
                  <a:pt x="605" y="442"/>
                </a:cubicBezTo>
                <a:cubicBezTo>
                  <a:pt x="605" y="442"/>
                  <a:pt x="606" y="442"/>
                  <a:pt x="606" y="442"/>
                </a:cubicBezTo>
                <a:cubicBezTo>
                  <a:pt x="606" y="441"/>
                  <a:pt x="606" y="441"/>
                  <a:pt x="607" y="441"/>
                </a:cubicBezTo>
                <a:close/>
                <a:moveTo>
                  <a:pt x="607" y="440"/>
                </a:moveTo>
                <a:cubicBezTo>
                  <a:pt x="607" y="440"/>
                  <a:pt x="607" y="440"/>
                  <a:pt x="607" y="440"/>
                </a:cubicBezTo>
                <a:cubicBezTo>
                  <a:pt x="607" y="440"/>
                  <a:pt x="607" y="439"/>
                  <a:pt x="607" y="439"/>
                </a:cubicBezTo>
                <a:cubicBezTo>
                  <a:pt x="607" y="439"/>
                  <a:pt x="607" y="440"/>
                  <a:pt x="607" y="440"/>
                </a:cubicBezTo>
                <a:close/>
                <a:moveTo>
                  <a:pt x="610" y="445"/>
                </a:moveTo>
                <a:cubicBezTo>
                  <a:pt x="609" y="445"/>
                  <a:pt x="609" y="446"/>
                  <a:pt x="608" y="446"/>
                </a:cubicBezTo>
                <a:cubicBezTo>
                  <a:pt x="608" y="446"/>
                  <a:pt x="608" y="446"/>
                  <a:pt x="607" y="446"/>
                </a:cubicBezTo>
                <a:cubicBezTo>
                  <a:pt x="607" y="446"/>
                  <a:pt x="607" y="446"/>
                  <a:pt x="606" y="446"/>
                </a:cubicBezTo>
                <a:cubicBezTo>
                  <a:pt x="606" y="446"/>
                  <a:pt x="606" y="447"/>
                  <a:pt x="606" y="447"/>
                </a:cubicBezTo>
                <a:cubicBezTo>
                  <a:pt x="607" y="447"/>
                  <a:pt x="607" y="447"/>
                  <a:pt x="607" y="447"/>
                </a:cubicBezTo>
                <a:cubicBezTo>
                  <a:pt x="607" y="447"/>
                  <a:pt x="607" y="448"/>
                  <a:pt x="607" y="448"/>
                </a:cubicBezTo>
                <a:cubicBezTo>
                  <a:pt x="607" y="448"/>
                  <a:pt x="607" y="448"/>
                  <a:pt x="607" y="449"/>
                </a:cubicBezTo>
                <a:cubicBezTo>
                  <a:pt x="606" y="449"/>
                  <a:pt x="606" y="449"/>
                  <a:pt x="606" y="449"/>
                </a:cubicBezTo>
                <a:cubicBezTo>
                  <a:pt x="606" y="449"/>
                  <a:pt x="607" y="449"/>
                  <a:pt x="607" y="449"/>
                </a:cubicBezTo>
                <a:cubicBezTo>
                  <a:pt x="608" y="449"/>
                  <a:pt x="608" y="449"/>
                  <a:pt x="609" y="448"/>
                </a:cubicBezTo>
                <a:cubicBezTo>
                  <a:pt x="610" y="448"/>
                  <a:pt x="610" y="448"/>
                  <a:pt x="610" y="448"/>
                </a:cubicBezTo>
                <a:cubicBezTo>
                  <a:pt x="610" y="447"/>
                  <a:pt x="610" y="447"/>
                  <a:pt x="610" y="447"/>
                </a:cubicBezTo>
                <a:cubicBezTo>
                  <a:pt x="610" y="447"/>
                  <a:pt x="609" y="446"/>
                  <a:pt x="609" y="446"/>
                </a:cubicBezTo>
                <a:cubicBezTo>
                  <a:pt x="610" y="446"/>
                  <a:pt x="610" y="446"/>
                  <a:pt x="610" y="445"/>
                </a:cubicBezTo>
                <a:cubicBezTo>
                  <a:pt x="610" y="445"/>
                  <a:pt x="610" y="445"/>
                  <a:pt x="610" y="445"/>
                </a:cubicBezTo>
                <a:close/>
                <a:moveTo>
                  <a:pt x="611" y="444"/>
                </a:moveTo>
                <a:cubicBezTo>
                  <a:pt x="611" y="444"/>
                  <a:pt x="611" y="444"/>
                  <a:pt x="611" y="444"/>
                </a:cubicBezTo>
                <a:cubicBezTo>
                  <a:pt x="611" y="444"/>
                  <a:pt x="611" y="444"/>
                  <a:pt x="610" y="444"/>
                </a:cubicBezTo>
                <a:cubicBezTo>
                  <a:pt x="611" y="444"/>
                  <a:pt x="611" y="444"/>
                  <a:pt x="611" y="444"/>
                </a:cubicBezTo>
                <a:close/>
              </a:path>
            </a:pathLst>
          </a:custGeom>
          <a:solidFill>
            <a:srgbClr val="BBBAC6">
              <a:alpha val="39000"/>
            </a:srgbClr>
          </a:solidFill>
          <a:ln w="3175" cap="rnd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t" anchorCtr="0">
            <a:noAutofit/>
          </a:bodyPr>
          <a:lstStyle/>
          <a:p>
            <a:endParaRPr lang="en-US" sz="3600" dirty="0">
              <a:solidFill>
                <a:schemeClr val="dk1">
                  <a:alpha val="35000"/>
                </a:schemeClr>
              </a:solidFill>
              <a:latin typeface="Source Sans Pro"/>
              <a:ea typeface="Source Sans Pro"/>
              <a:cs typeface="Source Sans Pro"/>
            </a:endParaRPr>
          </a:p>
        </p:txBody>
      </p:sp>
      <p:sp>
        <p:nvSpPr>
          <p:cNvPr id="2" name="Овал 1"/>
          <p:cNvSpPr/>
          <p:nvPr/>
        </p:nvSpPr>
        <p:spPr>
          <a:xfrm>
            <a:off x="8736175" y="2483632"/>
            <a:ext cx="3455825" cy="3271826"/>
          </a:xfrm>
          <a:prstGeom prst="ellipse">
            <a:avLst/>
          </a:prstGeom>
          <a:noFill/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31" name="AutoShape 1273"/>
          <p:cNvSpPr>
            <a:spLocks noChangeAspect="1" noChangeArrowheads="1" noTextEdit="1"/>
          </p:cNvSpPr>
          <p:nvPr/>
        </p:nvSpPr>
        <p:spPr bwMode="auto">
          <a:xfrm>
            <a:off x="1136370" y="2297530"/>
            <a:ext cx="6807200" cy="319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" name="Объект 4"/>
          <p:cNvSpPr txBox="1">
            <a:spLocks/>
          </p:cNvSpPr>
          <p:nvPr/>
        </p:nvSpPr>
        <p:spPr>
          <a:xfrm>
            <a:off x="9481154" y="5907718"/>
            <a:ext cx="2615860" cy="55137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err="1">
                <a:latin typeface="Times New Roman" pitchFamily="18" charset="0"/>
                <a:cs typeface="Times New Roman" pitchFamily="18" charset="0"/>
              </a:rPr>
              <a:t>Инпротеин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  <a:p>
            <a:endParaRPr lang="ru-RU" dirty="0"/>
          </a:p>
        </p:txBody>
      </p:sp>
      <p:sp>
        <p:nvSpPr>
          <p:cNvPr id="25" name="Овал 24"/>
          <p:cNvSpPr/>
          <p:nvPr/>
        </p:nvSpPr>
        <p:spPr>
          <a:xfrm>
            <a:off x="5841095" y="463519"/>
            <a:ext cx="3153298" cy="2863346"/>
          </a:xfrm>
          <a:prstGeom prst="ellipse">
            <a:avLst/>
          </a:prstGeom>
          <a:noFill/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бъект 6"/>
          <p:cNvSpPr txBox="1">
            <a:spLocks/>
          </p:cNvSpPr>
          <p:nvPr/>
        </p:nvSpPr>
        <p:spPr>
          <a:xfrm>
            <a:off x="5780586" y="3396368"/>
            <a:ext cx="3457955" cy="67978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ООО "</a:t>
            </a:r>
            <a:r>
              <a:rPr lang="ru-RU" dirty="0" err="1">
                <a:latin typeface="Times New Roman" pitchFamily="18" charset="0"/>
                <a:cs typeface="Times New Roman" pitchFamily="18" charset="0"/>
              </a:rPr>
              <a:t>ЭкоБелок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«</a:t>
            </a:r>
          </a:p>
          <a:p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Высушенная обезжиренная и измельченная биомасса личинки Черной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львинки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(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Hermetia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illucens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Google Shape;61;p4"/>
          <p:cNvSpPr txBox="1">
            <a:spLocks noGrp="1"/>
          </p:cNvSpPr>
          <p:nvPr>
            <p:ph type="title"/>
          </p:nvPr>
        </p:nvSpPr>
        <p:spPr>
          <a:xfrm>
            <a:off x="667440" y="283391"/>
            <a:ext cx="6621347" cy="5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Arial"/>
              <a:buNone/>
            </a:pPr>
            <a:r>
              <a:rPr lang="ru-RU" sz="36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АК УЖЕ РЕШАЕТСЯ ПРОБЛЕМА</a:t>
            </a:r>
            <a:br>
              <a:rPr lang="ru-RU" sz="36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br>
              <a:rPr lang="ru-RU" dirty="0"/>
            </a:br>
            <a:endParaRPr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82286" y="3004912"/>
            <a:ext cx="2460746" cy="2403614"/>
          </a:xfrm>
          <a:prstGeom prst="rect">
            <a:avLst/>
          </a:prstGeom>
        </p:spPr>
      </p:pic>
      <p:pic>
        <p:nvPicPr>
          <p:cNvPr id="61456" name="Picture 16" descr="Белковый концентрат Hermeti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9121" y="684922"/>
            <a:ext cx="2389973" cy="2586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698225" y="2891013"/>
            <a:ext cx="3629417" cy="224676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2800" dirty="0">
                <a:latin typeface="Times New Roman" pitchFamily="18" charset="0"/>
                <a:cs typeface="Times New Roman" pitchFamily="18" charset="0"/>
              </a:rPr>
              <a:t>Кормление животных растительными источниками белка: рапс и соя или рыбной мукой</a:t>
            </a:r>
          </a:p>
        </p:txBody>
      </p:sp>
      <p:sp>
        <p:nvSpPr>
          <p:cNvPr id="14" name="Овал 13"/>
          <p:cNvSpPr/>
          <p:nvPr/>
        </p:nvSpPr>
        <p:spPr>
          <a:xfrm>
            <a:off x="4890977" y="3157870"/>
            <a:ext cx="760785" cy="736685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4855997" y="3214605"/>
            <a:ext cx="104682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/>
              <a:t>или</a:t>
            </a:r>
          </a:p>
        </p:txBody>
      </p:sp>
    </p:spTree>
    <p:extLst>
      <p:ext uri="{BB962C8B-B14F-4D97-AF65-F5344CB8AC3E}">
        <p14:creationId xmlns:p14="http://schemas.microsoft.com/office/powerpoint/2010/main" val="3520154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06340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4"/>
          <p:cNvSpPr/>
          <p:nvPr/>
        </p:nvSpPr>
        <p:spPr>
          <a:xfrm rot="10800000">
            <a:off x="10084278" y="419098"/>
            <a:ext cx="1739421" cy="4357913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489384" y="1250796"/>
            <a:ext cx="236014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324" name="Picture 132" descr="https://www.osnmedia.ru/wp-content/uploads/2021/03/nasekomye1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5554" y="0"/>
            <a:ext cx="60972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4"/>
          <p:cNvSpPr/>
          <p:nvPr/>
        </p:nvSpPr>
        <p:spPr>
          <a:xfrm rot="5400000">
            <a:off x="8781921" y="-1862917"/>
            <a:ext cx="782386" cy="4856845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4"/>
          <p:cNvSpPr/>
          <p:nvPr/>
        </p:nvSpPr>
        <p:spPr>
          <a:xfrm flipH="1">
            <a:off x="9246005" y="2486130"/>
            <a:ext cx="2425294" cy="3950880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6474313" y="376031"/>
            <a:ext cx="3682415" cy="5921374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chemeClr val="bg1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5D5B6F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85553" y="1479568"/>
            <a:ext cx="5088546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Для владельцев агропромышленных комплексов, которым нужно обогащать рационы животных кормовым белком, наш продукт: кормовая добавка из насекомых будет восполнять потребность в белке,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торый является важным питательным веществом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. В отличие от использования сои и рапса наш продукт лучше тем, что является более доступной альтернативой получения белкового компонента в кормах. А в случаи конкурентных компаний, объем производства которых не достаточен для покрытия всей потребности страны, наш продукт будет актуален и конкурентно способен на рынке.</a:t>
            </a:r>
            <a:endParaRPr lang="ru-RU" sz="2000" dirty="0"/>
          </a:p>
        </p:txBody>
      </p:sp>
      <p:sp>
        <p:nvSpPr>
          <p:cNvPr id="19" name="Google Shape;66;p5"/>
          <p:cNvSpPr txBox="1">
            <a:spLocks/>
          </p:cNvSpPr>
          <p:nvPr/>
        </p:nvSpPr>
        <p:spPr>
          <a:xfrm>
            <a:off x="387843" y="546033"/>
            <a:ext cx="4281487" cy="5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5D5B6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>
                <a:schemeClr val="accent1"/>
              </a:buClr>
              <a:buSzPts val="3600"/>
              <a:buFont typeface="Arial"/>
              <a:buNone/>
            </a:pPr>
            <a:r>
              <a:rPr lang="ru-RU" sz="36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ЕШЕНИЕ</a:t>
            </a:r>
            <a:br>
              <a:rPr lang="ru-RU" sz="36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9274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1" presetClass="entr" presetSubtype="1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6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1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5"/>
          <p:cNvSpPr/>
          <p:nvPr/>
        </p:nvSpPr>
        <p:spPr>
          <a:xfrm rot="10800000">
            <a:off x="-3" y="0"/>
            <a:ext cx="3257053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>
                  <a:alpha val="80000"/>
                </a:srgb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3" name="Google Shape;66;p5"/>
          <p:cNvSpPr txBox="1">
            <a:spLocks noGrp="1"/>
          </p:cNvSpPr>
          <p:nvPr>
            <p:ph type="title"/>
          </p:nvPr>
        </p:nvSpPr>
        <p:spPr>
          <a:xfrm>
            <a:off x="203760" y="362689"/>
            <a:ext cx="4281487" cy="54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Arial"/>
              <a:buNone/>
            </a:pPr>
            <a:r>
              <a:rPr lang="ru-RU" sz="36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ЕШЕНИЕ</a:t>
            </a:r>
            <a:br>
              <a:rPr lang="ru-RU" sz="36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br>
              <a:rPr lang="ru-RU" dirty="0"/>
            </a:br>
            <a:endParaRPr dirty="0"/>
          </a:p>
        </p:txBody>
      </p:sp>
      <p:sp>
        <p:nvSpPr>
          <p:cNvPr id="4" name="TextBox 3"/>
          <p:cNvSpPr txBox="1"/>
          <p:nvPr/>
        </p:nvSpPr>
        <p:spPr>
          <a:xfrm>
            <a:off x="203760" y="1271478"/>
            <a:ext cx="2849526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секомые являются хорошим источником энергии, высококачественного белка и полиненасыщенных жирных кислот, а также ряда легкодоступных витаминов и минералов </a:t>
            </a:r>
          </a:p>
          <a:p>
            <a:pPr algn="just"/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таблице указан питательный состав (%) и энергетическое содержание (МДЖ / кг) обычно используемых насекомых в продуктах питания и кормах.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2"/>
          <a:srcRect l="36801" r="7031" b="8697"/>
          <a:stretch/>
        </p:blipFill>
        <p:spPr>
          <a:xfrm>
            <a:off x="3281913" y="1314714"/>
            <a:ext cx="1864244" cy="3860797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/>
          <a:srcRect l="2868" r="2975"/>
          <a:stretch/>
        </p:blipFill>
        <p:spPr>
          <a:xfrm>
            <a:off x="5146157" y="1314714"/>
            <a:ext cx="7290391" cy="4228571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200370" y="5212104"/>
            <a:ext cx="20273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Соевый шрот</a:t>
            </a:r>
          </a:p>
        </p:txBody>
      </p:sp>
    </p:spTree>
    <p:extLst>
      <p:ext uri="{BB962C8B-B14F-4D97-AF65-F5344CB8AC3E}">
        <p14:creationId xmlns:p14="http://schemas.microsoft.com/office/powerpoint/2010/main" val="19055049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6602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14"/>
          <p:cNvSpPr/>
          <p:nvPr/>
        </p:nvSpPr>
        <p:spPr>
          <a:xfrm flipH="1">
            <a:off x="6224649" y="0"/>
            <a:ext cx="6152243" cy="6915149"/>
          </a:xfrm>
          <a:custGeom>
            <a:avLst/>
            <a:gdLst>
              <a:gd name="connsiteX0" fmla="*/ 1219200 w 6210300"/>
              <a:gd name="connsiteY0" fmla="*/ 514350 h 8915400"/>
              <a:gd name="connsiteX1" fmla="*/ 6210300 w 6210300"/>
              <a:gd name="connsiteY1" fmla="*/ 3581400 h 8915400"/>
              <a:gd name="connsiteX2" fmla="*/ 6210300 w 6210300"/>
              <a:gd name="connsiteY2" fmla="*/ 8134350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210300"/>
              <a:gd name="connsiteY0" fmla="*/ 514350 h 8915400"/>
              <a:gd name="connsiteX1" fmla="*/ 6210300 w 6210300"/>
              <a:gd name="connsiteY1" fmla="*/ 3581400 h 8915400"/>
              <a:gd name="connsiteX2" fmla="*/ 6210300 w 6210300"/>
              <a:gd name="connsiteY2" fmla="*/ 7786007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210300"/>
              <a:gd name="connsiteY0" fmla="*/ 514350 h 8915400"/>
              <a:gd name="connsiteX1" fmla="*/ 5992586 w 6210300"/>
              <a:gd name="connsiteY1" fmla="*/ 3436257 h 8915400"/>
              <a:gd name="connsiteX2" fmla="*/ 6210300 w 6210300"/>
              <a:gd name="connsiteY2" fmla="*/ 7786007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088571 w 6210300"/>
              <a:gd name="connsiteY0" fmla="*/ 688522 h 8915400"/>
              <a:gd name="connsiteX1" fmla="*/ 5992586 w 6210300"/>
              <a:gd name="connsiteY1" fmla="*/ 3436257 h 8915400"/>
              <a:gd name="connsiteX2" fmla="*/ 6210300 w 6210300"/>
              <a:gd name="connsiteY2" fmla="*/ 7786007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088571 w 6210300"/>
              <a:gd name="connsiteY5" fmla="*/ 688522 h 8915400"/>
              <a:gd name="connsiteX0" fmla="*/ 1088571 w 6210300"/>
              <a:gd name="connsiteY0" fmla="*/ 6350 h 8233228"/>
              <a:gd name="connsiteX1" fmla="*/ 5992586 w 6210300"/>
              <a:gd name="connsiteY1" fmla="*/ 2754085 h 8233228"/>
              <a:gd name="connsiteX2" fmla="*/ 6210300 w 6210300"/>
              <a:gd name="connsiteY2" fmla="*/ 7103835 h 8233228"/>
              <a:gd name="connsiteX3" fmla="*/ 0 w 6210300"/>
              <a:gd name="connsiteY3" fmla="*/ 8233228 h 8233228"/>
              <a:gd name="connsiteX4" fmla="*/ 29935 w 6210300"/>
              <a:gd name="connsiteY4" fmla="*/ 0 h 8233228"/>
              <a:gd name="connsiteX5" fmla="*/ 1088571 w 6210300"/>
              <a:gd name="connsiteY5" fmla="*/ 6350 h 8233228"/>
              <a:gd name="connsiteX0" fmla="*/ 1059542 w 6181271"/>
              <a:gd name="connsiteY0" fmla="*/ 6350 h 7103835"/>
              <a:gd name="connsiteX1" fmla="*/ 5963557 w 6181271"/>
              <a:gd name="connsiteY1" fmla="*/ 2754085 h 7103835"/>
              <a:gd name="connsiteX2" fmla="*/ 6181271 w 6181271"/>
              <a:gd name="connsiteY2" fmla="*/ 7103835 h 7103835"/>
              <a:gd name="connsiteX3" fmla="*/ 0 w 6181271"/>
              <a:gd name="connsiteY3" fmla="*/ 6868885 h 7103835"/>
              <a:gd name="connsiteX4" fmla="*/ 906 w 6181271"/>
              <a:gd name="connsiteY4" fmla="*/ 0 h 7103835"/>
              <a:gd name="connsiteX5" fmla="*/ 1059542 w 6181271"/>
              <a:gd name="connsiteY5" fmla="*/ 6350 h 7103835"/>
              <a:gd name="connsiteX0" fmla="*/ 1059542 w 6152243"/>
              <a:gd name="connsiteY0" fmla="*/ 6350 h 6915149"/>
              <a:gd name="connsiteX1" fmla="*/ 5963557 w 6152243"/>
              <a:gd name="connsiteY1" fmla="*/ 2754085 h 6915149"/>
              <a:gd name="connsiteX2" fmla="*/ 6152243 w 6152243"/>
              <a:gd name="connsiteY2" fmla="*/ 6915149 h 6915149"/>
              <a:gd name="connsiteX3" fmla="*/ 0 w 6152243"/>
              <a:gd name="connsiteY3" fmla="*/ 6868885 h 6915149"/>
              <a:gd name="connsiteX4" fmla="*/ 906 w 6152243"/>
              <a:gd name="connsiteY4" fmla="*/ 0 h 6915149"/>
              <a:gd name="connsiteX5" fmla="*/ 1059542 w 6152243"/>
              <a:gd name="connsiteY5" fmla="*/ 6350 h 6915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2243" h="6915149">
                <a:moveTo>
                  <a:pt x="1059542" y="6350"/>
                </a:moveTo>
                <a:lnTo>
                  <a:pt x="5963557" y="2754085"/>
                </a:lnTo>
                <a:lnTo>
                  <a:pt x="6152243" y="6915149"/>
                </a:lnTo>
                <a:lnTo>
                  <a:pt x="0" y="6868885"/>
                </a:lnTo>
                <a:lnTo>
                  <a:pt x="906" y="0"/>
                </a:lnTo>
                <a:lnTo>
                  <a:pt x="1059542" y="6350"/>
                </a:lnTo>
                <a:close/>
              </a:path>
            </a:pathLst>
          </a:custGeom>
          <a:solidFill>
            <a:srgbClr val="DDF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reeform 28"/>
          <p:cNvSpPr/>
          <p:nvPr/>
        </p:nvSpPr>
        <p:spPr>
          <a:xfrm flipH="1">
            <a:off x="6237274" y="0"/>
            <a:ext cx="6226629" cy="6907892"/>
          </a:xfrm>
          <a:custGeom>
            <a:avLst/>
            <a:gdLst>
              <a:gd name="connsiteX0" fmla="*/ 1219200 w 6210300"/>
              <a:gd name="connsiteY0" fmla="*/ 514350 h 8915400"/>
              <a:gd name="connsiteX1" fmla="*/ 6210300 w 6210300"/>
              <a:gd name="connsiteY1" fmla="*/ 3581400 h 8915400"/>
              <a:gd name="connsiteX2" fmla="*/ 6210300 w 6210300"/>
              <a:gd name="connsiteY2" fmla="*/ 8134350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210300"/>
              <a:gd name="connsiteY0" fmla="*/ 514350 h 8915400"/>
              <a:gd name="connsiteX1" fmla="*/ 6096000 w 6210300"/>
              <a:gd name="connsiteY1" fmla="*/ 3657600 h 8915400"/>
              <a:gd name="connsiteX2" fmla="*/ 6210300 w 6210300"/>
              <a:gd name="connsiteY2" fmla="*/ 8134350 h 8915400"/>
              <a:gd name="connsiteX3" fmla="*/ 0 w 6210300"/>
              <a:gd name="connsiteY3" fmla="*/ 8915400 h 8915400"/>
              <a:gd name="connsiteX4" fmla="*/ 552450 w 6210300"/>
              <a:gd name="connsiteY4" fmla="*/ 0 h 8915400"/>
              <a:gd name="connsiteX5" fmla="*/ 1219200 w 6210300"/>
              <a:gd name="connsiteY5" fmla="*/ 514350 h 8915400"/>
              <a:gd name="connsiteX0" fmla="*/ 1219200 w 6096000"/>
              <a:gd name="connsiteY0" fmla="*/ 514350 h 8915400"/>
              <a:gd name="connsiteX1" fmla="*/ 6096000 w 6096000"/>
              <a:gd name="connsiteY1" fmla="*/ 3657600 h 8915400"/>
              <a:gd name="connsiteX2" fmla="*/ 5962650 w 6096000"/>
              <a:gd name="connsiteY2" fmla="*/ 7886700 h 8915400"/>
              <a:gd name="connsiteX3" fmla="*/ 0 w 6096000"/>
              <a:gd name="connsiteY3" fmla="*/ 8915400 h 8915400"/>
              <a:gd name="connsiteX4" fmla="*/ 552450 w 6096000"/>
              <a:gd name="connsiteY4" fmla="*/ 0 h 8915400"/>
              <a:gd name="connsiteX5" fmla="*/ 1219200 w 6096000"/>
              <a:gd name="connsiteY5" fmla="*/ 514350 h 8915400"/>
              <a:gd name="connsiteX0" fmla="*/ 856343 w 6096000"/>
              <a:gd name="connsiteY0" fmla="*/ 514350 h 8915400"/>
              <a:gd name="connsiteX1" fmla="*/ 6096000 w 6096000"/>
              <a:gd name="connsiteY1" fmla="*/ 3657600 h 8915400"/>
              <a:gd name="connsiteX2" fmla="*/ 5962650 w 6096000"/>
              <a:gd name="connsiteY2" fmla="*/ 7886700 h 8915400"/>
              <a:gd name="connsiteX3" fmla="*/ 0 w 6096000"/>
              <a:gd name="connsiteY3" fmla="*/ 8915400 h 8915400"/>
              <a:gd name="connsiteX4" fmla="*/ 552450 w 6096000"/>
              <a:gd name="connsiteY4" fmla="*/ 0 h 8915400"/>
              <a:gd name="connsiteX5" fmla="*/ 856343 w 6096000"/>
              <a:gd name="connsiteY5" fmla="*/ 514350 h 8915400"/>
              <a:gd name="connsiteX0" fmla="*/ 856343 w 6096000"/>
              <a:gd name="connsiteY0" fmla="*/ 514350 h 8915400"/>
              <a:gd name="connsiteX1" fmla="*/ 6096000 w 6096000"/>
              <a:gd name="connsiteY1" fmla="*/ 3657600 h 8915400"/>
              <a:gd name="connsiteX2" fmla="*/ 5875564 w 6096000"/>
              <a:gd name="connsiteY2" fmla="*/ 7770585 h 8915400"/>
              <a:gd name="connsiteX3" fmla="*/ 0 w 6096000"/>
              <a:gd name="connsiteY3" fmla="*/ 8915400 h 8915400"/>
              <a:gd name="connsiteX4" fmla="*/ 552450 w 6096000"/>
              <a:gd name="connsiteY4" fmla="*/ 0 h 8915400"/>
              <a:gd name="connsiteX5" fmla="*/ 856343 w 6096000"/>
              <a:gd name="connsiteY5" fmla="*/ 514350 h 8915400"/>
              <a:gd name="connsiteX0" fmla="*/ 986972 w 6226629"/>
              <a:gd name="connsiteY0" fmla="*/ 514350 h 7770585"/>
              <a:gd name="connsiteX1" fmla="*/ 6226629 w 6226629"/>
              <a:gd name="connsiteY1" fmla="*/ 3657600 h 7770585"/>
              <a:gd name="connsiteX2" fmla="*/ 6006193 w 6226629"/>
              <a:gd name="connsiteY2" fmla="*/ 7770585 h 7770585"/>
              <a:gd name="connsiteX3" fmla="*/ 0 w 6226629"/>
              <a:gd name="connsiteY3" fmla="*/ 7333343 h 7770585"/>
              <a:gd name="connsiteX4" fmla="*/ 683079 w 6226629"/>
              <a:gd name="connsiteY4" fmla="*/ 0 h 7770585"/>
              <a:gd name="connsiteX5" fmla="*/ 986972 w 6226629"/>
              <a:gd name="connsiteY5" fmla="*/ 514350 h 7770585"/>
              <a:gd name="connsiteX0" fmla="*/ 986972 w 6226629"/>
              <a:gd name="connsiteY0" fmla="*/ 0 h 7256235"/>
              <a:gd name="connsiteX1" fmla="*/ 6226629 w 6226629"/>
              <a:gd name="connsiteY1" fmla="*/ 3143250 h 7256235"/>
              <a:gd name="connsiteX2" fmla="*/ 6006193 w 6226629"/>
              <a:gd name="connsiteY2" fmla="*/ 7256235 h 7256235"/>
              <a:gd name="connsiteX3" fmla="*/ 0 w 6226629"/>
              <a:gd name="connsiteY3" fmla="*/ 6818993 h 7256235"/>
              <a:gd name="connsiteX4" fmla="*/ 29936 w 6226629"/>
              <a:gd name="connsiteY4" fmla="*/ 22679 h 7256235"/>
              <a:gd name="connsiteX5" fmla="*/ 986972 w 6226629"/>
              <a:gd name="connsiteY5" fmla="*/ 0 h 7256235"/>
              <a:gd name="connsiteX0" fmla="*/ 986972 w 6226629"/>
              <a:gd name="connsiteY0" fmla="*/ 0 h 6907892"/>
              <a:gd name="connsiteX1" fmla="*/ 6226629 w 6226629"/>
              <a:gd name="connsiteY1" fmla="*/ 3143250 h 6907892"/>
              <a:gd name="connsiteX2" fmla="*/ 6006193 w 6226629"/>
              <a:gd name="connsiteY2" fmla="*/ 6907892 h 6907892"/>
              <a:gd name="connsiteX3" fmla="*/ 0 w 6226629"/>
              <a:gd name="connsiteY3" fmla="*/ 6818993 h 6907892"/>
              <a:gd name="connsiteX4" fmla="*/ 29936 w 6226629"/>
              <a:gd name="connsiteY4" fmla="*/ 22679 h 6907892"/>
              <a:gd name="connsiteX5" fmla="*/ 986972 w 6226629"/>
              <a:gd name="connsiteY5" fmla="*/ 0 h 6907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226629" h="6907892">
                <a:moveTo>
                  <a:pt x="986972" y="0"/>
                </a:moveTo>
                <a:lnTo>
                  <a:pt x="6226629" y="3143250"/>
                </a:lnTo>
                <a:lnTo>
                  <a:pt x="6006193" y="6907892"/>
                </a:lnTo>
                <a:lnTo>
                  <a:pt x="0" y="6818993"/>
                </a:lnTo>
                <a:lnTo>
                  <a:pt x="29936" y="22679"/>
                </a:lnTo>
                <a:lnTo>
                  <a:pt x="986972" y="0"/>
                </a:lnTo>
                <a:close/>
              </a:path>
            </a:pathLst>
          </a:custGeom>
          <a:solidFill>
            <a:srgbClr val="14CE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Rectangle 14"/>
          <p:cNvSpPr/>
          <p:nvPr/>
        </p:nvSpPr>
        <p:spPr>
          <a:xfrm flipH="1">
            <a:off x="9082970" y="4882706"/>
            <a:ext cx="2458610" cy="1299424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rgbClr val="F6F6F9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14"/>
          <p:cNvSpPr/>
          <p:nvPr/>
        </p:nvSpPr>
        <p:spPr>
          <a:xfrm rot="5400000">
            <a:off x="1209028" y="-218798"/>
            <a:ext cx="771744" cy="2402991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gradFill>
              <a:gsLst>
                <a:gs pos="70000">
                  <a:srgbClr val="14CE9F"/>
                </a:gs>
                <a:gs pos="0">
                  <a:srgbClr val="DDF9B8"/>
                </a:gs>
              </a:gsLst>
              <a:lin ang="5400000" scaled="1"/>
            </a:gra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75399" y="674920"/>
            <a:ext cx="383512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600" dirty="0"/>
              <a:t>РЫНОК</a:t>
            </a:r>
            <a:endParaRPr lang="en-US" sz="3600" dirty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6681444" y="752668"/>
            <a:ext cx="5782459" cy="6043280"/>
          </a:xfrm>
          <a:custGeom>
            <a:avLst/>
            <a:gdLst>
              <a:gd name="connsiteX0" fmla="*/ 1650696 w 6616701"/>
              <a:gd name="connsiteY0" fmla="*/ 0 h 6915151"/>
              <a:gd name="connsiteX1" fmla="*/ 0 w 6616701"/>
              <a:gd name="connsiteY1" fmla="*/ 0 h 6915151"/>
              <a:gd name="connsiteX2" fmla="*/ 0 w 6616701"/>
              <a:gd name="connsiteY2" fmla="*/ 6915151 h 6915151"/>
              <a:gd name="connsiteX3" fmla="*/ 6616701 w 6616701"/>
              <a:gd name="connsiteY3" fmla="*/ 6915151 h 6915151"/>
              <a:gd name="connsiteX4" fmla="*/ 6616701 w 6616701"/>
              <a:gd name="connsiteY4" fmla="*/ 3336102 h 6915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16701" h="6915151">
                <a:moveTo>
                  <a:pt x="1650696" y="0"/>
                </a:moveTo>
                <a:lnTo>
                  <a:pt x="0" y="0"/>
                </a:lnTo>
                <a:lnTo>
                  <a:pt x="0" y="6915151"/>
                </a:lnTo>
                <a:lnTo>
                  <a:pt x="6616701" y="6915151"/>
                </a:lnTo>
                <a:lnTo>
                  <a:pt x="6616701" y="3336102"/>
                </a:lnTo>
                <a:close/>
              </a:path>
            </a:pathLst>
          </a:custGeom>
        </p:spPr>
      </p:pic>
      <p:sp>
        <p:nvSpPr>
          <p:cNvPr id="21" name="Rectangle 14"/>
          <p:cNvSpPr/>
          <p:nvPr/>
        </p:nvSpPr>
        <p:spPr>
          <a:xfrm flipH="1">
            <a:off x="9072990" y="4882706"/>
            <a:ext cx="2458610" cy="1299424"/>
          </a:xfrm>
          <a:custGeom>
            <a:avLst/>
            <a:gdLst>
              <a:gd name="connsiteX0" fmla="*/ 0 w 889000"/>
              <a:gd name="connsiteY0" fmla="*/ 0 h 889000"/>
              <a:gd name="connsiteX1" fmla="*/ 889000 w 889000"/>
              <a:gd name="connsiteY1" fmla="*/ 0 h 889000"/>
              <a:gd name="connsiteX2" fmla="*/ 889000 w 889000"/>
              <a:gd name="connsiteY2" fmla="*/ 889000 h 889000"/>
              <a:gd name="connsiteX3" fmla="*/ 0 w 889000"/>
              <a:gd name="connsiteY3" fmla="*/ 889000 h 889000"/>
              <a:gd name="connsiteX4" fmla="*/ 0 w 889000"/>
              <a:gd name="connsiteY4" fmla="*/ 0 h 889000"/>
              <a:gd name="connsiteX0" fmla="*/ 889000 w 980440"/>
              <a:gd name="connsiteY0" fmla="*/ 0 h 889000"/>
              <a:gd name="connsiteX1" fmla="*/ 889000 w 980440"/>
              <a:gd name="connsiteY1" fmla="*/ 889000 h 889000"/>
              <a:gd name="connsiteX2" fmla="*/ 0 w 980440"/>
              <a:gd name="connsiteY2" fmla="*/ 889000 h 889000"/>
              <a:gd name="connsiteX3" fmla="*/ 0 w 980440"/>
              <a:gd name="connsiteY3" fmla="*/ 0 h 889000"/>
              <a:gd name="connsiteX4" fmla="*/ 980440 w 980440"/>
              <a:gd name="connsiteY4" fmla="*/ 91440 h 889000"/>
              <a:gd name="connsiteX0" fmla="*/ 889000 w 889000"/>
              <a:gd name="connsiteY0" fmla="*/ 0 h 889000"/>
              <a:gd name="connsiteX1" fmla="*/ 889000 w 889000"/>
              <a:gd name="connsiteY1" fmla="*/ 889000 h 889000"/>
              <a:gd name="connsiteX2" fmla="*/ 0 w 889000"/>
              <a:gd name="connsiteY2" fmla="*/ 889000 h 889000"/>
              <a:gd name="connsiteX3" fmla="*/ 0 w 889000"/>
              <a:gd name="connsiteY3" fmla="*/ 0 h 889000"/>
              <a:gd name="connsiteX0" fmla="*/ 889000 w 889000"/>
              <a:gd name="connsiteY0" fmla="*/ 889000 h 889000"/>
              <a:gd name="connsiteX1" fmla="*/ 0 w 889000"/>
              <a:gd name="connsiteY1" fmla="*/ 889000 h 889000"/>
              <a:gd name="connsiteX2" fmla="*/ 0 w 889000"/>
              <a:gd name="connsiteY2" fmla="*/ 0 h 88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9000" h="889000">
                <a:moveTo>
                  <a:pt x="889000" y="889000"/>
                </a:moveTo>
                <a:lnTo>
                  <a:pt x="0" y="88900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rgbClr val="F6F6F9"/>
            </a:solidFill>
          </a:ln>
          <a:effectLst>
            <a:outerShdw blurRad="114300" dist="228600" dir="762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id="{EE7B7D8D-B56B-F6DB-4131-99E327EDC36C}"/>
              </a:ext>
            </a:extLst>
          </p:cNvPr>
          <p:cNvSpPr txBox="1">
            <a:spLocks/>
          </p:cNvSpPr>
          <p:nvPr/>
        </p:nvSpPr>
        <p:spPr>
          <a:xfrm>
            <a:off x="476741" y="1925886"/>
            <a:ext cx="5201045" cy="120008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м источником белков при кормлении свиней, птицы и рыбы является рыбная мука и продукты переработки сои (шрот, концентрат).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76741" y="2886155"/>
            <a:ext cx="5201045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лиматические особенности России не позволяют выращивать сою в нужном объеме, делая отечественное животноводство зависимым от импортных поставок. В России, по данным Росстата, посевные площади сои в 2022 году составили около 2,2 млн га, а средняя урожайность — всего 1,1 т/га. Это позволило обеспечить только около 60% потребности</a:t>
            </a:r>
          </a:p>
          <a:p>
            <a:pPr algn="just"/>
            <a:endParaRPr lang="ru-RU" sz="16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сьма перспективным направлением, обеспечивающим животноводство нашей страны полноценным кормовым белком являются методы переработки насекомых Однако успешных примеров частной инициативы по созданию отдельных предприятий, выпускающих белковые корма недостаточно.</a:t>
            </a:r>
          </a:p>
        </p:txBody>
      </p:sp>
    </p:spTree>
    <p:extLst>
      <p:ext uri="{BB962C8B-B14F-4D97-AF65-F5344CB8AC3E}">
        <p14:creationId xmlns:p14="http://schemas.microsoft.com/office/powerpoint/2010/main" val="3062598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76;g29dfee84517_0_0"/>
          <p:cNvSpPr txBox="1">
            <a:spLocks noGrp="1"/>
          </p:cNvSpPr>
          <p:nvPr>
            <p:ph type="title"/>
          </p:nvPr>
        </p:nvSpPr>
        <p:spPr>
          <a:xfrm rot="16200000">
            <a:off x="-1730973" y="2670155"/>
            <a:ext cx="4694008" cy="620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 indent="0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Arial"/>
              <a:buNone/>
            </a:pPr>
            <a:r>
              <a:rPr lang="ru-RU" sz="36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БИЗНЕС МОДЕЛЬ</a:t>
            </a:r>
            <a:br>
              <a:rPr lang="ru-RU" sz="36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br>
              <a:rPr lang="ru-RU" sz="36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endParaRPr sz="36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98922" l="855" r="99915">
                        <a14:foregroundMark x1="19145" y1="27314" x2="19829" y2="26595"/>
                        <a14:foregroundMark x1="20256" y1="25786" x2="20256" y2="25786"/>
                        <a14:foregroundMark x1="19487" y1="28482" x2="21282" y2="27763"/>
                        <a14:foregroundMark x1="41709" y1="27763" x2="42393" y2="28122"/>
                        <a14:foregroundMark x1="41368" y1="26235" x2="42393" y2="23899"/>
                        <a14:foregroundMark x1="45385" y1="4762" x2="53675" y2="988"/>
                        <a14:foregroundMark x1="22821" y1="34951" x2="25299" y2="34951"/>
                        <a14:foregroundMark x1="23162" y1="27314" x2="24957" y2="37287"/>
                        <a14:foregroundMark x1="41368" y1="31896" x2="54786" y2="36119"/>
                        <a14:backgroundMark x1="52650" y1="33872" x2="53675" y2="33872"/>
                        <a14:backgroundMark x1="54444" y1="35400" x2="54103" y2="38095"/>
                        <a14:backgroundMark x1="54103" y1="36927" x2="54103" y2="34951"/>
                        <a14:backgroundMark x1="78462" y1="51482" x2="78462" y2="5148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21312378">
            <a:off x="45155" y="5527495"/>
            <a:ext cx="1188320" cy="1130428"/>
          </a:xfrm>
          <a:prstGeom prst="rect">
            <a:avLst/>
          </a:prstGeom>
        </p:spPr>
      </p:pic>
      <p:pic>
        <p:nvPicPr>
          <p:cNvPr id="61444" name="Picture 4" descr="https://delovoymir.biz/res/images/uploaded/articles/img/689195735442755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5" t="8889" r="1860" b="5687"/>
          <a:stretch/>
        </p:blipFill>
        <p:spPr bwMode="auto">
          <a:xfrm>
            <a:off x="1231093" y="0"/>
            <a:ext cx="10960907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323975" y="419100"/>
            <a:ext cx="1971675" cy="990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1323975" y="523875"/>
            <a:ext cx="19716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ефицит белка в рационе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231093" y="3389945"/>
            <a:ext cx="223837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dirty="0"/>
              <a:t>Частичная или полная замена белкового корма дорогими кормовыми добавками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600450" y="352425"/>
            <a:ext cx="1847850" cy="5619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3486150" y="485775"/>
            <a:ext cx="20764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Использование кормовой добавки из насекомых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600450" y="2914650"/>
            <a:ext cx="1571625" cy="10191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3600450" y="2835738"/>
            <a:ext cx="19621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Количество активных пользователей продукта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5693582" y="633412"/>
            <a:ext cx="2047875" cy="7762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5693582" y="671036"/>
            <a:ext cx="204787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ym typeface="Arial"/>
              </a:rPr>
              <a:t>Доступная альтернатива белкового компонента в кормах</a:t>
            </a:r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7905750" y="914400"/>
            <a:ext cx="1962150" cy="4953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TextBox 15"/>
          <p:cNvSpPr txBox="1"/>
          <p:nvPr/>
        </p:nvSpPr>
        <p:spPr>
          <a:xfrm>
            <a:off x="7858125" y="904190"/>
            <a:ext cx="19812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Высокое качество продукции низкая стоимость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7905750" y="2914650"/>
            <a:ext cx="1733550" cy="3420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TextBox 16"/>
          <p:cNvSpPr txBox="1"/>
          <p:nvPr/>
        </p:nvSpPr>
        <p:spPr>
          <a:xfrm>
            <a:off x="7830261" y="2832742"/>
            <a:ext cx="2209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– создание креативной рекламы;</a:t>
            </a:r>
          </a:p>
          <a:p>
            <a:r>
              <a:rPr lang="ru-RU" dirty="0"/>
              <a:t>– местные СМИ и ТВ, </a:t>
            </a:r>
            <a:r>
              <a:rPr lang="ru-RU" dirty="0" err="1"/>
              <a:t>соц.сети</a:t>
            </a:r>
            <a:r>
              <a:rPr lang="ru-RU" dirty="0"/>
              <a:t>. </a:t>
            </a:r>
          </a:p>
          <a:p>
            <a:r>
              <a:rPr lang="ru-RU" dirty="0"/>
              <a:t>– выставки, презентации в бизнес-среде;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0106025" y="671036"/>
            <a:ext cx="1790700" cy="6624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TextBox 20"/>
          <p:cNvSpPr txBox="1"/>
          <p:nvPr/>
        </p:nvSpPr>
        <p:spPr>
          <a:xfrm>
            <a:off x="10077450" y="904190"/>
            <a:ext cx="18192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Владельцы АПК 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278631" y="5479819"/>
            <a:ext cx="2321819" cy="8733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/>
          <p:cNvSpPr txBox="1"/>
          <p:nvPr/>
        </p:nvSpPr>
        <p:spPr>
          <a:xfrm>
            <a:off x="1278719" y="5416147"/>
            <a:ext cx="41529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Маркетинг</a:t>
            </a:r>
          </a:p>
          <a:p>
            <a:r>
              <a:rPr lang="ru-RU" dirty="0"/>
              <a:t>Продвижение</a:t>
            </a:r>
          </a:p>
          <a:p>
            <a:r>
              <a:rPr lang="ru-RU" dirty="0"/>
              <a:t>Расходы на персонал</a:t>
            </a:r>
          </a:p>
          <a:p>
            <a:r>
              <a:rPr lang="ru-RU" dirty="0"/>
              <a:t>Сырье для кормления насекомых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6717519" y="5416147"/>
            <a:ext cx="2169306" cy="9370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/>
          <p:cNvSpPr txBox="1"/>
          <p:nvPr/>
        </p:nvSpPr>
        <p:spPr>
          <a:xfrm>
            <a:off x="6753225" y="5436744"/>
            <a:ext cx="533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т продажи готовой продукции( кормовая добавка)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0077450" y="3154444"/>
            <a:ext cx="1790700" cy="7793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/>
          <p:cNvSpPr txBox="1"/>
          <p:nvPr/>
        </p:nvSpPr>
        <p:spPr>
          <a:xfrm>
            <a:off x="10040061" y="3251557"/>
            <a:ext cx="200977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Человек, который столкнулся с проблемой получения дорогого белкового компонента в рационе, разводимых им, животных </a:t>
            </a:r>
          </a:p>
        </p:txBody>
      </p:sp>
      <p:sp>
        <p:nvSpPr>
          <p:cNvPr id="2" name="Овал 1"/>
          <p:cNvSpPr/>
          <p:nvPr/>
        </p:nvSpPr>
        <p:spPr>
          <a:xfrm>
            <a:off x="108284" y="120316"/>
            <a:ext cx="397042" cy="403559"/>
          </a:xfrm>
          <a:prstGeom prst="ellipse">
            <a:avLst/>
          </a:prstGeom>
          <a:solidFill>
            <a:srgbClr val="DDF9B8"/>
          </a:solidFill>
          <a:ln>
            <a:solidFill>
              <a:srgbClr val="DDF9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Овал 14"/>
          <p:cNvSpPr/>
          <p:nvPr/>
        </p:nvSpPr>
        <p:spPr>
          <a:xfrm>
            <a:off x="505326" y="492918"/>
            <a:ext cx="288758" cy="280987"/>
          </a:xfrm>
          <a:prstGeom prst="ellipse">
            <a:avLst/>
          </a:prstGeom>
          <a:solidFill>
            <a:srgbClr val="14CE9F"/>
          </a:solidFill>
          <a:ln>
            <a:solidFill>
              <a:srgbClr val="14CE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04609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-80387" y="0"/>
            <a:ext cx="1336431" cy="6858000"/>
          </a:xfrm>
          <a:prstGeom prst="rect">
            <a:avLst/>
          </a:prstGeom>
          <a:solidFill>
            <a:srgbClr val="14CE9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2" name="Google Shape;82;g29dfee8460b_0_1"/>
          <p:cNvSpPr txBox="1">
            <a:spLocks noGrp="1"/>
          </p:cNvSpPr>
          <p:nvPr>
            <p:ph type="title"/>
          </p:nvPr>
        </p:nvSpPr>
        <p:spPr>
          <a:xfrm rot="16200000">
            <a:off x="-2336314" y="2748153"/>
            <a:ext cx="5898383" cy="8844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36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АНАЛИЗ КОНКУРЕНТОВ</a:t>
            </a:r>
            <a:endParaRPr sz="36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75175" y="0"/>
            <a:ext cx="180869" cy="6858000"/>
          </a:xfrm>
          <a:prstGeom prst="rect">
            <a:avLst/>
          </a:prstGeom>
          <a:solidFill>
            <a:srgbClr val="DDF9B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4837018"/>
              </p:ext>
            </p:extLst>
          </p:nvPr>
        </p:nvGraphicFramePr>
        <p:xfrm>
          <a:off x="1256044" y="-2"/>
          <a:ext cx="10935957" cy="7688461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3645319">
                  <a:extLst>
                    <a:ext uri="{9D8B030D-6E8A-4147-A177-3AD203B41FA5}">
                      <a16:colId xmlns:a16="http://schemas.microsoft.com/office/drawing/2014/main" val="1324693110"/>
                    </a:ext>
                  </a:extLst>
                </a:gridCol>
                <a:gridCol w="3645319">
                  <a:extLst>
                    <a:ext uri="{9D8B030D-6E8A-4147-A177-3AD203B41FA5}">
                      <a16:colId xmlns:a16="http://schemas.microsoft.com/office/drawing/2014/main" val="4041613526"/>
                    </a:ext>
                  </a:extLst>
                </a:gridCol>
                <a:gridCol w="3645319">
                  <a:extLst>
                    <a:ext uri="{9D8B030D-6E8A-4147-A177-3AD203B41FA5}">
                      <a16:colId xmlns:a16="http://schemas.microsoft.com/office/drawing/2014/main" val="3377058426"/>
                    </a:ext>
                  </a:extLst>
                </a:gridCol>
              </a:tblGrid>
              <a:tr h="317341"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u="none" strike="noStrike" dirty="0">
                          <a:effectLst/>
                        </a:rPr>
                        <a:t>Критерии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u="none" strike="noStrike">
                          <a:effectLst/>
                        </a:rPr>
                        <a:t>Кормовой деликатес</a:t>
                      </a:r>
                      <a:endParaRPr lang="ru-RU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u="none" strike="noStrike">
                          <a:effectLst/>
                        </a:rPr>
                        <a:t>Инпротеин</a:t>
                      </a:r>
                      <a:endParaRPr lang="ru-RU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46282971"/>
                  </a:ext>
                </a:extLst>
              </a:tr>
              <a:tr h="625065"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u="none" strike="noStrike" dirty="0">
                          <a:effectLst/>
                        </a:rPr>
                        <a:t>Логотип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u="none" strike="noStrike" dirty="0">
                          <a:effectLst/>
                        </a:rPr>
                        <a:t>В переводе означает внутренняя защита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u="none" strike="noStrike">
                          <a:effectLst/>
                        </a:rPr>
                        <a:t>Сокращение от </a:t>
                      </a:r>
                      <a:r>
                        <a:rPr lang="en-US" sz="2000" u="none" strike="noStrike">
                          <a:effectLst/>
                        </a:rPr>
                        <a:t>Insecta -</a:t>
                      </a:r>
                      <a:r>
                        <a:rPr lang="ru-RU" sz="2000" u="none" strike="noStrike">
                          <a:effectLst/>
                        </a:rPr>
                        <a:t>насекомые</a:t>
                      </a:r>
                      <a:endParaRPr lang="ru-RU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00935570"/>
                  </a:ext>
                </a:extLst>
              </a:tr>
              <a:tr h="625065"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u="none" strike="noStrike">
                          <a:effectLst/>
                        </a:rPr>
                        <a:t>Упаковка</a:t>
                      </a:r>
                      <a:endParaRPr lang="ru-RU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u="none" strike="noStrike" dirty="0">
                          <a:effectLst/>
                        </a:rPr>
                        <a:t>Изображены несколько видов птиц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u="none" strike="noStrike">
                          <a:effectLst/>
                        </a:rPr>
                        <a:t>Изображен петух и насекомые</a:t>
                      </a:r>
                      <a:endParaRPr lang="ru-RU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88883264"/>
                  </a:ext>
                </a:extLst>
              </a:tr>
              <a:tr h="625065"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u="none" strike="noStrike">
                          <a:effectLst/>
                        </a:rPr>
                        <a:t>Коммуникации</a:t>
                      </a:r>
                      <a:endParaRPr lang="ru-RU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u="none" strike="noStrike" dirty="0" err="1">
                          <a:effectLst/>
                        </a:rPr>
                        <a:t>Соцсети</a:t>
                      </a:r>
                      <a:r>
                        <a:rPr lang="ru-RU" sz="2000" u="none" strike="noStrike" dirty="0">
                          <a:effectLst/>
                        </a:rPr>
                        <a:t>, сайт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u="none" strike="noStrike">
                          <a:effectLst/>
                        </a:rPr>
                        <a:t>Соцсети, сайт, баннеры в интернете, поисковики</a:t>
                      </a:r>
                      <a:endParaRPr lang="ru-RU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77070214"/>
                  </a:ext>
                </a:extLst>
              </a:tr>
              <a:tr h="4665465"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u="none" strike="noStrike" dirty="0">
                          <a:effectLst/>
                        </a:rPr>
                        <a:t>Позиционирование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u="none" strike="noStrike" dirty="0" err="1">
                          <a:effectLst/>
                        </a:rPr>
                        <a:t>Энтопротэк</a:t>
                      </a:r>
                      <a:r>
                        <a:rPr lang="ru-RU" sz="2000" u="none" strike="noStrike" dirty="0">
                          <a:effectLst/>
                        </a:rPr>
                        <a:t> - опытный игрок на рынке, имеющий глубокие корни в пищевой промышленности и.  крупномасштабном производстве белка. Мы применяем инновационные решения в сфере </a:t>
                      </a:r>
                      <a:r>
                        <a:rPr lang="ru-RU" sz="2000" u="none" strike="noStrike" dirty="0" err="1">
                          <a:effectLst/>
                        </a:rPr>
                        <a:t>cleantech</a:t>
                      </a:r>
                      <a:r>
                        <a:rPr lang="ru-RU" sz="2000" u="none" strike="noStrike" dirty="0">
                          <a:effectLst/>
                        </a:rPr>
                        <a:t> и </a:t>
                      </a:r>
                      <a:r>
                        <a:rPr lang="ru-RU" sz="2000" u="none" strike="noStrike" dirty="0" err="1">
                          <a:effectLst/>
                        </a:rPr>
                        <a:t>agritech</a:t>
                      </a:r>
                      <a:r>
                        <a:rPr lang="ru-RU" sz="2000" u="none" strike="noStrike" dirty="0">
                          <a:effectLst/>
                        </a:rPr>
                        <a:t>, используя лучшие израильские технологии, разработанные нами и нашими стратегическими партнерами в области генетики, биохимии и биотехнологии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u="none" strike="noStrike" dirty="0">
                          <a:effectLst/>
                        </a:rPr>
                        <a:t>Создавая корма из насекомых, мы заботимся о том, чтобы ваши питомцы получили полезные, питательные корма и придерживаемся важнейших принципов зеленой экономики: наше производство безотходное, мы тратим меньше ресурсов, меньше воды, энергии и территории, сохраняя планету для ее обитателей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Roboto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170109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56432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22898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/>
        </p:nvCxnSpPr>
        <p:spPr>
          <a:xfrm flipH="1">
            <a:off x="2739073" y="2774707"/>
            <a:ext cx="3494043" cy="3426068"/>
          </a:xfrm>
          <a:prstGeom prst="line">
            <a:avLst/>
          </a:prstGeom>
          <a:ln>
            <a:solidFill>
              <a:srgbClr val="BBBA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H="1">
            <a:off x="2739073" y="4247590"/>
            <a:ext cx="2503487" cy="2454783"/>
          </a:xfrm>
          <a:prstGeom prst="line">
            <a:avLst/>
          </a:prstGeom>
          <a:ln w="28575">
            <a:solidFill>
              <a:srgbClr val="BBBAC6">
                <a:alpha val="6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6" cstate="screen">
            <a:duotone>
              <a:prstClr val="black"/>
              <a:srgbClr val="5D5B6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98856" y="0"/>
            <a:ext cx="5693144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7" cstate="screen">
            <a:duotone>
              <a:prstClr val="black"/>
              <a:srgbClr val="14CE9F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6536" y="0"/>
            <a:ext cx="6155464" cy="6857999"/>
          </a:xfrm>
          <a:custGeom>
            <a:avLst/>
            <a:gdLst>
              <a:gd name="connsiteX0" fmla="*/ 3517891 w 6629400"/>
              <a:gd name="connsiteY0" fmla="*/ 0 h 6858000"/>
              <a:gd name="connsiteX1" fmla="*/ 6629400 w 6629400"/>
              <a:gd name="connsiteY1" fmla="*/ 0 h 6858000"/>
              <a:gd name="connsiteX2" fmla="*/ 3111509 w 6629400"/>
              <a:gd name="connsiteY2" fmla="*/ 3429000 h 6858000"/>
              <a:gd name="connsiteX3" fmla="*/ 6629400 w 6629400"/>
              <a:gd name="connsiteY3" fmla="*/ 6858000 h 6858000"/>
              <a:gd name="connsiteX4" fmla="*/ 3517891 w 6629400"/>
              <a:gd name="connsiteY4" fmla="*/ 6858000 h 6858000"/>
              <a:gd name="connsiteX5" fmla="*/ 0 w 6629400"/>
              <a:gd name="connsiteY5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29400" h="6858000">
                <a:moveTo>
                  <a:pt x="3517891" y="0"/>
                </a:moveTo>
                <a:lnTo>
                  <a:pt x="6629400" y="0"/>
                </a:lnTo>
                <a:lnTo>
                  <a:pt x="3111509" y="3429000"/>
                </a:lnTo>
                <a:lnTo>
                  <a:pt x="6629400" y="6858000"/>
                </a:lnTo>
                <a:lnTo>
                  <a:pt x="3517891" y="6858000"/>
                </a:lnTo>
                <a:lnTo>
                  <a:pt x="0" y="3429000"/>
                </a:lnTo>
                <a:close/>
              </a:path>
            </a:pathLst>
          </a:custGeom>
          <a:noFill/>
          <a:ln>
            <a:noFill/>
          </a:ln>
        </p:spPr>
      </p:pic>
      <p:cxnSp>
        <p:nvCxnSpPr>
          <p:cNvPr id="32" name="Straight Connector 31"/>
          <p:cNvCxnSpPr/>
          <p:nvPr/>
        </p:nvCxnSpPr>
        <p:spPr>
          <a:xfrm flipH="1">
            <a:off x="4940300" y="2660946"/>
            <a:ext cx="1029525" cy="1009495"/>
          </a:xfrm>
          <a:prstGeom prst="line">
            <a:avLst/>
          </a:prstGeom>
          <a:ln w="28575">
            <a:solidFill>
              <a:srgbClr val="14CE9F">
                <a:alpha val="6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14264" y="288260"/>
            <a:ext cx="5108231" cy="1083339"/>
          </a:xfrm>
        </p:spPr>
        <p:txBody>
          <a:bodyPr/>
          <a:lstStyle/>
          <a:p>
            <a:r>
              <a:rPr lang="ru-RU" sz="36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ad</a:t>
            </a:r>
            <a:r>
              <a:rPr lang="ru-RU" sz="36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36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p</a:t>
            </a:r>
            <a:r>
              <a:rPr lang="ru-RU" sz="36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на будущее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48105" y="1548596"/>
            <a:ext cx="5555561" cy="3268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1000"/>
              </a:spcBef>
            </a:pPr>
            <a:r>
              <a:rPr lang="ru-RU" sz="2000" dirty="0"/>
              <a:t>1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) Ноябрь 2023: исследование и анализ рынка</a:t>
            </a:r>
            <a:br>
              <a:rPr lang="ru-RU" sz="2000" dirty="0">
                <a:latin typeface="Times New Roman" pitchFamily="18" charset="0"/>
                <a:cs typeface="Times New Roman" pitchFamily="18" charset="0"/>
              </a:rPr>
            </a:b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2) Январь 2024: Технические исследования</a:t>
            </a:r>
            <a:br>
              <a:rPr lang="ru-RU" sz="2000" dirty="0">
                <a:latin typeface="Times New Roman" pitchFamily="18" charset="0"/>
                <a:cs typeface="Times New Roman" pitchFamily="18" charset="0"/>
              </a:rPr>
            </a:b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3) Март 2024: Разработка производственного процесса</a:t>
            </a:r>
            <a:br>
              <a:rPr lang="ru-RU" sz="2000" dirty="0">
                <a:latin typeface="Times New Roman" pitchFamily="18" charset="0"/>
                <a:cs typeface="Times New Roman" pitchFamily="18" charset="0"/>
              </a:rPr>
            </a:b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4) Апрель 2024: Исследование сертификации и законодательства</a:t>
            </a:r>
            <a:br>
              <a:rPr lang="ru-RU" sz="2000" dirty="0">
                <a:latin typeface="Times New Roman" pitchFamily="18" charset="0"/>
                <a:cs typeface="Times New Roman" pitchFamily="18" charset="0"/>
              </a:rPr>
            </a:b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5) Май 2024: Исследование и развитие</a:t>
            </a:r>
          </a:p>
        </p:txBody>
      </p:sp>
    </p:spTree>
    <p:extLst>
      <p:ext uri="{BB962C8B-B14F-4D97-AF65-F5344CB8AC3E}">
        <p14:creationId xmlns:p14="http://schemas.microsoft.com/office/powerpoint/2010/main" val="1746474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6">
      <a:majorFont>
        <a:latin typeface="Gabriela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790</TotalTime>
  <Words>845</Words>
  <Application>Microsoft Office PowerPoint</Application>
  <PresentationFormat>Широкоэкранный</PresentationFormat>
  <Paragraphs>129</Paragraphs>
  <Slides>14</Slides>
  <Notes>11</Notes>
  <HiddenSlides>0</HiddenSlides>
  <MMClips>1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5" baseType="lpstr">
      <vt:lpstr>Arial</vt:lpstr>
      <vt:lpstr>Calibri</vt:lpstr>
      <vt:lpstr>Gabriela</vt:lpstr>
      <vt:lpstr>Montserrat</vt:lpstr>
      <vt:lpstr>Montserrat Light</vt:lpstr>
      <vt:lpstr>Montserrat Medium</vt:lpstr>
      <vt:lpstr>Roboto</vt:lpstr>
      <vt:lpstr>Source Sans Pro</vt:lpstr>
      <vt:lpstr>Times New Roman</vt:lpstr>
      <vt:lpstr>Office Theme</vt:lpstr>
      <vt:lpstr>think-cell Slide</vt:lpstr>
      <vt:lpstr>Презентация PowerPoint</vt:lpstr>
      <vt:lpstr>Презентация PowerPoint</vt:lpstr>
      <vt:lpstr>КАК УЖЕ РЕШАЕТСЯ ПРОБЛЕМА  </vt:lpstr>
      <vt:lpstr>Презентация PowerPoint</vt:lpstr>
      <vt:lpstr>РЕШЕНИЕ  </vt:lpstr>
      <vt:lpstr>Презентация PowerPoint</vt:lpstr>
      <vt:lpstr>БИЗНЕС МОДЕЛЬ  </vt:lpstr>
      <vt:lpstr>АНАЛИЗ КОНКУРЕНТОВ</vt:lpstr>
      <vt:lpstr>Road Map  на будущее</vt:lpstr>
      <vt:lpstr>Трекшн </vt:lpstr>
      <vt:lpstr>КОМАНДА</vt:lpstr>
      <vt:lpstr>Презентация PowerPoint</vt:lpstr>
      <vt:lpstr>Презентация PowerPoint</vt:lpstr>
      <vt:lpstr>Презентация PowerPoint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lgorzata Boguslawska</dc:creator>
  <cp:lastModifiedBy>79527757217</cp:lastModifiedBy>
  <cp:revision>248</cp:revision>
  <dcterms:created xsi:type="dcterms:W3CDTF">2017-06-30T07:56:32Z</dcterms:created>
  <dcterms:modified xsi:type="dcterms:W3CDTF">2023-12-12T10:00:15Z</dcterms:modified>
</cp:coreProperties>
</file>